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notesSlides/notesSlide10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4228" r:id="rId4"/>
    <p:sldMasterId id="2147484254" r:id="rId5"/>
  </p:sldMasterIdLst>
  <p:notesMasterIdLst>
    <p:notesMasterId r:id="rId17"/>
  </p:notesMasterIdLst>
  <p:handoutMasterIdLst>
    <p:handoutMasterId r:id="rId18"/>
  </p:handoutMasterIdLst>
  <p:sldIdLst>
    <p:sldId id="967" r:id="rId6"/>
    <p:sldId id="1003" r:id="rId7"/>
    <p:sldId id="1001" r:id="rId8"/>
    <p:sldId id="997" r:id="rId9"/>
    <p:sldId id="1005" r:id="rId10"/>
    <p:sldId id="971" r:id="rId11"/>
    <p:sldId id="1272" r:id="rId12"/>
    <p:sldId id="1263" r:id="rId13"/>
    <p:sldId id="1007" r:id="rId14"/>
    <p:sldId id="1265" r:id="rId15"/>
    <p:sldId id="968" r:id="rId16"/>
  </p:sldIdLst>
  <p:sldSz cx="12192000" cy="6858000"/>
  <p:notesSz cx="6797675" cy="9926638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51176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102352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535285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2047046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558807" algn="l" defTabSz="102352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3070568" algn="l" defTabSz="102352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582330" algn="l" defTabSz="102352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4094092" algn="l" defTabSz="102352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FB407C3A-20CE-4B9B-9018-5B709B4A4CA3}">
          <p14:sldIdLst>
            <p14:sldId id="967"/>
            <p14:sldId id="1003"/>
            <p14:sldId id="1001"/>
            <p14:sldId id="997"/>
            <p14:sldId id="1005"/>
            <p14:sldId id="971"/>
            <p14:sldId id="1272"/>
            <p14:sldId id="1263"/>
            <p14:sldId id="1007"/>
            <p14:sldId id="1265"/>
            <p14:sldId id="96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icholas Wagner" initials="NW" lastIdx="5" clrIdx="0"/>
  <p:cmAuthor id="2" name="Dolf Gielen" initials="DG" lastIdx="5" clrIdx="1"/>
  <p:cmAuthor id="3" name="Deger Saygin" initials="DS" lastIdx="2" clrIdx="2"/>
  <p:cmAuthor id="4" name="Daniel Russo" initials="DR" lastIdx="24" clrIdx="3">
    <p:extLst>
      <p:ext uri="{19B8F6BF-5375-455C-9EA6-DF929625EA0E}">
        <p15:presenceInfo xmlns:p15="http://schemas.microsoft.com/office/powerpoint/2012/main" userId="S-1-5-21-653272589-3936800030-4198134656-6729" providerId="AD"/>
      </p:ext>
    </p:extLst>
  </p:cmAuthor>
  <p:cmAuthor id="5" name="CSP" initials="CSP" lastIdx="4" clrIdx="4">
    <p:extLst>
      <p:ext uri="{19B8F6BF-5375-455C-9EA6-DF929625EA0E}">
        <p15:presenceInfo xmlns:p15="http://schemas.microsoft.com/office/powerpoint/2012/main" userId="CSP" providerId="None"/>
      </p:ext>
    </p:extLst>
  </p:cmAuthor>
  <p:cmAuthor id="6" name="Binu Parthan" initials="BP [2]" lastIdx="1" clrIdx="5">
    <p:extLst>
      <p:ext uri="{19B8F6BF-5375-455C-9EA6-DF929625EA0E}">
        <p15:presenceInfo xmlns:p15="http://schemas.microsoft.com/office/powerpoint/2012/main" userId="b574bdb3-a762-4e91-ae67-eab741a08924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72A6"/>
    <a:srgbClr val="BDD7EE"/>
    <a:srgbClr val="CCFF33"/>
    <a:srgbClr val="7030A0"/>
    <a:srgbClr val="065278"/>
    <a:srgbClr val="8FAADC"/>
    <a:srgbClr val="2E75B6"/>
    <a:srgbClr val="C6E1B5"/>
    <a:srgbClr val="C00000"/>
    <a:srgbClr val="BF9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0" autoAdjust="0"/>
    <p:restoredTop sz="93172" autoAdjust="0"/>
  </p:normalViewPr>
  <p:slideViewPr>
    <p:cSldViewPr>
      <p:cViewPr varScale="1">
        <p:scale>
          <a:sx n="106" d="100"/>
          <a:sy n="106" d="100"/>
        </p:scale>
        <p:origin x="792" y="108"/>
      </p:cViewPr>
      <p:guideLst>
        <p:guide orient="horz" pos="2115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-5024"/>
    </p:cViewPr>
  </p:sorterViewPr>
  <p:notesViewPr>
    <p:cSldViewPr>
      <p:cViewPr varScale="1">
        <p:scale>
          <a:sx n="48" d="100"/>
          <a:sy n="48" d="100"/>
        </p:scale>
        <p:origin x="2922" y="6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spPr>
            <a:ln w="34925" cap="rnd">
              <a:solidFill>
                <a:schemeClr val="lt1"/>
              </a:solidFill>
              <a:round/>
            </a:ln>
            <a:effectLst>
              <a:outerShdw dist="25400" dir="2700000" algn="tl" rotWithShape="0">
                <a:schemeClr val="accent1"/>
              </a:outerShdw>
            </a:effectLst>
          </c:spPr>
          <c:marker>
            <c:symbol val="none"/>
          </c:marker>
          <c:cat>
            <c:numRef>
              <c:f>Sheet1!$C$3:$U$3</c:f>
              <c:numCache>
                <c:formatCode>General</c:formatCode>
                <c:ptCount val="19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  <c:pt idx="17">
                  <c:v>2017</c:v>
                </c:pt>
                <c:pt idx="18">
                  <c:v>2018</c:v>
                </c:pt>
              </c:numCache>
            </c:numRef>
          </c:cat>
          <c:val>
            <c:numRef>
              <c:f>Sheet1!$C$6:$U$6</c:f>
              <c:numCache>
                <c:formatCode>0.00%</c:formatCode>
                <c:ptCount val="19"/>
                <c:pt idx="0">
                  <c:v>0.18220488536826177</c:v>
                </c:pt>
                <c:pt idx="1">
                  <c:v>0.1902963525806288</c:v>
                </c:pt>
                <c:pt idx="2">
                  <c:v>0.17034558257077062</c:v>
                </c:pt>
                <c:pt idx="3">
                  <c:v>0.16869863179223604</c:v>
                </c:pt>
                <c:pt idx="4">
                  <c:v>0.16847885323808617</c:v>
                </c:pt>
                <c:pt idx="5">
                  <c:v>0.17271921832360013</c:v>
                </c:pt>
                <c:pt idx="6">
                  <c:v>0.16946427025192648</c:v>
                </c:pt>
                <c:pt idx="7">
                  <c:v>0.16143594458830368</c:v>
                </c:pt>
                <c:pt idx="8">
                  <c:v>0.16625753746569663</c:v>
                </c:pt>
                <c:pt idx="9">
                  <c:v>0.1732447516148794</c:v>
                </c:pt>
                <c:pt idx="10">
                  <c:v>0.17263173825284445</c:v>
                </c:pt>
                <c:pt idx="11">
                  <c:v>0.1687280656466271</c:v>
                </c:pt>
                <c:pt idx="12">
                  <c:v>0.16682492726641299</c:v>
                </c:pt>
                <c:pt idx="13">
                  <c:v>0.17212134682854646</c:v>
                </c:pt>
                <c:pt idx="14">
                  <c:v>0.17715231362648612</c:v>
                </c:pt>
                <c:pt idx="15">
                  <c:v>0.17810341398071663</c:v>
                </c:pt>
                <c:pt idx="16">
                  <c:v>0.17965550729080079</c:v>
                </c:pt>
                <c:pt idx="17">
                  <c:v>0.18550403150296774</c:v>
                </c:pt>
                <c:pt idx="18">
                  <c:v>0.196670681095115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C0E-46B5-81C0-42E0277F59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gradFill>
                <a:gsLst>
                  <a:gs pos="0">
                    <a:schemeClr val="lt1"/>
                  </a:gs>
                  <a:gs pos="100000">
                    <a:schemeClr val="lt1">
                      <a:alpha val="0"/>
                    </a:schemeClr>
                  </a:gs>
                </a:gsLst>
                <a:lin ang="5400000" scaled="0"/>
              </a:gradFill>
              <a:round/>
            </a:ln>
            <a:effectLst/>
          </c:spPr>
        </c:dropLines>
        <c:smooth val="0"/>
        <c:axId val="904356848"/>
        <c:axId val="1149465616"/>
      </c:lineChart>
      <c:catAx>
        <c:axId val="904356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lt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1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49465616"/>
        <c:crosses val="autoZero"/>
        <c:auto val="1"/>
        <c:lblAlgn val="ctr"/>
        <c:lblOffset val="100"/>
        <c:noMultiLvlLbl val="0"/>
      </c:catAx>
      <c:valAx>
        <c:axId val="1149465616"/>
        <c:scaling>
          <c:orientation val="minMax"/>
        </c:scaling>
        <c:delete val="0"/>
        <c:axPos val="l"/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043568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accent1"/>
    </a:solidFill>
    <a:ln w="9525" cap="flat" cmpd="sng" algn="ctr">
      <a:solidFill>
        <a:schemeClr val="accent1"/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9">
  <cs:axisTitle>
    <cs:lnRef idx="0"/>
    <cs:fillRef idx="0"/>
    <cs:effectRef idx="0"/>
    <cs:fontRef idx="minor">
      <a:schemeClr val="lt1"/>
    </cs:fontRef>
    <cs:defRPr sz="1197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12700" cap="flat" cmpd="sng" algn="ctr">
        <a:solidFill>
          <a:schemeClr val="lt1"/>
        </a:solidFill>
        <a:round/>
      </a:ln>
    </cs:spPr>
    <cs:defRPr sz="1197" kern="1200" spc="10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330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1197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lt1"/>
            </a:gs>
            <a:gs pos="100000">
              <a:schemeClr val="lt1">
                <a:alpha val="0"/>
              </a:schemeClr>
            </a:gs>
          </a:gsLst>
          <a:lin ang="5400000" scaled="0"/>
        </a:gradFill>
        <a:round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1197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995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1197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862" y="0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245241A0-8D54-49E2-960A-8064867E6FBE}" type="datetimeFigureOut">
              <a:rPr lang="en-US"/>
              <a:pPr>
                <a:defRPr/>
              </a:pPr>
              <a:t>3/2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28272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862" y="9428272"/>
            <a:ext cx="2946275" cy="49667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EAD141E7-8887-432E-BDD1-9BF128B28DA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71892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6-30T17:19:06.888"/>
    </inkml:context>
    <inkml:brush xml:id="br0">
      <inkml:brushProperty name="width" value="0.025" units="cm"/>
      <inkml:brushProperty name="height" value="0.025" units="cm"/>
      <inkml:brushProperty name="color" value="#849398"/>
      <inkml:brushProperty name="ignorePressure" value="1"/>
    </inkml:brush>
    <inkml:brush xml:id="br1">
      <inkml:brushProperty name="width" value="0.05" units="cm"/>
      <inkml:brushProperty name="height" value="0.05" units="cm"/>
      <inkml:brushProperty name="color" value="#B3B3B3"/>
      <inkml:brushProperty name="ignorePressure" value="1"/>
    </inkml:brush>
    <inkml:brush xml:id="br2">
      <inkml:brushProperty name="width" value="0.2" units="cm"/>
      <inkml:brushProperty name="height" value="0.2" units="cm"/>
      <inkml:brushProperty name="color" value="#B3B3B3"/>
      <inkml:brushProperty name="ignorePressure" value="1"/>
    </inkml:brush>
    <inkml:brush xml:id="br3">
      <inkml:brushProperty name="width" value="0.025" units="cm"/>
      <inkml:brushProperty name="height" value="0.025" units="cm"/>
      <inkml:brushProperty name="color" value="#FFFFFF"/>
      <inkml:brushProperty name="ignorePressure" value="1"/>
    </inkml:brush>
  </inkml:definitions>
  <inkml:trace contextRef="#ctx0" brushRef="#br0">28 423,'7'-95,"5"28,10 86,-17-16,0-1,0 1,0-1,0-1,1 1,-1-1,1 0,-1 0,0 0,1-1,4 0,-2 1,230-1,-237 0,1 0,-1 0,0 0,0 0,1 0,-1-1,0 1,0 0,0-1,0 1,1-1,-1 0,0 1,0-1,0 0,0 1,0-1,0 0,0 0,-1 0,1 0,0 0,0 0,-1 0,1 0,0 0,-1 0,0 0,1-1,-1 1,1 0,-1 0,0 0,0-1,0 1,0 0,0 0,0-1,0 1,0 0,0 0,-1-2,2 2,1-1,-1 0,0 1,1-1,-1 0,1 1,-1 0,1-1,0 1,-1 0,1 0,0 0,0 0,0 0,0 1,0-1,0 0,0 1,0-1,0 1,0 0,0 0,0 0,1 0,-1 0,0 0,0 1,0-1,0 1,0-1,0 1,1 1,12-1,48 9,-61-9,-1 0,1-1,-1 1,0 0,1-1,-1 1,1-1,0 1,-1-1,1 0,-1 1,1-1,0 0,-1 0,1 0,-1 0,1-1,0 1,-1 0,1-1,-1 1,1-1,-1 1,1-1,-1 0,1 0,-1 1,0-1,0 0,1 0,-1 0,0-1,0 1,0 0,0 0,0-1,0 1,0 0,-1-1,1 1,0-1,3-12,0 1,0-1,-1 0,-1 0,-1 0,0 0,0-8,-16-7,68 31,-50-5,1-1,-1 1,1-1,-1 0,0 0,0 0,-1 0,1 0,-1-1,0 1,0-1,-1 0,1 0,-1-2,9-19,-10 64,-20-2,19-33,0 0,0 1,1-1,-1 1,1 0,0-1,0 1,0-1,0 1,1-1,-1 1,1-1,0 1,0-1,0 0,1 2,1 4,-4-8,1 0,0 0,0 0,0 0,-1 0,1 0,0 0,0 0,0 0,1-1,-1 1,0 0,0 0,0 0,1 0,-1 0,0 0,1 0,-1-1,1 1,-1 0,1 0,0 0,-1-1,1 1,-1 0,1-1,0 1,0-1,0 1,-1-1,1 1,0-1,0 1,0-1,0 0,0 0,-1 1,1-1,0 0,0 0,0 0,0 0,0 0,0 0,0 0,0 0,0 0,0-1,0 1,0 0,-1-1,1 1,0 0,0-1,0 1,0-1,0 0,0 0,0 0,0 0,0 0,0 0,1 0,-1 0,0 1,0-1,1 0,-1 1,1-1,-1 1,0 0,1-1,-1 1,1 0,-1 0,1 0,-1 0,1 0,-1 0,1 0,-1 1,1-1,-1 0,0 1,1-1,-1 1,0 0,1-1,-1 1,0 0,0 0,0 0,1 0,-1 0,0 0,0 0,0 0,-1 0,1 0,0 1,0-1,-1 0,1 1,0-1,-1 0,0 1,1-1,-1 1,0-1,0 1,2 13,0-9</inkml:trace>
  <inkml:trace contextRef="#ctx0" brushRef="#br1" timeOffset="185399.84">239 407,'205'0,"-171"-11,-50 11,-4 8,0 0,1 1,0 2,0 0,1 0,-10 10,8-12,14-6,18-6,115-28,-127 31,0 1,0-1,-1 0,1 0,0 0,0 0,0 1,0-1,0 0,0 0,0 1,-1-1,1 0,0 0,0 0,0 1,0-1,0 0,0 0,0 1,0-1,0 0,0 0,0 0,1 1,-1-1,0 0,0 0,0 1,0-1,0 0,0 0,0 0,1 1,-1-1,0 0,0 0,0 0,0 0,1 0,-1 1,0-1,0 0,0 0,1 0,-1 0,0 0,0 0,0 0,1 0,-1 0,0 0,0 0,1 0,-1 0,0 0,0 0,1 0,-1 0,-14 16,-19 4,29-18,-1 0,1 0,0 0,1 1,-1 0,0-1,1 1,-1 1,1-1,0 0,0 1,1 0,-1-1,0 1,1 0,0 0,-5 7,6-19,10-21,-2 25,0 1,0-1,0 1,0 0,0 1,0 0,1 0,-1 1,1-1,3 1,-3 0,109-10,-90 5,-23 3,-17 5,8-1,1 0,0 0,-1 0,1 0,0 1,0-1,-1 1,1 0,1 0,-1 1,0-1,1 1,-1 0,1 0,0 0,-1 0,-1 4,-20 21,21-25</inkml:trace>
  <inkml:trace contextRef="#ctx0" brushRef="#br2" timeOffset="200130.14">550 508,'-1'6,"0"-1,-1 1,0-1,0 0,-1 0,1 0,-1 0,0 0,0-1,-1 1,1-1,-1 0,0 0,0 0,-1-1,1 1,-1-1,1 0,-1 0,0-1,0 1,0-1,-1 0,1-1,-1 1,1-1,-1 0,1 0,-1-1,-1 0,-67 26,51 15,16-35,20-15,-5 3,1 1,0 0,0 0,1 1,0 0,-1 1,1 0,0 1,0 0,1 0,7 1,79-7,-26-8,-53 15,-11 1,0-1,0 1,-1 0,1 0,0 1,-1 0,1 0,0 0,-1 1,1 0,3 2,26 51,-37-54,0 1,0-1,0 0,0 0,0 1,0-1,0 0,-1 0,1 0,0 0,0 0,-1-1,1 1,-1 0,1-1,-1 1,1-1,-1 1,1-1,-1 0,1 0,-1 1,0-1,1 0,-1 0,1-1,-1 1,2 0,-24 3,18-3,1 1,-1-1,0 1,0 0,1 1,-1-1,1 1,0 0,-1 1,1-1,0 1,-1 0,-30 16,35-17,1 0,0-1,0 1,0 0,0-1,0 1,1-1,-1 1,0 0,1-1,-1 1,1-1,0 1,-1-1,1 1,0-1,0 1,0-1,0 0,0 0,0 1,0-1,1 0,-1 0,0 0,1 0,-1-1,1 1,2 1,0-1,1 0,-1 0,0 0,1-1,-1 1,1-1,-1 0,0 0,1-1,-1 1,1-1,-1 0,0 0,0-1,1 1,-1-1,2-1,33-8,-11 5,-23 4</inkml:trace>
  <inkml:trace contextRef="#ctx0" brushRef="#br2" timeOffset="206128.64">216 571,'-1'-5,"1"1,-1-1,-1 1,1-1,0 1,-1 0,0-1,0 1,0 0,-1 0,0 0,1 1,-4-4,-13-22,-11-38,30 52,1 2</inkml:trace>
  <inkml:trace contextRef="#ctx0" brushRef="#br2" timeOffset="211231.68">340 361,'85'-6,"-74"2,-1 2,1-1,0 2,0-1,0 1,0 1,1 0,-1 1,2 0,23 0,59-1,-82 0</inkml:trace>
  <inkml:trace contextRef="#ctx0" brushRef="#br2" timeOffset="212860.5">699 524,'0'0</inkml:trace>
  <inkml:trace contextRef="#ctx0" brushRef="#br1" timeOffset="-160821.03">493 760,'-131'4,"45"7,21-10,64-2,0-1,0 1,0-1,0 0,0 1,0-1,0 0,1 1,-1-1,0 0,1 0,0 0,-1 0,1 1,0-1,0 0,0 0,0 0,0 0,1 0,-1 0,0 1,1-3,0-4,-11-24,-10-26,19 56,1 0,-1 0,0-1,0 1,0 0,0 0,0 0,-1 1,1-1,0 0,-1 0,1 1,-1-1,0 1,1-1,-1 1,0 0,0-1,0 1,0 0,0 0,0 1,-1-1,1 0,0 1,0-1,0 1,-1 0,1 0,0 0,0 0,-1 0,1 0,1 0,-1 0,1-1,-1 1,0 0,1-1,-1 1,1-1,-1 1,1-1,-1 0,1 1,-1-1,1 0,0 0,-1 0,1 0,0 0,0-1,0 1,0 0,0 0,0-1,0 1,0-1,1 1,-1-1,0 1,1-1,-1 1,1-1,0 1,-1-1,1 0,0 1,0-1,0-1,-22-34,6 17,9-20,6 39</inkml:trace>
  <inkml:trace contextRef="#ctx0" brushRef="#br1" timeOffset="-149089.15">369 445,'-95'-3,"83"1,5 1,17 4,-9-3,0-1,0 1,1 0,-1 0,0 1,0-1,0 0,0 0,1 0,-1 1,0-1,0 1,0-1,0 1,0-1,0 1,0 0,0-1,0 1,0 0,0 0,-1 0,1 0,0-1,0 1,-1 0,1 0,-1 1,1-1,-1 0,1 0,-1 0,0 0,1 0,-1 0,0 1,0-1,0 0,0 0,0 0,0 1,0-1,0 0,0 0,-1 0,1 0,-1 0,1 1,-52 109,49-105,0 1,0 0,1 0,0 0,0 0,1 0,0 0,0 0,0 0,1 0,1 6,-1-11,0 1,0-1,0 1,0-1,0 1,-1-1,1 0,-1 1,0-1,0 1,1-1,-1 0,-1 0,1 1,0-1,-1 0,1 0,-1 0,1 0,-1-1,0 1,0 0,0-1,0 1,-1 0,4-1,-1 1,1-1,0 0,-1 1,1-1,0 0,0 0,0 1,0-1,0 0,0 0,1 0,-1 0,0 0,1-1,-1 1,0 0,1 0,-1-1,1 1,-1-1,1 0,-1 1,2-1,90 13,-72-8,67 4,-32-10,-18 46,32-35,-27-5,60-36,-43 4,-53 23,0 0,0 0,0 1,0 0,1 0,-1 0,1 1,0 0,0 1,0 0,0 0,0 0,0 1,1 0,-8 0,1 0,-1-1,0 1,1-1,-1 1,1-1,-1 1,0-1,1 0,-1 0,0 0,0 0,0 0,0 0,0 0,0 0,0 0,0-1,0 1,0 0,-1-1,1 1,0 0,-1-1,1 1,-1-1,0 1,1-1,-1 1,0-1,-35-3,34 5,0 0,0 0,0 0,0 0,0 0,0 0,0 0,0 0,0-1,0 1,0 0,0-1,0 1,0-1,0 1,0-1,0 1,0-1,1 0,-1 1,0-1,0 0,1 0,-1 0,0 1,1-1,-1 0,1 0,0 0,-1 0,1 0,0 0,-1 0,1 0,0 0,0 0,0 0,0 0,0 0,0 0,0 0,0 0,0 0,0 0,1 0,-1 0,1-1,-2-11,-34-68,34 80,1-1,0 1,-1 0,1-1,-1 1,1 0,-1 0,0 0,1 0,-1 0,0-1,0 1,0 0,0 1,0-1,0 0,0 0,0 0,0 1,0-1,0 0,-1 1,1-1,0 1,0-1,-1 1,-18-12,16 2,3 7</inkml:trace>
  <inkml:trace contextRef="#ctx0" brushRef="#br1" timeOffset="-143151.65">493 441,'-72'2,"34"20,-48 29,85-50,-1 1,1 0,0-1,0 1,0 0,0 0,0 0,0-1,1 1,-1 0,1 0,-1 0,1 0,0 0,-1 1,1-1,0 0,0 0,1 0,-1 0,0 0,1 0,-1 0,1 0,0 0,0 0,-1-1,1 1,0 0,1 0,-1-1,0 1,0 0,1 0,16 12,10 20,0 8,-27-40,-1 0,1-1,0 1,-1 0,1-1,0 1,0-1,0 1,1-1,-1 1,0-1,0 0,1 0,-1 0,1 1,-1-1,1-1,-1 1,1 0,-1 0,1 0,0-1,0 1,-1-1,1 0,0 1,0-1,0 0,-1 0,1 0,0 0,0 0,0-1,59 16,-59-14,-1 0,1 0,-1 0,0 0,0 0,1 0,-1 1,0-1,0 0,0 1,0-1,0 0,-1 1,1-1,0 1,-1 0,1-1,-1 1,1 0,-1-1,0 1,0 0,1-1,-1 1,-1 0,1-1,0 1,0 0,-1 0,1-2,-1 0,0 0,0 0,1 1,-1-1,0 0,0 0,1 0,-1 0,0-1,0 1,1 0,-1 0,0 0,0-1,1 1,-1 0,0-1,1 1,-1 0,0-1,1 1,-1-1,1 1,-1-1,1 1,-1-1,1 0,-1 1,1-1,-1 1,1-1,0 0,-1 0,1 1,0-1,0 0,0 1,-1-1,1 0,-2-12,2 13,0-1,0 0,0 0,0 1,-1-1,1 0,0 1,0-1,0 0,-1 1,1-1,0 1,0-1,-1 0,1 1,-1-1,1 1,0-1,-1 1,1-1,-1 1,0-1,1 1,-1 0,1-1,-1 1,1 0,-1-1,0 1,1 0,-1 0,0 0,1-1,-1 1,0 0,1 0,-1 0,0 0,1 0,-1 0,0 0,1 1,-1-1,0 0,1 0,-1 0,-117 6,115-5,0 1</inkml:trace>
  <inkml:trace contextRef="#ctx0" brushRef="#br1" timeOffset="-141005.02">340 780,'0'0</inkml:trace>
  <inkml:trace contextRef="#ctx0" brushRef="#br1" timeOffset="-133024.69">460 797,'2'0,"-1"0,1 0,0 1,0-1,0 1,0 0,0-1,0 1,0 0,-1 0,1 0,0 0,-1 0,1 0,-1 1,1-1,-1 1,0-1,1 1,-1-1,0 1,0 0,0-1,0 1,0 0,-1 0,1 0,0 0,-1 0,0 0,1 0,0-1,0 1,0-1,0 0,1 1,-1-1,0 0,1 0,-1 0,1 0,-1 0,1-1,-1 1,1 0,0-1,-1 1,1-1,0 0,0 1,-1-1,1 0,0 0,0 0,-1 0,1 0,0-1,-1 1,1 0,0-1,1 0,32 3,-54 14,82-9,-46-7,46-11,-30-20,19 16,-42 7,-8 6,-1 0,1 1,1-1,-1 1,0-1,0 1,0 0,1 0,-1 0,1 0,-1 0,1 0,-1 1,1-1,-1 1,1 0,-1 0,1 0,73-13,-58-3,-16 14</inkml:trace>
  <inkml:trace contextRef="#ctx0" brushRef="#br1" timeOffset="-128457.34">815 797,'-44'43,"35"-38,0 0,-1 0,1-1,-1-1,0 0,-1 0,1-1,0 0,-1 0,1-2,-1 1,1-1,-1-1,1 1,-2-2,-20 1,-10 1,38 0</inkml:trace>
  <inkml:trace contextRef="#ctx0" brushRef="#br1" timeOffset="-123237.95">348 780,'-107'9,"105"-9,1 0,-1 1,1-1,-1 0,1 0,-1 0,1-1,-1 1,1 0,-1-1,1 1,-1 0,1-1,0 0,-1 1,1-1,0 0,0 0,-1 0,1 1,0-1,0 0,0-1,0 1,0 0,0 0,-33-15,33 15,1 0,-1 0,0-1,0 1,1 0,-1-1,1 1,-1-1,1 1,-1 0,1-1,0 1,0-1,0 1,0-1,0 1,0-1,0 1,1-1,-1 1,0-1,1 1,-1 0,1-1,-1 1,1 0,0-1,0 0,3-13,-3 13,-1 1,0-1,0 0,1 0,-1 1,0-1,-1 0,1 1,0-1,0 0,-1 1,1-1,-1 0,1 1,-1-1,0 1,1-1,-1 1,0-1,0 1,0 0,0-1,-1 1,1 0,0 0,0 0,-1 0,1 0,-1 0,1 0,-22-20,22 18</inkml:trace>
  <inkml:trace contextRef="#ctx0" brushRef="#br1" timeOffset="-108760.04">762 342,'0'0,"1"0,-1 0,1 1,0-1,-1 0,1 0,-1 0,1 0,0 0,-1 0,1 0,0-1,-1 1,1 0,-1 0,1 0,-1 0,1-1,0 1,-1 0,1-1,-1 1,1 0,-1-1,1 1,-1-1,0 1,1-1,-1 1,1-1,-1 1,0-1,0 1,1-1,-1 1,0-1,0 1,1-1,-1 0,0 1,0-1,0 0,0 1,0-1,0 0,-11-63,15-39,-4 104,0 0,0 0,0 0,0 0,0-1,0 1,0 0,0 0,-1 0,1-1,0 1,-1 0,1 0,0-1,-1 1,1 0,-1-1,1 1,-1 0,0-1,1 1,-1-1,0 1,1-1,-1 1,0-1,1 0,-1 1,0-1,0 0,0 1,1-1,-1 0,0 0,0 0,0 0,1 0,-1 0,0 0,0 1,1-1,-1 0,0 0,1 1,-1-1,0 0,1 1,-1-1,1 1,-1-1,1 1,-1-1,1 1,-1-1,1 1,0 0,-1-1,1 1,0 0,-1-1,1 1,0 0,0-1,0 1,0 0,0-1,0 1,0 0,0 0,0-1,0 1,0 0,0-1,0 1,0 0,1-1,-1 1,0 0,0-1,1 1,-1 0,0-1,0 1,0 0,1-1,-1 1,0 0,0-1,0 1,0 0,0-1,-1 1,1 0,0-1,0 1,0 0,0-1,-1 1,1 0,0-1,-1 1,1-1,-1 1,1-1,0 1,-1 0,1-1,-1 0,1 1,-1-1,1 1,-1-1,0 0,1 1,-1-1,0 0,1 0,-1 1,0-1,1 0,-1 0,0 0,1 0,-1 0,0 0,1 0,-1 0,0 0,1 0,-1 0,0-1,-42-14,43 14,-1 0,0 1,0-1,0 1,0 0,0-1,0 1,1 0,-1-1,0 1,0 0,0 0,0 0,0 0,0 0,0 0,0 0,0 0,0 0,0 0,0 1,0-1,0 0,0 1,0-1,0 1,0-1,1 1,-1-1,0 1,0-1,0 1,-1-26,21-31,-19 56,0-1,0 1,0-1,-1 1,1-1,0 1,0 0,0-1,-1 1,1-1,0 1,-1-1,1 1,0 0,-1-1,1 1,0 0,-1-1,1 1,-1 0,1-1,-1 1,1 0,0 0,-1 0,1-1,-1 1,1 0,-1 0,1 0,-1 0,1 0,-1 0,0 0,1 0,-1 0,1 0,-1 0,1 1,-1-1,1 0,0 0,-1 0,1 0,-1 1,1-1,-1 0,1 1,0-1,-1 0,1 1,-1-1,1 0,0 1,0-1,-1 1,1-1,0 1,0-1,-1 1,1 96,-2-90,5-6,4-2,62-5,-69 5,1 1,-1 0,1-1,-1 1,1 0,-1-1,1 1,-1-1,1 1,-1-1,0 1,1-1,-1 0,0 1,1-1,-1 1,0-1,0 0,0 1,0-1,1 0,-1 1,0-1,0 0,0 1,0-1,-1 1,1-1,0 0,0 1,0-1,0 0,-1 1,1-1,0 1,0-1,-1 0,1 1,-1-1,1 1,0-1,-1 1,1 0,-1-1,1 1,-1-1,1 1,-1 0,0-1,1 1,-1 0,1 0,-1-1,0 1,1 0,-1 0,0 0,-8-12,8-3,2 14,-1 0,0 0,1 0,-1 0,0 0,0 0,0 0,0-1,0 1,0 0,0 0,-1 0,1 0,0 0,0 0,-1 0,1 0,-1 0,1 0,-1 0,0 0,1 0,-1 0,0 0,1 0,-1 0,0 1,0-1,0 0,0 1,0-1,0 1,0-1,0 1,0-1,0 1,0-1,0 1,-1 0,0 0</inkml:trace>
  <inkml:trace contextRef="#ctx0" brushRef="#br1" timeOffset="-107248.83">704 247,'3'0,"1"0,1 0,1 0,-1 0,0 0,0 0,0 0,0 0,0 0,-1 0</inkml:trace>
  <inkml:trace contextRef="#ctx0" brushRef="#br1" timeOffset="-106942.13">762 247,'-1'0,"-2"0,-5 0,-4 3,-7 3,-1-1</inkml:trace>
  <inkml:trace contextRef="#ctx0" brushRef="#br1" timeOffset="-95457.24">348 325,'-100'0,"-36"-4,93-17,41 23,1-1,0 1,0-1,-1 1,1-1,0 1,0 0,1 0,-1-1,0 1,0 0,1 0,-1 0,1 0,0 0,0 0,-1 0,1 0,0 0,1 1,-1-2,-1 135,10-89,24-27,-31-14,-2-4,1 0,0 0,-1 0,1 0,0 0,0 0,0 0,0 0,0 0,0 0,0 0,1-1,-1 1,1-1,-1 1,1-1,0 1,0-1,-1 0,1 0,0 0,0 0,0 0,0 0,0-1,0 1,0-1,1 1,0-1,-1-1,0 0,0 0,0 0,0 0,-1 0,1-1,0 1,-1 0,1-1,-1 0,1 1,-1-1,0 0,1 1,-1-1,0 0,0 0,-1 0,1 0,0 0,-1 0,1-1,-1 1,0 0,1 0,-1 0,0 0,0 0,-1-1,1 1,0-1,2-16,0 8,-1 2,0 0,1 0,0 1,1-1,0 1,0 0,1 0,0 0,0 0,2-2,29-22,-13 0,-25 34,2-2,1 0,-1 0,0 0,0 0,0 0,0 1,0-1,1 0,-1 1,0-1,0 1,1-1,-1 1,0-1,0 1,1-1,-1 1,1 0,-1-1,0 1,1 0,-1-1,1 1,0 0,-1 0,1 0,0 0,-1-1,1 1,0 0,0 0,0 0,0 0,0 0,0 0,0-1,0 1,0 0,0 0,0 0,0 0,1 0,-1-1,0 1,1 0,-1 0,1 0,-1-1,1 1,-1 0,1 0,-1-1,1 1,0-1,-1 1,1-1,0 1,35 10,-29-10,-1 1,1 0,-1 0,1 0,-1 1,0 0,0 0,0 0,0 1,-1 0,4 3,-6-3,1 1,-1-1,-1 1,1 0,-1 0,1 0,-2 0,1 1,0-1,-1 0,0 5,27 55,5-33,115 50,-101-59,-65-49,-74-77,91 102,0 0,0 0,0 0,0 0,0 0,1-1,-1 1,0 0,1-1,-1 1,1 0,0-1,-1 1,1 0,0-1,0 1,0-1,0 1,0-1,0 1,0 0,1-1,-1 1,0-1,1 1,-1 0,1-1,-1 1,1 0,0 0,0-1,-1 1,1 0,0 0,0 0,0 0,0 0,44-39,-43 38,63-32,-78 55,7-14,-2-1,1 0,-1-1,0 0,0 0,0-1,-1 0,1-1,-2 1,9-4,1 0,-1 0,1 1,-1-1,1 0,-1 0,1 0,-1 0,1 0,-1 0,1 0,-1 0,1 0,-1 0,1-1,-1 1,1 0,-1 0,1 0,0-1,-1 1,1 0,-1 0,1-1,-1 1,1 0,0-1,-1 1,1 0,0-1,0 1,-1-1,1 1,0 0,0-1,-1 1,1-1,0 1,0-1,0 1,0-1,0 1,0-1,0 1,0-1,0 1,0-1,0 1,0-1,0 1,0-1,0 1,0-1,1 1,-1-1,0 1,0 0,1-1,-1 1,0-1,0 1,1 0,-1-1,1 1,-1 0,0-1,1 1,0 0,0-3</inkml:trace>
  <inkml:trace contextRef="#ctx0" brushRef="#br3" timeOffset="-67307.38">0 408,'25'-93,"-23"90,0 1,0 0,0 0,0 0,0 0,0 0,1 0,-1 1,1-1,-1 1,1-1,0 1,-1 0,1 0,0 1,0-1,0 0,0 1,0 0,0-1,0 1,-1 0,1 1,0-1,0 1,0-1,0 1,0 0,0 0,17 0,112-3,-66-22,-6 7,-52 14,-1 0,1 0,0 1,0 0,-1 0,1 1,1 0,-1 1,0 0,0 0,0 0,4 2,14-2,-9 1,-13-1,1 1,-1-1,0 0,0 0,0 0,0 0,0-1,0 0,0 1,0-1,0-1,0 1,0-1,-1 0,1 1,-1-2,1 1,1-2,-3 3,-1 0,0 0,0-1,0 1,0-1,0 1,0-1,0 1,0-1,-1 1,1-1,-1 0,1 1,-1-1,1 0,-1 0,0 1,0-1,0 0,0 0,0 1,0-1,-1 0,1-10,-1 10,0 0,0 0,1 0,-1 0,1 0,0-1,-1 1,1 0,0 0,0 0,0 0,1 0,-1-1,0 1,1 0,-1 0,1 0,0 0,0 0,0 0,0 1,0-1,0 0,0 0,1 1,-1-1,1 0,-1 1,1 0,-1-1,1 1,0 0,0 0,0 0,0 0,0 0,0 0,0 0,0 1,1-1,7 1,-8-1,-1 1,1-1,0 1,-1 0,1 0,0 0,-1 0,1 0,0 0,-1 0,1 0,0 1,-1-1,1 0,-1 1,1 0,0-1,-1 1,1 0,-1 0,0 0,1 0,-1 0,0 0,0 0,1 0,-1 0,0 1,0-1,0 1,-1-1,1 0,0 1,0 0,0 0,-1-1,1 1,0-1,0 0,0 1,1-1,-1 0,0 0,0 0,1 1,-1-1,1-1,-1 1,1 0,-1 0,1 0,-1-1,1 1,0-1,-1 1,1-1,0 0,-1 0,1 0,0 0,0 0,-1 0,1 0,0 0,-1-1,1 1,0 0,-1-1,1 0,0 0,1 1,11 38,-11-29,-2-7,0-1,0 0,-1 0,1 1,-1-1,0 0,1 1,-1-1,0 0,1 1,-1-1,0 1,0-1,0 0,-1 1,1-1,0 1,0-1,-1 0,1 1,-1-1,1 0,-1 0,1 1,-1-1,-1 1,0 2,0-2,1 0,-1 1,0 0,1-1,0 1,-1 0,1 0,0 0,0 0,1 0,-1 0,1 0,-1 0,1 0,0 0,0 0,0 0,1 1,27 17,-26-19</inkml:trace>
  <inkml:trace contextRef="#ctx0" brushRef="#br3" timeOffset="-61927.91">13 375,'0'9,"0"4,0 0,0 0,0-3</inkml:trace>
  <inkml:trace contextRef="#ctx0" brushRef="#br3" timeOffset="-42229.58">141 747,'4'-39,"-33"-5,-2 5,11 5,0-5,11 11,-6 11,-2-19,18 0,-1 3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6-30T17:26:02.221"/>
    </inkml:context>
    <inkml:brush xml:id="br0">
      <inkml:brushProperty name="width" value="0.025" units="cm"/>
      <inkml:brushProperty name="height" value="0.025" units="cm"/>
      <inkml:brushProperty name="color" value="#FFFFFF"/>
      <inkml:brushProperty name="ignorePressure" value="1"/>
    </inkml:brush>
  </inkml:definitions>
  <inkml:trace contextRef="#ctx0" brushRef="#br0">1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862" y="0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608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384" y="4715833"/>
            <a:ext cx="5436908" cy="44666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/>
              <a:t>Textmasterformate durch Klicken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428272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862" y="9428272"/>
            <a:ext cx="2946275" cy="4966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2" tIns="46587" rIns="93172" bIns="46587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BAF60FA8-7B3F-4A7C-8F0E-23C53659501D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83004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511761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1023523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535285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2047046" algn="l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558807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0568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2330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4092" algn="l" defTabSz="1023523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9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0A669B2D-47F9-4653-953D-D608D4AAC914}" type="slidenum">
              <a:rPr lang="en-US" altLang="en-US" sz="1200" smtClean="0"/>
              <a:pPr/>
              <a:t>1</a:t>
            </a:fld>
            <a:endParaRPr lang="en-US" altLang="en-US" sz="1200" dirty="0"/>
          </a:p>
        </p:txBody>
      </p:sp>
    </p:spTree>
    <p:extLst>
      <p:ext uri="{BB962C8B-B14F-4D97-AF65-F5344CB8AC3E}">
        <p14:creationId xmlns:p14="http://schemas.microsoft.com/office/powerpoint/2010/main" val="322154161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86F871-FF51-4C17-9375-10AD0181A73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363861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24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24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109C15EC-22C2-4291-8669-93B3E10A33BF}" type="slidenum">
              <a:rPr lang="de-DE" altLang="en-US" sz="1200" smtClean="0"/>
              <a:pPr/>
              <a:t>11</a:t>
            </a:fld>
            <a:endParaRPr lang="de-DE" altLang="en-US" sz="1200"/>
          </a:p>
        </p:txBody>
      </p:sp>
    </p:spTree>
    <p:extLst>
      <p:ext uri="{BB962C8B-B14F-4D97-AF65-F5344CB8AC3E}">
        <p14:creationId xmlns:p14="http://schemas.microsoft.com/office/powerpoint/2010/main" val="642348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8588" y="158750"/>
            <a:ext cx="45323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/>
          <a:lstStyle/>
          <a:p>
            <a:fld id="{A4B293AD-DD39-47F8-B0F7-2D35815E1212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0082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>
            <a:extLst>
              <a:ext uri="{FF2B5EF4-FFF2-40B4-BE49-F238E27FC236}">
                <a16:creationId xmlns:a16="http://schemas.microsoft.com/office/drawing/2014/main" id="{380B968E-8BE0-4B4D-B6B1-F75CD87F3B0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97163" y="509588"/>
            <a:ext cx="4532312" cy="2549525"/>
          </a:xfrm>
          <a:ln/>
        </p:spPr>
      </p:sp>
      <p:sp>
        <p:nvSpPr>
          <p:cNvPr id="11266" name="Notes Placeholder 2">
            <a:extLst>
              <a:ext uri="{FF2B5EF4-FFF2-40B4-BE49-F238E27FC236}">
                <a16:creationId xmlns:a16="http://schemas.microsoft.com/office/drawing/2014/main" id="{A75E6F4C-EB95-4632-99A4-7F7B0904BB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7" name="Slide Number Placeholder 3">
            <a:extLst>
              <a:ext uri="{FF2B5EF4-FFF2-40B4-BE49-F238E27FC236}">
                <a16:creationId xmlns:a16="http://schemas.microsoft.com/office/drawing/2014/main" id="{6E6029F8-12F8-46AC-83E0-D3A0E5E0B8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CFC3C16-36FE-4ADC-97F9-5667E8714EE3}" type="slidenum">
              <a:rPr lang="de-DE" altLang="en-US" sz="1200" smtClean="0"/>
              <a:pPr/>
              <a:t>3</a:t>
            </a:fld>
            <a:endParaRPr lang="de-DE" altLang="en-US" sz="1200"/>
          </a:p>
        </p:txBody>
      </p:sp>
    </p:spTree>
    <p:extLst>
      <p:ext uri="{BB962C8B-B14F-4D97-AF65-F5344CB8AC3E}">
        <p14:creationId xmlns:p14="http://schemas.microsoft.com/office/powerpoint/2010/main" val="7796901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8588" y="158750"/>
            <a:ext cx="45323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/>
          <a:lstStyle/>
          <a:p>
            <a:fld id="{A4B293AD-DD39-47F8-B0F7-2D35815E1212}" type="slidenum">
              <a:rPr lang="en-US" smtClean="0">
                <a:solidFill>
                  <a:srgbClr val="000000"/>
                </a:solidFill>
              </a:rPr>
              <a:pPr/>
              <a:t>4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480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8588" y="158750"/>
            <a:ext cx="45323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/>
          <a:lstStyle/>
          <a:p>
            <a:fld id="{A4B293AD-DD39-47F8-B0F7-2D35815E1212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4015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8588" y="158750"/>
            <a:ext cx="45323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/>
          <a:lstStyle/>
          <a:p>
            <a:fld id="{A4B293AD-DD39-47F8-B0F7-2D35815E1212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56425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668588" y="158750"/>
            <a:ext cx="4532312" cy="25495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400" dirty="0"/>
          </a:p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/>
          <a:lstStyle/>
          <a:p>
            <a:fld id="{A4B293AD-DD39-47F8-B0F7-2D35815E1212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05837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>
            <a:extLst>
              <a:ext uri="{FF2B5EF4-FFF2-40B4-BE49-F238E27FC236}">
                <a16:creationId xmlns:a16="http://schemas.microsoft.com/office/drawing/2014/main" id="{380B968E-8BE0-4B4D-B6B1-F75CD87F3B0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97163" y="509588"/>
            <a:ext cx="4532312" cy="2549525"/>
          </a:xfrm>
          <a:ln/>
        </p:spPr>
      </p:sp>
      <p:sp>
        <p:nvSpPr>
          <p:cNvPr id="11266" name="Notes Placeholder 2">
            <a:extLst>
              <a:ext uri="{FF2B5EF4-FFF2-40B4-BE49-F238E27FC236}">
                <a16:creationId xmlns:a16="http://schemas.microsoft.com/office/drawing/2014/main" id="{A75E6F4C-EB95-4632-99A4-7F7B0904BB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7" name="Slide Number Placeholder 3">
            <a:extLst>
              <a:ext uri="{FF2B5EF4-FFF2-40B4-BE49-F238E27FC236}">
                <a16:creationId xmlns:a16="http://schemas.microsoft.com/office/drawing/2014/main" id="{6E6029F8-12F8-46AC-83E0-D3A0E5E0B8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CFC3C16-36FE-4ADC-97F9-5667E8714EE3}" type="slidenum">
              <a:rPr lang="de-DE" altLang="en-US" sz="1200" smtClean="0"/>
              <a:pPr/>
              <a:t>8</a:t>
            </a:fld>
            <a:endParaRPr lang="de-DE" altLang="en-US" sz="1200"/>
          </a:p>
        </p:txBody>
      </p:sp>
    </p:spTree>
    <p:extLst>
      <p:ext uri="{BB962C8B-B14F-4D97-AF65-F5344CB8AC3E}">
        <p14:creationId xmlns:p14="http://schemas.microsoft.com/office/powerpoint/2010/main" val="674870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Slide Image Placeholder 1">
            <a:extLst>
              <a:ext uri="{FF2B5EF4-FFF2-40B4-BE49-F238E27FC236}">
                <a16:creationId xmlns:a16="http://schemas.microsoft.com/office/drawing/2014/main" id="{380B968E-8BE0-4B4D-B6B1-F75CD87F3B02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697163" y="509588"/>
            <a:ext cx="4532312" cy="2549525"/>
          </a:xfrm>
          <a:ln/>
        </p:spPr>
      </p:sp>
      <p:sp>
        <p:nvSpPr>
          <p:cNvPr id="11266" name="Notes Placeholder 2">
            <a:extLst>
              <a:ext uri="{FF2B5EF4-FFF2-40B4-BE49-F238E27FC236}">
                <a16:creationId xmlns:a16="http://schemas.microsoft.com/office/drawing/2014/main" id="{A75E6F4C-EB95-4632-99A4-7F7B0904BB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7" name="Slide Number Placeholder 3">
            <a:extLst>
              <a:ext uri="{FF2B5EF4-FFF2-40B4-BE49-F238E27FC236}">
                <a16:creationId xmlns:a16="http://schemas.microsoft.com/office/drawing/2014/main" id="{6E6029F8-12F8-46AC-83E0-D3A0E5E0B8A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6CFC3C16-36FE-4ADC-97F9-5667E8714EE3}" type="slidenum">
              <a:rPr lang="de-DE" altLang="en-US" sz="1200" smtClean="0"/>
              <a:pPr/>
              <a:t>9</a:t>
            </a:fld>
            <a:endParaRPr lang="de-DE" altLang="en-US" sz="1200"/>
          </a:p>
        </p:txBody>
      </p:sp>
    </p:spTree>
    <p:extLst>
      <p:ext uri="{BB962C8B-B14F-4D97-AF65-F5344CB8AC3E}">
        <p14:creationId xmlns:p14="http://schemas.microsoft.com/office/powerpoint/2010/main" val="1041462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4.jp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755428"/>
            <a:ext cx="9144000" cy="1734047"/>
          </a:xfrm>
        </p:spPr>
        <p:txBody>
          <a:bodyPr anchor="ctr">
            <a:normAutofit/>
          </a:bodyPr>
          <a:lstStyle>
            <a:lvl1pPr algn="ctr">
              <a:defRPr lang="en-US" sz="3600" b="1" kern="1200" dirty="0">
                <a:solidFill>
                  <a:srgbClr val="0872A6"/>
                </a:solidFill>
                <a:latin typeface="Century Gothic" panose="020B0502020202020204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/>
              <a:t>[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725144"/>
            <a:ext cx="9144000" cy="936104"/>
          </a:xfrm>
        </p:spPr>
        <p:txBody>
          <a:bodyPr anchor="b">
            <a:norm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None/>
              <a:defRPr lang="en-US" sz="2000" kern="1200" baseline="0" dirty="0">
                <a:solidFill>
                  <a:srgbClr val="0872A6"/>
                </a:solidFill>
                <a:latin typeface="+mn-lt"/>
                <a:ea typeface="+mn-ea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Subtitle]</a:t>
            </a:r>
          </a:p>
          <a:p>
            <a:r>
              <a:rPr lang="en-US" dirty="0"/>
              <a:t>Month DD, YYYY, Bonn, Germany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648" y="1412776"/>
            <a:ext cx="6432715" cy="1223614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8575" y="5961174"/>
            <a:ext cx="7674851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269153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21418" y="6356351"/>
            <a:ext cx="293522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B11C1A20-AD1D-4DB2-8DF7-1AE11FF04B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0296" y="6356351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sp>
        <p:nvSpPr>
          <p:cNvPr id="45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1093788"/>
            <a:ext cx="3648359" cy="370800"/>
          </a:xfrm>
          <a:solidFill>
            <a:srgbClr val="0872A6"/>
          </a:solidFill>
        </p:spPr>
        <p:txBody>
          <a:bodyPr anchor="ctr" anchorCtr="0"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[Subheading]</a:t>
            </a:r>
            <a:endParaRPr lang="en-GB" dirty="0"/>
          </a:p>
        </p:txBody>
      </p:sp>
      <p:sp>
        <p:nvSpPr>
          <p:cNvPr id="47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4293150" y="1093788"/>
            <a:ext cx="3648241" cy="370800"/>
          </a:xfrm>
          <a:solidFill>
            <a:srgbClr val="0872A6"/>
          </a:solidFill>
        </p:spPr>
        <p:txBody>
          <a:bodyPr anchor="ctr" anchorCtr="0"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[Subheading]</a:t>
            </a:r>
            <a:endParaRPr lang="en-GB" dirty="0"/>
          </a:p>
        </p:txBody>
      </p:sp>
      <p:sp>
        <p:nvSpPr>
          <p:cNvPr id="49" name="Text Placeholder 7"/>
          <p:cNvSpPr>
            <a:spLocks noGrp="1"/>
          </p:cNvSpPr>
          <p:nvPr>
            <p:ph type="body" sz="quarter" idx="18" hasCustomPrompt="1"/>
          </p:nvPr>
        </p:nvSpPr>
        <p:spPr>
          <a:xfrm>
            <a:off x="8153400" y="1093788"/>
            <a:ext cx="3657000" cy="370800"/>
          </a:xfrm>
          <a:solidFill>
            <a:srgbClr val="0872A6"/>
          </a:solidFill>
        </p:spPr>
        <p:txBody>
          <a:bodyPr anchor="ctr" anchorCtr="0">
            <a:normAutofit/>
          </a:bodyPr>
          <a:lstStyle>
            <a:lvl1pPr marL="0" indent="0" algn="l">
              <a:buFont typeface="Wingdings" panose="05000000000000000000" pitchFamily="2" charset="2"/>
              <a:buNone/>
              <a:defRPr sz="14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[Subheading]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380295" y="1464588"/>
            <a:ext cx="3649064" cy="4669146"/>
          </a:xfrm>
          <a:solidFill>
            <a:schemeClr val="bg2"/>
          </a:solidFill>
        </p:spPr>
        <p:txBody>
          <a:bodyPr tIns="182880">
            <a:normAutofit/>
          </a:bodyPr>
          <a:lstStyle>
            <a:lvl1pPr marL="216000" indent="-216000">
              <a:spcBef>
                <a:spcPts val="45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/>
          </p:nvPr>
        </p:nvSpPr>
        <p:spPr>
          <a:xfrm>
            <a:off x="4292327" y="1464588"/>
            <a:ext cx="3649064" cy="4669146"/>
          </a:xfrm>
          <a:solidFill>
            <a:schemeClr val="bg2"/>
          </a:solidFill>
        </p:spPr>
        <p:txBody>
          <a:bodyPr tIns="182880">
            <a:normAutofit/>
          </a:bodyPr>
          <a:lstStyle>
            <a:lvl1pPr marL="216000" indent="-216000">
              <a:spcBef>
                <a:spcPts val="45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1"/>
          </p:nvPr>
        </p:nvSpPr>
        <p:spPr>
          <a:xfrm>
            <a:off x="8153400" y="1464588"/>
            <a:ext cx="3649064" cy="4669146"/>
          </a:xfrm>
          <a:solidFill>
            <a:schemeClr val="bg2"/>
          </a:solidFill>
        </p:spPr>
        <p:txBody>
          <a:bodyPr tIns="182880">
            <a:normAutofit/>
          </a:bodyPr>
          <a:lstStyle>
            <a:lvl1pPr marL="216000" indent="-216000">
              <a:spcBef>
                <a:spcPts val="45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0454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21418" y="6356351"/>
            <a:ext cx="293522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B11C1A20-AD1D-4DB2-8DF7-1AE11FF04B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0296" y="6356351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670561" y="1310252"/>
            <a:ext cx="11139841" cy="1112911"/>
            <a:chOff x="286199" y="1203960"/>
            <a:chExt cx="8571602" cy="1211580"/>
          </a:xfrm>
          <a:solidFill>
            <a:schemeClr val="accent1"/>
          </a:solidFill>
        </p:grpSpPr>
        <p:grpSp>
          <p:nvGrpSpPr>
            <p:cNvPr id="14" name="Group 13"/>
            <p:cNvGrpSpPr/>
            <p:nvPr/>
          </p:nvGrpSpPr>
          <p:grpSpPr>
            <a:xfrm>
              <a:off x="286199" y="1203960"/>
              <a:ext cx="8571602" cy="1211580"/>
              <a:chOff x="524823" y="2243000"/>
              <a:chExt cx="6617426" cy="1043940"/>
            </a:xfrm>
            <a:grpFill/>
          </p:grpSpPr>
          <p:sp>
            <p:nvSpPr>
              <p:cNvPr id="18" name="Pentagon 30"/>
              <p:cNvSpPr/>
              <p:nvPr/>
            </p:nvSpPr>
            <p:spPr>
              <a:xfrm>
                <a:off x="5103397" y="2243000"/>
                <a:ext cx="2038852" cy="1043940"/>
              </a:xfrm>
              <a:prstGeom prst="homePlate">
                <a:avLst>
                  <a:gd name="adj" fmla="val 34672"/>
                </a:avLst>
              </a:prstGeom>
              <a:solidFill>
                <a:srgbClr val="0872A6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GB" sz="120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19" name="Pentagon 31"/>
              <p:cNvSpPr/>
              <p:nvPr/>
            </p:nvSpPr>
            <p:spPr>
              <a:xfrm>
                <a:off x="3554730" y="2243000"/>
                <a:ext cx="2034541" cy="1043940"/>
              </a:xfrm>
              <a:prstGeom prst="homePlate">
                <a:avLst>
                  <a:gd name="adj" fmla="val 34672"/>
                </a:avLst>
              </a:prstGeom>
              <a:solidFill>
                <a:srgbClr val="0872A6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GB" sz="120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20" name="Pentagon 32"/>
              <p:cNvSpPr/>
              <p:nvPr/>
            </p:nvSpPr>
            <p:spPr>
              <a:xfrm>
                <a:off x="2080470" y="2243000"/>
                <a:ext cx="1903288" cy="1043940"/>
              </a:xfrm>
              <a:prstGeom prst="homePlate">
                <a:avLst>
                  <a:gd name="adj" fmla="val 34672"/>
                </a:avLst>
              </a:prstGeom>
              <a:solidFill>
                <a:srgbClr val="0872A6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GB" sz="1200" dirty="0">
                  <a:solidFill>
                    <a:schemeClr val="tx1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  <p:sp>
            <p:nvSpPr>
              <p:cNvPr id="21" name="Pentagon 33"/>
              <p:cNvSpPr/>
              <p:nvPr/>
            </p:nvSpPr>
            <p:spPr>
              <a:xfrm>
                <a:off x="524823" y="2243000"/>
                <a:ext cx="1905956" cy="1043940"/>
              </a:xfrm>
              <a:prstGeom prst="homePlate">
                <a:avLst>
                  <a:gd name="adj" fmla="val 34672"/>
                </a:avLst>
              </a:prstGeom>
              <a:solidFill>
                <a:srgbClr val="0872A6"/>
              </a:solidFill>
              <a:ln w="12700">
                <a:solidFill>
                  <a:schemeClr val="bg1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GB" sz="1200" b="1" dirty="0">
                  <a:solidFill>
                    <a:schemeClr val="bg1"/>
                  </a:solidFill>
                  <a:latin typeface="+mn-lt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2788501" y="1709231"/>
              <a:ext cx="1588402" cy="201038"/>
            </a:xfrm>
            <a:prstGeom prst="rect">
              <a:avLst/>
            </a:prstGeom>
            <a:solidFill>
              <a:srgbClr val="0872A6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marL="0" marR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GB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4816838" y="1709231"/>
              <a:ext cx="1588402" cy="201038"/>
            </a:xfrm>
            <a:prstGeom prst="rect">
              <a:avLst/>
            </a:prstGeom>
            <a:solidFill>
              <a:srgbClr val="0872A6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marL="0" marR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GB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6846216" y="1709231"/>
              <a:ext cx="1588402" cy="201038"/>
            </a:xfrm>
            <a:prstGeom prst="rect">
              <a:avLst/>
            </a:prstGeom>
            <a:solidFill>
              <a:srgbClr val="0872A6"/>
            </a:solidFill>
          </p:spPr>
          <p:txBody>
            <a:bodyPr wrap="square" lIns="0" tIns="0" rIns="0" bIns="0" rtlCol="0" anchor="ctr">
              <a:spAutoFit/>
            </a:bodyPr>
            <a:lstStyle/>
            <a:p>
              <a:pPr marL="0" marR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GB" sz="1200" b="1" dirty="0">
                <a:solidFill>
                  <a:schemeClr val="bg1"/>
                </a:solidFill>
                <a:latin typeface="+mn-lt"/>
                <a:cs typeface="Arial" panose="020B0604020202020204" pitchFamily="34" charset="0"/>
              </a:endParaRPr>
            </a:p>
          </p:txBody>
        </p:sp>
      </p:grpSp>
      <p:sp>
        <p:nvSpPr>
          <p:cNvPr id="22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70985" y="1309689"/>
            <a:ext cx="2964675" cy="1112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05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Step 1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636433" y="1309689"/>
            <a:ext cx="2624667" cy="1112837"/>
          </a:xfr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05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50" b="1" dirty="0"/>
              <a:t>Step 2</a:t>
            </a:r>
            <a:endParaRPr lang="en-GB" dirty="0"/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6254751" y="1309689"/>
            <a:ext cx="2743200" cy="1112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05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50" b="1" dirty="0"/>
              <a:t>Step 3</a:t>
            </a:r>
            <a:endParaRPr lang="en-GB" dirty="0"/>
          </a:p>
        </p:txBody>
      </p:sp>
      <p:sp>
        <p:nvSpPr>
          <p:cNvPr id="25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8997953" y="1309689"/>
            <a:ext cx="2595033" cy="11128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100" b="1" baseline="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GB" sz="1050" b="1" dirty="0"/>
              <a:t>Step 4</a:t>
            </a:r>
            <a:endParaRPr lang="en-GB" dirty="0"/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18"/>
          </p:nvPr>
        </p:nvSpPr>
        <p:spPr>
          <a:xfrm>
            <a:off x="670986" y="2446238"/>
            <a:ext cx="2668289" cy="3575050"/>
          </a:xfrm>
          <a:solidFill>
            <a:schemeClr val="bg2"/>
          </a:solidFill>
        </p:spPr>
        <p:txBody>
          <a:bodyPr tIns="182880">
            <a:normAutofit/>
          </a:bodyPr>
          <a:lstStyle>
            <a:lvl1pPr marL="216000" indent="-216000">
              <a:spcBef>
                <a:spcPts val="45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19"/>
          </p:nvPr>
        </p:nvSpPr>
        <p:spPr>
          <a:xfrm>
            <a:off x="3413379" y="2446238"/>
            <a:ext cx="2523863" cy="3575050"/>
          </a:xfrm>
          <a:solidFill>
            <a:schemeClr val="bg2"/>
          </a:solidFill>
        </p:spPr>
        <p:txBody>
          <a:bodyPr tIns="182880">
            <a:normAutofit/>
          </a:bodyPr>
          <a:lstStyle>
            <a:lvl1pPr marL="216000" indent="-216000">
              <a:spcBef>
                <a:spcPts val="45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0"/>
          </p:nvPr>
        </p:nvSpPr>
        <p:spPr>
          <a:xfrm>
            <a:off x="6011346" y="2446238"/>
            <a:ext cx="2623009" cy="3575050"/>
          </a:xfrm>
          <a:solidFill>
            <a:schemeClr val="bg2"/>
          </a:solidFill>
        </p:spPr>
        <p:txBody>
          <a:bodyPr tIns="182880">
            <a:normAutofit/>
          </a:bodyPr>
          <a:lstStyle>
            <a:lvl1pPr marL="216000" indent="-216000">
              <a:spcBef>
                <a:spcPts val="45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21"/>
          </p:nvPr>
        </p:nvSpPr>
        <p:spPr>
          <a:xfrm>
            <a:off x="8708461" y="2446238"/>
            <a:ext cx="2572116" cy="3575050"/>
          </a:xfrm>
          <a:solidFill>
            <a:schemeClr val="bg2"/>
          </a:solidFill>
        </p:spPr>
        <p:txBody>
          <a:bodyPr tIns="182880">
            <a:normAutofit/>
          </a:bodyPr>
          <a:lstStyle>
            <a:lvl1pPr marL="216000" indent="-216000">
              <a:spcBef>
                <a:spcPts val="45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400">
                <a:solidFill>
                  <a:schemeClr val="tx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48999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tegory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21418" y="6356351"/>
            <a:ext cx="293522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B11C1A20-AD1D-4DB2-8DF7-1AE11FF04B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0296" y="6356351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9610544" y="3295726"/>
            <a:ext cx="2199857" cy="1172133"/>
          </a:xfrm>
          <a:prstGeom prst="rect">
            <a:avLst/>
          </a:prstGeom>
          <a:solidFill>
            <a:srgbClr val="9DB1CF">
              <a:alpha val="36000"/>
            </a:srgbClr>
          </a:solidFill>
        </p:spPr>
        <p:txBody>
          <a:bodyPr wrap="none" lIns="108000" tIns="108000" rIns="108000" bIns="108000" rtlCol="0" anchor="ctr">
            <a:normAutofit/>
          </a:bodyPr>
          <a:lstStyle/>
          <a:p>
            <a:pPr marL="0" lvl="1" defTabSz="361950">
              <a:spcAft>
                <a:spcPts val="1000"/>
              </a:spcAft>
              <a:tabLst>
                <a:tab pos="449263" algn="l"/>
              </a:tabLst>
            </a:pPr>
            <a:endParaRPr lang="en-GB" sz="14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9610544" y="1378980"/>
            <a:ext cx="2199857" cy="1859521"/>
          </a:xfrm>
          <a:prstGeom prst="rect">
            <a:avLst/>
          </a:prstGeom>
          <a:solidFill>
            <a:srgbClr val="9DB1CF">
              <a:alpha val="36000"/>
            </a:srgbClr>
          </a:solidFill>
        </p:spPr>
        <p:txBody>
          <a:bodyPr wrap="none" lIns="108000" tIns="108000" rIns="108000" bIns="108000" rtlCol="0" anchor="ctr">
            <a:normAutofit/>
          </a:bodyPr>
          <a:lstStyle/>
          <a:p>
            <a:pPr marL="0" lvl="1" defTabSz="361950">
              <a:spcAft>
                <a:spcPts val="1000"/>
              </a:spcAft>
              <a:tabLst>
                <a:tab pos="449263" algn="l"/>
              </a:tabLst>
            </a:pPr>
            <a:r>
              <a:rPr lang="en-GB" sz="1400" dirty="0">
                <a:solidFill>
                  <a:srgbClr val="000000"/>
                </a:solidFill>
                <a:latin typeface="+mn-lt"/>
              </a:rPr>
              <a:t>	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381601" y="4614789"/>
            <a:ext cx="1478753" cy="14063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72000" rtlCol="0" anchor="ctr" anchorCtr="0"/>
          <a:lstStyle/>
          <a:p>
            <a:pPr algn="ctr">
              <a:spcAft>
                <a:spcPts val="1000"/>
              </a:spcAft>
            </a:pPr>
            <a:r>
              <a:rPr lang="en-GB" sz="1400" b="1" dirty="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XXXX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381601" y="1379031"/>
            <a:ext cx="1478753" cy="3088829"/>
          </a:xfrm>
          <a:prstGeom prst="rect">
            <a:avLst/>
          </a:prstGeom>
          <a:solidFill>
            <a:srgbClr val="49689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08000" tIns="108000" rIns="108000" bIns="72000" rtlCol="0" anchor="ctr" anchorCtr="0"/>
          <a:lstStyle/>
          <a:p>
            <a:pPr algn="ctr">
              <a:spcAft>
                <a:spcPts val="1000"/>
              </a:spcAft>
            </a:pPr>
            <a:r>
              <a:rPr lang="en-GB" sz="1400" b="1" dirty="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XXXX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460944" y="1038225"/>
            <a:ext cx="135201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GB" sz="1400" b="1" dirty="0">
                <a:solidFill>
                  <a:srgbClr val="000000"/>
                </a:solidFill>
                <a:latin typeface="+mn-lt"/>
              </a:rPr>
              <a:t>XXXX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1926088" y="1301294"/>
            <a:ext cx="2696713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2378555" y="1038225"/>
            <a:ext cx="17783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GB" sz="1400" b="1" dirty="0">
                <a:solidFill>
                  <a:srgbClr val="000000"/>
                </a:solidFill>
                <a:latin typeface="+mn-lt"/>
              </a:rPr>
              <a:t>XXXX</a:t>
            </a:r>
          </a:p>
        </p:txBody>
      </p:sp>
      <p:cxnSp>
        <p:nvCxnSpPr>
          <p:cNvPr id="15" name="Straight Connector 14"/>
          <p:cNvCxnSpPr/>
          <p:nvPr userDrawn="1"/>
        </p:nvCxnSpPr>
        <p:spPr>
          <a:xfrm>
            <a:off x="404604" y="4534956"/>
            <a:ext cx="143689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1912669" y="1378980"/>
            <a:ext cx="2710131" cy="1861494"/>
          </a:xfrm>
          <a:prstGeom prst="rect">
            <a:avLst/>
          </a:prstGeom>
          <a:solidFill>
            <a:srgbClr val="9DB1CF">
              <a:alpha val="36000"/>
            </a:srgbClr>
          </a:solidFill>
        </p:spPr>
        <p:txBody>
          <a:bodyPr wrap="none" lIns="108000" tIns="108000" rIns="108000" bIns="108000" rtlCol="0" anchor="ctr">
            <a:normAutofit/>
          </a:bodyPr>
          <a:lstStyle/>
          <a:p>
            <a:pPr marL="0" lvl="1" defTabSz="361950">
              <a:spcAft>
                <a:spcPts val="1000"/>
              </a:spcAft>
              <a:tabLst>
                <a:tab pos="449263" algn="l"/>
              </a:tabLst>
            </a:pPr>
            <a:r>
              <a:rPr lang="en-GB" sz="1400" dirty="0">
                <a:solidFill>
                  <a:srgbClr val="000000"/>
                </a:solidFill>
                <a:latin typeface="+mn-lt"/>
              </a:rPr>
              <a:t>	</a:t>
            </a:r>
            <a:r>
              <a:rPr lang="en-GB" sz="1400" b="1" dirty="0">
                <a:solidFill>
                  <a:srgbClr val="000000"/>
                </a:solidFill>
                <a:latin typeface="+mn-lt"/>
              </a:rPr>
              <a:t>XXXX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81601" y="1301294"/>
            <a:ext cx="1510700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9551147" y="1038225"/>
            <a:ext cx="225925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GB" sz="1400" b="1" dirty="0">
                <a:solidFill>
                  <a:srgbClr val="000000"/>
                </a:solidFill>
                <a:latin typeface="+mn-lt"/>
              </a:rPr>
              <a:t>XXXX</a:t>
            </a:r>
          </a:p>
        </p:txBody>
      </p:sp>
      <p:cxnSp>
        <p:nvCxnSpPr>
          <p:cNvPr id="19" name="Straight Connector 18"/>
          <p:cNvCxnSpPr/>
          <p:nvPr userDrawn="1"/>
        </p:nvCxnSpPr>
        <p:spPr>
          <a:xfrm>
            <a:off x="9614259" y="1301294"/>
            <a:ext cx="219614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 userDrawn="1"/>
        </p:nvSpPr>
        <p:spPr>
          <a:xfrm>
            <a:off x="1912669" y="3297281"/>
            <a:ext cx="2710131" cy="1170578"/>
          </a:xfrm>
          <a:prstGeom prst="rect">
            <a:avLst/>
          </a:prstGeom>
          <a:solidFill>
            <a:srgbClr val="9DB1CF">
              <a:alpha val="36000"/>
            </a:srgbClr>
          </a:solidFill>
        </p:spPr>
        <p:txBody>
          <a:bodyPr wrap="none" lIns="108000" tIns="108000" rIns="108000" bIns="108000" rtlCol="0" anchor="ctr">
            <a:normAutofit/>
          </a:bodyPr>
          <a:lstStyle/>
          <a:p>
            <a:pPr defTabSz="449263">
              <a:spcBef>
                <a:spcPts val="600"/>
              </a:spcBef>
              <a:spcAft>
                <a:spcPts val="1000"/>
              </a:spcAft>
            </a:pPr>
            <a:r>
              <a:rPr lang="en-GB" sz="1600" dirty="0">
                <a:solidFill>
                  <a:srgbClr val="000000"/>
                </a:solidFill>
                <a:latin typeface="+mn-lt"/>
              </a:rPr>
              <a:t>	</a:t>
            </a:r>
            <a:r>
              <a:rPr lang="en-GB" sz="1400" b="1" dirty="0">
                <a:solidFill>
                  <a:srgbClr val="000000"/>
                </a:solidFill>
                <a:latin typeface="+mn-lt"/>
              </a:rPr>
              <a:t>XXXX</a:t>
            </a:r>
          </a:p>
        </p:txBody>
      </p:sp>
      <p:sp>
        <p:nvSpPr>
          <p:cNvPr id="22" name="Oval 21"/>
          <p:cNvSpPr/>
          <p:nvPr userDrawn="1"/>
        </p:nvSpPr>
        <p:spPr>
          <a:xfrm>
            <a:off x="2024572" y="2100796"/>
            <a:ext cx="510595" cy="382946"/>
          </a:xfrm>
          <a:prstGeom prst="ellipse">
            <a:avLst/>
          </a:prstGeom>
          <a:solidFill>
            <a:srgbClr val="49689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1000"/>
              </a:spcAft>
            </a:pPr>
            <a:r>
              <a:rPr lang="en-GB" sz="1400" b="1" dirty="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2024572" y="3664362"/>
            <a:ext cx="510595" cy="382946"/>
          </a:xfrm>
          <a:prstGeom prst="ellipse">
            <a:avLst/>
          </a:prstGeom>
          <a:solidFill>
            <a:srgbClr val="496895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1000"/>
              </a:spcAft>
            </a:pPr>
            <a:r>
              <a:rPr lang="en-GB" sz="1400" b="1" dirty="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5" name="Oval 24"/>
          <p:cNvSpPr/>
          <p:nvPr userDrawn="1">
            <p:custDataLst>
              <p:tags r:id="rId1"/>
            </p:custDataLst>
          </p:nvPr>
        </p:nvSpPr>
        <p:spPr bwMode="auto">
          <a:xfrm>
            <a:off x="10382251" y="3632200"/>
            <a:ext cx="550333" cy="4127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1000"/>
              </a:spcAft>
            </a:pPr>
            <a:endParaRPr lang="en-GB" sz="1400" b="1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46" name="TextBox 45"/>
          <p:cNvSpPr txBox="1"/>
          <p:nvPr userDrawn="1"/>
        </p:nvSpPr>
        <p:spPr>
          <a:xfrm>
            <a:off x="9610540" y="4614787"/>
            <a:ext cx="2203928" cy="1402470"/>
          </a:xfrm>
          <a:prstGeom prst="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</p:spPr>
        <p:txBody>
          <a:bodyPr wrap="square" rtlCol="0" anchor="ctr" anchorCtr="0">
            <a:noAutofit/>
          </a:bodyPr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US" sz="1600" baseline="0" dirty="0">
                <a:latin typeface="+mn-lt"/>
              </a:rPr>
              <a:t>        </a:t>
            </a:r>
            <a:endParaRPr lang="en-US" sz="1600" dirty="0">
              <a:latin typeface="+mn-lt"/>
            </a:endParaRP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1928603" y="4534956"/>
            <a:ext cx="269419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 userDrawn="1"/>
        </p:nvCxnSpPr>
        <p:spPr>
          <a:xfrm>
            <a:off x="4734703" y="1301294"/>
            <a:ext cx="472679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 userDrawn="1"/>
        </p:nvSpPr>
        <p:spPr>
          <a:xfrm>
            <a:off x="6096001" y="1038225"/>
            <a:ext cx="177835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1000"/>
              </a:spcAft>
            </a:pPr>
            <a:r>
              <a:rPr lang="en-GB" sz="1400" b="1" dirty="0">
                <a:solidFill>
                  <a:srgbClr val="000000"/>
                </a:solidFill>
                <a:latin typeface="+mn-lt"/>
              </a:rPr>
              <a:t>XXXX</a:t>
            </a:r>
          </a:p>
        </p:txBody>
      </p:sp>
      <p:cxnSp>
        <p:nvCxnSpPr>
          <p:cNvPr id="31" name="Straight Connector 30"/>
          <p:cNvCxnSpPr/>
          <p:nvPr userDrawn="1"/>
        </p:nvCxnSpPr>
        <p:spPr>
          <a:xfrm>
            <a:off x="4734704" y="4534956"/>
            <a:ext cx="476393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 userDrawn="1"/>
        </p:nvCxnSpPr>
        <p:spPr>
          <a:xfrm>
            <a:off x="9614259" y="4534956"/>
            <a:ext cx="219614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 userDrawn="1"/>
        </p:nvSpPr>
        <p:spPr>
          <a:xfrm>
            <a:off x="4734704" y="1378980"/>
            <a:ext cx="4763937" cy="1859521"/>
          </a:xfrm>
          <a:prstGeom prst="rect">
            <a:avLst/>
          </a:prstGeom>
          <a:solidFill>
            <a:srgbClr val="9DB1CF">
              <a:alpha val="36000"/>
            </a:srgbClr>
          </a:solidFill>
        </p:spPr>
        <p:txBody>
          <a:bodyPr wrap="none" lIns="108000" tIns="108000" rIns="108000" bIns="108000" rtlCol="0" anchor="ctr">
            <a:noAutofit/>
          </a:bodyPr>
          <a:lstStyle/>
          <a:p>
            <a:pPr marL="285750" indent="-285750" fontAlgn="ctr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rgbClr val="000000"/>
                </a:solidFill>
                <a:latin typeface="+mn-lt"/>
              </a:rPr>
              <a:t>XXXX</a:t>
            </a:r>
          </a:p>
        </p:txBody>
      </p:sp>
      <p:sp>
        <p:nvSpPr>
          <p:cNvPr id="34" name="TextBox 33"/>
          <p:cNvSpPr txBox="1"/>
          <p:nvPr userDrawn="1"/>
        </p:nvSpPr>
        <p:spPr>
          <a:xfrm>
            <a:off x="4721043" y="3296206"/>
            <a:ext cx="4777597" cy="1171653"/>
          </a:xfrm>
          <a:prstGeom prst="rect">
            <a:avLst/>
          </a:prstGeom>
          <a:solidFill>
            <a:srgbClr val="9DB1CF">
              <a:alpha val="36000"/>
            </a:srgbClr>
          </a:solidFill>
        </p:spPr>
        <p:txBody>
          <a:bodyPr wrap="square" lIns="108000" tIns="108000" rIns="108000" bIns="108000" rtlCol="0" anchor="ctr">
            <a:normAutofit/>
          </a:bodyPr>
          <a:lstStyle/>
          <a:p>
            <a:pPr marL="285750" indent="-285750">
              <a:lnSpc>
                <a:spcPct val="120000"/>
              </a:lnSpc>
              <a:buFont typeface="Wingdings" panose="05000000000000000000" pitchFamily="2" charset="2"/>
              <a:buChar char="§"/>
            </a:pPr>
            <a:r>
              <a:rPr lang="en-GB" sz="1400" dirty="0">
                <a:solidFill>
                  <a:srgbClr val="000000"/>
                </a:solidFill>
                <a:latin typeface="+mn-lt"/>
              </a:rPr>
              <a:t>XXXX</a:t>
            </a:r>
          </a:p>
        </p:txBody>
      </p:sp>
      <p:sp>
        <p:nvSpPr>
          <p:cNvPr id="36" name="Oval 35"/>
          <p:cNvSpPr/>
          <p:nvPr userDrawn="1">
            <p:custDataLst>
              <p:tags r:id="rId2"/>
            </p:custDataLst>
          </p:nvPr>
        </p:nvSpPr>
        <p:spPr bwMode="auto">
          <a:xfrm>
            <a:off x="10382251" y="2084388"/>
            <a:ext cx="550333" cy="4127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1000"/>
              </a:spcAft>
            </a:pPr>
            <a:endParaRPr lang="en-GB" sz="1400" b="1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37" name="Arc 36"/>
          <p:cNvSpPr/>
          <p:nvPr userDrawn="1">
            <p:custDataLst>
              <p:tags r:id="rId3"/>
            </p:custDataLst>
          </p:nvPr>
        </p:nvSpPr>
        <p:spPr bwMode="gray">
          <a:xfrm>
            <a:off x="10382251" y="2084388"/>
            <a:ext cx="550333" cy="412750"/>
          </a:xfrm>
          <a:prstGeom prst="arc">
            <a:avLst>
              <a:gd name="adj1" fmla="val 16200000"/>
              <a:gd name="adj2" fmla="val 10800000"/>
            </a:avLst>
          </a:prstGeom>
          <a:solidFill>
            <a:schemeClr val="tx1"/>
          </a:solidFill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rgbClr val="000000"/>
              </a:solidFill>
              <a:latin typeface="+mn-lt"/>
            </a:endParaRP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404604" y="6084356"/>
            <a:ext cx="143689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/>
          <p:nvPr userDrawn="1"/>
        </p:nvCxnSpPr>
        <p:spPr>
          <a:xfrm>
            <a:off x="1928603" y="6084356"/>
            <a:ext cx="269419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 userDrawn="1"/>
        </p:nvCxnSpPr>
        <p:spPr>
          <a:xfrm>
            <a:off x="4734704" y="6084356"/>
            <a:ext cx="4763937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 userDrawn="1"/>
        </p:nvCxnSpPr>
        <p:spPr>
          <a:xfrm>
            <a:off x="9614259" y="6084356"/>
            <a:ext cx="2196141" cy="0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/>
          <p:cNvSpPr txBox="1"/>
          <p:nvPr userDrawn="1"/>
        </p:nvSpPr>
        <p:spPr>
          <a:xfrm>
            <a:off x="4734702" y="4614787"/>
            <a:ext cx="4763937" cy="1402470"/>
          </a:xfrm>
          <a:prstGeom prst="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</p:spPr>
        <p:txBody>
          <a:bodyPr wrap="square" rtlCol="0" anchor="ctr" anchorCtr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400" dirty="0">
                <a:latin typeface="+mn-lt"/>
              </a:rPr>
              <a:t>XXXX</a:t>
            </a:r>
            <a:endParaRPr lang="en-US" sz="1600" dirty="0">
              <a:latin typeface="+mn-lt"/>
            </a:endParaRPr>
          </a:p>
        </p:txBody>
      </p:sp>
      <p:sp>
        <p:nvSpPr>
          <p:cNvPr id="45" name="TextBox 44"/>
          <p:cNvSpPr txBox="1"/>
          <p:nvPr userDrawn="1"/>
        </p:nvSpPr>
        <p:spPr>
          <a:xfrm>
            <a:off x="1926088" y="4614538"/>
            <a:ext cx="2696713" cy="1402470"/>
          </a:xfrm>
          <a:prstGeom prst="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</p:spPr>
        <p:txBody>
          <a:bodyPr wrap="square" rtlCol="0" anchor="ctr" anchorCtr="0">
            <a:noAutofit/>
          </a:bodyPr>
          <a:lstStyle/>
          <a:p>
            <a:pPr marL="0" indent="0">
              <a:buFont typeface="Wingdings" panose="05000000000000000000" pitchFamily="2" charset="2"/>
              <a:buNone/>
            </a:pPr>
            <a:r>
              <a:rPr lang="en-US" sz="1600" baseline="0" dirty="0">
                <a:latin typeface="+mn-lt"/>
              </a:rPr>
              <a:t>         </a:t>
            </a:r>
            <a:r>
              <a:rPr lang="en-US" sz="1400" b="1" dirty="0">
                <a:latin typeface="+mn-lt"/>
              </a:rPr>
              <a:t>XXXX</a:t>
            </a:r>
            <a:endParaRPr lang="en-US" sz="1600" b="1" dirty="0">
              <a:latin typeface="+mn-lt"/>
            </a:endParaRPr>
          </a:p>
        </p:txBody>
      </p:sp>
      <p:sp>
        <p:nvSpPr>
          <p:cNvPr id="26" name="Oval 25"/>
          <p:cNvSpPr/>
          <p:nvPr userDrawn="1">
            <p:custDataLst>
              <p:tags r:id="rId4"/>
            </p:custDataLst>
          </p:nvPr>
        </p:nvSpPr>
        <p:spPr bwMode="auto">
          <a:xfrm>
            <a:off x="10382251" y="5035550"/>
            <a:ext cx="550333" cy="4127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1000"/>
              </a:spcAft>
            </a:pPr>
            <a:endParaRPr lang="en-GB" sz="1400" b="1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7" name="Arc 26"/>
          <p:cNvSpPr/>
          <p:nvPr userDrawn="1">
            <p:custDataLst>
              <p:tags r:id="rId5"/>
            </p:custDataLst>
          </p:nvPr>
        </p:nvSpPr>
        <p:spPr bwMode="gray">
          <a:xfrm>
            <a:off x="10382251" y="5035550"/>
            <a:ext cx="550333" cy="412748"/>
          </a:xfrm>
          <a:prstGeom prst="arc">
            <a:avLst>
              <a:gd name="adj1" fmla="val 16200000"/>
              <a:gd name="adj2" fmla="val 18900000"/>
            </a:avLst>
          </a:prstGeom>
          <a:solidFill>
            <a:schemeClr val="tx1"/>
          </a:solidFill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160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2" name="TextBox 41"/>
          <p:cNvSpPr txBox="1"/>
          <p:nvPr userDrawn="1"/>
        </p:nvSpPr>
        <p:spPr>
          <a:xfrm>
            <a:off x="10932585" y="5010166"/>
            <a:ext cx="302004" cy="1436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R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tabLst/>
            </a:pPr>
            <a:r>
              <a:rPr lang="en-US" sz="1400" baseline="30000" dirty="0">
                <a:latin typeface="+mn-lt"/>
              </a:rPr>
              <a:t>2</a:t>
            </a:r>
            <a:endParaRPr lang="en-GB" sz="1400" baseline="30000" dirty="0">
              <a:latin typeface="+mn-lt"/>
            </a:endParaRPr>
          </a:p>
        </p:txBody>
      </p:sp>
      <p:sp>
        <p:nvSpPr>
          <p:cNvPr id="24" name="Oval 23"/>
          <p:cNvSpPr/>
          <p:nvPr userDrawn="1"/>
        </p:nvSpPr>
        <p:spPr>
          <a:xfrm>
            <a:off x="2037272" y="5126472"/>
            <a:ext cx="510595" cy="382946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 anchorCtr="0"/>
          <a:lstStyle/>
          <a:p>
            <a:pPr algn="ctr">
              <a:spcAft>
                <a:spcPts val="1000"/>
              </a:spcAft>
            </a:pPr>
            <a:r>
              <a:rPr lang="en-GB" sz="1400" b="1" dirty="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4824210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21418" y="6356351"/>
            <a:ext cx="293522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B11C1A20-AD1D-4DB2-8DF7-1AE11FF04B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0296" y="6356351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graphicFrame>
        <p:nvGraphicFramePr>
          <p:cNvPr id="43" name="Table 42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138960580"/>
              </p:ext>
            </p:extLst>
          </p:nvPr>
        </p:nvGraphicFramePr>
        <p:xfrm>
          <a:off x="381597" y="1043837"/>
          <a:ext cx="11182683" cy="50494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02989">
                  <a:extLst>
                    <a:ext uri="{9D8B030D-6E8A-4147-A177-3AD203B41FA5}">
                      <a16:colId xmlns:a16="http://schemas.microsoft.com/office/drawing/2014/main" val="4239728997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3902213176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897809092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3308216603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3528694218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2587006644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3268517318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970855790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905061240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3028231469"/>
                    </a:ext>
                  </a:extLst>
                </a:gridCol>
                <a:gridCol w="967969">
                  <a:extLst>
                    <a:ext uri="{9D8B030D-6E8A-4147-A177-3AD203B41FA5}">
                      <a16:colId xmlns:a16="http://schemas.microsoft.com/office/drawing/2014/main" val="2706548612"/>
                    </a:ext>
                  </a:extLst>
                </a:gridCol>
              </a:tblGrid>
              <a:tr h="459042">
                <a:tc>
                  <a:txBody>
                    <a:bodyPr/>
                    <a:lstStyle/>
                    <a:p>
                      <a:pPr algn="ctr"/>
                      <a:endParaRPr lang="en-GB" sz="1050" b="1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rgbClr val="0872A6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  <a:endParaRPr lang="en-GB" sz="1050" b="1" kern="1200" baseline="30000" noProof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rgbClr val="0872A6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05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uLnTx/>
                        <a:uFillTx/>
                        <a:latin typeface="Lato"/>
                        <a:ea typeface="+mn-ea"/>
                        <a:cs typeface="+mn-cs"/>
                      </a:endParaRPr>
                    </a:p>
                  </a:txBody>
                  <a:tcPr marL="0" marR="0" anchor="ctr"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  <a:endParaRPr kumimoji="0" lang="en-GB" sz="1050" b="1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rgbClr val="0872A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050" b="1" baseline="300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</a:endParaRPr>
                    </a:p>
                  </a:txBody>
                  <a:tcPr marL="0" marR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  <a:endParaRPr lang="en-GB" sz="1050" b="1" baseline="300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rgbClr val="0872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  <a:endParaRPr lang="en-GB" sz="1050" b="1" baseline="300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rgbClr val="0872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  <a:endParaRPr lang="en-GB" sz="1050" b="1" baseline="300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rgbClr val="0872A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  <a:endParaRPr lang="en-GB" sz="1050" b="1" baseline="300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rgbClr val="0872A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latinLnBrk="0" hangingPunct="1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  <a:endParaRPr lang="en-GB" sz="1050" b="1" kern="1200" baseline="300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rgbClr val="0872A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783" rtl="0" eaLnBrk="1" latinLnBrk="0" hangingPunct="1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  <a:endParaRPr lang="en-GB" sz="1050" b="1" kern="1200" baseline="300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rgbClr val="0872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4328562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694046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29104872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8742046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4757269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4389587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0688673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3342820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5736974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2152786"/>
                  </a:ext>
                </a:extLst>
              </a:tr>
              <a:tr h="4590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XXXX</a:t>
                      </a:r>
                    </a:p>
                  </a:txBody>
                  <a:tcPr marL="121920" marR="12192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121920" marR="12192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7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700" marR="12700" marT="9525" marB="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9568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86116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45398" y="3676992"/>
            <a:ext cx="3603471" cy="2560320"/>
          </a:xfrm>
          <a:prstGeom prst="rect">
            <a:avLst/>
          </a:prstGeom>
        </p:spPr>
        <p:txBody>
          <a:bodyPr tIns="91440" bIns="91440"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6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0296" y="6356351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249399" y="3676992"/>
            <a:ext cx="3603471" cy="2560320"/>
          </a:xfrm>
          <a:prstGeom prst="rect">
            <a:avLst/>
          </a:prstGeom>
        </p:spPr>
        <p:txBody>
          <a:bodyPr tIns="91440" bIns="91440"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6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 hasCustomPrompt="1"/>
          </p:nvPr>
        </p:nvSpPr>
        <p:spPr>
          <a:xfrm>
            <a:off x="8153401" y="3676992"/>
            <a:ext cx="3603471" cy="2560320"/>
          </a:xfrm>
          <a:prstGeom prst="rect">
            <a:avLst/>
          </a:prstGeom>
        </p:spPr>
        <p:txBody>
          <a:bodyPr tIns="91440" bIns="91440">
            <a:normAutofit/>
          </a:bodyPr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6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/>
          </p:nvPr>
        </p:nvSpPr>
        <p:spPr>
          <a:xfrm>
            <a:off x="345398" y="1039666"/>
            <a:ext cx="3603471" cy="1912248"/>
          </a:xfrm>
          <a:prstGeom prst="rect">
            <a:avLst/>
          </a:prstGeom>
        </p:spPr>
        <p:txBody>
          <a:bodyPr tIns="91440" bIns="91440"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None/>
              <a:defRPr sz="16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6"/>
          </p:nvPr>
        </p:nvSpPr>
        <p:spPr>
          <a:xfrm>
            <a:off x="4249399" y="1039666"/>
            <a:ext cx="3603471" cy="1912248"/>
          </a:xfrm>
          <a:prstGeom prst="rect">
            <a:avLst/>
          </a:prstGeom>
        </p:spPr>
        <p:txBody>
          <a:bodyPr tIns="91440" bIns="91440"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None/>
              <a:defRPr sz="16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7"/>
          </p:nvPr>
        </p:nvSpPr>
        <p:spPr>
          <a:xfrm>
            <a:off x="8153401" y="1039666"/>
            <a:ext cx="3603471" cy="1912248"/>
          </a:xfrm>
          <a:prstGeom prst="rect">
            <a:avLst/>
          </a:prstGeom>
        </p:spPr>
        <p:txBody>
          <a:bodyPr tIns="91440" bIns="91440">
            <a:norm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None/>
              <a:defRPr sz="16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5230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8055" y="1628801"/>
            <a:ext cx="7055892" cy="134215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725144"/>
            <a:ext cx="9144000" cy="936104"/>
          </a:xfrm>
        </p:spPr>
        <p:txBody>
          <a:bodyPr anchor="ctr">
            <a:normAutofit/>
          </a:bodyPr>
          <a:lstStyle>
            <a:lvl1pPr marL="0" indent="0" algn="ctr" rtl="0" fontAlgn="base">
              <a:spcBef>
                <a:spcPct val="0"/>
              </a:spcBef>
              <a:spcAft>
                <a:spcPct val="0"/>
              </a:spcAft>
              <a:buNone/>
              <a:defRPr lang="en-US" sz="2800" kern="1200" baseline="0" dirty="0">
                <a:solidFill>
                  <a:srgbClr val="0872A6"/>
                </a:solidFill>
                <a:latin typeface="Century Gothic" panose="020B0502020202020204" pitchFamily="34" charset="0"/>
                <a:ea typeface="+mn-ea"/>
                <a:cs typeface="Arial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[Presenter] [email@irena.org]</a:t>
            </a:r>
          </a:p>
        </p:txBody>
      </p:sp>
      <p:pic>
        <p:nvPicPr>
          <p:cNvPr id="6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8575" y="5961174"/>
            <a:ext cx="7674851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73926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CF6C0-A089-4EE5-8727-251F07F89007}" type="datetimeFigureOut">
              <a:rPr lang="en-US" smtClean="0"/>
              <a:t>3/2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155AC-6EA6-42F8-B731-59D13FB17F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6125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CF6C0-A089-4EE5-8727-251F07F89007}" type="datetimeFigureOut">
              <a:rPr lang="en-US" smtClean="0"/>
              <a:t>3/2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155AC-6EA6-42F8-B731-59D13FB17F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9683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648" y="1412776"/>
            <a:ext cx="6432715" cy="1223614"/>
          </a:xfrm>
          <a:prstGeom prst="rect">
            <a:avLst/>
          </a:prstGeom>
        </p:spPr>
      </p:pic>
      <p:pic>
        <p:nvPicPr>
          <p:cNvPr id="9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8575" y="5961174"/>
            <a:ext cx="7674851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10102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1C1A20-AD1D-4DB2-8DF7-1AE11FF0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144179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1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361" y="1556792"/>
            <a:ext cx="11476345" cy="576064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4038" y="2327574"/>
            <a:ext cx="11476345" cy="576064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34038" y="3871056"/>
            <a:ext cx="11476345" cy="576064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334038" y="4647839"/>
            <a:ext cx="11476345" cy="576064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34038" y="3100274"/>
            <a:ext cx="11476345" cy="576064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12" name="Footer Placeholder 4"/>
          <p:cNvSpPr txBox="1">
            <a:spLocks/>
          </p:cNvSpPr>
          <p:nvPr userDrawn="1"/>
        </p:nvSpPr>
        <p:spPr>
          <a:xfrm>
            <a:off x="0" y="6492876"/>
            <a:ext cx="802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© IRENA 2017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34038" y="1268760"/>
            <a:ext cx="11476345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86243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4"/>
          <p:cNvSpPr txBox="1">
            <a:spLocks/>
          </p:cNvSpPr>
          <p:nvPr userDrawn="1"/>
        </p:nvSpPr>
        <p:spPr>
          <a:xfrm>
            <a:off x="0" y="6492876"/>
            <a:ext cx="802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© IRENA 2017</a:t>
            </a:r>
          </a:p>
        </p:txBody>
      </p:sp>
    </p:spTree>
    <p:extLst>
      <p:ext uri="{BB962C8B-B14F-4D97-AF65-F5344CB8AC3E}">
        <p14:creationId xmlns:p14="http://schemas.microsoft.com/office/powerpoint/2010/main" val="10648814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3/2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Source: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1C1A20-AD1D-4DB2-8DF7-1AE11FF04B0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400" y="0"/>
            <a:ext cx="12192000" cy="685800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334038" y="1268760"/>
            <a:ext cx="11476345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51951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: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1C1A20-AD1D-4DB2-8DF7-1AE11FF0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5943107"/>
      </p:ext>
    </p:extLst>
  </p:cSld>
  <p:clrMapOvr>
    <a:masterClrMapping/>
  </p:clrMapOvr>
  <p:hf hd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CF6C0-A089-4EE5-8727-251F07F89007}" type="datetimeFigureOut">
              <a:rPr lang="en-US" smtClean="0"/>
              <a:t>3/26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155AC-6EA6-42F8-B731-59D13FB17F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9280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FCF6C0-A089-4EE5-8727-251F07F89007}" type="datetimeFigureOut">
              <a:rPr lang="en-US" smtClean="0"/>
              <a:t>3/26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6155AC-6EA6-42F8-B731-59D13FB17F5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89176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: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1C1A20-AD1D-4DB2-8DF7-1AE11FF0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911085"/>
      </p:ext>
    </p:extLst>
  </p:cSld>
  <p:clrMapOvr>
    <a:masterClrMapping/>
  </p:clrMapOvr>
  <p:hf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: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1C1A20-AD1D-4DB2-8DF7-1AE11FF0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7628142"/>
      </p:ext>
    </p:extLst>
  </p:cSld>
  <p:clrMapOvr>
    <a:masterClrMapping/>
  </p:clrMapOvr>
  <p:hf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1C1A20-AD1D-4DB2-8DF7-1AE11FF0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4609667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Source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1C1A20-AD1D-4DB2-8DF7-1AE11FF0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167479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F434294E-9809-48A9-8166-2276AD5D0C1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664620" y="6381328"/>
            <a:ext cx="515741" cy="21560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233BD-62D7-4045-9C0B-E600BFF52045}" type="slidenum">
              <a:rPr lang="de-DE" altLang="en-US"/>
              <a:pPr>
                <a:defRPr/>
              </a:pPr>
              <a:t>‹#›</a:t>
            </a:fld>
            <a:endParaRPr lang="de-DE" alt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1D37F25-F7D0-4513-85D0-8CA0AA2A8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371" y="116632"/>
            <a:ext cx="11064240" cy="527346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209FC4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3DACD6F-2C61-4057-94B4-B00B9D456E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0863" y="981078"/>
            <a:ext cx="11064240" cy="51847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61401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_in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31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lang="en-US" sz="3200" b="1" kern="1200" dirty="0">
                <a:solidFill>
                  <a:srgbClr val="0872A6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361" y="1556792"/>
            <a:ext cx="11476345" cy="576064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 hasCustomPrompt="1"/>
          </p:nvPr>
        </p:nvSpPr>
        <p:spPr>
          <a:xfrm>
            <a:off x="334038" y="2327574"/>
            <a:ext cx="11476345" cy="576064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334038" y="3871056"/>
            <a:ext cx="11476345" cy="576064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 hasCustomPrompt="1"/>
          </p:nvPr>
        </p:nvSpPr>
        <p:spPr>
          <a:xfrm>
            <a:off x="334038" y="4647839"/>
            <a:ext cx="11476345" cy="576064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 hasCustomPrompt="1"/>
          </p:nvPr>
        </p:nvSpPr>
        <p:spPr>
          <a:xfrm>
            <a:off x="334038" y="3100274"/>
            <a:ext cx="11476345" cy="576064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 [Section title]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0" y="6492876"/>
            <a:ext cx="802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chemeClr val="bg1">
                    <a:lumMod val="75000"/>
                  </a:schemeClr>
                </a:solidFill>
                <a:latin typeface="+mn-lt"/>
              </a:rPr>
              <a:t>© IRENA 2017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34038" y="1268760"/>
            <a:ext cx="11476345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5967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>
            <a:extLst>
              <a:ext uri="{FF2B5EF4-FFF2-40B4-BE49-F238E27FC236}">
                <a16:creationId xmlns:a16="http://schemas.microsoft.com/office/drawing/2014/main" id="{FDC35B37-E386-A340-B2DE-DB693A77B1E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712575" y="6381750"/>
            <a:ext cx="450850" cy="30638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2F8765-B852-1248-A10E-BC6B672CEE44}" type="slidenum">
              <a:rPr lang="de-DE" altLang="en-US"/>
              <a:pPr>
                <a:defRPr/>
              </a:pPr>
              <a:t>‹#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913198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851" y="1709739"/>
            <a:ext cx="10515600" cy="2852737"/>
          </a:xfrm>
        </p:spPr>
        <p:txBody>
          <a:bodyPr anchor="b">
            <a:normAutofit/>
          </a:bodyPr>
          <a:lstStyle>
            <a:lvl1pPr>
              <a:defRPr lang="en-US" sz="3600" b="1" kern="1200" dirty="0">
                <a:solidFill>
                  <a:srgbClr val="0872A6"/>
                </a:solidFill>
                <a:latin typeface="Century Gothic" panose="020B0502020202020204" pitchFamily="34" charset="0"/>
                <a:ea typeface="+mn-ea"/>
                <a:cs typeface="Arial" charset="0"/>
              </a:defRPr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[Section subtitle]</a:t>
            </a:r>
          </a:p>
        </p:txBody>
      </p:sp>
      <p:sp>
        <p:nvSpPr>
          <p:cNvPr id="5" name="Footer Placeholder 4"/>
          <p:cNvSpPr txBox="1">
            <a:spLocks/>
          </p:cNvSpPr>
          <p:nvPr userDrawn="1"/>
        </p:nvSpPr>
        <p:spPr>
          <a:xfrm>
            <a:off x="0" y="6492876"/>
            <a:ext cx="8026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000" dirty="0">
                <a:solidFill>
                  <a:schemeClr val="bg1">
                    <a:lumMod val="75000"/>
                  </a:schemeClr>
                </a:solidFill>
              </a:rPr>
              <a:t>© IRENA 2017</a:t>
            </a:r>
          </a:p>
        </p:txBody>
      </p:sp>
    </p:spTree>
    <p:extLst>
      <p:ext uri="{BB962C8B-B14F-4D97-AF65-F5344CB8AC3E}">
        <p14:creationId xmlns:p14="http://schemas.microsoft.com/office/powerpoint/2010/main" val="42742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81617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04665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0294" y="1556792"/>
            <a:ext cx="11476345" cy="4663032"/>
          </a:xfrm>
          <a:prstGeom prst="rect">
            <a:avLst/>
          </a:prstGeom>
        </p:spPr>
        <p:txBody>
          <a:bodyPr tIns="91440" bIns="9144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400">
                <a:latin typeface="+mn-lt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000">
                <a:latin typeface="+mn-lt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0296" y="6356351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34038" y="1268760"/>
            <a:ext cx="11476345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437980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40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35360" y="1560860"/>
            <a:ext cx="5664629" cy="466303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4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000">
                <a:latin typeface="+mn-lt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4646" y="6356350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13440" y="6356351"/>
            <a:ext cx="274320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B11C1A20-AD1D-4DB2-8DF7-1AE11FF04B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3"/>
          </p:nvPr>
        </p:nvSpPr>
        <p:spPr>
          <a:xfrm>
            <a:off x="6192011" y="1560860"/>
            <a:ext cx="5664629" cy="466303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4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000">
                <a:latin typeface="+mn-lt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34038" y="1268760"/>
            <a:ext cx="11476345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44961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40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>
          <a:xfrm>
            <a:off x="335360" y="4725144"/>
            <a:ext cx="5608320" cy="1498748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4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4646" y="6356350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13440" y="6356351"/>
            <a:ext cx="274320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B11C1A20-AD1D-4DB2-8DF7-1AE11FF04B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3" hasCustomPrompt="1"/>
          </p:nvPr>
        </p:nvSpPr>
        <p:spPr>
          <a:xfrm>
            <a:off x="6248320" y="4725144"/>
            <a:ext cx="5608320" cy="1498748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4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6096000" y="1556792"/>
            <a:ext cx="0" cy="4667100"/>
          </a:xfrm>
          <a:prstGeom prst="line">
            <a:avLst/>
          </a:prstGeom>
          <a:ln w="12700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334038" y="1268760"/>
            <a:ext cx="11476345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03543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40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35360" y="1560860"/>
            <a:ext cx="6217920" cy="4663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None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4646" y="6356350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13440" y="6356351"/>
            <a:ext cx="274320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B11C1A20-AD1D-4DB2-8DF7-1AE11FF04B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3"/>
          </p:nvPr>
        </p:nvSpPr>
        <p:spPr>
          <a:xfrm>
            <a:off x="6672064" y="1560860"/>
            <a:ext cx="5184576" cy="4663032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 tIns="91440" bIns="9144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4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000">
                <a:latin typeface="+mn-lt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000">
                <a:latin typeface="+mn-lt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34038" y="1268760"/>
            <a:ext cx="11476345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59042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400" y="0"/>
            <a:ext cx="12192000" cy="6858000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35360" y="424452"/>
            <a:ext cx="11228917" cy="484269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rgbClr val="0872A6"/>
                </a:solidFill>
                <a:latin typeface="+mn-lt"/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35360" y="1560860"/>
            <a:ext cx="5181600" cy="4663032"/>
          </a:xfrm>
          <a:prstGeom prst="rect">
            <a:avLst/>
          </a:prstGeom>
          <a:solidFill>
            <a:schemeClr val="bg2"/>
          </a:solidFill>
          <a:ln>
            <a:solidFill>
              <a:schemeClr val="bg2">
                <a:lumMod val="75000"/>
              </a:schemeClr>
            </a:solidFill>
          </a:ln>
        </p:spPr>
        <p:txBody>
          <a:bodyPr tIns="91440" bIns="91440"/>
          <a:lstStyle>
            <a:lvl1pPr marL="2286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4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000">
                <a:latin typeface="+mn-lt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2000">
                <a:latin typeface="+mn-lt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Calibri" panose="020F0502020204030204" pitchFamily="34" charset="0"/>
              <a:buChar char="»"/>
              <a:defRPr sz="1800">
                <a:latin typeface="+mn-lt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24646" y="6356350"/>
            <a:ext cx="7773105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 algn="l"/>
            <a:r>
              <a:rPr lang="en-US"/>
              <a:t>Source: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113440" y="6356351"/>
            <a:ext cx="274320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fld id="{B11C1A20-AD1D-4DB2-8DF7-1AE11FF04B0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idx="13"/>
          </p:nvPr>
        </p:nvSpPr>
        <p:spPr>
          <a:xfrm>
            <a:off x="5638720" y="1556791"/>
            <a:ext cx="6217920" cy="4663032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None/>
              <a:defRPr sz="2800">
                <a:latin typeface="+mn-lt"/>
                <a:cs typeface="Arial" panose="020B0604020202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>
                <a:srgbClr val="0872A6"/>
              </a:buClr>
              <a:buFont typeface="Wingdings" panose="05000000000000000000" pitchFamily="2" charset="2"/>
              <a:buChar char="§"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34038" y="1268760"/>
            <a:ext cx="11476345" cy="0"/>
          </a:xfrm>
          <a:prstGeom prst="line">
            <a:avLst/>
          </a:prstGeom>
          <a:ln w="12700"/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64720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1C1A20-AD1D-4DB2-8DF7-1AE11FF0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232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9" r:id="rId1"/>
    <p:sldLayoutId id="2147484240" r:id="rId2"/>
    <p:sldLayoutId id="2147484244" r:id="rId3"/>
    <p:sldLayoutId id="2147484231" r:id="rId4"/>
    <p:sldLayoutId id="2147484243" r:id="rId5"/>
    <p:sldLayoutId id="2147484232" r:id="rId6"/>
    <p:sldLayoutId id="2147484249" r:id="rId7"/>
    <p:sldLayoutId id="2147484242" r:id="rId8"/>
    <p:sldLayoutId id="2147484241" r:id="rId9"/>
    <p:sldLayoutId id="2147484248" r:id="rId10"/>
    <p:sldLayoutId id="2147484250" r:id="rId11"/>
    <p:sldLayoutId id="2147484247" r:id="rId12"/>
    <p:sldLayoutId id="2147484251" r:id="rId13"/>
    <p:sldLayoutId id="2147484246" r:id="rId14"/>
    <p:sldLayoutId id="2147484227" r:id="rId15"/>
    <p:sldLayoutId id="2147484252" r:id="rId16"/>
    <p:sldLayoutId id="2147484253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Source: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1C1A20-AD1D-4DB2-8DF7-1AE11FF04B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57456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5" r:id="rId1"/>
    <p:sldLayoutId id="2147484256" r:id="rId2"/>
    <p:sldLayoutId id="2147484257" r:id="rId3"/>
    <p:sldLayoutId id="2147484258" r:id="rId4"/>
    <p:sldLayoutId id="2147484259" r:id="rId5"/>
    <p:sldLayoutId id="2147484260" r:id="rId6"/>
    <p:sldLayoutId id="2147484261" r:id="rId7"/>
    <p:sldLayoutId id="2147484262" r:id="rId8"/>
    <p:sldLayoutId id="2147484263" r:id="rId9"/>
    <p:sldLayoutId id="2147484264" r:id="rId10"/>
    <p:sldLayoutId id="2147484265" r:id="rId11"/>
    <p:sldLayoutId id="2147484266" r:id="rId12"/>
    <p:sldLayoutId id="2147484267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122.xml"/><Relationship Id="rId299" Type="http://schemas.openxmlformats.org/officeDocument/2006/relationships/tags" Target="../tags/tag304.xml"/><Relationship Id="rId21" Type="http://schemas.openxmlformats.org/officeDocument/2006/relationships/tags" Target="../tags/tag26.xml"/><Relationship Id="rId63" Type="http://schemas.openxmlformats.org/officeDocument/2006/relationships/tags" Target="../tags/tag68.xml"/><Relationship Id="rId159" Type="http://schemas.openxmlformats.org/officeDocument/2006/relationships/tags" Target="../tags/tag164.xml"/><Relationship Id="rId324" Type="http://schemas.openxmlformats.org/officeDocument/2006/relationships/tags" Target="../tags/tag329.xml"/><Relationship Id="rId366" Type="http://schemas.openxmlformats.org/officeDocument/2006/relationships/tags" Target="../tags/tag371.xml"/><Relationship Id="rId170" Type="http://schemas.openxmlformats.org/officeDocument/2006/relationships/tags" Target="../tags/tag175.xml"/><Relationship Id="rId226" Type="http://schemas.openxmlformats.org/officeDocument/2006/relationships/tags" Target="../tags/tag231.xml"/><Relationship Id="rId268" Type="http://schemas.openxmlformats.org/officeDocument/2006/relationships/tags" Target="../tags/tag273.xml"/><Relationship Id="rId32" Type="http://schemas.openxmlformats.org/officeDocument/2006/relationships/tags" Target="../tags/tag37.xml"/><Relationship Id="rId74" Type="http://schemas.openxmlformats.org/officeDocument/2006/relationships/tags" Target="../tags/tag79.xml"/><Relationship Id="rId128" Type="http://schemas.openxmlformats.org/officeDocument/2006/relationships/tags" Target="../tags/tag133.xml"/><Relationship Id="rId335" Type="http://schemas.openxmlformats.org/officeDocument/2006/relationships/tags" Target="../tags/tag340.xml"/><Relationship Id="rId377" Type="http://schemas.openxmlformats.org/officeDocument/2006/relationships/tags" Target="../tags/tag382.xml"/><Relationship Id="rId5" Type="http://schemas.openxmlformats.org/officeDocument/2006/relationships/tags" Target="../tags/tag10.xml"/><Relationship Id="rId181" Type="http://schemas.openxmlformats.org/officeDocument/2006/relationships/tags" Target="../tags/tag186.xml"/><Relationship Id="rId237" Type="http://schemas.openxmlformats.org/officeDocument/2006/relationships/tags" Target="../tags/tag242.xml"/><Relationship Id="rId279" Type="http://schemas.openxmlformats.org/officeDocument/2006/relationships/tags" Target="../tags/tag284.xml"/><Relationship Id="rId43" Type="http://schemas.openxmlformats.org/officeDocument/2006/relationships/tags" Target="../tags/tag48.xml"/><Relationship Id="rId139" Type="http://schemas.openxmlformats.org/officeDocument/2006/relationships/tags" Target="../tags/tag144.xml"/><Relationship Id="rId290" Type="http://schemas.openxmlformats.org/officeDocument/2006/relationships/tags" Target="../tags/tag295.xml"/><Relationship Id="rId304" Type="http://schemas.openxmlformats.org/officeDocument/2006/relationships/tags" Target="../tags/tag309.xml"/><Relationship Id="rId346" Type="http://schemas.openxmlformats.org/officeDocument/2006/relationships/tags" Target="../tags/tag351.xml"/><Relationship Id="rId388" Type="http://schemas.openxmlformats.org/officeDocument/2006/relationships/image" Target="../media/image5.jpeg"/><Relationship Id="rId85" Type="http://schemas.openxmlformats.org/officeDocument/2006/relationships/tags" Target="../tags/tag90.xml"/><Relationship Id="rId150" Type="http://schemas.openxmlformats.org/officeDocument/2006/relationships/tags" Target="../tags/tag155.xml"/><Relationship Id="rId192" Type="http://schemas.openxmlformats.org/officeDocument/2006/relationships/tags" Target="../tags/tag197.xml"/><Relationship Id="rId206" Type="http://schemas.openxmlformats.org/officeDocument/2006/relationships/tags" Target="../tags/tag211.xml"/><Relationship Id="rId248" Type="http://schemas.openxmlformats.org/officeDocument/2006/relationships/tags" Target="../tags/tag253.xml"/><Relationship Id="rId12" Type="http://schemas.openxmlformats.org/officeDocument/2006/relationships/tags" Target="../tags/tag17.xml"/><Relationship Id="rId108" Type="http://schemas.openxmlformats.org/officeDocument/2006/relationships/tags" Target="../tags/tag113.xml"/><Relationship Id="rId315" Type="http://schemas.openxmlformats.org/officeDocument/2006/relationships/tags" Target="../tags/tag320.xml"/><Relationship Id="rId357" Type="http://schemas.openxmlformats.org/officeDocument/2006/relationships/tags" Target="../tags/tag362.xml"/><Relationship Id="rId54" Type="http://schemas.openxmlformats.org/officeDocument/2006/relationships/tags" Target="../tags/tag59.xml"/><Relationship Id="rId96" Type="http://schemas.openxmlformats.org/officeDocument/2006/relationships/tags" Target="../tags/tag101.xml"/><Relationship Id="rId161" Type="http://schemas.openxmlformats.org/officeDocument/2006/relationships/tags" Target="../tags/tag166.xml"/><Relationship Id="rId217" Type="http://schemas.openxmlformats.org/officeDocument/2006/relationships/tags" Target="../tags/tag222.xml"/><Relationship Id="rId259" Type="http://schemas.openxmlformats.org/officeDocument/2006/relationships/tags" Target="../tags/tag264.xml"/><Relationship Id="rId23" Type="http://schemas.openxmlformats.org/officeDocument/2006/relationships/tags" Target="../tags/tag28.xml"/><Relationship Id="rId119" Type="http://schemas.openxmlformats.org/officeDocument/2006/relationships/tags" Target="../tags/tag124.xml"/><Relationship Id="rId270" Type="http://schemas.openxmlformats.org/officeDocument/2006/relationships/tags" Target="../tags/tag275.xml"/><Relationship Id="rId326" Type="http://schemas.openxmlformats.org/officeDocument/2006/relationships/tags" Target="../tags/tag331.xml"/><Relationship Id="rId65" Type="http://schemas.openxmlformats.org/officeDocument/2006/relationships/tags" Target="../tags/tag70.xml"/><Relationship Id="rId130" Type="http://schemas.openxmlformats.org/officeDocument/2006/relationships/tags" Target="../tags/tag135.xml"/><Relationship Id="rId368" Type="http://schemas.openxmlformats.org/officeDocument/2006/relationships/tags" Target="../tags/tag373.xml"/><Relationship Id="rId172" Type="http://schemas.openxmlformats.org/officeDocument/2006/relationships/tags" Target="../tags/tag177.xml"/><Relationship Id="rId228" Type="http://schemas.openxmlformats.org/officeDocument/2006/relationships/tags" Target="../tags/tag233.xml"/><Relationship Id="rId281" Type="http://schemas.openxmlformats.org/officeDocument/2006/relationships/tags" Target="../tags/tag286.xml"/><Relationship Id="rId337" Type="http://schemas.openxmlformats.org/officeDocument/2006/relationships/tags" Target="../tags/tag342.xml"/><Relationship Id="rId34" Type="http://schemas.openxmlformats.org/officeDocument/2006/relationships/tags" Target="../tags/tag39.xml"/><Relationship Id="rId76" Type="http://schemas.openxmlformats.org/officeDocument/2006/relationships/tags" Target="../tags/tag81.xml"/><Relationship Id="rId141" Type="http://schemas.openxmlformats.org/officeDocument/2006/relationships/tags" Target="../tags/tag146.xml"/><Relationship Id="rId379" Type="http://schemas.openxmlformats.org/officeDocument/2006/relationships/tags" Target="../tags/tag384.xml"/><Relationship Id="rId7" Type="http://schemas.openxmlformats.org/officeDocument/2006/relationships/tags" Target="../tags/tag12.xml"/><Relationship Id="rId183" Type="http://schemas.openxmlformats.org/officeDocument/2006/relationships/tags" Target="../tags/tag188.xml"/><Relationship Id="rId239" Type="http://schemas.openxmlformats.org/officeDocument/2006/relationships/tags" Target="../tags/tag244.xml"/><Relationship Id="rId250" Type="http://schemas.openxmlformats.org/officeDocument/2006/relationships/tags" Target="../tags/tag255.xml"/><Relationship Id="rId292" Type="http://schemas.openxmlformats.org/officeDocument/2006/relationships/tags" Target="../tags/tag297.xml"/><Relationship Id="rId306" Type="http://schemas.openxmlformats.org/officeDocument/2006/relationships/tags" Target="../tags/tag311.xml"/><Relationship Id="rId45" Type="http://schemas.openxmlformats.org/officeDocument/2006/relationships/tags" Target="../tags/tag50.xml"/><Relationship Id="rId87" Type="http://schemas.openxmlformats.org/officeDocument/2006/relationships/tags" Target="../tags/tag92.xml"/><Relationship Id="rId110" Type="http://schemas.openxmlformats.org/officeDocument/2006/relationships/tags" Target="../tags/tag115.xml"/><Relationship Id="rId348" Type="http://schemas.openxmlformats.org/officeDocument/2006/relationships/tags" Target="../tags/tag353.xml"/><Relationship Id="rId152" Type="http://schemas.openxmlformats.org/officeDocument/2006/relationships/tags" Target="../tags/tag157.xml"/><Relationship Id="rId194" Type="http://schemas.openxmlformats.org/officeDocument/2006/relationships/tags" Target="../tags/tag199.xml"/><Relationship Id="rId208" Type="http://schemas.openxmlformats.org/officeDocument/2006/relationships/tags" Target="../tags/tag213.xml"/><Relationship Id="rId261" Type="http://schemas.openxmlformats.org/officeDocument/2006/relationships/tags" Target="../tags/tag266.xml"/><Relationship Id="rId14" Type="http://schemas.openxmlformats.org/officeDocument/2006/relationships/tags" Target="../tags/tag19.xml"/><Relationship Id="rId56" Type="http://schemas.openxmlformats.org/officeDocument/2006/relationships/tags" Target="../tags/tag61.xml"/><Relationship Id="rId317" Type="http://schemas.openxmlformats.org/officeDocument/2006/relationships/tags" Target="../tags/tag322.xml"/><Relationship Id="rId359" Type="http://schemas.openxmlformats.org/officeDocument/2006/relationships/tags" Target="../tags/tag364.xml"/><Relationship Id="rId98" Type="http://schemas.openxmlformats.org/officeDocument/2006/relationships/tags" Target="../tags/tag103.xml"/><Relationship Id="rId121" Type="http://schemas.openxmlformats.org/officeDocument/2006/relationships/tags" Target="../tags/tag126.xml"/><Relationship Id="rId163" Type="http://schemas.openxmlformats.org/officeDocument/2006/relationships/tags" Target="../tags/tag168.xml"/><Relationship Id="rId219" Type="http://schemas.openxmlformats.org/officeDocument/2006/relationships/tags" Target="../tags/tag224.xml"/><Relationship Id="rId370" Type="http://schemas.openxmlformats.org/officeDocument/2006/relationships/tags" Target="../tags/tag375.xml"/><Relationship Id="rId230" Type="http://schemas.openxmlformats.org/officeDocument/2006/relationships/tags" Target="../tags/tag235.xml"/><Relationship Id="rId25" Type="http://schemas.openxmlformats.org/officeDocument/2006/relationships/tags" Target="../tags/tag30.xml"/><Relationship Id="rId67" Type="http://schemas.openxmlformats.org/officeDocument/2006/relationships/tags" Target="../tags/tag72.xml"/><Relationship Id="rId272" Type="http://schemas.openxmlformats.org/officeDocument/2006/relationships/tags" Target="../tags/tag277.xml"/><Relationship Id="rId328" Type="http://schemas.openxmlformats.org/officeDocument/2006/relationships/tags" Target="../tags/tag333.xml"/><Relationship Id="rId132" Type="http://schemas.openxmlformats.org/officeDocument/2006/relationships/tags" Target="../tags/tag137.xml"/><Relationship Id="rId174" Type="http://schemas.openxmlformats.org/officeDocument/2006/relationships/tags" Target="../tags/tag179.xml"/><Relationship Id="rId381" Type="http://schemas.openxmlformats.org/officeDocument/2006/relationships/tags" Target="../tags/tag386.xml"/><Relationship Id="rId241" Type="http://schemas.openxmlformats.org/officeDocument/2006/relationships/tags" Target="../tags/tag246.xml"/><Relationship Id="rId36" Type="http://schemas.openxmlformats.org/officeDocument/2006/relationships/tags" Target="../tags/tag41.xml"/><Relationship Id="rId283" Type="http://schemas.openxmlformats.org/officeDocument/2006/relationships/tags" Target="../tags/tag288.xml"/><Relationship Id="rId339" Type="http://schemas.openxmlformats.org/officeDocument/2006/relationships/tags" Target="../tags/tag344.xml"/><Relationship Id="rId78" Type="http://schemas.openxmlformats.org/officeDocument/2006/relationships/tags" Target="../tags/tag83.xml"/><Relationship Id="rId101" Type="http://schemas.openxmlformats.org/officeDocument/2006/relationships/tags" Target="../tags/tag106.xml"/><Relationship Id="rId143" Type="http://schemas.openxmlformats.org/officeDocument/2006/relationships/tags" Target="../tags/tag148.xml"/><Relationship Id="rId185" Type="http://schemas.openxmlformats.org/officeDocument/2006/relationships/tags" Target="../tags/tag190.xml"/><Relationship Id="rId350" Type="http://schemas.openxmlformats.org/officeDocument/2006/relationships/tags" Target="../tags/tag355.xml"/><Relationship Id="rId9" Type="http://schemas.openxmlformats.org/officeDocument/2006/relationships/tags" Target="../tags/tag14.xml"/><Relationship Id="rId210" Type="http://schemas.openxmlformats.org/officeDocument/2006/relationships/tags" Target="../tags/tag215.xml"/><Relationship Id="rId252" Type="http://schemas.openxmlformats.org/officeDocument/2006/relationships/tags" Target="../tags/tag257.xml"/><Relationship Id="rId294" Type="http://schemas.openxmlformats.org/officeDocument/2006/relationships/tags" Target="../tags/tag299.xml"/><Relationship Id="rId308" Type="http://schemas.openxmlformats.org/officeDocument/2006/relationships/tags" Target="../tags/tag313.xml"/><Relationship Id="rId47" Type="http://schemas.openxmlformats.org/officeDocument/2006/relationships/tags" Target="../tags/tag52.xml"/><Relationship Id="rId68" Type="http://schemas.openxmlformats.org/officeDocument/2006/relationships/tags" Target="../tags/tag73.xml"/><Relationship Id="rId89" Type="http://schemas.openxmlformats.org/officeDocument/2006/relationships/tags" Target="../tags/tag94.xml"/><Relationship Id="rId112" Type="http://schemas.openxmlformats.org/officeDocument/2006/relationships/tags" Target="../tags/tag117.xml"/><Relationship Id="rId133" Type="http://schemas.openxmlformats.org/officeDocument/2006/relationships/tags" Target="../tags/tag138.xml"/><Relationship Id="rId154" Type="http://schemas.openxmlformats.org/officeDocument/2006/relationships/tags" Target="../tags/tag159.xml"/><Relationship Id="rId175" Type="http://schemas.openxmlformats.org/officeDocument/2006/relationships/tags" Target="../tags/tag180.xml"/><Relationship Id="rId340" Type="http://schemas.openxmlformats.org/officeDocument/2006/relationships/tags" Target="../tags/tag345.xml"/><Relationship Id="rId361" Type="http://schemas.openxmlformats.org/officeDocument/2006/relationships/tags" Target="../tags/tag366.xml"/><Relationship Id="rId196" Type="http://schemas.openxmlformats.org/officeDocument/2006/relationships/tags" Target="../tags/tag201.xml"/><Relationship Id="rId200" Type="http://schemas.openxmlformats.org/officeDocument/2006/relationships/tags" Target="../tags/tag205.xml"/><Relationship Id="rId382" Type="http://schemas.openxmlformats.org/officeDocument/2006/relationships/slideLayout" Target="../slideLayouts/slideLayout30.xml"/><Relationship Id="rId16" Type="http://schemas.openxmlformats.org/officeDocument/2006/relationships/tags" Target="../tags/tag21.xml"/><Relationship Id="rId221" Type="http://schemas.openxmlformats.org/officeDocument/2006/relationships/tags" Target="../tags/tag226.xml"/><Relationship Id="rId242" Type="http://schemas.openxmlformats.org/officeDocument/2006/relationships/tags" Target="../tags/tag247.xml"/><Relationship Id="rId263" Type="http://schemas.openxmlformats.org/officeDocument/2006/relationships/tags" Target="../tags/tag268.xml"/><Relationship Id="rId284" Type="http://schemas.openxmlformats.org/officeDocument/2006/relationships/tags" Target="../tags/tag289.xml"/><Relationship Id="rId319" Type="http://schemas.openxmlformats.org/officeDocument/2006/relationships/tags" Target="../tags/tag324.xml"/><Relationship Id="rId37" Type="http://schemas.openxmlformats.org/officeDocument/2006/relationships/tags" Target="../tags/tag42.xml"/><Relationship Id="rId58" Type="http://schemas.openxmlformats.org/officeDocument/2006/relationships/tags" Target="../tags/tag63.xml"/><Relationship Id="rId79" Type="http://schemas.openxmlformats.org/officeDocument/2006/relationships/tags" Target="../tags/tag84.xml"/><Relationship Id="rId102" Type="http://schemas.openxmlformats.org/officeDocument/2006/relationships/tags" Target="../tags/tag107.xml"/><Relationship Id="rId123" Type="http://schemas.openxmlformats.org/officeDocument/2006/relationships/tags" Target="../tags/tag128.xml"/><Relationship Id="rId144" Type="http://schemas.openxmlformats.org/officeDocument/2006/relationships/tags" Target="../tags/tag149.xml"/><Relationship Id="rId330" Type="http://schemas.openxmlformats.org/officeDocument/2006/relationships/tags" Target="../tags/tag335.xml"/><Relationship Id="rId90" Type="http://schemas.openxmlformats.org/officeDocument/2006/relationships/tags" Target="../tags/tag95.xml"/><Relationship Id="rId165" Type="http://schemas.openxmlformats.org/officeDocument/2006/relationships/tags" Target="../tags/tag170.xml"/><Relationship Id="rId186" Type="http://schemas.openxmlformats.org/officeDocument/2006/relationships/tags" Target="../tags/tag191.xml"/><Relationship Id="rId351" Type="http://schemas.openxmlformats.org/officeDocument/2006/relationships/tags" Target="../tags/tag356.xml"/><Relationship Id="rId372" Type="http://schemas.openxmlformats.org/officeDocument/2006/relationships/tags" Target="../tags/tag377.xml"/><Relationship Id="rId211" Type="http://schemas.openxmlformats.org/officeDocument/2006/relationships/tags" Target="../tags/tag216.xml"/><Relationship Id="rId232" Type="http://schemas.openxmlformats.org/officeDocument/2006/relationships/tags" Target="../tags/tag237.xml"/><Relationship Id="rId253" Type="http://schemas.openxmlformats.org/officeDocument/2006/relationships/tags" Target="../tags/tag258.xml"/><Relationship Id="rId274" Type="http://schemas.openxmlformats.org/officeDocument/2006/relationships/tags" Target="../tags/tag279.xml"/><Relationship Id="rId295" Type="http://schemas.openxmlformats.org/officeDocument/2006/relationships/tags" Target="../tags/tag300.xml"/><Relationship Id="rId309" Type="http://schemas.openxmlformats.org/officeDocument/2006/relationships/tags" Target="../tags/tag314.xml"/><Relationship Id="rId27" Type="http://schemas.openxmlformats.org/officeDocument/2006/relationships/tags" Target="../tags/tag32.xml"/><Relationship Id="rId48" Type="http://schemas.openxmlformats.org/officeDocument/2006/relationships/tags" Target="../tags/tag53.xml"/><Relationship Id="rId69" Type="http://schemas.openxmlformats.org/officeDocument/2006/relationships/tags" Target="../tags/tag74.xml"/><Relationship Id="rId113" Type="http://schemas.openxmlformats.org/officeDocument/2006/relationships/tags" Target="../tags/tag118.xml"/><Relationship Id="rId134" Type="http://schemas.openxmlformats.org/officeDocument/2006/relationships/tags" Target="../tags/tag139.xml"/><Relationship Id="rId320" Type="http://schemas.openxmlformats.org/officeDocument/2006/relationships/tags" Target="../tags/tag325.xml"/><Relationship Id="rId80" Type="http://schemas.openxmlformats.org/officeDocument/2006/relationships/tags" Target="../tags/tag85.xml"/><Relationship Id="rId155" Type="http://schemas.openxmlformats.org/officeDocument/2006/relationships/tags" Target="../tags/tag160.xml"/><Relationship Id="rId176" Type="http://schemas.openxmlformats.org/officeDocument/2006/relationships/tags" Target="../tags/tag181.xml"/><Relationship Id="rId197" Type="http://schemas.openxmlformats.org/officeDocument/2006/relationships/tags" Target="../tags/tag202.xml"/><Relationship Id="rId341" Type="http://schemas.openxmlformats.org/officeDocument/2006/relationships/tags" Target="../tags/tag346.xml"/><Relationship Id="rId362" Type="http://schemas.openxmlformats.org/officeDocument/2006/relationships/tags" Target="../tags/tag367.xml"/><Relationship Id="rId383" Type="http://schemas.openxmlformats.org/officeDocument/2006/relationships/notesSlide" Target="../notesSlides/notesSlide10.xml"/><Relationship Id="rId201" Type="http://schemas.openxmlformats.org/officeDocument/2006/relationships/tags" Target="../tags/tag206.xml"/><Relationship Id="rId222" Type="http://schemas.openxmlformats.org/officeDocument/2006/relationships/tags" Target="../tags/tag227.xml"/><Relationship Id="rId243" Type="http://schemas.openxmlformats.org/officeDocument/2006/relationships/tags" Target="../tags/tag248.xml"/><Relationship Id="rId264" Type="http://schemas.openxmlformats.org/officeDocument/2006/relationships/tags" Target="../tags/tag269.xml"/><Relationship Id="rId285" Type="http://schemas.openxmlformats.org/officeDocument/2006/relationships/tags" Target="../tags/tag290.xml"/><Relationship Id="rId17" Type="http://schemas.openxmlformats.org/officeDocument/2006/relationships/tags" Target="../tags/tag22.xml"/><Relationship Id="rId38" Type="http://schemas.openxmlformats.org/officeDocument/2006/relationships/tags" Target="../tags/tag43.xml"/><Relationship Id="rId59" Type="http://schemas.openxmlformats.org/officeDocument/2006/relationships/tags" Target="../tags/tag64.xml"/><Relationship Id="rId103" Type="http://schemas.openxmlformats.org/officeDocument/2006/relationships/tags" Target="../tags/tag108.xml"/><Relationship Id="rId124" Type="http://schemas.openxmlformats.org/officeDocument/2006/relationships/tags" Target="../tags/tag129.xml"/><Relationship Id="rId310" Type="http://schemas.openxmlformats.org/officeDocument/2006/relationships/tags" Target="../tags/tag315.xml"/><Relationship Id="rId70" Type="http://schemas.openxmlformats.org/officeDocument/2006/relationships/tags" Target="../tags/tag75.xml"/><Relationship Id="rId91" Type="http://schemas.openxmlformats.org/officeDocument/2006/relationships/tags" Target="../tags/tag96.xml"/><Relationship Id="rId145" Type="http://schemas.openxmlformats.org/officeDocument/2006/relationships/tags" Target="../tags/tag150.xml"/><Relationship Id="rId166" Type="http://schemas.openxmlformats.org/officeDocument/2006/relationships/tags" Target="../tags/tag171.xml"/><Relationship Id="rId187" Type="http://schemas.openxmlformats.org/officeDocument/2006/relationships/tags" Target="../tags/tag192.xml"/><Relationship Id="rId331" Type="http://schemas.openxmlformats.org/officeDocument/2006/relationships/tags" Target="../tags/tag336.xml"/><Relationship Id="rId352" Type="http://schemas.openxmlformats.org/officeDocument/2006/relationships/tags" Target="../tags/tag357.xml"/><Relationship Id="rId373" Type="http://schemas.openxmlformats.org/officeDocument/2006/relationships/tags" Target="../tags/tag378.xml"/><Relationship Id="rId1" Type="http://schemas.openxmlformats.org/officeDocument/2006/relationships/tags" Target="../tags/tag6.xml"/><Relationship Id="rId212" Type="http://schemas.openxmlformats.org/officeDocument/2006/relationships/tags" Target="../tags/tag217.xml"/><Relationship Id="rId233" Type="http://schemas.openxmlformats.org/officeDocument/2006/relationships/tags" Target="../tags/tag238.xml"/><Relationship Id="rId254" Type="http://schemas.openxmlformats.org/officeDocument/2006/relationships/tags" Target="../tags/tag259.xml"/><Relationship Id="rId28" Type="http://schemas.openxmlformats.org/officeDocument/2006/relationships/tags" Target="../tags/tag33.xml"/><Relationship Id="rId49" Type="http://schemas.openxmlformats.org/officeDocument/2006/relationships/tags" Target="../tags/tag54.xml"/><Relationship Id="rId114" Type="http://schemas.openxmlformats.org/officeDocument/2006/relationships/tags" Target="../tags/tag119.xml"/><Relationship Id="rId275" Type="http://schemas.openxmlformats.org/officeDocument/2006/relationships/tags" Target="../tags/tag280.xml"/><Relationship Id="rId296" Type="http://schemas.openxmlformats.org/officeDocument/2006/relationships/tags" Target="../tags/tag301.xml"/><Relationship Id="rId300" Type="http://schemas.openxmlformats.org/officeDocument/2006/relationships/tags" Target="../tags/tag305.xml"/><Relationship Id="rId60" Type="http://schemas.openxmlformats.org/officeDocument/2006/relationships/tags" Target="../tags/tag65.xml"/><Relationship Id="rId81" Type="http://schemas.openxmlformats.org/officeDocument/2006/relationships/tags" Target="../tags/tag86.xml"/><Relationship Id="rId135" Type="http://schemas.openxmlformats.org/officeDocument/2006/relationships/tags" Target="../tags/tag140.xml"/><Relationship Id="rId156" Type="http://schemas.openxmlformats.org/officeDocument/2006/relationships/tags" Target="../tags/tag161.xml"/><Relationship Id="rId177" Type="http://schemas.openxmlformats.org/officeDocument/2006/relationships/tags" Target="../tags/tag182.xml"/><Relationship Id="rId198" Type="http://schemas.openxmlformats.org/officeDocument/2006/relationships/tags" Target="../tags/tag203.xml"/><Relationship Id="rId321" Type="http://schemas.openxmlformats.org/officeDocument/2006/relationships/tags" Target="../tags/tag326.xml"/><Relationship Id="rId342" Type="http://schemas.openxmlformats.org/officeDocument/2006/relationships/tags" Target="../tags/tag347.xml"/><Relationship Id="rId363" Type="http://schemas.openxmlformats.org/officeDocument/2006/relationships/tags" Target="../tags/tag368.xml"/><Relationship Id="rId384" Type="http://schemas.openxmlformats.org/officeDocument/2006/relationships/customXml" Target="../ink/ink1.xml"/><Relationship Id="rId202" Type="http://schemas.openxmlformats.org/officeDocument/2006/relationships/tags" Target="../tags/tag207.xml"/><Relationship Id="rId223" Type="http://schemas.openxmlformats.org/officeDocument/2006/relationships/tags" Target="../tags/tag228.xml"/><Relationship Id="rId244" Type="http://schemas.openxmlformats.org/officeDocument/2006/relationships/tags" Target="../tags/tag249.xml"/><Relationship Id="rId18" Type="http://schemas.openxmlformats.org/officeDocument/2006/relationships/tags" Target="../tags/tag23.xml"/><Relationship Id="rId39" Type="http://schemas.openxmlformats.org/officeDocument/2006/relationships/tags" Target="../tags/tag44.xml"/><Relationship Id="rId265" Type="http://schemas.openxmlformats.org/officeDocument/2006/relationships/tags" Target="../tags/tag270.xml"/><Relationship Id="rId286" Type="http://schemas.openxmlformats.org/officeDocument/2006/relationships/tags" Target="../tags/tag291.xml"/><Relationship Id="rId50" Type="http://schemas.openxmlformats.org/officeDocument/2006/relationships/tags" Target="../tags/tag55.xml"/><Relationship Id="rId104" Type="http://schemas.openxmlformats.org/officeDocument/2006/relationships/tags" Target="../tags/tag109.xml"/><Relationship Id="rId125" Type="http://schemas.openxmlformats.org/officeDocument/2006/relationships/tags" Target="../tags/tag130.xml"/><Relationship Id="rId146" Type="http://schemas.openxmlformats.org/officeDocument/2006/relationships/tags" Target="../tags/tag151.xml"/><Relationship Id="rId167" Type="http://schemas.openxmlformats.org/officeDocument/2006/relationships/tags" Target="../tags/tag172.xml"/><Relationship Id="rId188" Type="http://schemas.openxmlformats.org/officeDocument/2006/relationships/tags" Target="../tags/tag193.xml"/><Relationship Id="rId311" Type="http://schemas.openxmlformats.org/officeDocument/2006/relationships/tags" Target="../tags/tag316.xml"/><Relationship Id="rId332" Type="http://schemas.openxmlformats.org/officeDocument/2006/relationships/tags" Target="../tags/tag337.xml"/><Relationship Id="rId353" Type="http://schemas.openxmlformats.org/officeDocument/2006/relationships/tags" Target="../tags/tag358.xml"/><Relationship Id="rId374" Type="http://schemas.openxmlformats.org/officeDocument/2006/relationships/tags" Target="../tags/tag379.xml"/><Relationship Id="rId71" Type="http://schemas.openxmlformats.org/officeDocument/2006/relationships/tags" Target="../tags/tag76.xml"/><Relationship Id="rId92" Type="http://schemas.openxmlformats.org/officeDocument/2006/relationships/tags" Target="../tags/tag97.xml"/><Relationship Id="rId213" Type="http://schemas.openxmlformats.org/officeDocument/2006/relationships/tags" Target="../tags/tag218.xml"/><Relationship Id="rId234" Type="http://schemas.openxmlformats.org/officeDocument/2006/relationships/tags" Target="../tags/tag239.xml"/><Relationship Id="rId2" Type="http://schemas.openxmlformats.org/officeDocument/2006/relationships/tags" Target="../tags/tag7.xml"/><Relationship Id="rId29" Type="http://schemas.openxmlformats.org/officeDocument/2006/relationships/tags" Target="../tags/tag34.xml"/><Relationship Id="rId255" Type="http://schemas.openxmlformats.org/officeDocument/2006/relationships/tags" Target="../tags/tag260.xml"/><Relationship Id="rId276" Type="http://schemas.openxmlformats.org/officeDocument/2006/relationships/tags" Target="../tags/tag281.xml"/><Relationship Id="rId297" Type="http://schemas.openxmlformats.org/officeDocument/2006/relationships/tags" Target="../tags/tag302.xml"/><Relationship Id="rId40" Type="http://schemas.openxmlformats.org/officeDocument/2006/relationships/tags" Target="../tags/tag45.xml"/><Relationship Id="rId115" Type="http://schemas.openxmlformats.org/officeDocument/2006/relationships/tags" Target="../tags/tag120.xml"/><Relationship Id="rId136" Type="http://schemas.openxmlformats.org/officeDocument/2006/relationships/tags" Target="../tags/tag141.xml"/><Relationship Id="rId157" Type="http://schemas.openxmlformats.org/officeDocument/2006/relationships/tags" Target="../tags/tag162.xml"/><Relationship Id="rId178" Type="http://schemas.openxmlformats.org/officeDocument/2006/relationships/tags" Target="../tags/tag183.xml"/><Relationship Id="rId301" Type="http://schemas.openxmlformats.org/officeDocument/2006/relationships/tags" Target="../tags/tag306.xml"/><Relationship Id="rId322" Type="http://schemas.openxmlformats.org/officeDocument/2006/relationships/tags" Target="../tags/tag327.xml"/><Relationship Id="rId343" Type="http://schemas.openxmlformats.org/officeDocument/2006/relationships/tags" Target="../tags/tag348.xml"/><Relationship Id="rId364" Type="http://schemas.openxmlformats.org/officeDocument/2006/relationships/tags" Target="../tags/tag369.xml"/><Relationship Id="rId61" Type="http://schemas.openxmlformats.org/officeDocument/2006/relationships/tags" Target="../tags/tag66.xml"/><Relationship Id="rId82" Type="http://schemas.openxmlformats.org/officeDocument/2006/relationships/tags" Target="../tags/tag87.xml"/><Relationship Id="rId199" Type="http://schemas.openxmlformats.org/officeDocument/2006/relationships/tags" Target="../tags/tag204.xml"/><Relationship Id="rId203" Type="http://schemas.openxmlformats.org/officeDocument/2006/relationships/tags" Target="../tags/tag208.xml"/><Relationship Id="rId385" Type="http://schemas.openxmlformats.org/officeDocument/2006/relationships/image" Target="../media/image8.png"/><Relationship Id="rId19" Type="http://schemas.openxmlformats.org/officeDocument/2006/relationships/tags" Target="../tags/tag24.xml"/><Relationship Id="rId224" Type="http://schemas.openxmlformats.org/officeDocument/2006/relationships/tags" Target="../tags/tag229.xml"/><Relationship Id="rId245" Type="http://schemas.openxmlformats.org/officeDocument/2006/relationships/tags" Target="../tags/tag250.xml"/><Relationship Id="rId266" Type="http://schemas.openxmlformats.org/officeDocument/2006/relationships/tags" Target="../tags/tag271.xml"/><Relationship Id="rId287" Type="http://schemas.openxmlformats.org/officeDocument/2006/relationships/tags" Target="../tags/tag292.xml"/><Relationship Id="rId30" Type="http://schemas.openxmlformats.org/officeDocument/2006/relationships/tags" Target="../tags/tag35.xml"/><Relationship Id="rId105" Type="http://schemas.openxmlformats.org/officeDocument/2006/relationships/tags" Target="../tags/tag110.xml"/><Relationship Id="rId126" Type="http://schemas.openxmlformats.org/officeDocument/2006/relationships/tags" Target="../tags/tag131.xml"/><Relationship Id="rId147" Type="http://schemas.openxmlformats.org/officeDocument/2006/relationships/tags" Target="../tags/tag152.xml"/><Relationship Id="rId168" Type="http://schemas.openxmlformats.org/officeDocument/2006/relationships/tags" Target="../tags/tag173.xml"/><Relationship Id="rId312" Type="http://schemas.openxmlformats.org/officeDocument/2006/relationships/tags" Target="../tags/tag317.xml"/><Relationship Id="rId333" Type="http://schemas.openxmlformats.org/officeDocument/2006/relationships/tags" Target="../tags/tag338.xml"/><Relationship Id="rId354" Type="http://schemas.openxmlformats.org/officeDocument/2006/relationships/tags" Target="../tags/tag359.xml"/><Relationship Id="rId51" Type="http://schemas.openxmlformats.org/officeDocument/2006/relationships/tags" Target="../tags/tag56.xml"/><Relationship Id="rId72" Type="http://schemas.openxmlformats.org/officeDocument/2006/relationships/tags" Target="../tags/tag77.xml"/><Relationship Id="rId93" Type="http://schemas.openxmlformats.org/officeDocument/2006/relationships/tags" Target="../tags/tag98.xml"/><Relationship Id="rId189" Type="http://schemas.openxmlformats.org/officeDocument/2006/relationships/tags" Target="../tags/tag194.xml"/><Relationship Id="rId375" Type="http://schemas.openxmlformats.org/officeDocument/2006/relationships/tags" Target="../tags/tag380.xml"/><Relationship Id="rId3" Type="http://schemas.openxmlformats.org/officeDocument/2006/relationships/tags" Target="../tags/tag8.xml"/><Relationship Id="rId214" Type="http://schemas.openxmlformats.org/officeDocument/2006/relationships/tags" Target="../tags/tag219.xml"/><Relationship Id="rId235" Type="http://schemas.openxmlformats.org/officeDocument/2006/relationships/tags" Target="../tags/tag240.xml"/><Relationship Id="rId256" Type="http://schemas.openxmlformats.org/officeDocument/2006/relationships/tags" Target="../tags/tag261.xml"/><Relationship Id="rId277" Type="http://schemas.openxmlformats.org/officeDocument/2006/relationships/tags" Target="../tags/tag282.xml"/><Relationship Id="rId298" Type="http://schemas.openxmlformats.org/officeDocument/2006/relationships/tags" Target="../tags/tag303.xml"/><Relationship Id="rId116" Type="http://schemas.openxmlformats.org/officeDocument/2006/relationships/tags" Target="../tags/tag121.xml"/><Relationship Id="rId137" Type="http://schemas.openxmlformats.org/officeDocument/2006/relationships/tags" Target="../tags/tag142.xml"/><Relationship Id="rId158" Type="http://schemas.openxmlformats.org/officeDocument/2006/relationships/tags" Target="../tags/tag163.xml"/><Relationship Id="rId302" Type="http://schemas.openxmlformats.org/officeDocument/2006/relationships/tags" Target="../tags/tag307.xml"/><Relationship Id="rId323" Type="http://schemas.openxmlformats.org/officeDocument/2006/relationships/tags" Target="../tags/tag328.xml"/><Relationship Id="rId344" Type="http://schemas.openxmlformats.org/officeDocument/2006/relationships/tags" Target="../tags/tag349.xml"/><Relationship Id="rId20" Type="http://schemas.openxmlformats.org/officeDocument/2006/relationships/tags" Target="../tags/tag25.xml"/><Relationship Id="rId41" Type="http://schemas.openxmlformats.org/officeDocument/2006/relationships/tags" Target="../tags/tag46.xml"/><Relationship Id="rId62" Type="http://schemas.openxmlformats.org/officeDocument/2006/relationships/tags" Target="../tags/tag67.xml"/><Relationship Id="rId83" Type="http://schemas.openxmlformats.org/officeDocument/2006/relationships/tags" Target="../tags/tag88.xml"/><Relationship Id="rId179" Type="http://schemas.openxmlformats.org/officeDocument/2006/relationships/tags" Target="../tags/tag184.xml"/><Relationship Id="rId365" Type="http://schemas.openxmlformats.org/officeDocument/2006/relationships/tags" Target="../tags/tag370.xml"/><Relationship Id="rId386" Type="http://schemas.openxmlformats.org/officeDocument/2006/relationships/customXml" Target="../ink/ink2.xml"/><Relationship Id="rId190" Type="http://schemas.openxmlformats.org/officeDocument/2006/relationships/tags" Target="../tags/tag195.xml"/><Relationship Id="rId204" Type="http://schemas.openxmlformats.org/officeDocument/2006/relationships/tags" Target="../tags/tag209.xml"/><Relationship Id="rId225" Type="http://schemas.openxmlformats.org/officeDocument/2006/relationships/tags" Target="../tags/tag230.xml"/><Relationship Id="rId246" Type="http://schemas.openxmlformats.org/officeDocument/2006/relationships/tags" Target="../tags/tag251.xml"/><Relationship Id="rId267" Type="http://schemas.openxmlformats.org/officeDocument/2006/relationships/tags" Target="../tags/tag272.xml"/><Relationship Id="rId288" Type="http://schemas.openxmlformats.org/officeDocument/2006/relationships/tags" Target="../tags/tag293.xml"/><Relationship Id="rId106" Type="http://schemas.openxmlformats.org/officeDocument/2006/relationships/tags" Target="../tags/tag111.xml"/><Relationship Id="rId127" Type="http://schemas.openxmlformats.org/officeDocument/2006/relationships/tags" Target="../tags/tag132.xml"/><Relationship Id="rId313" Type="http://schemas.openxmlformats.org/officeDocument/2006/relationships/tags" Target="../tags/tag318.xml"/><Relationship Id="rId10" Type="http://schemas.openxmlformats.org/officeDocument/2006/relationships/tags" Target="../tags/tag15.xml"/><Relationship Id="rId31" Type="http://schemas.openxmlformats.org/officeDocument/2006/relationships/tags" Target="../tags/tag36.xml"/><Relationship Id="rId52" Type="http://schemas.openxmlformats.org/officeDocument/2006/relationships/tags" Target="../tags/tag57.xml"/><Relationship Id="rId73" Type="http://schemas.openxmlformats.org/officeDocument/2006/relationships/tags" Target="../tags/tag78.xml"/><Relationship Id="rId94" Type="http://schemas.openxmlformats.org/officeDocument/2006/relationships/tags" Target="../tags/tag99.xml"/><Relationship Id="rId148" Type="http://schemas.openxmlformats.org/officeDocument/2006/relationships/tags" Target="../tags/tag153.xml"/><Relationship Id="rId169" Type="http://schemas.openxmlformats.org/officeDocument/2006/relationships/tags" Target="../tags/tag174.xml"/><Relationship Id="rId334" Type="http://schemas.openxmlformats.org/officeDocument/2006/relationships/tags" Target="../tags/tag339.xml"/><Relationship Id="rId355" Type="http://schemas.openxmlformats.org/officeDocument/2006/relationships/tags" Target="../tags/tag360.xml"/><Relationship Id="rId376" Type="http://schemas.openxmlformats.org/officeDocument/2006/relationships/tags" Target="../tags/tag381.xml"/><Relationship Id="rId4" Type="http://schemas.openxmlformats.org/officeDocument/2006/relationships/tags" Target="../tags/tag9.xml"/><Relationship Id="rId180" Type="http://schemas.openxmlformats.org/officeDocument/2006/relationships/tags" Target="../tags/tag185.xml"/><Relationship Id="rId215" Type="http://schemas.openxmlformats.org/officeDocument/2006/relationships/tags" Target="../tags/tag220.xml"/><Relationship Id="rId236" Type="http://schemas.openxmlformats.org/officeDocument/2006/relationships/tags" Target="../tags/tag241.xml"/><Relationship Id="rId257" Type="http://schemas.openxmlformats.org/officeDocument/2006/relationships/tags" Target="../tags/tag262.xml"/><Relationship Id="rId278" Type="http://schemas.openxmlformats.org/officeDocument/2006/relationships/tags" Target="../tags/tag283.xml"/><Relationship Id="rId303" Type="http://schemas.openxmlformats.org/officeDocument/2006/relationships/tags" Target="../tags/tag308.xml"/><Relationship Id="rId42" Type="http://schemas.openxmlformats.org/officeDocument/2006/relationships/tags" Target="../tags/tag47.xml"/><Relationship Id="rId84" Type="http://schemas.openxmlformats.org/officeDocument/2006/relationships/tags" Target="../tags/tag89.xml"/><Relationship Id="rId138" Type="http://schemas.openxmlformats.org/officeDocument/2006/relationships/tags" Target="../tags/tag143.xml"/><Relationship Id="rId345" Type="http://schemas.openxmlformats.org/officeDocument/2006/relationships/tags" Target="../tags/tag350.xml"/><Relationship Id="rId387" Type="http://schemas.openxmlformats.org/officeDocument/2006/relationships/image" Target="../media/image90.png"/><Relationship Id="rId191" Type="http://schemas.openxmlformats.org/officeDocument/2006/relationships/tags" Target="../tags/tag196.xml"/><Relationship Id="rId205" Type="http://schemas.openxmlformats.org/officeDocument/2006/relationships/tags" Target="../tags/tag210.xml"/><Relationship Id="rId247" Type="http://schemas.openxmlformats.org/officeDocument/2006/relationships/tags" Target="../tags/tag252.xml"/><Relationship Id="rId107" Type="http://schemas.openxmlformats.org/officeDocument/2006/relationships/tags" Target="../tags/tag112.xml"/><Relationship Id="rId289" Type="http://schemas.openxmlformats.org/officeDocument/2006/relationships/tags" Target="../tags/tag294.xml"/><Relationship Id="rId11" Type="http://schemas.openxmlformats.org/officeDocument/2006/relationships/tags" Target="../tags/tag16.xml"/><Relationship Id="rId53" Type="http://schemas.openxmlformats.org/officeDocument/2006/relationships/tags" Target="../tags/tag58.xml"/><Relationship Id="rId149" Type="http://schemas.openxmlformats.org/officeDocument/2006/relationships/tags" Target="../tags/tag154.xml"/><Relationship Id="rId314" Type="http://schemas.openxmlformats.org/officeDocument/2006/relationships/tags" Target="../tags/tag319.xml"/><Relationship Id="rId356" Type="http://schemas.openxmlformats.org/officeDocument/2006/relationships/tags" Target="../tags/tag361.xml"/><Relationship Id="rId95" Type="http://schemas.openxmlformats.org/officeDocument/2006/relationships/tags" Target="../tags/tag100.xml"/><Relationship Id="rId160" Type="http://schemas.openxmlformats.org/officeDocument/2006/relationships/tags" Target="../tags/tag165.xml"/><Relationship Id="rId216" Type="http://schemas.openxmlformats.org/officeDocument/2006/relationships/tags" Target="../tags/tag221.xml"/><Relationship Id="rId258" Type="http://schemas.openxmlformats.org/officeDocument/2006/relationships/tags" Target="../tags/tag263.xml"/><Relationship Id="rId22" Type="http://schemas.openxmlformats.org/officeDocument/2006/relationships/tags" Target="../tags/tag27.xml"/><Relationship Id="rId64" Type="http://schemas.openxmlformats.org/officeDocument/2006/relationships/tags" Target="../tags/tag69.xml"/><Relationship Id="rId118" Type="http://schemas.openxmlformats.org/officeDocument/2006/relationships/tags" Target="../tags/tag123.xml"/><Relationship Id="rId325" Type="http://schemas.openxmlformats.org/officeDocument/2006/relationships/tags" Target="../tags/tag330.xml"/><Relationship Id="rId367" Type="http://schemas.openxmlformats.org/officeDocument/2006/relationships/tags" Target="../tags/tag372.xml"/><Relationship Id="rId171" Type="http://schemas.openxmlformats.org/officeDocument/2006/relationships/tags" Target="../tags/tag176.xml"/><Relationship Id="rId227" Type="http://schemas.openxmlformats.org/officeDocument/2006/relationships/tags" Target="../tags/tag232.xml"/><Relationship Id="rId269" Type="http://schemas.openxmlformats.org/officeDocument/2006/relationships/tags" Target="../tags/tag274.xml"/><Relationship Id="rId33" Type="http://schemas.openxmlformats.org/officeDocument/2006/relationships/tags" Target="../tags/tag38.xml"/><Relationship Id="rId129" Type="http://schemas.openxmlformats.org/officeDocument/2006/relationships/tags" Target="../tags/tag134.xml"/><Relationship Id="rId280" Type="http://schemas.openxmlformats.org/officeDocument/2006/relationships/tags" Target="../tags/tag285.xml"/><Relationship Id="rId336" Type="http://schemas.openxmlformats.org/officeDocument/2006/relationships/tags" Target="../tags/tag341.xml"/><Relationship Id="rId75" Type="http://schemas.openxmlformats.org/officeDocument/2006/relationships/tags" Target="../tags/tag80.xml"/><Relationship Id="rId140" Type="http://schemas.openxmlformats.org/officeDocument/2006/relationships/tags" Target="../tags/tag145.xml"/><Relationship Id="rId182" Type="http://schemas.openxmlformats.org/officeDocument/2006/relationships/tags" Target="../tags/tag187.xml"/><Relationship Id="rId378" Type="http://schemas.openxmlformats.org/officeDocument/2006/relationships/tags" Target="../tags/tag383.xml"/><Relationship Id="rId6" Type="http://schemas.openxmlformats.org/officeDocument/2006/relationships/tags" Target="../tags/tag11.xml"/><Relationship Id="rId238" Type="http://schemas.openxmlformats.org/officeDocument/2006/relationships/tags" Target="../tags/tag243.xml"/><Relationship Id="rId291" Type="http://schemas.openxmlformats.org/officeDocument/2006/relationships/tags" Target="../tags/tag296.xml"/><Relationship Id="rId305" Type="http://schemas.openxmlformats.org/officeDocument/2006/relationships/tags" Target="../tags/tag310.xml"/><Relationship Id="rId347" Type="http://schemas.openxmlformats.org/officeDocument/2006/relationships/tags" Target="../tags/tag352.xml"/><Relationship Id="rId44" Type="http://schemas.openxmlformats.org/officeDocument/2006/relationships/tags" Target="../tags/tag49.xml"/><Relationship Id="rId86" Type="http://schemas.openxmlformats.org/officeDocument/2006/relationships/tags" Target="../tags/tag91.xml"/><Relationship Id="rId151" Type="http://schemas.openxmlformats.org/officeDocument/2006/relationships/tags" Target="../tags/tag156.xml"/><Relationship Id="rId193" Type="http://schemas.openxmlformats.org/officeDocument/2006/relationships/tags" Target="../tags/tag198.xml"/><Relationship Id="rId207" Type="http://schemas.openxmlformats.org/officeDocument/2006/relationships/tags" Target="../tags/tag212.xml"/><Relationship Id="rId249" Type="http://schemas.openxmlformats.org/officeDocument/2006/relationships/tags" Target="../tags/tag254.xml"/><Relationship Id="rId13" Type="http://schemas.openxmlformats.org/officeDocument/2006/relationships/tags" Target="../tags/tag18.xml"/><Relationship Id="rId109" Type="http://schemas.openxmlformats.org/officeDocument/2006/relationships/tags" Target="../tags/tag114.xml"/><Relationship Id="rId260" Type="http://schemas.openxmlformats.org/officeDocument/2006/relationships/tags" Target="../tags/tag265.xml"/><Relationship Id="rId316" Type="http://schemas.openxmlformats.org/officeDocument/2006/relationships/tags" Target="../tags/tag321.xml"/><Relationship Id="rId55" Type="http://schemas.openxmlformats.org/officeDocument/2006/relationships/tags" Target="../tags/tag60.xml"/><Relationship Id="rId97" Type="http://schemas.openxmlformats.org/officeDocument/2006/relationships/tags" Target="../tags/tag102.xml"/><Relationship Id="rId120" Type="http://schemas.openxmlformats.org/officeDocument/2006/relationships/tags" Target="../tags/tag125.xml"/><Relationship Id="rId358" Type="http://schemas.openxmlformats.org/officeDocument/2006/relationships/tags" Target="../tags/tag363.xml"/><Relationship Id="rId162" Type="http://schemas.openxmlformats.org/officeDocument/2006/relationships/tags" Target="../tags/tag167.xml"/><Relationship Id="rId218" Type="http://schemas.openxmlformats.org/officeDocument/2006/relationships/tags" Target="../tags/tag223.xml"/><Relationship Id="rId271" Type="http://schemas.openxmlformats.org/officeDocument/2006/relationships/tags" Target="../tags/tag276.xml"/><Relationship Id="rId24" Type="http://schemas.openxmlformats.org/officeDocument/2006/relationships/tags" Target="../tags/tag29.xml"/><Relationship Id="rId66" Type="http://schemas.openxmlformats.org/officeDocument/2006/relationships/tags" Target="../tags/tag71.xml"/><Relationship Id="rId131" Type="http://schemas.openxmlformats.org/officeDocument/2006/relationships/tags" Target="../tags/tag136.xml"/><Relationship Id="rId327" Type="http://schemas.openxmlformats.org/officeDocument/2006/relationships/tags" Target="../tags/tag332.xml"/><Relationship Id="rId369" Type="http://schemas.openxmlformats.org/officeDocument/2006/relationships/tags" Target="../tags/tag374.xml"/><Relationship Id="rId173" Type="http://schemas.openxmlformats.org/officeDocument/2006/relationships/tags" Target="../tags/tag178.xml"/><Relationship Id="rId229" Type="http://schemas.openxmlformats.org/officeDocument/2006/relationships/tags" Target="../tags/tag234.xml"/><Relationship Id="rId380" Type="http://schemas.openxmlformats.org/officeDocument/2006/relationships/tags" Target="../tags/tag385.xml"/><Relationship Id="rId240" Type="http://schemas.openxmlformats.org/officeDocument/2006/relationships/tags" Target="../tags/tag245.xml"/><Relationship Id="rId35" Type="http://schemas.openxmlformats.org/officeDocument/2006/relationships/tags" Target="../tags/tag40.xml"/><Relationship Id="rId77" Type="http://schemas.openxmlformats.org/officeDocument/2006/relationships/tags" Target="../tags/tag82.xml"/><Relationship Id="rId100" Type="http://schemas.openxmlformats.org/officeDocument/2006/relationships/tags" Target="../tags/tag105.xml"/><Relationship Id="rId282" Type="http://schemas.openxmlformats.org/officeDocument/2006/relationships/tags" Target="../tags/tag287.xml"/><Relationship Id="rId338" Type="http://schemas.openxmlformats.org/officeDocument/2006/relationships/tags" Target="../tags/tag343.xml"/><Relationship Id="rId8" Type="http://schemas.openxmlformats.org/officeDocument/2006/relationships/tags" Target="../tags/tag13.xml"/><Relationship Id="rId142" Type="http://schemas.openxmlformats.org/officeDocument/2006/relationships/tags" Target="../tags/tag147.xml"/><Relationship Id="rId184" Type="http://schemas.openxmlformats.org/officeDocument/2006/relationships/tags" Target="../tags/tag189.xml"/><Relationship Id="rId251" Type="http://schemas.openxmlformats.org/officeDocument/2006/relationships/tags" Target="../tags/tag256.xml"/><Relationship Id="rId46" Type="http://schemas.openxmlformats.org/officeDocument/2006/relationships/tags" Target="../tags/tag51.xml"/><Relationship Id="rId293" Type="http://schemas.openxmlformats.org/officeDocument/2006/relationships/tags" Target="../tags/tag298.xml"/><Relationship Id="rId307" Type="http://schemas.openxmlformats.org/officeDocument/2006/relationships/tags" Target="../tags/tag312.xml"/><Relationship Id="rId349" Type="http://schemas.openxmlformats.org/officeDocument/2006/relationships/tags" Target="../tags/tag354.xml"/><Relationship Id="rId88" Type="http://schemas.openxmlformats.org/officeDocument/2006/relationships/tags" Target="../tags/tag93.xml"/><Relationship Id="rId111" Type="http://schemas.openxmlformats.org/officeDocument/2006/relationships/tags" Target="../tags/tag116.xml"/><Relationship Id="rId153" Type="http://schemas.openxmlformats.org/officeDocument/2006/relationships/tags" Target="../tags/tag158.xml"/><Relationship Id="rId195" Type="http://schemas.openxmlformats.org/officeDocument/2006/relationships/tags" Target="../tags/tag200.xml"/><Relationship Id="rId209" Type="http://schemas.openxmlformats.org/officeDocument/2006/relationships/tags" Target="../tags/tag214.xml"/><Relationship Id="rId360" Type="http://schemas.openxmlformats.org/officeDocument/2006/relationships/tags" Target="../tags/tag365.xml"/><Relationship Id="rId220" Type="http://schemas.openxmlformats.org/officeDocument/2006/relationships/tags" Target="../tags/tag225.xml"/><Relationship Id="rId15" Type="http://schemas.openxmlformats.org/officeDocument/2006/relationships/tags" Target="../tags/tag20.xml"/><Relationship Id="rId57" Type="http://schemas.openxmlformats.org/officeDocument/2006/relationships/tags" Target="../tags/tag62.xml"/><Relationship Id="rId262" Type="http://schemas.openxmlformats.org/officeDocument/2006/relationships/tags" Target="../tags/tag267.xml"/><Relationship Id="rId318" Type="http://schemas.openxmlformats.org/officeDocument/2006/relationships/tags" Target="../tags/tag323.xml"/><Relationship Id="rId99" Type="http://schemas.openxmlformats.org/officeDocument/2006/relationships/tags" Target="../tags/tag104.xml"/><Relationship Id="rId122" Type="http://schemas.openxmlformats.org/officeDocument/2006/relationships/tags" Target="../tags/tag127.xml"/><Relationship Id="rId164" Type="http://schemas.openxmlformats.org/officeDocument/2006/relationships/tags" Target="../tags/tag169.xml"/><Relationship Id="rId371" Type="http://schemas.openxmlformats.org/officeDocument/2006/relationships/tags" Target="../tags/tag376.xml"/><Relationship Id="rId26" Type="http://schemas.openxmlformats.org/officeDocument/2006/relationships/tags" Target="../tags/tag31.xml"/><Relationship Id="rId231" Type="http://schemas.openxmlformats.org/officeDocument/2006/relationships/tags" Target="../tags/tag236.xml"/><Relationship Id="rId273" Type="http://schemas.openxmlformats.org/officeDocument/2006/relationships/tags" Target="../tags/tag278.xml"/><Relationship Id="rId329" Type="http://schemas.openxmlformats.org/officeDocument/2006/relationships/tags" Target="../tags/tag33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3.xml"/><Relationship Id="rId6" Type="http://schemas.openxmlformats.org/officeDocument/2006/relationships/chart" Target="../charts/chart1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8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0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-25404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/>
          </a:p>
        </p:txBody>
      </p:sp>
      <p:pic>
        <p:nvPicPr>
          <p:cNvPr id="9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5519" y="5709444"/>
            <a:ext cx="7753350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/>
          <p:cNvSpPr txBox="1">
            <a:spLocks/>
          </p:cNvSpPr>
          <p:nvPr/>
        </p:nvSpPr>
        <p:spPr bwMode="auto">
          <a:xfrm>
            <a:off x="0" y="1672907"/>
            <a:ext cx="12192000" cy="208823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txBody>
          <a:bodyPr lIns="0" tIns="0" rIns="0" bIns="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pitchFamily="34" charset="0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5pPr>
            <a:lvl6pPr marL="511761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4400" dirty="0">
                <a:latin typeface="Garamond" panose="02020404030301010803" pitchFamily="18" charset="0"/>
              </a:rPr>
              <a:t>Policies and Strategies for Combating Air Pollution in Commonwealth Countries</a:t>
            </a:r>
          </a:p>
          <a:p>
            <a:pPr algn="ctr">
              <a:lnSpc>
                <a:spcPct val="150000"/>
              </a:lnSpc>
              <a:defRPr/>
            </a:pPr>
            <a:r>
              <a:rPr lang="en-US" altLang="en-US" sz="2600" i="1" dirty="0">
                <a:solidFill>
                  <a:srgbClr val="00B050"/>
                </a:solidFill>
                <a:latin typeface="Garamond" panose="02020404030301010803" pitchFamily="18" charset="0"/>
              </a:rPr>
              <a:t>Promoting the adoption of renewable energy in Sub-Saharan Africa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438584" y="4538019"/>
            <a:ext cx="55992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altLang="en-US" sz="2400" b="1" kern="0" dirty="0">
                <a:solidFill>
                  <a:srgbClr val="0872A6"/>
                </a:solidFill>
                <a:latin typeface="+mn-lt"/>
                <a:cs typeface="Calibri" panose="020F0502020204030204" pitchFamily="34" charset="0"/>
              </a:rPr>
              <a:t>Nopenyo E. Dabla</a:t>
            </a:r>
          </a:p>
          <a:p>
            <a:pPr algn="r">
              <a:defRPr/>
            </a:pPr>
            <a:r>
              <a:rPr lang="en-US" altLang="en-US" sz="2400" i="1" kern="0" dirty="0" err="1">
                <a:solidFill>
                  <a:srgbClr val="0872A6"/>
                </a:solidFill>
                <a:latin typeface="+mn-lt"/>
                <a:cs typeface="Calibri" panose="020F0502020204030204" pitchFamily="34" charset="0"/>
              </a:rPr>
              <a:t>Programme</a:t>
            </a:r>
            <a:r>
              <a:rPr lang="en-US" altLang="en-US" sz="2400" i="1" kern="0" dirty="0">
                <a:solidFill>
                  <a:srgbClr val="0872A6"/>
                </a:solidFill>
                <a:latin typeface="+mn-lt"/>
                <a:cs typeface="Calibri" panose="020F0502020204030204" pitchFamily="34" charset="0"/>
              </a:rPr>
              <a:t> Officer Sub-Saharan Africa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3529906" y="4365104"/>
            <a:ext cx="5184576" cy="0"/>
          </a:xfrm>
          <a:prstGeom prst="line">
            <a:avLst/>
          </a:prstGeom>
          <a:ln>
            <a:solidFill>
              <a:srgbClr val="0872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85470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0" name="Group 1681">
            <a:extLst>
              <a:ext uri="{FF2B5EF4-FFF2-40B4-BE49-F238E27FC236}">
                <a16:creationId xmlns:a16="http://schemas.microsoft.com/office/drawing/2014/main" id="{3E9F54E2-F6CF-4D7F-B479-558BEDFDE8DB}"/>
              </a:ext>
            </a:extLst>
          </p:cNvPr>
          <p:cNvGrpSpPr>
            <a:grpSpLocks/>
          </p:cNvGrpSpPr>
          <p:nvPr/>
        </p:nvGrpSpPr>
        <p:grpSpPr bwMode="auto">
          <a:xfrm>
            <a:off x="1143000" y="990600"/>
            <a:ext cx="9588669" cy="5584835"/>
            <a:chOff x="985806" y="1974899"/>
            <a:chExt cx="7933988" cy="4619954"/>
          </a:xfrm>
        </p:grpSpPr>
        <p:grpSp>
          <p:nvGrpSpPr>
            <p:cNvPr id="561" name="Group 1682">
              <a:extLst>
                <a:ext uri="{FF2B5EF4-FFF2-40B4-BE49-F238E27FC236}">
                  <a16:creationId xmlns:a16="http://schemas.microsoft.com/office/drawing/2014/main" id="{148B2875-1EE1-4370-8942-D39A685B23E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85806" y="1974899"/>
              <a:ext cx="7933988" cy="4325137"/>
              <a:chOff x="-8109" y="1734776"/>
              <a:chExt cx="9044604" cy="4790475"/>
            </a:xfrm>
          </p:grpSpPr>
          <p:sp>
            <p:nvSpPr>
              <p:cNvPr id="563" name="Freeform 4">
                <a:extLst>
                  <a:ext uri="{FF2B5EF4-FFF2-40B4-BE49-F238E27FC236}">
                    <a16:creationId xmlns:a16="http://schemas.microsoft.com/office/drawing/2014/main" id="{54F9FB5F-ADE6-4474-9833-CD64AA39D6DC}"/>
                  </a:ext>
                </a:extLst>
              </p:cNvPr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2212548" y="6453175"/>
                <a:ext cx="39816" cy="65044"/>
              </a:xfrm>
              <a:custGeom>
                <a:avLst/>
                <a:gdLst>
                  <a:gd name="T0" fmla="*/ 0 w 73"/>
                  <a:gd name="T1" fmla="*/ 0 h 20"/>
                  <a:gd name="T2" fmla="*/ 208699 w 73"/>
                  <a:gd name="T3" fmla="*/ 40827960 h 20"/>
                  <a:gd name="T4" fmla="*/ 834338 w 73"/>
                  <a:gd name="T5" fmla="*/ 81653063 h 20"/>
                  <a:gd name="T6" fmla="*/ 1668220 w 73"/>
                  <a:gd name="T7" fmla="*/ 114314288 h 20"/>
                  <a:gd name="T8" fmla="*/ 2711257 w 73"/>
                  <a:gd name="T9" fmla="*/ 163306125 h 20"/>
                  <a:gd name="T10" fmla="*/ 3336897 w 73"/>
                  <a:gd name="T11" fmla="*/ 138811635 h 20"/>
                  <a:gd name="T12" fmla="*/ 3962536 w 73"/>
                  <a:gd name="T13" fmla="*/ 106150410 h 20"/>
                  <a:gd name="T14" fmla="*/ 4796418 w 73"/>
                  <a:gd name="T15" fmla="*/ 89819798 h 20"/>
                  <a:gd name="T16" fmla="*/ 5630756 w 73"/>
                  <a:gd name="T17" fmla="*/ 81653063 h 20"/>
                  <a:gd name="T18" fmla="*/ 7507675 w 73"/>
                  <a:gd name="T19" fmla="*/ 65322450 h 20"/>
                  <a:gd name="T20" fmla="*/ 9593293 w 73"/>
                  <a:gd name="T21" fmla="*/ 57158573 h 20"/>
                  <a:gd name="T22" fmla="*/ 11261513 w 73"/>
                  <a:gd name="T23" fmla="*/ 57158573 h 20"/>
                  <a:gd name="T24" fmla="*/ 13138431 w 73"/>
                  <a:gd name="T25" fmla="*/ 48991838 h 20"/>
                  <a:gd name="T26" fmla="*/ 13764071 w 73"/>
                  <a:gd name="T27" fmla="*/ 40827960 h 20"/>
                  <a:gd name="T28" fmla="*/ 14389711 w 73"/>
                  <a:gd name="T29" fmla="*/ 32661225 h 20"/>
                  <a:gd name="T30" fmla="*/ 14807108 w 73"/>
                  <a:gd name="T31" fmla="*/ 16330613 h 20"/>
                  <a:gd name="T32" fmla="*/ 15224049 w 73"/>
                  <a:gd name="T33" fmla="*/ 0 h 20"/>
                  <a:gd name="T34" fmla="*/ 0 w 73"/>
                  <a:gd name="T35" fmla="*/ 0 h 20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3" h="20">
                    <a:moveTo>
                      <a:pt x="0" y="0"/>
                    </a:moveTo>
                    <a:lnTo>
                      <a:pt x="1" y="5"/>
                    </a:lnTo>
                    <a:lnTo>
                      <a:pt x="4" y="10"/>
                    </a:lnTo>
                    <a:lnTo>
                      <a:pt x="8" y="14"/>
                    </a:lnTo>
                    <a:lnTo>
                      <a:pt x="13" y="20"/>
                    </a:lnTo>
                    <a:lnTo>
                      <a:pt x="16" y="17"/>
                    </a:lnTo>
                    <a:lnTo>
                      <a:pt x="19" y="13"/>
                    </a:lnTo>
                    <a:lnTo>
                      <a:pt x="23" y="11"/>
                    </a:lnTo>
                    <a:lnTo>
                      <a:pt x="27" y="10"/>
                    </a:lnTo>
                    <a:lnTo>
                      <a:pt x="36" y="8"/>
                    </a:lnTo>
                    <a:lnTo>
                      <a:pt x="46" y="7"/>
                    </a:lnTo>
                    <a:lnTo>
                      <a:pt x="54" y="7"/>
                    </a:lnTo>
                    <a:lnTo>
                      <a:pt x="63" y="6"/>
                    </a:lnTo>
                    <a:lnTo>
                      <a:pt x="66" y="5"/>
                    </a:lnTo>
                    <a:lnTo>
                      <a:pt x="69" y="4"/>
                    </a:lnTo>
                    <a:lnTo>
                      <a:pt x="71" y="2"/>
                    </a:lnTo>
                    <a:lnTo>
                      <a:pt x="7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64" name="Freeform 5">
                <a:extLst>
                  <a:ext uri="{FF2B5EF4-FFF2-40B4-BE49-F238E27FC236}">
                    <a16:creationId xmlns:a16="http://schemas.microsoft.com/office/drawing/2014/main" id="{D4A59307-40C5-47F3-9A19-0131ADFC0F57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-8109" y="2070548"/>
                <a:ext cx="944729" cy="501023"/>
              </a:xfrm>
              <a:custGeom>
                <a:avLst/>
                <a:gdLst>
                  <a:gd name="T0" fmla="*/ 262457292 w 1808"/>
                  <a:gd name="T1" fmla="*/ 222267807 h 850"/>
                  <a:gd name="T2" fmla="*/ 262269043 w 1808"/>
                  <a:gd name="T3" fmla="*/ 207394708 h 850"/>
                  <a:gd name="T4" fmla="*/ 258318423 w 1808"/>
                  <a:gd name="T5" fmla="*/ 178475086 h 850"/>
                  <a:gd name="T6" fmla="*/ 248911193 w 1808"/>
                  <a:gd name="T7" fmla="*/ 176547461 h 850"/>
                  <a:gd name="T8" fmla="*/ 237810592 w 1808"/>
                  <a:gd name="T9" fmla="*/ 175996411 h 850"/>
                  <a:gd name="T10" fmla="*/ 213352575 w 1808"/>
                  <a:gd name="T11" fmla="*/ 160297262 h 850"/>
                  <a:gd name="T12" fmla="*/ 183061451 w 1808"/>
                  <a:gd name="T13" fmla="*/ 147903363 h 850"/>
                  <a:gd name="T14" fmla="*/ 177417460 w 1808"/>
                  <a:gd name="T15" fmla="*/ 138814189 h 850"/>
                  <a:gd name="T16" fmla="*/ 169515352 w 1808"/>
                  <a:gd name="T17" fmla="*/ 142119438 h 850"/>
                  <a:gd name="T18" fmla="*/ 159732058 w 1808"/>
                  <a:gd name="T19" fmla="*/ 156992012 h 850"/>
                  <a:gd name="T20" fmla="*/ 126995436 w 1808"/>
                  <a:gd name="T21" fmla="*/ 170488011 h 850"/>
                  <a:gd name="T22" fmla="*/ 127559748 w 1808"/>
                  <a:gd name="T23" fmla="*/ 159195687 h 850"/>
                  <a:gd name="T24" fmla="*/ 135650105 w 1808"/>
                  <a:gd name="T25" fmla="*/ 150933088 h 850"/>
                  <a:gd name="T26" fmla="*/ 147879330 w 1808"/>
                  <a:gd name="T27" fmla="*/ 150106513 h 850"/>
                  <a:gd name="T28" fmla="*/ 136214417 w 1808"/>
                  <a:gd name="T29" fmla="*/ 145424163 h 850"/>
                  <a:gd name="T30" fmla="*/ 108745722 w 1808"/>
                  <a:gd name="T31" fmla="*/ 162225412 h 850"/>
                  <a:gd name="T32" fmla="*/ 102913482 w 1808"/>
                  <a:gd name="T33" fmla="*/ 172140636 h 850"/>
                  <a:gd name="T34" fmla="*/ 98962428 w 1808"/>
                  <a:gd name="T35" fmla="*/ 179026135 h 850"/>
                  <a:gd name="T36" fmla="*/ 85039832 w 1808"/>
                  <a:gd name="T37" fmla="*/ 180127710 h 850"/>
                  <a:gd name="T38" fmla="*/ 72058046 w 1808"/>
                  <a:gd name="T39" fmla="*/ 193348184 h 850"/>
                  <a:gd name="T40" fmla="*/ 47411780 w 1808"/>
                  <a:gd name="T41" fmla="*/ 206568658 h 850"/>
                  <a:gd name="T42" fmla="*/ 19754836 w 1808"/>
                  <a:gd name="T43" fmla="*/ 222267807 h 850"/>
                  <a:gd name="T44" fmla="*/ 752561 w 1808"/>
                  <a:gd name="T45" fmla="*/ 223920432 h 850"/>
                  <a:gd name="T46" fmla="*/ 2634181 w 1808"/>
                  <a:gd name="T47" fmla="*/ 217310457 h 850"/>
                  <a:gd name="T48" fmla="*/ 23894139 w 1808"/>
                  <a:gd name="T49" fmla="*/ 209598383 h 850"/>
                  <a:gd name="T50" fmla="*/ 49857278 w 1808"/>
                  <a:gd name="T51" fmla="*/ 191695559 h 850"/>
                  <a:gd name="T52" fmla="*/ 56442512 w 1808"/>
                  <a:gd name="T53" fmla="*/ 172416161 h 850"/>
                  <a:gd name="T54" fmla="*/ 47599595 w 1808"/>
                  <a:gd name="T55" fmla="*/ 180954285 h 850"/>
                  <a:gd name="T56" fmla="*/ 28221256 w 1808"/>
                  <a:gd name="T57" fmla="*/ 177097986 h 850"/>
                  <a:gd name="T58" fmla="*/ 32360125 w 1808"/>
                  <a:gd name="T59" fmla="*/ 168009336 h 850"/>
                  <a:gd name="T60" fmla="*/ 45154097 w 1808"/>
                  <a:gd name="T61" fmla="*/ 150657563 h 850"/>
                  <a:gd name="T62" fmla="*/ 28597320 w 1808"/>
                  <a:gd name="T63" fmla="*/ 158369112 h 850"/>
                  <a:gd name="T64" fmla="*/ 26904383 w 1808"/>
                  <a:gd name="T65" fmla="*/ 147627838 h 850"/>
                  <a:gd name="T66" fmla="*/ 65096748 w 1808"/>
                  <a:gd name="T67" fmla="*/ 104661691 h 850"/>
                  <a:gd name="T68" fmla="*/ 83534710 w 1808"/>
                  <a:gd name="T69" fmla="*/ 105212216 h 850"/>
                  <a:gd name="T70" fmla="*/ 107052351 w 1808"/>
                  <a:gd name="T71" fmla="*/ 96123042 h 850"/>
                  <a:gd name="T72" fmla="*/ 111379903 w 1808"/>
                  <a:gd name="T73" fmla="*/ 84280193 h 850"/>
                  <a:gd name="T74" fmla="*/ 95199623 w 1808"/>
                  <a:gd name="T75" fmla="*/ 91165693 h 850"/>
                  <a:gd name="T76" fmla="*/ 82406085 w 1808"/>
                  <a:gd name="T77" fmla="*/ 87584918 h 850"/>
                  <a:gd name="T78" fmla="*/ 88802637 w 1808"/>
                  <a:gd name="T79" fmla="*/ 79046794 h 850"/>
                  <a:gd name="T80" fmla="*/ 133768485 w 1808"/>
                  <a:gd name="T81" fmla="*/ 65551320 h 850"/>
                  <a:gd name="T82" fmla="*/ 140918032 w 1808"/>
                  <a:gd name="T83" fmla="*/ 57839245 h 850"/>
                  <a:gd name="T84" fmla="*/ 128688807 w 1808"/>
                  <a:gd name="T85" fmla="*/ 48474546 h 850"/>
                  <a:gd name="T86" fmla="*/ 139036413 w 1808"/>
                  <a:gd name="T87" fmla="*/ 30021198 h 850"/>
                  <a:gd name="T88" fmla="*/ 185883880 w 1808"/>
                  <a:gd name="T89" fmla="*/ 7436549 h 850"/>
                  <a:gd name="T90" fmla="*/ 217679693 w 1808"/>
                  <a:gd name="T91" fmla="*/ 2478675 h 850"/>
                  <a:gd name="T92" fmla="*/ 240256524 w 1808"/>
                  <a:gd name="T93" fmla="*/ 551050 h 850"/>
                  <a:gd name="T94" fmla="*/ 254743433 w 1808"/>
                  <a:gd name="T95" fmla="*/ 2754200 h 850"/>
                  <a:gd name="T96" fmla="*/ 285222372 w 1808"/>
                  <a:gd name="T97" fmla="*/ 9364699 h 850"/>
                  <a:gd name="T98" fmla="*/ 331317279 w 1808"/>
                  <a:gd name="T99" fmla="*/ 11292324 h 850"/>
                  <a:gd name="T100" fmla="*/ 242138144 w 1808"/>
                  <a:gd name="T101" fmla="*/ 148729413 h 850"/>
                  <a:gd name="T102" fmla="*/ 248534696 w 1808"/>
                  <a:gd name="T103" fmla="*/ 157267537 h 850"/>
                  <a:gd name="T104" fmla="*/ 249663754 w 1808"/>
                  <a:gd name="T105" fmla="*/ 165530137 h 850"/>
                  <a:gd name="T106" fmla="*/ 260011360 w 1808"/>
                  <a:gd name="T107" fmla="*/ 164979611 h 850"/>
                  <a:gd name="T108" fmla="*/ 268854278 w 1808"/>
                  <a:gd name="T109" fmla="*/ 158920162 h 850"/>
                  <a:gd name="T110" fmla="*/ 277508513 w 1808"/>
                  <a:gd name="T111" fmla="*/ 183708485 h 850"/>
                  <a:gd name="T112" fmla="*/ 275063015 w 1808"/>
                  <a:gd name="T113" fmla="*/ 194449759 h 850"/>
                  <a:gd name="T114" fmla="*/ 272617083 w 1808"/>
                  <a:gd name="T115" fmla="*/ 204365508 h 850"/>
                  <a:gd name="T116" fmla="*/ 277885010 w 1808"/>
                  <a:gd name="T117" fmla="*/ 215657832 h 850"/>
                  <a:gd name="T118" fmla="*/ 277885010 w 1808"/>
                  <a:gd name="T119" fmla="*/ 223369382 h 850"/>
                  <a:gd name="T120" fmla="*/ 268289532 w 1808"/>
                  <a:gd name="T121" fmla="*/ 233560131 h 85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808" h="850">
                    <a:moveTo>
                      <a:pt x="1410" y="842"/>
                    </a:moveTo>
                    <a:lnTo>
                      <a:pt x="1405" y="841"/>
                    </a:lnTo>
                    <a:lnTo>
                      <a:pt x="1403" y="838"/>
                    </a:lnTo>
                    <a:lnTo>
                      <a:pt x="1401" y="834"/>
                    </a:lnTo>
                    <a:lnTo>
                      <a:pt x="1399" y="830"/>
                    </a:lnTo>
                    <a:lnTo>
                      <a:pt x="1396" y="819"/>
                    </a:lnTo>
                    <a:lnTo>
                      <a:pt x="1395" y="807"/>
                    </a:lnTo>
                    <a:lnTo>
                      <a:pt x="1396" y="795"/>
                    </a:lnTo>
                    <a:lnTo>
                      <a:pt x="1398" y="784"/>
                    </a:lnTo>
                    <a:lnTo>
                      <a:pt x="1400" y="775"/>
                    </a:lnTo>
                    <a:lnTo>
                      <a:pt x="1402" y="769"/>
                    </a:lnTo>
                    <a:lnTo>
                      <a:pt x="1399" y="764"/>
                    </a:lnTo>
                    <a:lnTo>
                      <a:pt x="1396" y="760"/>
                    </a:lnTo>
                    <a:lnTo>
                      <a:pt x="1394" y="753"/>
                    </a:lnTo>
                    <a:lnTo>
                      <a:pt x="1392" y="746"/>
                    </a:lnTo>
                    <a:lnTo>
                      <a:pt x="1390" y="729"/>
                    </a:lnTo>
                    <a:lnTo>
                      <a:pt x="1389" y="708"/>
                    </a:lnTo>
                    <a:lnTo>
                      <a:pt x="1389" y="670"/>
                    </a:lnTo>
                    <a:lnTo>
                      <a:pt x="1389" y="645"/>
                    </a:lnTo>
                    <a:lnTo>
                      <a:pt x="1382" y="647"/>
                    </a:lnTo>
                    <a:lnTo>
                      <a:pt x="1373" y="648"/>
                    </a:lnTo>
                    <a:lnTo>
                      <a:pt x="1362" y="648"/>
                    </a:lnTo>
                    <a:lnTo>
                      <a:pt x="1351" y="648"/>
                    </a:lnTo>
                    <a:lnTo>
                      <a:pt x="1340" y="647"/>
                    </a:lnTo>
                    <a:lnTo>
                      <a:pt x="1332" y="645"/>
                    </a:lnTo>
                    <a:lnTo>
                      <a:pt x="1327" y="644"/>
                    </a:lnTo>
                    <a:lnTo>
                      <a:pt x="1325" y="642"/>
                    </a:lnTo>
                    <a:lnTo>
                      <a:pt x="1323" y="641"/>
                    </a:lnTo>
                    <a:lnTo>
                      <a:pt x="1323" y="638"/>
                    </a:lnTo>
                    <a:lnTo>
                      <a:pt x="1290" y="682"/>
                    </a:lnTo>
                    <a:lnTo>
                      <a:pt x="1284" y="668"/>
                    </a:lnTo>
                    <a:lnTo>
                      <a:pt x="1279" y="659"/>
                    </a:lnTo>
                    <a:lnTo>
                      <a:pt x="1273" y="650"/>
                    </a:lnTo>
                    <a:lnTo>
                      <a:pt x="1268" y="645"/>
                    </a:lnTo>
                    <a:lnTo>
                      <a:pt x="1264" y="639"/>
                    </a:lnTo>
                    <a:lnTo>
                      <a:pt x="1259" y="631"/>
                    </a:lnTo>
                    <a:lnTo>
                      <a:pt x="1257" y="622"/>
                    </a:lnTo>
                    <a:lnTo>
                      <a:pt x="1256" y="608"/>
                    </a:lnTo>
                    <a:lnTo>
                      <a:pt x="1226" y="602"/>
                    </a:lnTo>
                    <a:lnTo>
                      <a:pt x="1195" y="595"/>
                    </a:lnTo>
                    <a:lnTo>
                      <a:pt x="1165" y="588"/>
                    </a:lnTo>
                    <a:lnTo>
                      <a:pt x="1134" y="582"/>
                    </a:lnTo>
                    <a:lnTo>
                      <a:pt x="1104" y="576"/>
                    </a:lnTo>
                    <a:lnTo>
                      <a:pt x="1074" y="569"/>
                    </a:lnTo>
                    <a:lnTo>
                      <a:pt x="1045" y="561"/>
                    </a:lnTo>
                    <a:lnTo>
                      <a:pt x="1018" y="553"/>
                    </a:lnTo>
                    <a:lnTo>
                      <a:pt x="984" y="553"/>
                    </a:lnTo>
                    <a:lnTo>
                      <a:pt x="977" y="546"/>
                    </a:lnTo>
                    <a:lnTo>
                      <a:pt x="973" y="537"/>
                    </a:lnTo>
                    <a:lnTo>
                      <a:pt x="969" y="528"/>
                    </a:lnTo>
                    <a:lnTo>
                      <a:pt x="966" y="521"/>
                    </a:lnTo>
                    <a:lnTo>
                      <a:pt x="962" y="514"/>
                    </a:lnTo>
                    <a:lnTo>
                      <a:pt x="956" y="508"/>
                    </a:lnTo>
                    <a:lnTo>
                      <a:pt x="952" y="506"/>
                    </a:lnTo>
                    <a:lnTo>
                      <a:pt x="948" y="505"/>
                    </a:lnTo>
                    <a:lnTo>
                      <a:pt x="943" y="504"/>
                    </a:lnTo>
                    <a:lnTo>
                      <a:pt x="937" y="503"/>
                    </a:lnTo>
                    <a:lnTo>
                      <a:pt x="929" y="504"/>
                    </a:lnTo>
                    <a:lnTo>
                      <a:pt x="922" y="505"/>
                    </a:lnTo>
                    <a:lnTo>
                      <a:pt x="916" y="507"/>
                    </a:lnTo>
                    <a:lnTo>
                      <a:pt x="910" y="509"/>
                    </a:lnTo>
                    <a:lnTo>
                      <a:pt x="906" y="512"/>
                    </a:lnTo>
                    <a:lnTo>
                      <a:pt x="901" y="516"/>
                    </a:lnTo>
                    <a:lnTo>
                      <a:pt x="898" y="519"/>
                    </a:lnTo>
                    <a:lnTo>
                      <a:pt x="895" y="523"/>
                    </a:lnTo>
                    <a:lnTo>
                      <a:pt x="886" y="539"/>
                    </a:lnTo>
                    <a:lnTo>
                      <a:pt x="877" y="553"/>
                    </a:lnTo>
                    <a:lnTo>
                      <a:pt x="870" y="559"/>
                    </a:lnTo>
                    <a:lnTo>
                      <a:pt x="861" y="564"/>
                    </a:lnTo>
                    <a:lnTo>
                      <a:pt x="849" y="570"/>
                    </a:lnTo>
                    <a:lnTo>
                      <a:pt x="835" y="576"/>
                    </a:lnTo>
                    <a:lnTo>
                      <a:pt x="806" y="587"/>
                    </a:lnTo>
                    <a:lnTo>
                      <a:pt x="772" y="597"/>
                    </a:lnTo>
                    <a:lnTo>
                      <a:pt x="738" y="607"/>
                    </a:lnTo>
                    <a:lnTo>
                      <a:pt x="705" y="614"/>
                    </a:lnTo>
                    <a:lnTo>
                      <a:pt x="689" y="617"/>
                    </a:lnTo>
                    <a:lnTo>
                      <a:pt x="675" y="619"/>
                    </a:lnTo>
                    <a:lnTo>
                      <a:pt x="663" y="620"/>
                    </a:lnTo>
                    <a:lnTo>
                      <a:pt x="652" y="620"/>
                    </a:lnTo>
                    <a:lnTo>
                      <a:pt x="656" y="614"/>
                    </a:lnTo>
                    <a:lnTo>
                      <a:pt x="667" y="597"/>
                    </a:lnTo>
                    <a:lnTo>
                      <a:pt x="673" y="589"/>
                    </a:lnTo>
                    <a:lnTo>
                      <a:pt x="677" y="581"/>
                    </a:lnTo>
                    <a:lnTo>
                      <a:pt x="678" y="578"/>
                    </a:lnTo>
                    <a:lnTo>
                      <a:pt x="679" y="575"/>
                    </a:lnTo>
                    <a:lnTo>
                      <a:pt x="679" y="572"/>
                    </a:lnTo>
                    <a:lnTo>
                      <a:pt x="678" y="571"/>
                    </a:lnTo>
                    <a:lnTo>
                      <a:pt x="689" y="562"/>
                    </a:lnTo>
                    <a:lnTo>
                      <a:pt x="700" y="555"/>
                    </a:lnTo>
                    <a:lnTo>
                      <a:pt x="711" y="551"/>
                    </a:lnTo>
                    <a:lnTo>
                      <a:pt x="721" y="548"/>
                    </a:lnTo>
                    <a:lnTo>
                      <a:pt x="732" y="546"/>
                    </a:lnTo>
                    <a:lnTo>
                      <a:pt x="742" y="546"/>
                    </a:lnTo>
                    <a:lnTo>
                      <a:pt x="751" y="546"/>
                    </a:lnTo>
                    <a:lnTo>
                      <a:pt x="761" y="546"/>
                    </a:lnTo>
                    <a:lnTo>
                      <a:pt x="769" y="546"/>
                    </a:lnTo>
                    <a:lnTo>
                      <a:pt x="778" y="546"/>
                    </a:lnTo>
                    <a:lnTo>
                      <a:pt x="786" y="545"/>
                    </a:lnTo>
                    <a:lnTo>
                      <a:pt x="794" y="543"/>
                    </a:lnTo>
                    <a:lnTo>
                      <a:pt x="800" y="538"/>
                    </a:lnTo>
                    <a:lnTo>
                      <a:pt x="807" y="533"/>
                    </a:lnTo>
                    <a:lnTo>
                      <a:pt x="812" y="525"/>
                    </a:lnTo>
                    <a:lnTo>
                      <a:pt x="818" y="515"/>
                    </a:lnTo>
                    <a:lnTo>
                      <a:pt x="744" y="515"/>
                    </a:lnTo>
                    <a:lnTo>
                      <a:pt x="724" y="528"/>
                    </a:lnTo>
                    <a:lnTo>
                      <a:pt x="705" y="540"/>
                    </a:lnTo>
                    <a:lnTo>
                      <a:pt x="685" y="551"/>
                    </a:lnTo>
                    <a:lnTo>
                      <a:pt x="664" y="560"/>
                    </a:lnTo>
                    <a:lnTo>
                      <a:pt x="643" y="568"/>
                    </a:lnTo>
                    <a:lnTo>
                      <a:pt x="622" y="575"/>
                    </a:lnTo>
                    <a:lnTo>
                      <a:pt x="600" y="582"/>
                    </a:lnTo>
                    <a:lnTo>
                      <a:pt x="578" y="589"/>
                    </a:lnTo>
                    <a:lnTo>
                      <a:pt x="573" y="592"/>
                    </a:lnTo>
                    <a:lnTo>
                      <a:pt x="567" y="594"/>
                    </a:lnTo>
                    <a:lnTo>
                      <a:pt x="564" y="599"/>
                    </a:lnTo>
                    <a:lnTo>
                      <a:pt x="560" y="602"/>
                    </a:lnTo>
                    <a:lnTo>
                      <a:pt x="554" y="609"/>
                    </a:lnTo>
                    <a:lnTo>
                      <a:pt x="550" y="617"/>
                    </a:lnTo>
                    <a:lnTo>
                      <a:pt x="547" y="625"/>
                    </a:lnTo>
                    <a:lnTo>
                      <a:pt x="543" y="633"/>
                    </a:lnTo>
                    <a:lnTo>
                      <a:pt x="541" y="636"/>
                    </a:lnTo>
                    <a:lnTo>
                      <a:pt x="539" y="639"/>
                    </a:lnTo>
                    <a:lnTo>
                      <a:pt x="536" y="642"/>
                    </a:lnTo>
                    <a:lnTo>
                      <a:pt x="532" y="645"/>
                    </a:lnTo>
                    <a:lnTo>
                      <a:pt x="529" y="648"/>
                    </a:lnTo>
                    <a:lnTo>
                      <a:pt x="526" y="650"/>
                    </a:lnTo>
                    <a:lnTo>
                      <a:pt x="521" y="652"/>
                    </a:lnTo>
                    <a:lnTo>
                      <a:pt x="517" y="654"/>
                    </a:lnTo>
                    <a:lnTo>
                      <a:pt x="507" y="655"/>
                    </a:lnTo>
                    <a:lnTo>
                      <a:pt x="496" y="655"/>
                    </a:lnTo>
                    <a:lnTo>
                      <a:pt x="474" y="652"/>
                    </a:lnTo>
                    <a:lnTo>
                      <a:pt x="459" y="651"/>
                    </a:lnTo>
                    <a:lnTo>
                      <a:pt x="452" y="654"/>
                    </a:lnTo>
                    <a:lnTo>
                      <a:pt x="444" y="657"/>
                    </a:lnTo>
                    <a:lnTo>
                      <a:pt x="438" y="661"/>
                    </a:lnTo>
                    <a:lnTo>
                      <a:pt x="430" y="665"/>
                    </a:lnTo>
                    <a:lnTo>
                      <a:pt x="417" y="674"/>
                    </a:lnTo>
                    <a:lnTo>
                      <a:pt x="405" y="684"/>
                    </a:lnTo>
                    <a:lnTo>
                      <a:pt x="394" y="694"/>
                    </a:lnTo>
                    <a:lnTo>
                      <a:pt x="383" y="702"/>
                    </a:lnTo>
                    <a:lnTo>
                      <a:pt x="374" y="708"/>
                    </a:lnTo>
                    <a:lnTo>
                      <a:pt x="367" y="713"/>
                    </a:lnTo>
                    <a:lnTo>
                      <a:pt x="335" y="722"/>
                    </a:lnTo>
                    <a:lnTo>
                      <a:pt x="309" y="729"/>
                    </a:lnTo>
                    <a:lnTo>
                      <a:pt x="287" y="737"/>
                    </a:lnTo>
                    <a:lnTo>
                      <a:pt x="270" y="743"/>
                    </a:lnTo>
                    <a:lnTo>
                      <a:pt x="252" y="750"/>
                    </a:lnTo>
                    <a:lnTo>
                      <a:pt x="235" y="757"/>
                    </a:lnTo>
                    <a:lnTo>
                      <a:pt x="216" y="766"/>
                    </a:lnTo>
                    <a:lnTo>
                      <a:pt x="193" y="775"/>
                    </a:lnTo>
                    <a:lnTo>
                      <a:pt x="168" y="786"/>
                    </a:lnTo>
                    <a:lnTo>
                      <a:pt x="145" y="795"/>
                    </a:lnTo>
                    <a:lnTo>
                      <a:pt x="124" y="802"/>
                    </a:lnTo>
                    <a:lnTo>
                      <a:pt x="105" y="807"/>
                    </a:lnTo>
                    <a:lnTo>
                      <a:pt x="87" y="812"/>
                    </a:lnTo>
                    <a:lnTo>
                      <a:pt x="68" y="818"/>
                    </a:lnTo>
                    <a:lnTo>
                      <a:pt x="48" y="826"/>
                    </a:lnTo>
                    <a:lnTo>
                      <a:pt x="27" y="836"/>
                    </a:lnTo>
                    <a:lnTo>
                      <a:pt x="1" y="824"/>
                    </a:lnTo>
                    <a:lnTo>
                      <a:pt x="4" y="817"/>
                    </a:lnTo>
                    <a:lnTo>
                      <a:pt x="4" y="813"/>
                    </a:lnTo>
                    <a:lnTo>
                      <a:pt x="3" y="810"/>
                    </a:lnTo>
                    <a:lnTo>
                      <a:pt x="2" y="808"/>
                    </a:lnTo>
                    <a:lnTo>
                      <a:pt x="0" y="806"/>
                    </a:lnTo>
                    <a:lnTo>
                      <a:pt x="0" y="803"/>
                    </a:lnTo>
                    <a:lnTo>
                      <a:pt x="2" y="799"/>
                    </a:lnTo>
                    <a:lnTo>
                      <a:pt x="7" y="793"/>
                    </a:lnTo>
                    <a:lnTo>
                      <a:pt x="14" y="789"/>
                    </a:lnTo>
                    <a:lnTo>
                      <a:pt x="21" y="785"/>
                    </a:lnTo>
                    <a:lnTo>
                      <a:pt x="28" y="782"/>
                    </a:lnTo>
                    <a:lnTo>
                      <a:pt x="36" y="779"/>
                    </a:lnTo>
                    <a:lnTo>
                      <a:pt x="52" y="774"/>
                    </a:lnTo>
                    <a:lnTo>
                      <a:pt x="70" y="771"/>
                    </a:lnTo>
                    <a:lnTo>
                      <a:pt x="102" y="766"/>
                    </a:lnTo>
                    <a:lnTo>
                      <a:pt x="127" y="761"/>
                    </a:lnTo>
                    <a:lnTo>
                      <a:pt x="143" y="757"/>
                    </a:lnTo>
                    <a:lnTo>
                      <a:pt x="158" y="751"/>
                    </a:lnTo>
                    <a:lnTo>
                      <a:pt x="173" y="746"/>
                    </a:lnTo>
                    <a:lnTo>
                      <a:pt x="188" y="739"/>
                    </a:lnTo>
                    <a:lnTo>
                      <a:pt x="215" y="726"/>
                    </a:lnTo>
                    <a:lnTo>
                      <a:pt x="240" y="712"/>
                    </a:lnTo>
                    <a:lnTo>
                      <a:pt x="265" y="696"/>
                    </a:lnTo>
                    <a:lnTo>
                      <a:pt x="291" y="681"/>
                    </a:lnTo>
                    <a:lnTo>
                      <a:pt x="315" y="666"/>
                    </a:lnTo>
                    <a:lnTo>
                      <a:pt x="339" y="651"/>
                    </a:lnTo>
                    <a:lnTo>
                      <a:pt x="327" y="643"/>
                    </a:lnTo>
                    <a:lnTo>
                      <a:pt x="317" y="636"/>
                    </a:lnTo>
                    <a:lnTo>
                      <a:pt x="308" y="631"/>
                    </a:lnTo>
                    <a:lnTo>
                      <a:pt x="300" y="626"/>
                    </a:lnTo>
                    <a:lnTo>
                      <a:pt x="292" y="629"/>
                    </a:lnTo>
                    <a:lnTo>
                      <a:pt x="285" y="634"/>
                    </a:lnTo>
                    <a:lnTo>
                      <a:pt x="280" y="639"/>
                    </a:lnTo>
                    <a:lnTo>
                      <a:pt x="273" y="644"/>
                    </a:lnTo>
                    <a:lnTo>
                      <a:pt x="267" y="649"/>
                    </a:lnTo>
                    <a:lnTo>
                      <a:pt x="260" y="654"/>
                    </a:lnTo>
                    <a:lnTo>
                      <a:pt x="253" y="657"/>
                    </a:lnTo>
                    <a:lnTo>
                      <a:pt x="247" y="658"/>
                    </a:lnTo>
                    <a:lnTo>
                      <a:pt x="225" y="657"/>
                    </a:lnTo>
                    <a:lnTo>
                      <a:pt x="192" y="652"/>
                    </a:lnTo>
                    <a:lnTo>
                      <a:pt x="174" y="650"/>
                    </a:lnTo>
                    <a:lnTo>
                      <a:pt x="160" y="646"/>
                    </a:lnTo>
                    <a:lnTo>
                      <a:pt x="155" y="645"/>
                    </a:lnTo>
                    <a:lnTo>
                      <a:pt x="150" y="643"/>
                    </a:lnTo>
                    <a:lnTo>
                      <a:pt x="148" y="641"/>
                    </a:lnTo>
                    <a:lnTo>
                      <a:pt x="147" y="638"/>
                    </a:lnTo>
                    <a:lnTo>
                      <a:pt x="148" y="635"/>
                    </a:lnTo>
                    <a:lnTo>
                      <a:pt x="150" y="631"/>
                    </a:lnTo>
                    <a:lnTo>
                      <a:pt x="155" y="626"/>
                    </a:lnTo>
                    <a:lnTo>
                      <a:pt x="159" y="621"/>
                    </a:lnTo>
                    <a:lnTo>
                      <a:pt x="172" y="610"/>
                    </a:lnTo>
                    <a:lnTo>
                      <a:pt x="189" y="597"/>
                    </a:lnTo>
                    <a:lnTo>
                      <a:pt x="204" y="584"/>
                    </a:lnTo>
                    <a:lnTo>
                      <a:pt x="219" y="571"/>
                    </a:lnTo>
                    <a:lnTo>
                      <a:pt x="226" y="565"/>
                    </a:lnTo>
                    <a:lnTo>
                      <a:pt x="231" y="559"/>
                    </a:lnTo>
                    <a:lnTo>
                      <a:pt x="237" y="553"/>
                    </a:lnTo>
                    <a:lnTo>
                      <a:pt x="240" y="547"/>
                    </a:lnTo>
                    <a:lnTo>
                      <a:pt x="223" y="550"/>
                    </a:lnTo>
                    <a:lnTo>
                      <a:pt x="207" y="556"/>
                    </a:lnTo>
                    <a:lnTo>
                      <a:pt x="191" y="562"/>
                    </a:lnTo>
                    <a:lnTo>
                      <a:pt x="175" y="568"/>
                    </a:lnTo>
                    <a:lnTo>
                      <a:pt x="168" y="571"/>
                    </a:lnTo>
                    <a:lnTo>
                      <a:pt x="160" y="573"/>
                    </a:lnTo>
                    <a:lnTo>
                      <a:pt x="152" y="575"/>
                    </a:lnTo>
                    <a:lnTo>
                      <a:pt x="144" y="576"/>
                    </a:lnTo>
                    <a:lnTo>
                      <a:pt x="135" y="576"/>
                    </a:lnTo>
                    <a:lnTo>
                      <a:pt x="126" y="575"/>
                    </a:lnTo>
                    <a:lnTo>
                      <a:pt x="116" y="574"/>
                    </a:lnTo>
                    <a:lnTo>
                      <a:pt x="107" y="571"/>
                    </a:lnTo>
                    <a:lnTo>
                      <a:pt x="107" y="565"/>
                    </a:lnTo>
                    <a:lnTo>
                      <a:pt x="143" y="536"/>
                    </a:lnTo>
                    <a:lnTo>
                      <a:pt x="182" y="508"/>
                    </a:lnTo>
                    <a:lnTo>
                      <a:pt x="223" y="476"/>
                    </a:lnTo>
                    <a:lnTo>
                      <a:pt x="267" y="442"/>
                    </a:lnTo>
                    <a:lnTo>
                      <a:pt x="286" y="426"/>
                    </a:lnTo>
                    <a:lnTo>
                      <a:pt x="306" y="411"/>
                    </a:lnTo>
                    <a:lnTo>
                      <a:pt x="326" y="395"/>
                    </a:lnTo>
                    <a:lnTo>
                      <a:pt x="346" y="380"/>
                    </a:lnTo>
                    <a:lnTo>
                      <a:pt x="386" y="411"/>
                    </a:lnTo>
                    <a:lnTo>
                      <a:pt x="393" y="405"/>
                    </a:lnTo>
                    <a:lnTo>
                      <a:pt x="399" y="400"/>
                    </a:lnTo>
                    <a:lnTo>
                      <a:pt x="406" y="396"/>
                    </a:lnTo>
                    <a:lnTo>
                      <a:pt x="414" y="393"/>
                    </a:lnTo>
                    <a:lnTo>
                      <a:pt x="428" y="386"/>
                    </a:lnTo>
                    <a:lnTo>
                      <a:pt x="444" y="382"/>
                    </a:lnTo>
                    <a:lnTo>
                      <a:pt x="476" y="374"/>
                    </a:lnTo>
                    <a:lnTo>
                      <a:pt x="509" y="370"/>
                    </a:lnTo>
                    <a:lnTo>
                      <a:pt x="524" y="367"/>
                    </a:lnTo>
                    <a:lnTo>
                      <a:pt x="539" y="363"/>
                    </a:lnTo>
                    <a:lnTo>
                      <a:pt x="552" y="359"/>
                    </a:lnTo>
                    <a:lnTo>
                      <a:pt x="563" y="353"/>
                    </a:lnTo>
                    <a:lnTo>
                      <a:pt x="569" y="349"/>
                    </a:lnTo>
                    <a:lnTo>
                      <a:pt x="574" y="345"/>
                    </a:lnTo>
                    <a:lnTo>
                      <a:pt x="578" y="340"/>
                    </a:lnTo>
                    <a:lnTo>
                      <a:pt x="582" y="335"/>
                    </a:lnTo>
                    <a:lnTo>
                      <a:pt x="585" y="329"/>
                    </a:lnTo>
                    <a:lnTo>
                      <a:pt x="588" y="322"/>
                    </a:lnTo>
                    <a:lnTo>
                      <a:pt x="590" y="314"/>
                    </a:lnTo>
                    <a:lnTo>
                      <a:pt x="592" y="306"/>
                    </a:lnTo>
                    <a:lnTo>
                      <a:pt x="559" y="306"/>
                    </a:lnTo>
                    <a:lnTo>
                      <a:pt x="548" y="312"/>
                    </a:lnTo>
                    <a:lnTo>
                      <a:pt x="535" y="321"/>
                    </a:lnTo>
                    <a:lnTo>
                      <a:pt x="528" y="325"/>
                    </a:lnTo>
                    <a:lnTo>
                      <a:pt x="520" y="328"/>
                    </a:lnTo>
                    <a:lnTo>
                      <a:pt x="513" y="330"/>
                    </a:lnTo>
                    <a:lnTo>
                      <a:pt x="506" y="331"/>
                    </a:lnTo>
                    <a:lnTo>
                      <a:pt x="495" y="330"/>
                    </a:lnTo>
                    <a:lnTo>
                      <a:pt x="485" y="327"/>
                    </a:lnTo>
                    <a:lnTo>
                      <a:pt x="474" y="324"/>
                    </a:lnTo>
                    <a:lnTo>
                      <a:pt x="463" y="321"/>
                    </a:lnTo>
                    <a:lnTo>
                      <a:pt x="453" y="318"/>
                    </a:lnTo>
                    <a:lnTo>
                      <a:pt x="443" y="317"/>
                    </a:lnTo>
                    <a:lnTo>
                      <a:pt x="438" y="318"/>
                    </a:lnTo>
                    <a:lnTo>
                      <a:pt x="433" y="319"/>
                    </a:lnTo>
                    <a:lnTo>
                      <a:pt x="430" y="322"/>
                    </a:lnTo>
                    <a:lnTo>
                      <a:pt x="426" y="325"/>
                    </a:lnTo>
                    <a:lnTo>
                      <a:pt x="432" y="316"/>
                    </a:lnTo>
                    <a:lnTo>
                      <a:pt x="443" y="307"/>
                    </a:lnTo>
                    <a:lnTo>
                      <a:pt x="457" y="297"/>
                    </a:lnTo>
                    <a:lnTo>
                      <a:pt x="472" y="287"/>
                    </a:lnTo>
                    <a:lnTo>
                      <a:pt x="506" y="265"/>
                    </a:lnTo>
                    <a:lnTo>
                      <a:pt x="539" y="244"/>
                    </a:lnTo>
                    <a:lnTo>
                      <a:pt x="698" y="250"/>
                    </a:lnTo>
                    <a:lnTo>
                      <a:pt x="701" y="246"/>
                    </a:lnTo>
                    <a:lnTo>
                      <a:pt x="704" y="243"/>
                    </a:lnTo>
                    <a:lnTo>
                      <a:pt x="708" y="240"/>
                    </a:lnTo>
                    <a:lnTo>
                      <a:pt x="711" y="238"/>
                    </a:lnTo>
                    <a:lnTo>
                      <a:pt x="719" y="236"/>
                    </a:lnTo>
                    <a:lnTo>
                      <a:pt x="728" y="234"/>
                    </a:lnTo>
                    <a:lnTo>
                      <a:pt x="745" y="234"/>
                    </a:lnTo>
                    <a:lnTo>
                      <a:pt x="758" y="232"/>
                    </a:lnTo>
                    <a:lnTo>
                      <a:pt x="756" y="224"/>
                    </a:lnTo>
                    <a:lnTo>
                      <a:pt x="753" y="216"/>
                    </a:lnTo>
                    <a:lnTo>
                      <a:pt x="749" y="210"/>
                    </a:lnTo>
                    <a:lnTo>
                      <a:pt x="742" y="204"/>
                    </a:lnTo>
                    <a:lnTo>
                      <a:pt x="737" y="199"/>
                    </a:lnTo>
                    <a:lnTo>
                      <a:pt x="729" y="195"/>
                    </a:lnTo>
                    <a:lnTo>
                      <a:pt x="721" y="191"/>
                    </a:lnTo>
                    <a:lnTo>
                      <a:pt x="713" y="188"/>
                    </a:lnTo>
                    <a:lnTo>
                      <a:pt x="698" y="182"/>
                    </a:lnTo>
                    <a:lnTo>
                      <a:pt x="684" y="176"/>
                    </a:lnTo>
                    <a:lnTo>
                      <a:pt x="678" y="172"/>
                    </a:lnTo>
                    <a:lnTo>
                      <a:pt x="673" y="168"/>
                    </a:lnTo>
                    <a:lnTo>
                      <a:pt x="668" y="164"/>
                    </a:lnTo>
                    <a:lnTo>
                      <a:pt x="665" y="159"/>
                    </a:lnTo>
                    <a:lnTo>
                      <a:pt x="687" y="143"/>
                    </a:lnTo>
                    <a:lnTo>
                      <a:pt x="712" y="127"/>
                    </a:lnTo>
                    <a:lnTo>
                      <a:pt x="739" y="109"/>
                    </a:lnTo>
                    <a:lnTo>
                      <a:pt x="765" y="90"/>
                    </a:lnTo>
                    <a:lnTo>
                      <a:pt x="812" y="78"/>
                    </a:lnTo>
                    <a:lnTo>
                      <a:pt x="858" y="65"/>
                    </a:lnTo>
                    <a:lnTo>
                      <a:pt x="902" y="52"/>
                    </a:lnTo>
                    <a:lnTo>
                      <a:pt x="945" y="38"/>
                    </a:lnTo>
                    <a:lnTo>
                      <a:pt x="966" y="33"/>
                    </a:lnTo>
                    <a:lnTo>
                      <a:pt x="988" y="27"/>
                    </a:lnTo>
                    <a:lnTo>
                      <a:pt x="1010" y="22"/>
                    </a:lnTo>
                    <a:lnTo>
                      <a:pt x="1033" y="18"/>
                    </a:lnTo>
                    <a:lnTo>
                      <a:pt x="1056" y="15"/>
                    </a:lnTo>
                    <a:lnTo>
                      <a:pt x="1080" y="12"/>
                    </a:lnTo>
                    <a:lnTo>
                      <a:pt x="1104" y="11"/>
                    </a:lnTo>
                    <a:lnTo>
                      <a:pt x="1130" y="10"/>
                    </a:lnTo>
                    <a:lnTo>
                      <a:pt x="1157" y="9"/>
                    </a:lnTo>
                    <a:lnTo>
                      <a:pt x="1176" y="7"/>
                    </a:lnTo>
                    <a:lnTo>
                      <a:pt x="1192" y="5"/>
                    </a:lnTo>
                    <a:lnTo>
                      <a:pt x="1216" y="4"/>
                    </a:lnTo>
                    <a:lnTo>
                      <a:pt x="1241" y="3"/>
                    </a:lnTo>
                    <a:lnTo>
                      <a:pt x="1262" y="0"/>
                    </a:lnTo>
                    <a:lnTo>
                      <a:pt x="1270" y="0"/>
                    </a:lnTo>
                    <a:lnTo>
                      <a:pt x="1277" y="2"/>
                    </a:lnTo>
                    <a:lnTo>
                      <a:pt x="1280" y="3"/>
                    </a:lnTo>
                    <a:lnTo>
                      <a:pt x="1281" y="5"/>
                    </a:lnTo>
                    <a:lnTo>
                      <a:pt x="1282" y="7"/>
                    </a:lnTo>
                    <a:lnTo>
                      <a:pt x="1283" y="10"/>
                    </a:lnTo>
                    <a:lnTo>
                      <a:pt x="1306" y="10"/>
                    </a:lnTo>
                    <a:lnTo>
                      <a:pt x="1333" y="10"/>
                    </a:lnTo>
                    <a:lnTo>
                      <a:pt x="1354" y="10"/>
                    </a:lnTo>
                    <a:lnTo>
                      <a:pt x="1362" y="10"/>
                    </a:lnTo>
                    <a:lnTo>
                      <a:pt x="1380" y="11"/>
                    </a:lnTo>
                    <a:lnTo>
                      <a:pt x="1399" y="12"/>
                    </a:lnTo>
                    <a:lnTo>
                      <a:pt x="1417" y="15"/>
                    </a:lnTo>
                    <a:lnTo>
                      <a:pt x="1437" y="18"/>
                    </a:lnTo>
                    <a:lnTo>
                      <a:pt x="1475" y="26"/>
                    </a:lnTo>
                    <a:lnTo>
                      <a:pt x="1516" y="34"/>
                    </a:lnTo>
                    <a:lnTo>
                      <a:pt x="1557" y="44"/>
                    </a:lnTo>
                    <a:lnTo>
                      <a:pt x="1597" y="52"/>
                    </a:lnTo>
                    <a:lnTo>
                      <a:pt x="1617" y="55"/>
                    </a:lnTo>
                    <a:lnTo>
                      <a:pt x="1637" y="58"/>
                    </a:lnTo>
                    <a:lnTo>
                      <a:pt x="1656" y="59"/>
                    </a:lnTo>
                    <a:lnTo>
                      <a:pt x="1675" y="60"/>
                    </a:lnTo>
                    <a:lnTo>
                      <a:pt x="1761" y="41"/>
                    </a:lnTo>
                    <a:lnTo>
                      <a:pt x="1772" y="46"/>
                    </a:lnTo>
                    <a:lnTo>
                      <a:pt x="1784" y="51"/>
                    </a:lnTo>
                    <a:lnTo>
                      <a:pt x="1797" y="55"/>
                    </a:lnTo>
                    <a:lnTo>
                      <a:pt x="1808" y="60"/>
                    </a:lnTo>
                    <a:lnTo>
                      <a:pt x="1223" y="540"/>
                    </a:lnTo>
                    <a:lnTo>
                      <a:pt x="1258" y="540"/>
                    </a:lnTo>
                    <a:lnTo>
                      <a:pt x="1287" y="540"/>
                    </a:lnTo>
                    <a:lnTo>
                      <a:pt x="1309" y="540"/>
                    </a:lnTo>
                    <a:lnTo>
                      <a:pt x="1329" y="540"/>
                    </a:lnTo>
                    <a:lnTo>
                      <a:pt x="1328" y="547"/>
                    </a:lnTo>
                    <a:lnTo>
                      <a:pt x="1327" y="553"/>
                    </a:lnTo>
                    <a:lnTo>
                      <a:pt x="1325" y="559"/>
                    </a:lnTo>
                    <a:lnTo>
                      <a:pt x="1323" y="565"/>
                    </a:lnTo>
                    <a:lnTo>
                      <a:pt x="1321" y="571"/>
                    </a:lnTo>
                    <a:lnTo>
                      <a:pt x="1318" y="576"/>
                    </a:lnTo>
                    <a:lnTo>
                      <a:pt x="1316" y="583"/>
                    </a:lnTo>
                    <a:lnTo>
                      <a:pt x="1316" y="589"/>
                    </a:lnTo>
                    <a:lnTo>
                      <a:pt x="1317" y="592"/>
                    </a:lnTo>
                    <a:lnTo>
                      <a:pt x="1320" y="595"/>
                    </a:lnTo>
                    <a:lnTo>
                      <a:pt x="1323" y="599"/>
                    </a:lnTo>
                    <a:lnTo>
                      <a:pt x="1327" y="601"/>
                    </a:lnTo>
                    <a:lnTo>
                      <a:pt x="1336" y="606"/>
                    </a:lnTo>
                    <a:lnTo>
                      <a:pt x="1343" y="608"/>
                    </a:lnTo>
                    <a:lnTo>
                      <a:pt x="1351" y="608"/>
                    </a:lnTo>
                    <a:lnTo>
                      <a:pt x="1358" y="607"/>
                    </a:lnTo>
                    <a:lnTo>
                      <a:pt x="1365" y="605"/>
                    </a:lnTo>
                    <a:lnTo>
                      <a:pt x="1371" y="604"/>
                    </a:lnTo>
                    <a:lnTo>
                      <a:pt x="1382" y="599"/>
                    </a:lnTo>
                    <a:lnTo>
                      <a:pt x="1391" y="592"/>
                    </a:lnTo>
                    <a:lnTo>
                      <a:pt x="1400" y="587"/>
                    </a:lnTo>
                    <a:lnTo>
                      <a:pt x="1409" y="582"/>
                    </a:lnTo>
                    <a:lnTo>
                      <a:pt x="1413" y="580"/>
                    </a:lnTo>
                    <a:lnTo>
                      <a:pt x="1417" y="578"/>
                    </a:lnTo>
                    <a:lnTo>
                      <a:pt x="1423" y="577"/>
                    </a:lnTo>
                    <a:lnTo>
                      <a:pt x="1429" y="577"/>
                    </a:lnTo>
                    <a:lnTo>
                      <a:pt x="1441" y="596"/>
                    </a:lnTo>
                    <a:lnTo>
                      <a:pt x="1457" y="617"/>
                    </a:lnTo>
                    <a:lnTo>
                      <a:pt x="1465" y="629"/>
                    </a:lnTo>
                    <a:lnTo>
                      <a:pt x="1470" y="643"/>
                    </a:lnTo>
                    <a:lnTo>
                      <a:pt x="1472" y="650"/>
                    </a:lnTo>
                    <a:lnTo>
                      <a:pt x="1474" y="659"/>
                    </a:lnTo>
                    <a:lnTo>
                      <a:pt x="1475" y="667"/>
                    </a:lnTo>
                    <a:lnTo>
                      <a:pt x="1475" y="676"/>
                    </a:lnTo>
                    <a:lnTo>
                      <a:pt x="1475" y="681"/>
                    </a:lnTo>
                    <a:lnTo>
                      <a:pt x="1474" y="686"/>
                    </a:lnTo>
                    <a:lnTo>
                      <a:pt x="1473" y="690"/>
                    </a:lnTo>
                    <a:lnTo>
                      <a:pt x="1471" y="694"/>
                    </a:lnTo>
                    <a:lnTo>
                      <a:pt x="1467" y="700"/>
                    </a:lnTo>
                    <a:lnTo>
                      <a:pt x="1462" y="706"/>
                    </a:lnTo>
                    <a:lnTo>
                      <a:pt x="1457" y="713"/>
                    </a:lnTo>
                    <a:lnTo>
                      <a:pt x="1454" y="719"/>
                    </a:lnTo>
                    <a:lnTo>
                      <a:pt x="1451" y="723"/>
                    </a:lnTo>
                    <a:lnTo>
                      <a:pt x="1450" y="727"/>
                    </a:lnTo>
                    <a:lnTo>
                      <a:pt x="1449" y="732"/>
                    </a:lnTo>
                    <a:lnTo>
                      <a:pt x="1449" y="737"/>
                    </a:lnTo>
                    <a:lnTo>
                      <a:pt x="1449" y="742"/>
                    </a:lnTo>
                    <a:lnTo>
                      <a:pt x="1450" y="746"/>
                    </a:lnTo>
                    <a:lnTo>
                      <a:pt x="1452" y="750"/>
                    </a:lnTo>
                    <a:lnTo>
                      <a:pt x="1455" y="754"/>
                    </a:lnTo>
                    <a:lnTo>
                      <a:pt x="1459" y="761"/>
                    </a:lnTo>
                    <a:lnTo>
                      <a:pt x="1466" y="769"/>
                    </a:lnTo>
                    <a:lnTo>
                      <a:pt x="1471" y="775"/>
                    </a:lnTo>
                    <a:lnTo>
                      <a:pt x="1477" y="783"/>
                    </a:lnTo>
                    <a:lnTo>
                      <a:pt x="1479" y="786"/>
                    </a:lnTo>
                    <a:lnTo>
                      <a:pt x="1481" y="790"/>
                    </a:lnTo>
                    <a:lnTo>
                      <a:pt x="1482" y="794"/>
                    </a:lnTo>
                    <a:lnTo>
                      <a:pt x="1482" y="799"/>
                    </a:lnTo>
                    <a:lnTo>
                      <a:pt x="1482" y="802"/>
                    </a:lnTo>
                    <a:lnTo>
                      <a:pt x="1480" y="807"/>
                    </a:lnTo>
                    <a:lnTo>
                      <a:pt x="1477" y="811"/>
                    </a:lnTo>
                    <a:lnTo>
                      <a:pt x="1473" y="816"/>
                    </a:lnTo>
                    <a:lnTo>
                      <a:pt x="1463" y="826"/>
                    </a:lnTo>
                    <a:lnTo>
                      <a:pt x="1452" y="835"/>
                    </a:lnTo>
                    <a:lnTo>
                      <a:pt x="1446" y="839"/>
                    </a:lnTo>
                    <a:lnTo>
                      <a:pt x="1439" y="843"/>
                    </a:lnTo>
                    <a:lnTo>
                      <a:pt x="1433" y="846"/>
                    </a:lnTo>
                    <a:lnTo>
                      <a:pt x="1426" y="848"/>
                    </a:lnTo>
                    <a:lnTo>
                      <a:pt x="1419" y="850"/>
                    </a:lnTo>
                    <a:lnTo>
                      <a:pt x="1414" y="850"/>
                    </a:lnTo>
                    <a:lnTo>
                      <a:pt x="1407" y="850"/>
                    </a:lnTo>
                    <a:lnTo>
                      <a:pt x="1402" y="848"/>
                    </a:lnTo>
                    <a:lnTo>
                      <a:pt x="1410" y="8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65" name="Freeform 6">
                <a:extLst>
                  <a:ext uri="{FF2B5EF4-FFF2-40B4-BE49-F238E27FC236}">
                    <a16:creationId xmlns:a16="http://schemas.microsoft.com/office/drawing/2014/main" id="{A14D7E79-7EE4-4E9F-84FE-9DB139E36204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547508" y="2763189"/>
                <a:ext cx="1665040" cy="864923"/>
              </a:xfrm>
              <a:custGeom>
                <a:avLst/>
                <a:gdLst>
                  <a:gd name="T0" fmla="*/ 554050800 w 3175"/>
                  <a:gd name="T1" fmla="*/ 96576483 h 1472"/>
                  <a:gd name="T2" fmla="*/ 547995600 w 3175"/>
                  <a:gd name="T3" fmla="*/ 120378656 h 1472"/>
                  <a:gd name="T4" fmla="*/ 537966675 w 3175"/>
                  <a:gd name="T5" fmla="*/ 126397458 h 1472"/>
                  <a:gd name="T6" fmla="*/ 504663075 w 3175"/>
                  <a:gd name="T7" fmla="*/ 154850642 h 1472"/>
                  <a:gd name="T8" fmla="*/ 491038875 w 3175"/>
                  <a:gd name="T9" fmla="*/ 160048770 h 1472"/>
                  <a:gd name="T10" fmla="*/ 486308250 w 3175"/>
                  <a:gd name="T11" fmla="*/ 185218733 h 1472"/>
                  <a:gd name="T12" fmla="*/ 475711650 w 3175"/>
                  <a:gd name="T13" fmla="*/ 169897908 h 1472"/>
                  <a:gd name="T14" fmla="*/ 472873275 w 3175"/>
                  <a:gd name="T15" fmla="*/ 188774989 h 1472"/>
                  <a:gd name="T16" fmla="*/ 466439625 w 3175"/>
                  <a:gd name="T17" fmla="*/ 203548697 h 1472"/>
                  <a:gd name="T18" fmla="*/ 467574975 w 3175"/>
                  <a:gd name="T19" fmla="*/ 225162405 h 1472"/>
                  <a:gd name="T20" fmla="*/ 441272700 w 3175"/>
                  <a:gd name="T21" fmla="*/ 253889148 h 1472"/>
                  <a:gd name="T22" fmla="*/ 409672125 w 3175"/>
                  <a:gd name="T23" fmla="*/ 285898588 h 1472"/>
                  <a:gd name="T24" fmla="*/ 399643200 w 3175"/>
                  <a:gd name="T25" fmla="*/ 326937015 h 1472"/>
                  <a:gd name="T26" fmla="*/ 397940175 w 3175"/>
                  <a:gd name="T27" fmla="*/ 398616569 h 1472"/>
                  <a:gd name="T28" fmla="*/ 383369850 w 3175"/>
                  <a:gd name="T29" fmla="*/ 386852524 h 1472"/>
                  <a:gd name="T30" fmla="*/ 377125425 w 3175"/>
                  <a:gd name="T31" fmla="*/ 362776792 h 1472"/>
                  <a:gd name="T32" fmla="*/ 370691775 w 3175"/>
                  <a:gd name="T33" fmla="*/ 323927353 h 1472"/>
                  <a:gd name="T34" fmla="*/ 346660200 w 3175"/>
                  <a:gd name="T35" fmla="*/ 319549900 h 1472"/>
                  <a:gd name="T36" fmla="*/ 312788925 w 3175"/>
                  <a:gd name="T37" fmla="*/ 312710423 h 1472"/>
                  <a:gd name="T38" fmla="*/ 305787600 w 3175"/>
                  <a:gd name="T39" fmla="*/ 324474469 h 1472"/>
                  <a:gd name="T40" fmla="*/ 292920300 w 3175"/>
                  <a:gd name="T41" fmla="*/ 338701061 h 1472"/>
                  <a:gd name="T42" fmla="*/ 271727100 w 3175"/>
                  <a:gd name="T43" fmla="*/ 326115818 h 1472"/>
                  <a:gd name="T44" fmla="*/ 232935975 w 3175"/>
                  <a:gd name="T45" fmla="*/ 348003084 h 1472"/>
                  <a:gd name="T46" fmla="*/ 219501000 w 3175"/>
                  <a:gd name="T47" fmla="*/ 380833722 h 1472"/>
                  <a:gd name="T48" fmla="*/ 204363000 w 3175"/>
                  <a:gd name="T49" fmla="*/ 378097617 h 1472"/>
                  <a:gd name="T50" fmla="*/ 196226325 w 3175"/>
                  <a:gd name="T51" fmla="*/ 335691399 h 1472"/>
                  <a:gd name="T52" fmla="*/ 177871500 w 3175"/>
                  <a:gd name="T53" fmla="*/ 325568702 h 1472"/>
                  <a:gd name="T54" fmla="*/ 164058075 w 3175"/>
                  <a:gd name="T55" fmla="*/ 333502934 h 1472"/>
                  <a:gd name="T56" fmla="*/ 147973950 w 3175"/>
                  <a:gd name="T57" fmla="*/ 297389599 h 1472"/>
                  <a:gd name="T58" fmla="*/ 126780750 w 3175"/>
                  <a:gd name="T59" fmla="*/ 291370274 h 1472"/>
                  <a:gd name="T60" fmla="*/ 87421950 w 3175"/>
                  <a:gd name="T61" fmla="*/ 291370274 h 1472"/>
                  <a:gd name="T62" fmla="*/ 41629500 w 3175"/>
                  <a:gd name="T63" fmla="*/ 277964879 h 1472"/>
                  <a:gd name="T64" fmla="*/ 16651800 w 3175"/>
                  <a:gd name="T65" fmla="*/ 251700160 h 1472"/>
                  <a:gd name="T66" fmla="*/ 7379775 w 3175"/>
                  <a:gd name="T67" fmla="*/ 232001882 h 1472"/>
                  <a:gd name="T68" fmla="*/ 5487525 w 3175"/>
                  <a:gd name="T69" fmla="*/ 181114838 h 1472"/>
                  <a:gd name="T70" fmla="*/ 0 w 3175"/>
                  <a:gd name="T71" fmla="*/ 165246897 h 1472"/>
                  <a:gd name="T72" fmla="*/ 26680725 w 3175"/>
                  <a:gd name="T73" fmla="*/ 91925471 h 1472"/>
                  <a:gd name="T74" fmla="*/ 46738575 w 3175"/>
                  <a:gd name="T75" fmla="*/ 48151462 h 1472"/>
                  <a:gd name="T76" fmla="*/ 67174875 w 3175"/>
                  <a:gd name="T77" fmla="*/ 27906068 h 1472"/>
                  <a:gd name="T78" fmla="*/ 71148600 w 3175"/>
                  <a:gd name="T79" fmla="*/ 32830638 h 1472"/>
                  <a:gd name="T80" fmla="*/ 345714075 w 3175"/>
                  <a:gd name="T81" fmla="*/ 0 h 1472"/>
                  <a:gd name="T82" fmla="*/ 364447350 w 3175"/>
                  <a:gd name="T83" fmla="*/ 15047267 h 1472"/>
                  <a:gd name="T84" fmla="*/ 381288375 w 3175"/>
                  <a:gd name="T85" fmla="*/ 18877604 h 1472"/>
                  <a:gd name="T86" fmla="*/ 365015025 w 3175"/>
                  <a:gd name="T87" fmla="*/ 35019103 h 1472"/>
                  <a:gd name="T88" fmla="*/ 374097825 w 3175"/>
                  <a:gd name="T89" fmla="*/ 45415358 h 1472"/>
                  <a:gd name="T90" fmla="*/ 396237150 w 3175"/>
                  <a:gd name="T91" fmla="*/ 42406218 h 1472"/>
                  <a:gd name="T92" fmla="*/ 432189900 w 3175"/>
                  <a:gd name="T93" fmla="*/ 52802474 h 1472"/>
                  <a:gd name="T94" fmla="*/ 419511825 w 3175"/>
                  <a:gd name="T95" fmla="*/ 55811613 h 1472"/>
                  <a:gd name="T96" fmla="*/ 394912575 w 3175"/>
                  <a:gd name="T97" fmla="*/ 72227193 h 1472"/>
                  <a:gd name="T98" fmla="*/ 382423725 w 3175"/>
                  <a:gd name="T99" fmla="*/ 97123599 h 1472"/>
                  <a:gd name="T100" fmla="*/ 380720700 w 3175"/>
                  <a:gd name="T101" fmla="*/ 123387795 h 1472"/>
                  <a:gd name="T102" fmla="*/ 392831100 w 3175"/>
                  <a:gd name="T103" fmla="*/ 114085772 h 1472"/>
                  <a:gd name="T104" fmla="*/ 417241125 w 3175"/>
                  <a:gd name="T105" fmla="*/ 68943973 h 1472"/>
                  <a:gd name="T106" fmla="*/ 428973075 w 3175"/>
                  <a:gd name="T107" fmla="*/ 82897007 h 1472"/>
                  <a:gd name="T108" fmla="*/ 435028275 w 3175"/>
                  <a:gd name="T109" fmla="*/ 107793412 h 1472"/>
                  <a:gd name="T110" fmla="*/ 417430350 w 3175"/>
                  <a:gd name="T111" fmla="*/ 124208469 h 1472"/>
                  <a:gd name="T112" fmla="*/ 438434325 w 3175"/>
                  <a:gd name="T113" fmla="*/ 125029144 h 1472"/>
                  <a:gd name="T114" fmla="*/ 486308250 w 3175"/>
                  <a:gd name="T115" fmla="*/ 102048168 h 1472"/>
                  <a:gd name="T116" fmla="*/ 516584250 w 3175"/>
                  <a:gd name="T117" fmla="*/ 68943973 h 1472"/>
                  <a:gd name="T118" fmla="*/ 570702600 w 3175"/>
                  <a:gd name="T119" fmla="*/ 55538055 h 1472"/>
                  <a:gd name="T120" fmla="*/ 593409600 w 3175"/>
                  <a:gd name="T121" fmla="*/ 32283521 h 1472"/>
                  <a:gd name="T122" fmla="*/ 595869525 w 3175"/>
                  <a:gd name="T123" fmla="*/ 50339927 h 1472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75" h="1472">
                    <a:moveTo>
                      <a:pt x="3155" y="258"/>
                    </a:moveTo>
                    <a:lnTo>
                      <a:pt x="3129" y="270"/>
                    </a:lnTo>
                    <a:lnTo>
                      <a:pt x="3104" y="281"/>
                    </a:lnTo>
                    <a:lnTo>
                      <a:pt x="3079" y="291"/>
                    </a:lnTo>
                    <a:lnTo>
                      <a:pt x="3055" y="300"/>
                    </a:lnTo>
                    <a:lnTo>
                      <a:pt x="3032" y="309"/>
                    </a:lnTo>
                    <a:lnTo>
                      <a:pt x="3008" y="317"/>
                    </a:lnTo>
                    <a:lnTo>
                      <a:pt x="2983" y="326"/>
                    </a:lnTo>
                    <a:lnTo>
                      <a:pt x="2956" y="333"/>
                    </a:lnTo>
                    <a:lnTo>
                      <a:pt x="2948" y="337"/>
                    </a:lnTo>
                    <a:lnTo>
                      <a:pt x="2940" y="341"/>
                    </a:lnTo>
                    <a:lnTo>
                      <a:pt x="2933" y="347"/>
                    </a:lnTo>
                    <a:lnTo>
                      <a:pt x="2928" y="353"/>
                    </a:lnTo>
                    <a:lnTo>
                      <a:pt x="2917" y="366"/>
                    </a:lnTo>
                    <a:lnTo>
                      <a:pt x="2909" y="382"/>
                    </a:lnTo>
                    <a:lnTo>
                      <a:pt x="2900" y="397"/>
                    </a:lnTo>
                    <a:lnTo>
                      <a:pt x="2894" y="410"/>
                    </a:lnTo>
                    <a:lnTo>
                      <a:pt x="2889" y="416"/>
                    </a:lnTo>
                    <a:lnTo>
                      <a:pt x="2885" y="422"/>
                    </a:lnTo>
                    <a:lnTo>
                      <a:pt x="2881" y="427"/>
                    </a:lnTo>
                    <a:lnTo>
                      <a:pt x="2876" y="431"/>
                    </a:lnTo>
                    <a:lnTo>
                      <a:pt x="2876" y="436"/>
                    </a:lnTo>
                    <a:lnTo>
                      <a:pt x="2877" y="440"/>
                    </a:lnTo>
                    <a:lnTo>
                      <a:pt x="2880" y="445"/>
                    </a:lnTo>
                    <a:lnTo>
                      <a:pt x="2883" y="450"/>
                    </a:lnTo>
                    <a:lnTo>
                      <a:pt x="2896" y="440"/>
                    </a:lnTo>
                    <a:lnTo>
                      <a:pt x="2909" y="431"/>
                    </a:lnTo>
                    <a:lnTo>
                      <a:pt x="2910" y="438"/>
                    </a:lnTo>
                    <a:lnTo>
                      <a:pt x="2910" y="443"/>
                    </a:lnTo>
                    <a:lnTo>
                      <a:pt x="2909" y="448"/>
                    </a:lnTo>
                    <a:lnTo>
                      <a:pt x="2907" y="451"/>
                    </a:lnTo>
                    <a:lnTo>
                      <a:pt x="2905" y="455"/>
                    </a:lnTo>
                    <a:lnTo>
                      <a:pt x="2902" y="457"/>
                    </a:lnTo>
                    <a:lnTo>
                      <a:pt x="2898" y="459"/>
                    </a:lnTo>
                    <a:lnTo>
                      <a:pt x="2894" y="460"/>
                    </a:lnTo>
                    <a:lnTo>
                      <a:pt x="2883" y="462"/>
                    </a:lnTo>
                    <a:lnTo>
                      <a:pt x="2871" y="462"/>
                    </a:lnTo>
                    <a:lnTo>
                      <a:pt x="2858" y="462"/>
                    </a:lnTo>
                    <a:lnTo>
                      <a:pt x="2843" y="462"/>
                    </a:lnTo>
                    <a:lnTo>
                      <a:pt x="2820" y="463"/>
                    </a:lnTo>
                    <a:lnTo>
                      <a:pt x="2796" y="466"/>
                    </a:lnTo>
                    <a:lnTo>
                      <a:pt x="2773" y="470"/>
                    </a:lnTo>
                    <a:lnTo>
                      <a:pt x="2750" y="476"/>
                    </a:lnTo>
                    <a:lnTo>
                      <a:pt x="2728" y="483"/>
                    </a:lnTo>
                    <a:lnTo>
                      <a:pt x="2708" y="491"/>
                    </a:lnTo>
                    <a:lnTo>
                      <a:pt x="2691" y="498"/>
                    </a:lnTo>
                    <a:lnTo>
                      <a:pt x="2678" y="505"/>
                    </a:lnTo>
                    <a:lnTo>
                      <a:pt x="2678" y="542"/>
                    </a:lnTo>
                    <a:lnTo>
                      <a:pt x="2675" y="549"/>
                    </a:lnTo>
                    <a:lnTo>
                      <a:pt x="2673" y="555"/>
                    </a:lnTo>
                    <a:lnTo>
                      <a:pt x="2670" y="561"/>
                    </a:lnTo>
                    <a:lnTo>
                      <a:pt x="2667" y="566"/>
                    </a:lnTo>
                    <a:lnTo>
                      <a:pt x="2658" y="575"/>
                    </a:lnTo>
                    <a:lnTo>
                      <a:pt x="2649" y="584"/>
                    </a:lnTo>
                    <a:lnTo>
                      <a:pt x="2639" y="592"/>
                    </a:lnTo>
                    <a:lnTo>
                      <a:pt x="2628" y="602"/>
                    </a:lnTo>
                    <a:lnTo>
                      <a:pt x="2619" y="611"/>
                    </a:lnTo>
                    <a:lnTo>
                      <a:pt x="2611" y="622"/>
                    </a:lnTo>
                    <a:lnTo>
                      <a:pt x="2611" y="613"/>
                    </a:lnTo>
                    <a:lnTo>
                      <a:pt x="2611" y="604"/>
                    </a:lnTo>
                    <a:lnTo>
                      <a:pt x="2606" y="603"/>
                    </a:lnTo>
                    <a:lnTo>
                      <a:pt x="2602" y="600"/>
                    </a:lnTo>
                    <a:lnTo>
                      <a:pt x="2598" y="595"/>
                    </a:lnTo>
                    <a:lnTo>
                      <a:pt x="2596" y="590"/>
                    </a:lnTo>
                    <a:lnTo>
                      <a:pt x="2595" y="585"/>
                    </a:lnTo>
                    <a:lnTo>
                      <a:pt x="2595" y="580"/>
                    </a:lnTo>
                    <a:lnTo>
                      <a:pt x="2595" y="576"/>
                    </a:lnTo>
                    <a:lnTo>
                      <a:pt x="2597" y="573"/>
                    </a:lnTo>
                    <a:lnTo>
                      <a:pt x="2578" y="573"/>
                    </a:lnTo>
                    <a:lnTo>
                      <a:pt x="2575" y="587"/>
                    </a:lnTo>
                    <a:lnTo>
                      <a:pt x="2574" y="600"/>
                    </a:lnTo>
                    <a:lnTo>
                      <a:pt x="2574" y="610"/>
                    </a:lnTo>
                    <a:lnTo>
                      <a:pt x="2574" y="619"/>
                    </a:lnTo>
                    <a:lnTo>
                      <a:pt x="2577" y="633"/>
                    </a:lnTo>
                    <a:lnTo>
                      <a:pt x="2578" y="646"/>
                    </a:lnTo>
                    <a:lnTo>
                      <a:pt x="2577" y="658"/>
                    </a:lnTo>
                    <a:lnTo>
                      <a:pt x="2574" y="668"/>
                    </a:lnTo>
                    <a:lnTo>
                      <a:pt x="2570" y="677"/>
                    </a:lnTo>
                    <a:lnTo>
                      <a:pt x="2564" y="685"/>
                    </a:lnTo>
                    <a:lnTo>
                      <a:pt x="2559" y="693"/>
                    </a:lnTo>
                    <a:lnTo>
                      <a:pt x="2552" y="700"/>
                    </a:lnTo>
                    <a:lnTo>
                      <a:pt x="2545" y="707"/>
                    </a:lnTo>
                    <a:lnTo>
                      <a:pt x="2537" y="715"/>
                    </a:lnTo>
                    <a:lnTo>
                      <a:pt x="2538" y="684"/>
                    </a:lnTo>
                    <a:lnTo>
                      <a:pt x="2538" y="657"/>
                    </a:lnTo>
                    <a:lnTo>
                      <a:pt x="2540" y="630"/>
                    </a:lnTo>
                    <a:lnTo>
                      <a:pt x="2544" y="604"/>
                    </a:lnTo>
                    <a:lnTo>
                      <a:pt x="2535" y="607"/>
                    </a:lnTo>
                    <a:lnTo>
                      <a:pt x="2527" y="611"/>
                    </a:lnTo>
                    <a:lnTo>
                      <a:pt x="2519" y="615"/>
                    </a:lnTo>
                    <a:lnTo>
                      <a:pt x="2514" y="621"/>
                    </a:lnTo>
                    <a:lnTo>
                      <a:pt x="2510" y="628"/>
                    </a:lnTo>
                    <a:lnTo>
                      <a:pt x="2506" y="635"/>
                    </a:lnTo>
                    <a:lnTo>
                      <a:pt x="2505" y="643"/>
                    </a:lnTo>
                    <a:lnTo>
                      <a:pt x="2504" y="653"/>
                    </a:lnTo>
                    <a:lnTo>
                      <a:pt x="2491" y="653"/>
                    </a:lnTo>
                    <a:lnTo>
                      <a:pt x="2478" y="653"/>
                    </a:lnTo>
                    <a:lnTo>
                      <a:pt x="2478" y="658"/>
                    </a:lnTo>
                    <a:lnTo>
                      <a:pt x="2479" y="662"/>
                    </a:lnTo>
                    <a:lnTo>
                      <a:pt x="2480" y="666"/>
                    </a:lnTo>
                    <a:lnTo>
                      <a:pt x="2482" y="670"/>
                    </a:lnTo>
                    <a:lnTo>
                      <a:pt x="2486" y="678"/>
                    </a:lnTo>
                    <a:lnTo>
                      <a:pt x="2493" y="684"/>
                    </a:lnTo>
                    <a:lnTo>
                      <a:pt x="2499" y="690"/>
                    </a:lnTo>
                    <a:lnTo>
                      <a:pt x="2505" y="695"/>
                    </a:lnTo>
                    <a:lnTo>
                      <a:pt x="2512" y="699"/>
                    </a:lnTo>
                    <a:lnTo>
                      <a:pt x="2517" y="702"/>
                    </a:lnTo>
                    <a:lnTo>
                      <a:pt x="2517" y="727"/>
                    </a:lnTo>
                    <a:lnTo>
                      <a:pt x="2496" y="730"/>
                    </a:lnTo>
                    <a:lnTo>
                      <a:pt x="2479" y="730"/>
                    </a:lnTo>
                    <a:lnTo>
                      <a:pt x="2472" y="730"/>
                    </a:lnTo>
                    <a:lnTo>
                      <a:pt x="2466" y="730"/>
                    </a:lnTo>
                    <a:lnTo>
                      <a:pt x="2458" y="731"/>
                    </a:lnTo>
                    <a:lnTo>
                      <a:pt x="2451" y="733"/>
                    </a:lnTo>
                    <a:lnTo>
                      <a:pt x="2455" y="737"/>
                    </a:lnTo>
                    <a:lnTo>
                      <a:pt x="2459" y="741"/>
                    </a:lnTo>
                    <a:lnTo>
                      <a:pt x="2465" y="744"/>
                    </a:lnTo>
                    <a:lnTo>
                      <a:pt x="2471" y="747"/>
                    </a:lnTo>
                    <a:lnTo>
                      <a:pt x="2483" y="750"/>
                    </a:lnTo>
                    <a:lnTo>
                      <a:pt x="2491" y="751"/>
                    </a:lnTo>
                    <a:lnTo>
                      <a:pt x="2492" y="756"/>
                    </a:lnTo>
                    <a:lnTo>
                      <a:pt x="2493" y="760"/>
                    </a:lnTo>
                    <a:lnTo>
                      <a:pt x="2495" y="765"/>
                    </a:lnTo>
                    <a:lnTo>
                      <a:pt x="2499" y="769"/>
                    </a:lnTo>
                    <a:lnTo>
                      <a:pt x="2505" y="777"/>
                    </a:lnTo>
                    <a:lnTo>
                      <a:pt x="2511" y="782"/>
                    </a:lnTo>
                    <a:lnTo>
                      <a:pt x="2500" y="792"/>
                    </a:lnTo>
                    <a:lnTo>
                      <a:pt x="2489" y="802"/>
                    </a:lnTo>
                    <a:lnTo>
                      <a:pt x="2480" y="812"/>
                    </a:lnTo>
                    <a:lnTo>
                      <a:pt x="2471" y="823"/>
                    </a:lnTo>
                    <a:lnTo>
                      <a:pt x="2456" y="841"/>
                    </a:lnTo>
                    <a:lnTo>
                      <a:pt x="2441" y="859"/>
                    </a:lnTo>
                    <a:lnTo>
                      <a:pt x="2434" y="867"/>
                    </a:lnTo>
                    <a:lnTo>
                      <a:pt x="2425" y="876"/>
                    </a:lnTo>
                    <a:lnTo>
                      <a:pt x="2416" y="884"/>
                    </a:lnTo>
                    <a:lnTo>
                      <a:pt x="2406" y="892"/>
                    </a:lnTo>
                    <a:lnTo>
                      <a:pt x="2395" y="899"/>
                    </a:lnTo>
                    <a:lnTo>
                      <a:pt x="2382" y="905"/>
                    </a:lnTo>
                    <a:lnTo>
                      <a:pt x="2368" y="912"/>
                    </a:lnTo>
                    <a:lnTo>
                      <a:pt x="2351" y="917"/>
                    </a:lnTo>
                    <a:lnTo>
                      <a:pt x="2346" y="919"/>
                    </a:lnTo>
                    <a:lnTo>
                      <a:pt x="2339" y="923"/>
                    </a:lnTo>
                    <a:lnTo>
                      <a:pt x="2332" y="928"/>
                    </a:lnTo>
                    <a:lnTo>
                      <a:pt x="2324" y="935"/>
                    </a:lnTo>
                    <a:lnTo>
                      <a:pt x="2307" y="950"/>
                    </a:lnTo>
                    <a:lnTo>
                      <a:pt x="2289" y="967"/>
                    </a:lnTo>
                    <a:lnTo>
                      <a:pt x="2271" y="984"/>
                    </a:lnTo>
                    <a:lnTo>
                      <a:pt x="2255" y="999"/>
                    </a:lnTo>
                    <a:lnTo>
                      <a:pt x="2248" y="1006"/>
                    </a:lnTo>
                    <a:lnTo>
                      <a:pt x="2242" y="1011"/>
                    </a:lnTo>
                    <a:lnTo>
                      <a:pt x="2236" y="1014"/>
                    </a:lnTo>
                    <a:lnTo>
                      <a:pt x="2232" y="1016"/>
                    </a:lnTo>
                    <a:lnTo>
                      <a:pt x="2208" y="1025"/>
                    </a:lnTo>
                    <a:lnTo>
                      <a:pt x="2186" y="1034"/>
                    </a:lnTo>
                    <a:lnTo>
                      <a:pt x="2175" y="1039"/>
                    </a:lnTo>
                    <a:lnTo>
                      <a:pt x="2165" y="1045"/>
                    </a:lnTo>
                    <a:lnTo>
                      <a:pt x="2156" y="1051"/>
                    </a:lnTo>
                    <a:lnTo>
                      <a:pt x="2147" y="1057"/>
                    </a:lnTo>
                    <a:lnTo>
                      <a:pt x="2140" y="1064"/>
                    </a:lnTo>
                    <a:lnTo>
                      <a:pt x="2133" y="1072"/>
                    </a:lnTo>
                    <a:lnTo>
                      <a:pt x="2126" y="1080"/>
                    </a:lnTo>
                    <a:lnTo>
                      <a:pt x="2122" y="1090"/>
                    </a:lnTo>
                    <a:lnTo>
                      <a:pt x="2118" y="1101"/>
                    </a:lnTo>
                    <a:lnTo>
                      <a:pt x="2114" y="1113"/>
                    </a:lnTo>
                    <a:lnTo>
                      <a:pt x="2113" y="1125"/>
                    </a:lnTo>
                    <a:lnTo>
                      <a:pt x="2112" y="1139"/>
                    </a:lnTo>
                    <a:lnTo>
                      <a:pt x="2112" y="1151"/>
                    </a:lnTo>
                    <a:lnTo>
                      <a:pt x="2112" y="1174"/>
                    </a:lnTo>
                    <a:lnTo>
                      <a:pt x="2112" y="1195"/>
                    </a:lnTo>
                    <a:lnTo>
                      <a:pt x="2112" y="1207"/>
                    </a:lnTo>
                    <a:lnTo>
                      <a:pt x="2114" y="1223"/>
                    </a:lnTo>
                    <a:lnTo>
                      <a:pt x="2118" y="1240"/>
                    </a:lnTo>
                    <a:lnTo>
                      <a:pt x="2120" y="1249"/>
                    </a:lnTo>
                    <a:lnTo>
                      <a:pt x="2121" y="1259"/>
                    </a:lnTo>
                    <a:lnTo>
                      <a:pt x="2121" y="1270"/>
                    </a:lnTo>
                    <a:lnTo>
                      <a:pt x="2119" y="1281"/>
                    </a:lnTo>
                    <a:lnTo>
                      <a:pt x="2132" y="1343"/>
                    </a:lnTo>
                    <a:lnTo>
                      <a:pt x="2126" y="1379"/>
                    </a:lnTo>
                    <a:lnTo>
                      <a:pt x="2118" y="1417"/>
                    </a:lnTo>
                    <a:lnTo>
                      <a:pt x="2112" y="1435"/>
                    </a:lnTo>
                    <a:lnTo>
                      <a:pt x="2105" y="1450"/>
                    </a:lnTo>
                    <a:lnTo>
                      <a:pt x="2103" y="1457"/>
                    </a:lnTo>
                    <a:lnTo>
                      <a:pt x="2100" y="1463"/>
                    </a:lnTo>
                    <a:lnTo>
                      <a:pt x="2096" y="1468"/>
                    </a:lnTo>
                    <a:lnTo>
                      <a:pt x="2092" y="1472"/>
                    </a:lnTo>
                    <a:lnTo>
                      <a:pt x="2059" y="1472"/>
                    </a:lnTo>
                    <a:lnTo>
                      <a:pt x="2058" y="1464"/>
                    </a:lnTo>
                    <a:lnTo>
                      <a:pt x="2057" y="1456"/>
                    </a:lnTo>
                    <a:lnTo>
                      <a:pt x="2055" y="1450"/>
                    </a:lnTo>
                    <a:lnTo>
                      <a:pt x="2053" y="1445"/>
                    </a:lnTo>
                    <a:lnTo>
                      <a:pt x="2047" y="1437"/>
                    </a:lnTo>
                    <a:lnTo>
                      <a:pt x="2040" y="1430"/>
                    </a:lnTo>
                    <a:lnTo>
                      <a:pt x="2033" y="1425"/>
                    </a:lnTo>
                    <a:lnTo>
                      <a:pt x="2029" y="1418"/>
                    </a:lnTo>
                    <a:lnTo>
                      <a:pt x="2026" y="1414"/>
                    </a:lnTo>
                    <a:lnTo>
                      <a:pt x="2025" y="1410"/>
                    </a:lnTo>
                    <a:lnTo>
                      <a:pt x="2025" y="1405"/>
                    </a:lnTo>
                    <a:lnTo>
                      <a:pt x="2026" y="1398"/>
                    </a:lnTo>
                    <a:lnTo>
                      <a:pt x="2026" y="1373"/>
                    </a:lnTo>
                    <a:lnTo>
                      <a:pt x="2022" y="1373"/>
                    </a:lnTo>
                    <a:lnTo>
                      <a:pt x="2019" y="1372"/>
                    </a:lnTo>
                    <a:lnTo>
                      <a:pt x="2015" y="1370"/>
                    </a:lnTo>
                    <a:lnTo>
                      <a:pt x="2012" y="1367"/>
                    </a:lnTo>
                    <a:lnTo>
                      <a:pt x="2007" y="1361"/>
                    </a:lnTo>
                    <a:lnTo>
                      <a:pt x="2002" y="1353"/>
                    </a:lnTo>
                    <a:lnTo>
                      <a:pt x="1998" y="1344"/>
                    </a:lnTo>
                    <a:lnTo>
                      <a:pt x="1995" y="1335"/>
                    </a:lnTo>
                    <a:lnTo>
                      <a:pt x="1993" y="1326"/>
                    </a:lnTo>
                    <a:lnTo>
                      <a:pt x="1992" y="1318"/>
                    </a:lnTo>
                    <a:lnTo>
                      <a:pt x="1992" y="1298"/>
                    </a:lnTo>
                    <a:lnTo>
                      <a:pt x="1992" y="1281"/>
                    </a:lnTo>
                    <a:lnTo>
                      <a:pt x="1992" y="1265"/>
                    </a:lnTo>
                    <a:lnTo>
                      <a:pt x="1992" y="1244"/>
                    </a:lnTo>
                    <a:lnTo>
                      <a:pt x="1991" y="1234"/>
                    </a:lnTo>
                    <a:lnTo>
                      <a:pt x="1989" y="1224"/>
                    </a:lnTo>
                    <a:lnTo>
                      <a:pt x="1985" y="1212"/>
                    </a:lnTo>
                    <a:lnTo>
                      <a:pt x="1978" y="1201"/>
                    </a:lnTo>
                    <a:lnTo>
                      <a:pt x="1974" y="1196"/>
                    </a:lnTo>
                    <a:lnTo>
                      <a:pt x="1969" y="1191"/>
                    </a:lnTo>
                    <a:lnTo>
                      <a:pt x="1964" y="1187"/>
                    </a:lnTo>
                    <a:lnTo>
                      <a:pt x="1959" y="1184"/>
                    </a:lnTo>
                    <a:lnTo>
                      <a:pt x="1953" y="1181"/>
                    </a:lnTo>
                    <a:lnTo>
                      <a:pt x="1947" y="1178"/>
                    </a:lnTo>
                    <a:lnTo>
                      <a:pt x="1940" y="1177"/>
                    </a:lnTo>
                    <a:lnTo>
                      <a:pt x="1933" y="1177"/>
                    </a:lnTo>
                    <a:lnTo>
                      <a:pt x="1918" y="1177"/>
                    </a:lnTo>
                    <a:lnTo>
                      <a:pt x="1906" y="1177"/>
                    </a:lnTo>
                    <a:lnTo>
                      <a:pt x="1897" y="1177"/>
                    </a:lnTo>
                    <a:lnTo>
                      <a:pt x="1894" y="1177"/>
                    </a:lnTo>
                    <a:lnTo>
                      <a:pt x="1880" y="1176"/>
                    </a:lnTo>
                    <a:lnTo>
                      <a:pt x="1869" y="1175"/>
                    </a:lnTo>
                    <a:lnTo>
                      <a:pt x="1857" y="1173"/>
                    </a:lnTo>
                    <a:lnTo>
                      <a:pt x="1845" y="1171"/>
                    </a:lnTo>
                    <a:lnTo>
                      <a:pt x="1832" y="1168"/>
                    </a:lnTo>
                    <a:lnTo>
                      <a:pt x="1818" y="1166"/>
                    </a:lnTo>
                    <a:lnTo>
                      <a:pt x="1804" y="1165"/>
                    </a:lnTo>
                    <a:lnTo>
                      <a:pt x="1787" y="1164"/>
                    </a:lnTo>
                    <a:lnTo>
                      <a:pt x="1773" y="1164"/>
                    </a:lnTo>
                    <a:lnTo>
                      <a:pt x="1762" y="1162"/>
                    </a:lnTo>
                    <a:lnTo>
                      <a:pt x="1753" y="1159"/>
                    </a:lnTo>
                    <a:lnTo>
                      <a:pt x="1745" y="1155"/>
                    </a:lnTo>
                    <a:lnTo>
                      <a:pt x="1738" y="1151"/>
                    </a:lnTo>
                    <a:lnTo>
                      <a:pt x="1731" y="1148"/>
                    </a:lnTo>
                    <a:lnTo>
                      <a:pt x="1722" y="1146"/>
                    </a:lnTo>
                    <a:lnTo>
                      <a:pt x="1713" y="1145"/>
                    </a:lnTo>
                    <a:lnTo>
                      <a:pt x="1688" y="1144"/>
                    </a:lnTo>
                    <a:lnTo>
                      <a:pt x="1653" y="1143"/>
                    </a:lnTo>
                    <a:lnTo>
                      <a:pt x="1644" y="1144"/>
                    </a:lnTo>
                    <a:lnTo>
                      <a:pt x="1636" y="1144"/>
                    </a:lnTo>
                    <a:lnTo>
                      <a:pt x="1628" y="1146"/>
                    </a:lnTo>
                    <a:lnTo>
                      <a:pt x="1621" y="1148"/>
                    </a:lnTo>
                    <a:lnTo>
                      <a:pt x="1616" y="1151"/>
                    </a:lnTo>
                    <a:lnTo>
                      <a:pt x="1611" y="1155"/>
                    </a:lnTo>
                    <a:lnTo>
                      <a:pt x="1608" y="1159"/>
                    </a:lnTo>
                    <a:lnTo>
                      <a:pt x="1607" y="1164"/>
                    </a:lnTo>
                    <a:lnTo>
                      <a:pt x="1608" y="1169"/>
                    </a:lnTo>
                    <a:lnTo>
                      <a:pt x="1608" y="1173"/>
                    </a:lnTo>
                    <a:lnTo>
                      <a:pt x="1610" y="1176"/>
                    </a:lnTo>
                    <a:lnTo>
                      <a:pt x="1611" y="1180"/>
                    </a:lnTo>
                    <a:lnTo>
                      <a:pt x="1616" y="1186"/>
                    </a:lnTo>
                    <a:lnTo>
                      <a:pt x="1621" y="1192"/>
                    </a:lnTo>
                    <a:lnTo>
                      <a:pt x="1627" y="1197"/>
                    </a:lnTo>
                    <a:lnTo>
                      <a:pt x="1632" y="1204"/>
                    </a:lnTo>
                    <a:lnTo>
                      <a:pt x="1638" y="1212"/>
                    </a:lnTo>
                    <a:lnTo>
                      <a:pt x="1641" y="1220"/>
                    </a:lnTo>
                    <a:lnTo>
                      <a:pt x="1628" y="1221"/>
                    </a:lnTo>
                    <a:lnTo>
                      <a:pt x="1615" y="1223"/>
                    </a:lnTo>
                    <a:lnTo>
                      <a:pt x="1601" y="1226"/>
                    </a:lnTo>
                    <a:lnTo>
                      <a:pt x="1589" y="1229"/>
                    </a:lnTo>
                    <a:lnTo>
                      <a:pt x="1577" y="1232"/>
                    </a:lnTo>
                    <a:lnTo>
                      <a:pt x="1565" y="1235"/>
                    </a:lnTo>
                    <a:lnTo>
                      <a:pt x="1555" y="1237"/>
                    </a:lnTo>
                    <a:lnTo>
                      <a:pt x="1548" y="1238"/>
                    </a:lnTo>
                    <a:lnTo>
                      <a:pt x="1544" y="1237"/>
                    </a:lnTo>
                    <a:lnTo>
                      <a:pt x="1539" y="1233"/>
                    </a:lnTo>
                    <a:lnTo>
                      <a:pt x="1533" y="1228"/>
                    </a:lnTo>
                    <a:lnTo>
                      <a:pt x="1528" y="1222"/>
                    </a:lnTo>
                    <a:lnTo>
                      <a:pt x="1516" y="1210"/>
                    </a:lnTo>
                    <a:lnTo>
                      <a:pt x="1508" y="1201"/>
                    </a:lnTo>
                    <a:lnTo>
                      <a:pt x="1474" y="1214"/>
                    </a:lnTo>
                    <a:lnTo>
                      <a:pt x="1468" y="1213"/>
                    </a:lnTo>
                    <a:lnTo>
                      <a:pt x="1461" y="1210"/>
                    </a:lnTo>
                    <a:lnTo>
                      <a:pt x="1454" y="1205"/>
                    </a:lnTo>
                    <a:lnTo>
                      <a:pt x="1448" y="1201"/>
                    </a:lnTo>
                    <a:lnTo>
                      <a:pt x="1441" y="1196"/>
                    </a:lnTo>
                    <a:lnTo>
                      <a:pt x="1436" y="1192"/>
                    </a:lnTo>
                    <a:lnTo>
                      <a:pt x="1428" y="1190"/>
                    </a:lnTo>
                    <a:lnTo>
                      <a:pt x="1421" y="1189"/>
                    </a:lnTo>
                    <a:lnTo>
                      <a:pt x="1406" y="1190"/>
                    </a:lnTo>
                    <a:lnTo>
                      <a:pt x="1390" y="1192"/>
                    </a:lnTo>
                    <a:lnTo>
                      <a:pt x="1372" y="1197"/>
                    </a:lnTo>
                    <a:lnTo>
                      <a:pt x="1354" y="1203"/>
                    </a:lnTo>
                    <a:lnTo>
                      <a:pt x="1337" y="1211"/>
                    </a:lnTo>
                    <a:lnTo>
                      <a:pt x="1318" y="1219"/>
                    </a:lnTo>
                    <a:lnTo>
                      <a:pt x="1301" y="1228"/>
                    </a:lnTo>
                    <a:lnTo>
                      <a:pt x="1283" y="1238"/>
                    </a:lnTo>
                    <a:lnTo>
                      <a:pt x="1265" y="1249"/>
                    </a:lnTo>
                    <a:lnTo>
                      <a:pt x="1248" y="1259"/>
                    </a:lnTo>
                    <a:lnTo>
                      <a:pt x="1231" y="1272"/>
                    </a:lnTo>
                    <a:lnTo>
                      <a:pt x="1217" y="1283"/>
                    </a:lnTo>
                    <a:lnTo>
                      <a:pt x="1203" y="1294"/>
                    </a:lnTo>
                    <a:lnTo>
                      <a:pt x="1190" y="1304"/>
                    </a:lnTo>
                    <a:lnTo>
                      <a:pt x="1179" y="1314"/>
                    </a:lnTo>
                    <a:lnTo>
                      <a:pt x="1169" y="1325"/>
                    </a:lnTo>
                    <a:lnTo>
                      <a:pt x="1166" y="1328"/>
                    </a:lnTo>
                    <a:lnTo>
                      <a:pt x="1163" y="1333"/>
                    </a:lnTo>
                    <a:lnTo>
                      <a:pt x="1162" y="1337"/>
                    </a:lnTo>
                    <a:lnTo>
                      <a:pt x="1161" y="1342"/>
                    </a:lnTo>
                    <a:lnTo>
                      <a:pt x="1161" y="1354"/>
                    </a:lnTo>
                    <a:lnTo>
                      <a:pt x="1161" y="1366"/>
                    </a:lnTo>
                    <a:lnTo>
                      <a:pt x="1161" y="1379"/>
                    </a:lnTo>
                    <a:lnTo>
                      <a:pt x="1160" y="1392"/>
                    </a:lnTo>
                    <a:lnTo>
                      <a:pt x="1159" y="1399"/>
                    </a:lnTo>
                    <a:lnTo>
                      <a:pt x="1157" y="1405"/>
                    </a:lnTo>
                    <a:lnTo>
                      <a:pt x="1153" y="1411"/>
                    </a:lnTo>
                    <a:lnTo>
                      <a:pt x="1149" y="1417"/>
                    </a:lnTo>
                    <a:lnTo>
                      <a:pt x="1143" y="1416"/>
                    </a:lnTo>
                    <a:lnTo>
                      <a:pt x="1136" y="1415"/>
                    </a:lnTo>
                    <a:lnTo>
                      <a:pt x="1129" y="1414"/>
                    </a:lnTo>
                    <a:lnTo>
                      <a:pt x="1124" y="1412"/>
                    </a:lnTo>
                    <a:lnTo>
                      <a:pt x="1111" y="1408"/>
                    </a:lnTo>
                    <a:lnTo>
                      <a:pt x="1100" y="1401"/>
                    </a:lnTo>
                    <a:lnTo>
                      <a:pt x="1090" y="1394"/>
                    </a:lnTo>
                    <a:lnTo>
                      <a:pt x="1082" y="1386"/>
                    </a:lnTo>
                    <a:lnTo>
                      <a:pt x="1080" y="1382"/>
                    </a:lnTo>
                    <a:lnTo>
                      <a:pt x="1078" y="1377"/>
                    </a:lnTo>
                    <a:lnTo>
                      <a:pt x="1077" y="1372"/>
                    </a:lnTo>
                    <a:lnTo>
                      <a:pt x="1076" y="1367"/>
                    </a:lnTo>
                    <a:lnTo>
                      <a:pt x="1076" y="1356"/>
                    </a:lnTo>
                    <a:lnTo>
                      <a:pt x="1074" y="1344"/>
                    </a:lnTo>
                    <a:lnTo>
                      <a:pt x="1072" y="1330"/>
                    </a:lnTo>
                    <a:lnTo>
                      <a:pt x="1070" y="1315"/>
                    </a:lnTo>
                    <a:lnTo>
                      <a:pt x="1066" y="1300"/>
                    </a:lnTo>
                    <a:lnTo>
                      <a:pt x="1061" y="1285"/>
                    </a:lnTo>
                    <a:lnTo>
                      <a:pt x="1057" y="1270"/>
                    </a:lnTo>
                    <a:lnTo>
                      <a:pt x="1051" y="1254"/>
                    </a:lnTo>
                    <a:lnTo>
                      <a:pt x="1044" y="1240"/>
                    </a:lnTo>
                    <a:lnTo>
                      <a:pt x="1037" y="1227"/>
                    </a:lnTo>
                    <a:lnTo>
                      <a:pt x="1028" y="1215"/>
                    </a:lnTo>
                    <a:lnTo>
                      <a:pt x="1020" y="1203"/>
                    </a:lnTo>
                    <a:lnTo>
                      <a:pt x="1015" y="1199"/>
                    </a:lnTo>
                    <a:lnTo>
                      <a:pt x="1010" y="1195"/>
                    </a:lnTo>
                    <a:lnTo>
                      <a:pt x="1005" y="1191"/>
                    </a:lnTo>
                    <a:lnTo>
                      <a:pt x="1000" y="1188"/>
                    </a:lnTo>
                    <a:lnTo>
                      <a:pt x="994" y="1186"/>
                    </a:lnTo>
                    <a:lnTo>
                      <a:pt x="988" y="1184"/>
                    </a:lnTo>
                    <a:lnTo>
                      <a:pt x="982" y="1183"/>
                    </a:lnTo>
                    <a:lnTo>
                      <a:pt x="977" y="1183"/>
                    </a:lnTo>
                    <a:lnTo>
                      <a:pt x="964" y="1183"/>
                    </a:lnTo>
                    <a:lnTo>
                      <a:pt x="951" y="1186"/>
                    </a:lnTo>
                    <a:lnTo>
                      <a:pt x="940" y="1190"/>
                    </a:lnTo>
                    <a:lnTo>
                      <a:pt x="931" y="1195"/>
                    </a:lnTo>
                    <a:lnTo>
                      <a:pt x="926" y="1199"/>
                    </a:lnTo>
                    <a:lnTo>
                      <a:pt x="922" y="1202"/>
                    </a:lnTo>
                    <a:lnTo>
                      <a:pt x="919" y="1206"/>
                    </a:lnTo>
                    <a:lnTo>
                      <a:pt x="915" y="1212"/>
                    </a:lnTo>
                    <a:lnTo>
                      <a:pt x="913" y="1216"/>
                    </a:lnTo>
                    <a:lnTo>
                      <a:pt x="911" y="1221"/>
                    </a:lnTo>
                    <a:lnTo>
                      <a:pt x="910" y="1227"/>
                    </a:lnTo>
                    <a:lnTo>
                      <a:pt x="910" y="1232"/>
                    </a:lnTo>
                    <a:lnTo>
                      <a:pt x="883" y="1232"/>
                    </a:lnTo>
                    <a:lnTo>
                      <a:pt x="878" y="1229"/>
                    </a:lnTo>
                    <a:lnTo>
                      <a:pt x="872" y="1225"/>
                    </a:lnTo>
                    <a:lnTo>
                      <a:pt x="867" y="1219"/>
                    </a:lnTo>
                    <a:lnTo>
                      <a:pt x="861" y="1212"/>
                    </a:lnTo>
                    <a:lnTo>
                      <a:pt x="850" y="1196"/>
                    </a:lnTo>
                    <a:lnTo>
                      <a:pt x="839" y="1179"/>
                    </a:lnTo>
                    <a:lnTo>
                      <a:pt x="830" y="1161"/>
                    </a:lnTo>
                    <a:lnTo>
                      <a:pt x="821" y="1144"/>
                    </a:lnTo>
                    <a:lnTo>
                      <a:pt x="814" y="1131"/>
                    </a:lnTo>
                    <a:lnTo>
                      <a:pt x="810" y="1121"/>
                    </a:lnTo>
                    <a:lnTo>
                      <a:pt x="805" y="1120"/>
                    </a:lnTo>
                    <a:lnTo>
                      <a:pt x="801" y="1118"/>
                    </a:lnTo>
                    <a:lnTo>
                      <a:pt x="798" y="1115"/>
                    </a:lnTo>
                    <a:lnTo>
                      <a:pt x="794" y="1111"/>
                    </a:lnTo>
                    <a:lnTo>
                      <a:pt x="789" y="1100"/>
                    </a:lnTo>
                    <a:lnTo>
                      <a:pt x="782" y="1087"/>
                    </a:lnTo>
                    <a:lnTo>
                      <a:pt x="779" y="1081"/>
                    </a:lnTo>
                    <a:lnTo>
                      <a:pt x="775" y="1075"/>
                    </a:lnTo>
                    <a:lnTo>
                      <a:pt x="770" y="1069"/>
                    </a:lnTo>
                    <a:lnTo>
                      <a:pt x="765" y="1064"/>
                    </a:lnTo>
                    <a:lnTo>
                      <a:pt x="757" y="1060"/>
                    </a:lnTo>
                    <a:lnTo>
                      <a:pt x="749" y="1056"/>
                    </a:lnTo>
                    <a:lnTo>
                      <a:pt x="741" y="1054"/>
                    </a:lnTo>
                    <a:lnTo>
                      <a:pt x="731" y="1054"/>
                    </a:lnTo>
                    <a:lnTo>
                      <a:pt x="718" y="1054"/>
                    </a:lnTo>
                    <a:lnTo>
                      <a:pt x="706" y="1055"/>
                    </a:lnTo>
                    <a:lnTo>
                      <a:pt x="696" y="1057"/>
                    </a:lnTo>
                    <a:lnTo>
                      <a:pt x="687" y="1059"/>
                    </a:lnTo>
                    <a:lnTo>
                      <a:pt x="670" y="1065"/>
                    </a:lnTo>
                    <a:lnTo>
                      <a:pt x="656" y="1072"/>
                    </a:lnTo>
                    <a:lnTo>
                      <a:pt x="642" y="1078"/>
                    </a:lnTo>
                    <a:lnTo>
                      <a:pt x="624" y="1084"/>
                    </a:lnTo>
                    <a:lnTo>
                      <a:pt x="615" y="1087"/>
                    </a:lnTo>
                    <a:lnTo>
                      <a:pt x="604" y="1088"/>
                    </a:lnTo>
                    <a:lnTo>
                      <a:pt x="591" y="1089"/>
                    </a:lnTo>
                    <a:lnTo>
                      <a:pt x="577" y="1090"/>
                    </a:lnTo>
                    <a:lnTo>
                      <a:pt x="555" y="1089"/>
                    </a:lnTo>
                    <a:lnTo>
                      <a:pt x="533" y="1086"/>
                    </a:lnTo>
                    <a:lnTo>
                      <a:pt x="514" y="1083"/>
                    </a:lnTo>
                    <a:lnTo>
                      <a:pt x="496" y="1078"/>
                    </a:lnTo>
                    <a:lnTo>
                      <a:pt x="478" y="1072"/>
                    </a:lnTo>
                    <a:lnTo>
                      <a:pt x="462" y="1065"/>
                    </a:lnTo>
                    <a:lnTo>
                      <a:pt x="445" y="1058"/>
                    </a:lnTo>
                    <a:lnTo>
                      <a:pt x="430" y="1051"/>
                    </a:lnTo>
                    <a:lnTo>
                      <a:pt x="415" y="1043"/>
                    </a:lnTo>
                    <a:lnTo>
                      <a:pt x="398" y="1035"/>
                    </a:lnTo>
                    <a:lnTo>
                      <a:pt x="383" y="1028"/>
                    </a:lnTo>
                    <a:lnTo>
                      <a:pt x="366" y="1023"/>
                    </a:lnTo>
                    <a:lnTo>
                      <a:pt x="350" y="1017"/>
                    </a:lnTo>
                    <a:lnTo>
                      <a:pt x="331" y="1014"/>
                    </a:lnTo>
                    <a:lnTo>
                      <a:pt x="312" y="1011"/>
                    </a:lnTo>
                    <a:lnTo>
                      <a:pt x="292" y="1010"/>
                    </a:lnTo>
                    <a:lnTo>
                      <a:pt x="263" y="1012"/>
                    </a:lnTo>
                    <a:lnTo>
                      <a:pt x="234" y="1015"/>
                    </a:lnTo>
                    <a:lnTo>
                      <a:pt x="220" y="1016"/>
                    </a:lnTo>
                    <a:lnTo>
                      <a:pt x="205" y="1015"/>
                    </a:lnTo>
                    <a:lnTo>
                      <a:pt x="189" y="1014"/>
                    </a:lnTo>
                    <a:lnTo>
                      <a:pt x="172" y="1010"/>
                    </a:lnTo>
                    <a:lnTo>
                      <a:pt x="173" y="998"/>
                    </a:lnTo>
                    <a:lnTo>
                      <a:pt x="175" y="988"/>
                    </a:lnTo>
                    <a:lnTo>
                      <a:pt x="175" y="982"/>
                    </a:lnTo>
                    <a:lnTo>
                      <a:pt x="175" y="979"/>
                    </a:lnTo>
                    <a:lnTo>
                      <a:pt x="174" y="975"/>
                    </a:lnTo>
                    <a:lnTo>
                      <a:pt x="172" y="973"/>
                    </a:lnTo>
                    <a:lnTo>
                      <a:pt x="141" y="952"/>
                    </a:lnTo>
                    <a:lnTo>
                      <a:pt x="107" y="931"/>
                    </a:lnTo>
                    <a:lnTo>
                      <a:pt x="97" y="925"/>
                    </a:lnTo>
                    <a:lnTo>
                      <a:pt x="88" y="920"/>
                    </a:lnTo>
                    <a:lnTo>
                      <a:pt x="79" y="916"/>
                    </a:lnTo>
                    <a:lnTo>
                      <a:pt x="69" y="912"/>
                    </a:lnTo>
                    <a:lnTo>
                      <a:pt x="59" y="909"/>
                    </a:lnTo>
                    <a:lnTo>
                      <a:pt x="48" y="907"/>
                    </a:lnTo>
                    <a:lnTo>
                      <a:pt x="37" y="906"/>
                    </a:lnTo>
                    <a:lnTo>
                      <a:pt x="26" y="905"/>
                    </a:lnTo>
                    <a:lnTo>
                      <a:pt x="27" y="899"/>
                    </a:lnTo>
                    <a:lnTo>
                      <a:pt x="28" y="893"/>
                    </a:lnTo>
                    <a:lnTo>
                      <a:pt x="30" y="888"/>
                    </a:lnTo>
                    <a:lnTo>
                      <a:pt x="32" y="883"/>
                    </a:lnTo>
                    <a:lnTo>
                      <a:pt x="37" y="874"/>
                    </a:lnTo>
                    <a:lnTo>
                      <a:pt x="39" y="868"/>
                    </a:lnTo>
                    <a:lnTo>
                      <a:pt x="39" y="848"/>
                    </a:lnTo>
                    <a:lnTo>
                      <a:pt x="36" y="826"/>
                    </a:lnTo>
                    <a:lnTo>
                      <a:pt x="32" y="801"/>
                    </a:lnTo>
                    <a:lnTo>
                      <a:pt x="29" y="777"/>
                    </a:lnTo>
                    <a:lnTo>
                      <a:pt x="24" y="752"/>
                    </a:lnTo>
                    <a:lnTo>
                      <a:pt x="19" y="729"/>
                    </a:lnTo>
                    <a:lnTo>
                      <a:pt x="16" y="707"/>
                    </a:lnTo>
                    <a:lnTo>
                      <a:pt x="13" y="690"/>
                    </a:lnTo>
                    <a:lnTo>
                      <a:pt x="17" y="687"/>
                    </a:lnTo>
                    <a:lnTo>
                      <a:pt x="25" y="680"/>
                    </a:lnTo>
                    <a:lnTo>
                      <a:pt x="28" y="675"/>
                    </a:lnTo>
                    <a:lnTo>
                      <a:pt x="29" y="669"/>
                    </a:lnTo>
                    <a:lnTo>
                      <a:pt x="30" y="666"/>
                    </a:lnTo>
                    <a:lnTo>
                      <a:pt x="29" y="662"/>
                    </a:lnTo>
                    <a:lnTo>
                      <a:pt x="28" y="658"/>
                    </a:lnTo>
                    <a:lnTo>
                      <a:pt x="26" y="653"/>
                    </a:lnTo>
                    <a:lnTo>
                      <a:pt x="21" y="658"/>
                    </a:lnTo>
                    <a:lnTo>
                      <a:pt x="16" y="663"/>
                    </a:lnTo>
                    <a:lnTo>
                      <a:pt x="12" y="669"/>
                    </a:lnTo>
                    <a:lnTo>
                      <a:pt x="6" y="677"/>
                    </a:lnTo>
                    <a:lnTo>
                      <a:pt x="4" y="672"/>
                    </a:lnTo>
                    <a:lnTo>
                      <a:pt x="3" y="667"/>
                    </a:lnTo>
                    <a:lnTo>
                      <a:pt x="2" y="660"/>
                    </a:lnTo>
                    <a:lnTo>
                      <a:pt x="1" y="653"/>
                    </a:lnTo>
                    <a:lnTo>
                      <a:pt x="0" y="639"/>
                    </a:lnTo>
                    <a:lnTo>
                      <a:pt x="0" y="628"/>
                    </a:lnTo>
                    <a:lnTo>
                      <a:pt x="0" y="604"/>
                    </a:lnTo>
                    <a:lnTo>
                      <a:pt x="2" y="581"/>
                    </a:lnTo>
                    <a:lnTo>
                      <a:pt x="3" y="570"/>
                    </a:lnTo>
                    <a:lnTo>
                      <a:pt x="5" y="558"/>
                    </a:lnTo>
                    <a:lnTo>
                      <a:pt x="8" y="545"/>
                    </a:lnTo>
                    <a:lnTo>
                      <a:pt x="13" y="529"/>
                    </a:lnTo>
                    <a:lnTo>
                      <a:pt x="26" y="514"/>
                    </a:lnTo>
                    <a:lnTo>
                      <a:pt x="38" y="499"/>
                    </a:lnTo>
                    <a:lnTo>
                      <a:pt x="50" y="482"/>
                    </a:lnTo>
                    <a:lnTo>
                      <a:pt x="61" y="467"/>
                    </a:lnTo>
                    <a:lnTo>
                      <a:pt x="81" y="434"/>
                    </a:lnTo>
                    <a:lnTo>
                      <a:pt x="101" y="401"/>
                    </a:lnTo>
                    <a:lnTo>
                      <a:pt x="119" y="368"/>
                    </a:lnTo>
                    <a:lnTo>
                      <a:pt x="141" y="336"/>
                    </a:lnTo>
                    <a:lnTo>
                      <a:pt x="152" y="321"/>
                    </a:lnTo>
                    <a:lnTo>
                      <a:pt x="164" y="305"/>
                    </a:lnTo>
                    <a:lnTo>
                      <a:pt x="177" y="291"/>
                    </a:lnTo>
                    <a:lnTo>
                      <a:pt x="193" y="277"/>
                    </a:lnTo>
                    <a:lnTo>
                      <a:pt x="198" y="271"/>
                    </a:lnTo>
                    <a:lnTo>
                      <a:pt x="204" y="265"/>
                    </a:lnTo>
                    <a:lnTo>
                      <a:pt x="208" y="257"/>
                    </a:lnTo>
                    <a:lnTo>
                      <a:pt x="213" y="250"/>
                    </a:lnTo>
                    <a:lnTo>
                      <a:pt x="219" y="234"/>
                    </a:lnTo>
                    <a:lnTo>
                      <a:pt x="227" y="218"/>
                    </a:lnTo>
                    <a:lnTo>
                      <a:pt x="233" y="200"/>
                    </a:lnTo>
                    <a:lnTo>
                      <a:pt x="242" y="184"/>
                    </a:lnTo>
                    <a:lnTo>
                      <a:pt x="247" y="176"/>
                    </a:lnTo>
                    <a:lnTo>
                      <a:pt x="252" y="169"/>
                    </a:lnTo>
                    <a:lnTo>
                      <a:pt x="259" y="161"/>
                    </a:lnTo>
                    <a:lnTo>
                      <a:pt x="265" y="154"/>
                    </a:lnTo>
                    <a:lnTo>
                      <a:pt x="266" y="131"/>
                    </a:lnTo>
                    <a:lnTo>
                      <a:pt x="270" y="109"/>
                    </a:lnTo>
                    <a:lnTo>
                      <a:pt x="274" y="89"/>
                    </a:lnTo>
                    <a:lnTo>
                      <a:pt x="278" y="73"/>
                    </a:lnTo>
                    <a:lnTo>
                      <a:pt x="299" y="74"/>
                    </a:lnTo>
                    <a:lnTo>
                      <a:pt x="326" y="77"/>
                    </a:lnTo>
                    <a:lnTo>
                      <a:pt x="349" y="79"/>
                    </a:lnTo>
                    <a:lnTo>
                      <a:pt x="359" y="80"/>
                    </a:lnTo>
                    <a:lnTo>
                      <a:pt x="357" y="91"/>
                    </a:lnTo>
                    <a:lnTo>
                      <a:pt x="355" y="102"/>
                    </a:lnTo>
                    <a:lnTo>
                      <a:pt x="352" y="112"/>
                    </a:lnTo>
                    <a:lnTo>
                      <a:pt x="349" y="121"/>
                    </a:lnTo>
                    <a:lnTo>
                      <a:pt x="344" y="130"/>
                    </a:lnTo>
                    <a:lnTo>
                      <a:pt x="341" y="138"/>
                    </a:lnTo>
                    <a:lnTo>
                      <a:pt x="339" y="146"/>
                    </a:lnTo>
                    <a:lnTo>
                      <a:pt x="339" y="154"/>
                    </a:lnTo>
                    <a:lnTo>
                      <a:pt x="343" y="153"/>
                    </a:lnTo>
                    <a:lnTo>
                      <a:pt x="348" y="150"/>
                    </a:lnTo>
                    <a:lnTo>
                      <a:pt x="352" y="147"/>
                    </a:lnTo>
                    <a:lnTo>
                      <a:pt x="356" y="144"/>
                    </a:lnTo>
                    <a:lnTo>
                      <a:pt x="364" y="137"/>
                    </a:lnTo>
                    <a:lnTo>
                      <a:pt x="371" y="129"/>
                    </a:lnTo>
                    <a:lnTo>
                      <a:pt x="376" y="120"/>
                    </a:lnTo>
                    <a:lnTo>
                      <a:pt x="381" y="110"/>
                    </a:lnTo>
                    <a:lnTo>
                      <a:pt x="385" y="99"/>
                    </a:lnTo>
                    <a:lnTo>
                      <a:pt x="388" y="87"/>
                    </a:lnTo>
                    <a:lnTo>
                      <a:pt x="394" y="66"/>
                    </a:lnTo>
                    <a:lnTo>
                      <a:pt x="396" y="48"/>
                    </a:lnTo>
                    <a:lnTo>
                      <a:pt x="398" y="35"/>
                    </a:lnTo>
                    <a:lnTo>
                      <a:pt x="398" y="30"/>
                    </a:lnTo>
                    <a:lnTo>
                      <a:pt x="1827" y="30"/>
                    </a:lnTo>
                    <a:lnTo>
                      <a:pt x="1825" y="21"/>
                    </a:lnTo>
                    <a:lnTo>
                      <a:pt x="1823" y="13"/>
                    </a:lnTo>
                    <a:lnTo>
                      <a:pt x="1821" y="5"/>
                    </a:lnTo>
                    <a:lnTo>
                      <a:pt x="1820" y="0"/>
                    </a:lnTo>
                    <a:lnTo>
                      <a:pt x="1827" y="0"/>
                    </a:lnTo>
                    <a:lnTo>
                      <a:pt x="1853" y="0"/>
                    </a:lnTo>
                    <a:lnTo>
                      <a:pt x="1854" y="11"/>
                    </a:lnTo>
                    <a:lnTo>
                      <a:pt x="1856" y="21"/>
                    </a:lnTo>
                    <a:lnTo>
                      <a:pt x="1861" y="30"/>
                    </a:lnTo>
                    <a:lnTo>
                      <a:pt x="1866" y="38"/>
                    </a:lnTo>
                    <a:lnTo>
                      <a:pt x="1873" y="46"/>
                    </a:lnTo>
                    <a:lnTo>
                      <a:pt x="1881" y="51"/>
                    </a:lnTo>
                    <a:lnTo>
                      <a:pt x="1886" y="53"/>
                    </a:lnTo>
                    <a:lnTo>
                      <a:pt x="1890" y="54"/>
                    </a:lnTo>
                    <a:lnTo>
                      <a:pt x="1895" y="55"/>
                    </a:lnTo>
                    <a:lnTo>
                      <a:pt x="1900" y="55"/>
                    </a:lnTo>
                    <a:lnTo>
                      <a:pt x="1910" y="55"/>
                    </a:lnTo>
                    <a:lnTo>
                      <a:pt x="1926" y="55"/>
                    </a:lnTo>
                    <a:lnTo>
                      <a:pt x="1935" y="56"/>
                    </a:lnTo>
                    <a:lnTo>
                      <a:pt x="1944" y="58"/>
                    </a:lnTo>
                    <a:lnTo>
                      <a:pt x="1952" y="61"/>
                    </a:lnTo>
                    <a:lnTo>
                      <a:pt x="1958" y="64"/>
                    </a:lnTo>
                    <a:lnTo>
                      <a:pt x="1965" y="68"/>
                    </a:lnTo>
                    <a:lnTo>
                      <a:pt x="1972" y="71"/>
                    </a:lnTo>
                    <a:lnTo>
                      <a:pt x="1979" y="73"/>
                    </a:lnTo>
                    <a:lnTo>
                      <a:pt x="1986" y="73"/>
                    </a:lnTo>
                    <a:lnTo>
                      <a:pt x="1992" y="72"/>
                    </a:lnTo>
                    <a:lnTo>
                      <a:pt x="1999" y="67"/>
                    </a:lnTo>
                    <a:lnTo>
                      <a:pt x="2003" y="63"/>
                    </a:lnTo>
                    <a:lnTo>
                      <a:pt x="2006" y="61"/>
                    </a:lnTo>
                    <a:lnTo>
                      <a:pt x="2015" y="69"/>
                    </a:lnTo>
                    <a:lnTo>
                      <a:pt x="2024" y="75"/>
                    </a:lnTo>
                    <a:lnTo>
                      <a:pt x="2035" y="81"/>
                    </a:lnTo>
                    <a:lnTo>
                      <a:pt x="2046" y="86"/>
                    </a:lnTo>
                    <a:lnTo>
                      <a:pt x="2038" y="93"/>
                    </a:lnTo>
                    <a:lnTo>
                      <a:pt x="2031" y="100"/>
                    </a:lnTo>
                    <a:lnTo>
                      <a:pt x="2021" y="104"/>
                    </a:lnTo>
                    <a:lnTo>
                      <a:pt x="2011" y="108"/>
                    </a:lnTo>
                    <a:lnTo>
                      <a:pt x="1989" y="114"/>
                    </a:lnTo>
                    <a:lnTo>
                      <a:pt x="1967" y="118"/>
                    </a:lnTo>
                    <a:lnTo>
                      <a:pt x="1956" y="120"/>
                    </a:lnTo>
                    <a:lnTo>
                      <a:pt x="1946" y="122"/>
                    </a:lnTo>
                    <a:lnTo>
                      <a:pt x="1937" y="125"/>
                    </a:lnTo>
                    <a:lnTo>
                      <a:pt x="1929" y="128"/>
                    </a:lnTo>
                    <a:lnTo>
                      <a:pt x="1922" y="133"/>
                    </a:lnTo>
                    <a:lnTo>
                      <a:pt x="1918" y="138"/>
                    </a:lnTo>
                    <a:lnTo>
                      <a:pt x="1916" y="141"/>
                    </a:lnTo>
                    <a:lnTo>
                      <a:pt x="1914" y="145"/>
                    </a:lnTo>
                    <a:lnTo>
                      <a:pt x="1913" y="149"/>
                    </a:lnTo>
                    <a:lnTo>
                      <a:pt x="1913" y="154"/>
                    </a:lnTo>
                    <a:lnTo>
                      <a:pt x="1926" y="155"/>
                    </a:lnTo>
                    <a:lnTo>
                      <a:pt x="1937" y="156"/>
                    </a:lnTo>
                    <a:lnTo>
                      <a:pt x="1946" y="158"/>
                    </a:lnTo>
                    <a:lnTo>
                      <a:pt x="1954" y="160"/>
                    </a:lnTo>
                    <a:lnTo>
                      <a:pt x="1962" y="162"/>
                    </a:lnTo>
                    <a:lnTo>
                      <a:pt x="1969" y="164"/>
                    </a:lnTo>
                    <a:lnTo>
                      <a:pt x="1977" y="166"/>
                    </a:lnTo>
                    <a:lnTo>
                      <a:pt x="1986" y="166"/>
                    </a:lnTo>
                    <a:lnTo>
                      <a:pt x="1996" y="165"/>
                    </a:lnTo>
                    <a:lnTo>
                      <a:pt x="2011" y="161"/>
                    </a:lnTo>
                    <a:lnTo>
                      <a:pt x="2028" y="155"/>
                    </a:lnTo>
                    <a:lnTo>
                      <a:pt x="2047" y="147"/>
                    </a:lnTo>
                    <a:lnTo>
                      <a:pt x="2067" y="140"/>
                    </a:lnTo>
                    <a:lnTo>
                      <a:pt x="2087" y="135"/>
                    </a:lnTo>
                    <a:lnTo>
                      <a:pt x="2104" y="130"/>
                    </a:lnTo>
                    <a:lnTo>
                      <a:pt x="2119" y="129"/>
                    </a:lnTo>
                    <a:lnTo>
                      <a:pt x="2109" y="140"/>
                    </a:lnTo>
                    <a:lnTo>
                      <a:pt x="2101" y="147"/>
                    </a:lnTo>
                    <a:lnTo>
                      <a:pt x="2097" y="151"/>
                    </a:lnTo>
                    <a:lnTo>
                      <a:pt x="2094" y="155"/>
                    </a:lnTo>
                    <a:lnTo>
                      <a:pt x="2093" y="160"/>
                    </a:lnTo>
                    <a:lnTo>
                      <a:pt x="2092" y="166"/>
                    </a:lnTo>
                    <a:lnTo>
                      <a:pt x="2102" y="166"/>
                    </a:lnTo>
                    <a:lnTo>
                      <a:pt x="2112" y="166"/>
                    </a:lnTo>
                    <a:lnTo>
                      <a:pt x="2121" y="167"/>
                    </a:lnTo>
                    <a:lnTo>
                      <a:pt x="2138" y="169"/>
                    </a:lnTo>
                    <a:lnTo>
                      <a:pt x="2163" y="172"/>
                    </a:lnTo>
                    <a:lnTo>
                      <a:pt x="2191" y="175"/>
                    </a:lnTo>
                    <a:lnTo>
                      <a:pt x="2221" y="179"/>
                    </a:lnTo>
                    <a:lnTo>
                      <a:pt x="2248" y="182"/>
                    </a:lnTo>
                    <a:lnTo>
                      <a:pt x="2270" y="184"/>
                    </a:lnTo>
                    <a:lnTo>
                      <a:pt x="2286" y="184"/>
                    </a:lnTo>
                    <a:lnTo>
                      <a:pt x="2284" y="193"/>
                    </a:lnTo>
                    <a:lnTo>
                      <a:pt x="2282" y="199"/>
                    </a:lnTo>
                    <a:lnTo>
                      <a:pt x="2279" y="205"/>
                    </a:lnTo>
                    <a:lnTo>
                      <a:pt x="2275" y="210"/>
                    </a:lnTo>
                    <a:lnTo>
                      <a:pt x="2269" y="212"/>
                    </a:lnTo>
                    <a:lnTo>
                      <a:pt x="2262" y="214"/>
                    </a:lnTo>
                    <a:lnTo>
                      <a:pt x="2255" y="215"/>
                    </a:lnTo>
                    <a:lnTo>
                      <a:pt x="2245" y="216"/>
                    </a:lnTo>
                    <a:lnTo>
                      <a:pt x="2238" y="215"/>
                    </a:lnTo>
                    <a:lnTo>
                      <a:pt x="2233" y="214"/>
                    </a:lnTo>
                    <a:lnTo>
                      <a:pt x="2228" y="212"/>
                    </a:lnTo>
                    <a:lnTo>
                      <a:pt x="2225" y="210"/>
                    </a:lnTo>
                    <a:lnTo>
                      <a:pt x="2222" y="206"/>
                    </a:lnTo>
                    <a:lnTo>
                      <a:pt x="2217" y="204"/>
                    </a:lnTo>
                    <a:lnTo>
                      <a:pt x="2212" y="203"/>
                    </a:lnTo>
                    <a:lnTo>
                      <a:pt x="2205" y="203"/>
                    </a:lnTo>
                    <a:lnTo>
                      <a:pt x="2194" y="203"/>
                    </a:lnTo>
                    <a:lnTo>
                      <a:pt x="2185" y="205"/>
                    </a:lnTo>
                    <a:lnTo>
                      <a:pt x="2175" y="209"/>
                    </a:lnTo>
                    <a:lnTo>
                      <a:pt x="2166" y="213"/>
                    </a:lnTo>
                    <a:lnTo>
                      <a:pt x="2149" y="223"/>
                    </a:lnTo>
                    <a:lnTo>
                      <a:pt x="2135" y="234"/>
                    </a:lnTo>
                    <a:lnTo>
                      <a:pt x="2121" y="245"/>
                    </a:lnTo>
                    <a:lnTo>
                      <a:pt x="2108" y="255"/>
                    </a:lnTo>
                    <a:lnTo>
                      <a:pt x="2100" y="258"/>
                    </a:lnTo>
                    <a:lnTo>
                      <a:pt x="2093" y="261"/>
                    </a:lnTo>
                    <a:lnTo>
                      <a:pt x="2087" y="264"/>
                    </a:lnTo>
                    <a:lnTo>
                      <a:pt x="2079" y="265"/>
                    </a:lnTo>
                    <a:lnTo>
                      <a:pt x="2073" y="266"/>
                    </a:lnTo>
                    <a:lnTo>
                      <a:pt x="2068" y="268"/>
                    </a:lnTo>
                    <a:lnTo>
                      <a:pt x="2066" y="271"/>
                    </a:lnTo>
                    <a:lnTo>
                      <a:pt x="2064" y="276"/>
                    </a:lnTo>
                    <a:lnTo>
                      <a:pt x="2063" y="285"/>
                    </a:lnTo>
                    <a:lnTo>
                      <a:pt x="2059" y="295"/>
                    </a:lnTo>
                    <a:lnTo>
                      <a:pt x="2056" y="304"/>
                    </a:lnTo>
                    <a:lnTo>
                      <a:pt x="2053" y="312"/>
                    </a:lnTo>
                    <a:lnTo>
                      <a:pt x="2048" y="321"/>
                    </a:lnTo>
                    <a:lnTo>
                      <a:pt x="2043" y="328"/>
                    </a:lnTo>
                    <a:lnTo>
                      <a:pt x="2032" y="342"/>
                    </a:lnTo>
                    <a:lnTo>
                      <a:pt x="2021" y="355"/>
                    </a:lnTo>
                    <a:lnTo>
                      <a:pt x="2015" y="362"/>
                    </a:lnTo>
                    <a:lnTo>
                      <a:pt x="2010" y="369"/>
                    </a:lnTo>
                    <a:lnTo>
                      <a:pt x="2006" y="378"/>
                    </a:lnTo>
                    <a:lnTo>
                      <a:pt x="2001" y="386"/>
                    </a:lnTo>
                    <a:lnTo>
                      <a:pt x="1998" y="394"/>
                    </a:lnTo>
                    <a:lnTo>
                      <a:pt x="1995" y="404"/>
                    </a:lnTo>
                    <a:lnTo>
                      <a:pt x="1993" y="414"/>
                    </a:lnTo>
                    <a:lnTo>
                      <a:pt x="1992" y="424"/>
                    </a:lnTo>
                    <a:lnTo>
                      <a:pt x="1993" y="432"/>
                    </a:lnTo>
                    <a:lnTo>
                      <a:pt x="1997" y="438"/>
                    </a:lnTo>
                    <a:lnTo>
                      <a:pt x="2001" y="443"/>
                    </a:lnTo>
                    <a:lnTo>
                      <a:pt x="2007" y="447"/>
                    </a:lnTo>
                    <a:lnTo>
                      <a:pt x="2012" y="451"/>
                    </a:lnTo>
                    <a:lnTo>
                      <a:pt x="2018" y="453"/>
                    </a:lnTo>
                    <a:lnTo>
                      <a:pt x="2022" y="455"/>
                    </a:lnTo>
                    <a:lnTo>
                      <a:pt x="2026" y="456"/>
                    </a:lnTo>
                    <a:lnTo>
                      <a:pt x="2032" y="455"/>
                    </a:lnTo>
                    <a:lnTo>
                      <a:pt x="2037" y="454"/>
                    </a:lnTo>
                    <a:lnTo>
                      <a:pt x="2043" y="453"/>
                    </a:lnTo>
                    <a:lnTo>
                      <a:pt x="2047" y="451"/>
                    </a:lnTo>
                    <a:lnTo>
                      <a:pt x="2052" y="448"/>
                    </a:lnTo>
                    <a:lnTo>
                      <a:pt x="2056" y="445"/>
                    </a:lnTo>
                    <a:lnTo>
                      <a:pt x="2060" y="441"/>
                    </a:lnTo>
                    <a:lnTo>
                      <a:pt x="2064" y="437"/>
                    </a:lnTo>
                    <a:lnTo>
                      <a:pt x="2070" y="427"/>
                    </a:lnTo>
                    <a:lnTo>
                      <a:pt x="2076" y="417"/>
                    </a:lnTo>
                    <a:lnTo>
                      <a:pt x="2080" y="405"/>
                    </a:lnTo>
                    <a:lnTo>
                      <a:pt x="2085" y="393"/>
                    </a:lnTo>
                    <a:lnTo>
                      <a:pt x="2092" y="368"/>
                    </a:lnTo>
                    <a:lnTo>
                      <a:pt x="2100" y="344"/>
                    </a:lnTo>
                    <a:lnTo>
                      <a:pt x="2103" y="333"/>
                    </a:lnTo>
                    <a:lnTo>
                      <a:pt x="2108" y="323"/>
                    </a:lnTo>
                    <a:lnTo>
                      <a:pt x="2113" y="314"/>
                    </a:lnTo>
                    <a:lnTo>
                      <a:pt x="2119" y="307"/>
                    </a:lnTo>
                    <a:lnTo>
                      <a:pt x="2135" y="295"/>
                    </a:lnTo>
                    <a:lnTo>
                      <a:pt x="2152" y="283"/>
                    </a:lnTo>
                    <a:lnTo>
                      <a:pt x="2169" y="273"/>
                    </a:lnTo>
                    <a:lnTo>
                      <a:pt x="2188" y="262"/>
                    </a:lnTo>
                    <a:lnTo>
                      <a:pt x="2205" y="252"/>
                    </a:lnTo>
                    <a:lnTo>
                      <a:pt x="2223" y="243"/>
                    </a:lnTo>
                    <a:lnTo>
                      <a:pt x="2238" y="233"/>
                    </a:lnTo>
                    <a:lnTo>
                      <a:pt x="2251" y="222"/>
                    </a:lnTo>
                    <a:lnTo>
                      <a:pt x="2266" y="237"/>
                    </a:lnTo>
                    <a:lnTo>
                      <a:pt x="2278" y="249"/>
                    </a:lnTo>
                    <a:lnTo>
                      <a:pt x="2283" y="255"/>
                    </a:lnTo>
                    <a:lnTo>
                      <a:pt x="2288" y="261"/>
                    </a:lnTo>
                    <a:lnTo>
                      <a:pt x="2293" y="269"/>
                    </a:lnTo>
                    <a:lnTo>
                      <a:pt x="2299" y="277"/>
                    </a:lnTo>
                    <a:lnTo>
                      <a:pt x="2289" y="284"/>
                    </a:lnTo>
                    <a:lnTo>
                      <a:pt x="2281" y="290"/>
                    </a:lnTo>
                    <a:lnTo>
                      <a:pt x="2273" y="296"/>
                    </a:lnTo>
                    <a:lnTo>
                      <a:pt x="2267" y="303"/>
                    </a:lnTo>
                    <a:lnTo>
                      <a:pt x="2260" y="310"/>
                    </a:lnTo>
                    <a:lnTo>
                      <a:pt x="2255" y="318"/>
                    </a:lnTo>
                    <a:lnTo>
                      <a:pt x="2250" y="328"/>
                    </a:lnTo>
                    <a:lnTo>
                      <a:pt x="2245" y="339"/>
                    </a:lnTo>
                    <a:lnTo>
                      <a:pt x="2259" y="338"/>
                    </a:lnTo>
                    <a:lnTo>
                      <a:pt x="2271" y="336"/>
                    </a:lnTo>
                    <a:lnTo>
                      <a:pt x="2284" y="334"/>
                    </a:lnTo>
                    <a:lnTo>
                      <a:pt x="2299" y="333"/>
                    </a:lnTo>
                    <a:lnTo>
                      <a:pt x="2299" y="347"/>
                    </a:lnTo>
                    <a:lnTo>
                      <a:pt x="2299" y="363"/>
                    </a:lnTo>
                    <a:lnTo>
                      <a:pt x="2299" y="380"/>
                    </a:lnTo>
                    <a:lnTo>
                      <a:pt x="2299" y="394"/>
                    </a:lnTo>
                    <a:lnTo>
                      <a:pt x="2293" y="399"/>
                    </a:lnTo>
                    <a:lnTo>
                      <a:pt x="2288" y="404"/>
                    </a:lnTo>
                    <a:lnTo>
                      <a:pt x="2281" y="411"/>
                    </a:lnTo>
                    <a:lnTo>
                      <a:pt x="2276" y="418"/>
                    </a:lnTo>
                    <a:lnTo>
                      <a:pt x="2250" y="426"/>
                    </a:lnTo>
                    <a:lnTo>
                      <a:pt x="2228" y="435"/>
                    </a:lnTo>
                    <a:lnTo>
                      <a:pt x="2219" y="439"/>
                    </a:lnTo>
                    <a:lnTo>
                      <a:pt x="2212" y="443"/>
                    </a:lnTo>
                    <a:lnTo>
                      <a:pt x="2206" y="446"/>
                    </a:lnTo>
                    <a:lnTo>
                      <a:pt x="2205" y="450"/>
                    </a:lnTo>
                    <a:lnTo>
                      <a:pt x="2205" y="452"/>
                    </a:lnTo>
                    <a:lnTo>
                      <a:pt x="2206" y="454"/>
                    </a:lnTo>
                    <a:lnTo>
                      <a:pt x="2209" y="456"/>
                    </a:lnTo>
                    <a:lnTo>
                      <a:pt x="2212" y="458"/>
                    </a:lnTo>
                    <a:lnTo>
                      <a:pt x="2219" y="463"/>
                    </a:lnTo>
                    <a:lnTo>
                      <a:pt x="2227" y="466"/>
                    </a:lnTo>
                    <a:lnTo>
                      <a:pt x="2236" y="469"/>
                    </a:lnTo>
                    <a:lnTo>
                      <a:pt x="2245" y="472"/>
                    </a:lnTo>
                    <a:lnTo>
                      <a:pt x="2253" y="473"/>
                    </a:lnTo>
                    <a:lnTo>
                      <a:pt x="2258" y="474"/>
                    </a:lnTo>
                    <a:lnTo>
                      <a:pt x="2265" y="473"/>
                    </a:lnTo>
                    <a:lnTo>
                      <a:pt x="2273" y="472"/>
                    </a:lnTo>
                    <a:lnTo>
                      <a:pt x="2283" y="469"/>
                    </a:lnTo>
                    <a:lnTo>
                      <a:pt x="2293" y="466"/>
                    </a:lnTo>
                    <a:lnTo>
                      <a:pt x="2317" y="457"/>
                    </a:lnTo>
                    <a:lnTo>
                      <a:pt x="2343" y="447"/>
                    </a:lnTo>
                    <a:lnTo>
                      <a:pt x="2369" y="436"/>
                    </a:lnTo>
                    <a:lnTo>
                      <a:pt x="2393" y="425"/>
                    </a:lnTo>
                    <a:lnTo>
                      <a:pt x="2415" y="415"/>
                    </a:lnTo>
                    <a:lnTo>
                      <a:pt x="2433" y="408"/>
                    </a:lnTo>
                    <a:lnTo>
                      <a:pt x="2439" y="407"/>
                    </a:lnTo>
                    <a:lnTo>
                      <a:pt x="2446" y="405"/>
                    </a:lnTo>
                    <a:lnTo>
                      <a:pt x="2452" y="403"/>
                    </a:lnTo>
                    <a:lnTo>
                      <a:pt x="2458" y="400"/>
                    </a:lnTo>
                    <a:lnTo>
                      <a:pt x="2530" y="382"/>
                    </a:lnTo>
                    <a:lnTo>
                      <a:pt x="2544" y="380"/>
                    </a:lnTo>
                    <a:lnTo>
                      <a:pt x="2557" y="378"/>
                    </a:lnTo>
                    <a:lnTo>
                      <a:pt x="2570" y="373"/>
                    </a:lnTo>
                    <a:lnTo>
                      <a:pt x="2583" y="369"/>
                    </a:lnTo>
                    <a:lnTo>
                      <a:pt x="2597" y="364"/>
                    </a:lnTo>
                    <a:lnTo>
                      <a:pt x="2611" y="357"/>
                    </a:lnTo>
                    <a:lnTo>
                      <a:pt x="2625" y="350"/>
                    </a:lnTo>
                    <a:lnTo>
                      <a:pt x="2638" y="342"/>
                    </a:lnTo>
                    <a:lnTo>
                      <a:pt x="2651" y="334"/>
                    </a:lnTo>
                    <a:lnTo>
                      <a:pt x="2664" y="324"/>
                    </a:lnTo>
                    <a:lnTo>
                      <a:pt x="2676" y="313"/>
                    </a:lnTo>
                    <a:lnTo>
                      <a:pt x="2689" y="303"/>
                    </a:lnTo>
                    <a:lnTo>
                      <a:pt x="2701" y="291"/>
                    </a:lnTo>
                    <a:lnTo>
                      <a:pt x="2710" y="279"/>
                    </a:lnTo>
                    <a:lnTo>
                      <a:pt x="2721" y="266"/>
                    </a:lnTo>
                    <a:lnTo>
                      <a:pt x="2730" y="252"/>
                    </a:lnTo>
                    <a:lnTo>
                      <a:pt x="2817" y="252"/>
                    </a:lnTo>
                    <a:lnTo>
                      <a:pt x="2850" y="248"/>
                    </a:lnTo>
                    <a:lnTo>
                      <a:pt x="2880" y="246"/>
                    </a:lnTo>
                    <a:lnTo>
                      <a:pt x="2906" y="244"/>
                    </a:lnTo>
                    <a:lnTo>
                      <a:pt x="2931" y="241"/>
                    </a:lnTo>
                    <a:lnTo>
                      <a:pt x="2942" y="239"/>
                    </a:lnTo>
                    <a:lnTo>
                      <a:pt x="2954" y="237"/>
                    </a:lnTo>
                    <a:lnTo>
                      <a:pt x="2965" y="234"/>
                    </a:lnTo>
                    <a:lnTo>
                      <a:pt x="2975" y="230"/>
                    </a:lnTo>
                    <a:lnTo>
                      <a:pt x="2986" y="225"/>
                    </a:lnTo>
                    <a:lnTo>
                      <a:pt x="2996" y="219"/>
                    </a:lnTo>
                    <a:lnTo>
                      <a:pt x="3006" y="212"/>
                    </a:lnTo>
                    <a:lnTo>
                      <a:pt x="3016" y="203"/>
                    </a:lnTo>
                    <a:lnTo>
                      <a:pt x="3028" y="190"/>
                    </a:lnTo>
                    <a:lnTo>
                      <a:pt x="3038" y="177"/>
                    </a:lnTo>
                    <a:lnTo>
                      <a:pt x="3048" y="162"/>
                    </a:lnTo>
                    <a:lnTo>
                      <a:pt x="3059" y="148"/>
                    </a:lnTo>
                    <a:lnTo>
                      <a:pt x="3064" y="142"/>
                    </a:lnTo>
                    <a:lnTo>
                      <a:pt x="3070" y="136"/>
                    </a:lnTo>
                    <a:lnTo>
                      <a:pt x="3075" y="130"/>
                    </a:lnTo>
                    <a:lnTo>
                      <a:pt x="3082" y="126"/>
                    </a:lnTo>
                    <a:lnTo>
                      <a:pt x="3089" y="122"/>
                    </a:lnTo>
                    <a:lnTo>
                      <a:pt x="3097" y="119"/>
                    </a:lnTo>
                    <a:lnTo>
                      <a:pt x="3106" y="117"/>
                    </a:lnTo>
                    <a:lnTo>
                      <a:pt x="3116" y="117"/>
                    </a:lnTo>
                    <a:lnTo>
                      <a:pt x="3136" y="118"/>
                    </a:lnTo>
                    <a:lnTo>
                      <a:pt x="3153" y="119"/>
                    </a:lnTo>
                    <a:lnTo>
                      <a:pt x="3160" y="120"/>
                    </a:lnTo>
                    <a:lnTo>
                      <a:pt x="3165" y="119"/>
                    </a:lnTo>
                    <a:lnTo>
                      <a:pt x="3171" y="119"/>
                    </a:lnTo>
                    <a:lnTo>
                      <a:pt x="3175" y="117"/>
                    </a:lnTo>
                    <a:lnTo>
                      <a:pt x="3175" y="125"/>
                    </a:lnTo>
                    <a:lnTo>
                      <a:pt x="3172" y="134"/>
                    </a:lnTo>
                    <a:lnTo>
                      <a:pt x="3168" y="144"/>
                    </a:lnTo>
                    <a:lnTo>
                      <a:pt x="3164" y="156"/>
                    </a:lnTo>
                    <a:lnTo>
                      <a:pt x="3160" y="165"/>
                    </a:lnTo>
                    <a:lnTo>
                      <a:pt x="3155" y="174"/>
                    </a:lnTo>
                    <a:lnTo>
                      <a:pt x="3152" y="181"/>
                    </a:lnTo>
                    <a:lnTo>
                      <a:pt x="3149" y="184"/>
                    </a:lnTo>
                    <a:lnTo>
                      <a:pt x="3149" y="252"/>
                    </a:lnTo>
                    <a:lnTo>
                      <a:pt x="3155" y="25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66" name="Freeform 7">
                <a:extLst>
                  <a:ext uri="{FF2B5EF4-FFF2-40B4-BE49-F238E27FC236}">
                    <a16:creationId xmlns:a16="http://schemas.microsoft.com/office/drawing/2014/main" id="{3F00574B-F75B-4791-9DF9-4AD51F53AE7E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1551961" y="4507098"/>
                <a:ext cx="409021" cy="662756"/>
              </a:xfrm>
              <a:custGeom>
                <a:avLst/>
                <a:gdLst>
                  <a:gd name="T0" fmla="*/ 109469015 w 784"/>
                  <a:gd name="T1" fmla="*/ 75923370 h 1128"/>
                  <a:gd name="T2" fmla="*/ 103084871 w 784"/>
                  <a:gd name="T3" fmla="*/ 80856661 h 1128"/>
                  <a:gd name="T4" fmla="*/ 90879904 w 784"/>
                  <a:gd name="T5" fmla="*/ 106073355 h 1128"/>
                  <a:gd name="T6" fmla="*/ 87312358 w 784"/>
                  <a:gd name="T7" fmla="*/ 125259948 h 1128"/>
                  <a:gd name="T8" fmla="*/ 90316585 w 784"/>
                  <a:gd name="T9" fmla="*/ 143075397 h 1128"/>
                  <a:gd name="T10" fmla="*/ 99517326 w 784"/>
                  <a:gd name="T11" fmla="*/ 161988179 h 1128"/>
                  <a:gd name="T12" fmla="*/ 108718067 w 784"/>
                  <a:gd name="T13" fmla="*/ 168840234 h 1128"/>
                  <a:gd name="T14" fmla="*/ 117355488 w 784"/>
                  <a:gd name="T15" fmla="*/ 164454563 h 1128"/>
                  <a:gd name="T16" fmla="*/ 122800621 w 784"/>
                  <a:gd name="T17" fmla="*/ 178981674 h 1128"/>
                  <a:gd name="T18" fmla="*/ 126180538 w 784"/>
                  <a:gd name="T19" fmla="*/ 187204350 h 1128"/>
                  <a:gd name="T20" fmla="*/ 134066578 w 784"/>
                  <a:gd name="T21" fmla="*/ 188300637 h 1128"/>
                  <a:gd name="T22" fmla="*/ 140638784 w 784"/>
                  <a:gd name="T23" fmla="*/ 195153216 h 1128"/>
                  <a:gd name="T24" fmla="*/ 144581587 w 784"/>
                  <a:gd name="T25" fmla="*/ 207212896 h 1128"/>
                  <a:gd name="T26" fmla="*/ 142892062 w 784"/>
                  <a:gd name="T27" fmla="*/ 216531859 h 1128"/>
                  <a:gd name="T28" fmla="*/ 142704000 w 784"/>
                  <a:gd name="T29" fmla="*/ 226125155 h 1128"/>
                  <a:gd name="T30" fmla="*/ 144957278 w 784"/>
                  <a:gd name="T31" fmla="*/ 241748553 h 1128"/>
                  <a:gd name="T32" fmla="*/ 142328742 w 784"/>
                  <a:gd name="T33" fmla="*/ 255453187 h 1128"/>
                  <a:gd name="T34" fmla="*/ 144581587 w 784"/>
                  <a:gd name="T35" fmla="*/ 272446682 h 1128"/>
                  <a:gd name="T36" fmla="*/ 143267319 w 784"/>
                  <a:gd name="T37" fmla="*/ 288892034 h 1128"/>
                  <a:gd name="T38" fmla="*/ 129748084 w 784"/>
                  <a:gd name="T39" fmla="*/ 307530483 h 1128"/>
                  <a:gd name="T40" fmla="*/ 121673982 w 784"/>
                  <a:gd name="T41" fmla="*/ 302322858 h 1128"/>
                  <a:gd name="T42" fmla="*/ 113036561 w 784"/>
                  <a:gd name="T43" fmla="*/ 289440178 h 1128"/>
                  <a:gd name="T44" fmla="*/ 86936667 w 784"/>
                  <a:gd name="T45" fmla="*/ 273542969 h 1128"/>
                  <a:gd name="T46" fmla="*/ 79801576 w 784"/>
                  <a:gd name="T47" fmla="*/ 265046484 h 1128"/>
                  <a:gd name="T48" fmla="*/ 62151475 w 784"/>
                  <a:gd name="T49" fmla="*/ 245037414 h 1128"/>
                  <a:gd name="T50" fmla="*/ 59710569 w 784"/>
                  <a:gd name="T51" fmla="*/ 237637215 h 1128"/>
                  <a:gd name="T52" fmla="*/ 61588156 w 784"/>
                  <a:gd name="T53" fmla="*/ 223384438 h 1128"/>
                  <a:gd name="T54" fmla="*/ 54453064 w 784"/>
                  <a:gd name="T55" fmla="*/ 213242998 h 1128"/>
                  <a:gd name="T56" fmla="*/ 48632240 w 784"/>
                  <a:gd name="T57" fmla="*/ 204197845 h 1128"/>
                  <a:gd name="T58" fmla="*/ 45627581 w 784"/>
                  <a:gd name="T59" fmla="*/ 188848780 h 1128"/>
                  <a:gd name="T60" fmla="*/ 28728429 w 784"/>
                  <a:gd name="T61" fmla="*/ 145268494 h 1128"/>
                  <a:gd name="T62" fmla="*/ 22532347 w 784"/>
                  <a:gd name="T63" fmla="*/ 133482624 h 1128"/>
                  <a:gd name="T64" fmla="*/ 16899152 w 784"/>
                  <a:gd name="T65" fmla="*/ 118407369 h 1128"/>
                  <a:gd name="T66" fmla="*/ 4130865 w 784"/>
                  <a:gd name="T67" fmla="*/ 108814073 h 1128"/>
                  <a:gd name="T68" fmla="*/ 0 w 784"/>
                  <a:gd name="T69" fmla="*/ 99495110 h 1128"/>
                  <a:gd name="T70" fmla="*/ 2440907 w 784"/>
                  <a:gd name="T71" fmla="*/ 75649036 h 1128"/>
                  <a:gd name="T72" fmla="*/ 5257504 w 784"/>
                  <a:gd name="T73" fmla="*/ 67426360 h 1128"/>
                  <a:gd name="T74" fmla="*/ 13519235 w 784"/>
                  <a:gd name="T75" fmla="*/ 60848115 h 1128"/>
                  <a:gd name="T76" fmla="*/ 17838162 w 784"/>
                  <a:gd name="T77" fmla="*/ 74552749 h 1128"/>
                  <a:gd name="T78" fmla="*/ 29667439 w 784"/>
                  <a:gd name="T79" fmla="*/ 84146045 h 1128"/>
                  <a:gd name="T80" fmla="*/ 34549253 w 784"/>
                  <a:gd name="T81" fmla="*/ 74278939 h 1128"/>
                  <a:gd name="T82" fmla="*/ 37741541 w 784"/>
                  <a:gd name="T83" fmla="*/ 61670592 h 1128"/>
                  <a:gd name="T84" fmla="*/ 50697456 w 784"/>
                  <a:gd name="T85" fmla="*/ 46595337 h 1128"/>
                  <a:gd name="T86" fmla="*/ 64592382 w 784"/>
                  <a:gd name="T87" fmla="*/ 32890703 h 1128"/>
                  <a:gd name="T88" fmla="*/ 67033289 w 784"/>
                  <a:gd name="T89" fmla="*/ 19186593 h 1128"/>
                  <a:gd name="T90" fmla="*/ 65155702 w 784"/>
                  <a:gd name="T91" fmla="*/ 1370620 h 1128"/>
                  <a:gd name="T92" fmla="*/ 79238256 w 784"/>
                  <a:gd name="T93" fmla="*/ 14526588 h 1128"/>
                  <a:gd name="T94" fmla="*/ 87688049 w 784"/>
                  <a:gd name="T95" fmla="*/ 29327509 h 1128"/>
                  <a:gd name="T96" fmla="*/ 95010769 w 784"/>
                  <a:gd name="T97" fmla="*/ 42210189 h 1128"/>
                  <a:gd name="T98" fmla="*/ 105338149 w 784"/>
                  <a:gd name="T99" fmla="*/ 43032143 h 1128"/>
                  <a:gd name="T100" fmla="*/ 115853158 w 784"/>
                  <a:gd name="T101" fmla="*/ 40839569 h 1128"/>
                  <a:gd name="T102" fmla="*/ 120172086 w 784"/>
                  <a:gd name="T103" fmla="*/ 42758333 h 1128"/>
                  <a:gd name="T104" fmla="*/ 122800621 w 784"/>
                  <a:gd name="T105" fmla="*/ 52899773 h 1128"/>
                  <a:gd name="T106" fmla="*/ 117730745 w 784"/>
                  <a:gd name="T107" fmla="*/ 57559254 h 1128"/>
                  <a:gd name="T108" fmla="*/ 117730745 w 784"/>
                  <a:gd name="T109" fmla="*/ 65781930 h 112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84" h="1128">
                    <a:moveTo>
                      <a:pt x="644" y="259"/>
                    </a:moveTo>
                    <a:lnTo>
                      <a:pt x="632" y="265"/>
                    </a:lnTo>
                    <a:lnTo>
                      <a:pt x="621" y="270"/>
                    </a:lnTo>
                    <a:lnTo>
                      <a:pt x="611" y="273"/>
                    </a:lnTo>
                    <a:lnTo>
                      <a:pt x="602" y="275"/>
                    </a:lnTo>
                    <a:lnTo>
                      <a:pt x="583" y="277"/>
                    </a:lnTo>
                    <a:lnTo>
                      <a:pt x="564" y="278"/>
                    </a:lnTo>
                    <a:lnTo>
                      <a:pt x="560" y="278"/>
                    </a:lnTo>
                    <a:lnTo>
                      <a:pt x="557" y="280"/>
                    </a:lnTo>
                    <a:lnTo>
                      <a:pt x="554" y="284"/>
                    </a:lnTo>
                    <a:lnTo>
                      <a:pt x="552" y="287"/>
                    </a:lnTo>
                    <a:lnTo>
                      <a:pt x="549" y="295"/>
                    </a:lnTo>
                    <a:lnTo>
                      <a:pt x="545" y="302"/>
                    </a:lnTo>
                    <a:lnTo>
                      <a:pt x="529" y="318"/>
                    </a:lnTo>
                    <a:lnTo>
                      <a:pt x="515" y="335"/>
                    </a:lnTo>
                    <a:lnTo>
                      <a:pt x="502" y="354"/>
                    </a:lnTo>
                    <a:lnTo>
                      <a:pt x="490" y="376"/>
                    </a:lnTo>
                    <a:lnTo>
                      <a:pt x="484" y="387"/>
                    </a:lnTo>
                    <a:lnTo>
                      <a:pt x="480" y="398"/>
                    </a:lnTo>
                    <a:lnTo>
                      <a:pt x="475" y="410"/>
                    </a:lnTo>
                    <a:lnTo>
                      <a:pt x="471" y="422"/>
                    </a:lnTo>
                    <a:lnTo>
                      <a:pt x="469" y="434"/>
                    </a:lnTo>
                    <a:lnTo>
                      <a:pt x="467" y="445"/>
                    </a:lnTo>
                    <a:lnTo>
                      <a:pt x="465" y="457"/>
                    </a:lnTo>
                    <a:lnTo>
                      <a:pt x="464" y="468"/>
                    </a:lnTo>
                    <a:lnTo>
                      <a:pt x="465" y="478"/>
                    </a:lnTo>
                    <a:lnTo>
                      <a:pt x="468" y="488"/>
                    </a:lnTo>
                    <a:lnTo>
                      <a:pt x="471" y="498"/>
                    </a:lnTo>
                    <a:lnTo>
                      <a:pt x="475" y="510"/>
                    </a:lnTo>
                    <a:lnTo>
                      <a:pt x="481" y="522"/>
                    </a:lnTo>
                    <a:lnTo>
                      <a:pt x="486" y="535"/>
                    </a:lnTo>
                    <a:lnTo>
                      <a:pt x="494" y="547"/>
                    </a:lnTo>
                    <a:lnTo>
                      <a:pt x="502" y="559"/>
                    </a:lnTo>
                    <a:lnTo>
                      <a:pt x="510" y="570"/>
                    </a:lnTo>
                    <a:lnTo>
                      <a:pt x="520" y="581"/>
                    </a:lnTo>
                    <a:lnTo>
                      <a:pt x="530" y="591"/>
                    </a:lnTo>
                    <a:lnTo>
                      <a:pt x="540" y="600"/>
                    </a:lnTo>
                    <a:lnTo>
                      <a:pt x="551" y="607"/>
                    </a:lnTo>
                    <a:lnTo>
                      <a:pt x="562" y="612"/>
                    </a:lnTo>
                    <a:lnTo>
                      <a:pt x="568" y="614"/>
                    </a:lnTo>
                    <a:lnTo>
                      <a:pt x="573" y="615"/>
                    </a:lnTo>
                    <a:lnTo>
                      <a:pt x="579" y="616"/>
                    </a:lnTo>
                    <a:lnTo>
                      <a:pt x="584" y="616"/>
                    </a:lnTo>
                    <a:lnTo>
                      <a:pt x="594" y="615"/>
                    </a:lnTo>
                    <a:lnTo>
                      <a:pt x="602" y="613"/>
                    </a:lnTo>
                    <a:lnTo>
                      <a:pt x="610" y="609"/>
                    </a:lnTo>
                    <a:lnTo>
                      <a:pt x="617" y="604"/>
                    </a:lnTo>
                    <a:lnTo>
                      <a:pt x="625" y="600"/>
                    </a:lnTo>
                    <a:lnTo>
                      <a:pt x="632" y="596"/>
                    </a:lnTo>
                    <a:lnTo>
                      <a:pt x="641" y="593"/>
                    </a:lnTo>
                    <a:lnTo>
                      <a:pt x="651" y="592"/>
                    </a:lnTo>
                    <a:lnTo>
                      <a:pt x="653" y="614"/>
                    </a:lnTo>
                    <a:lnTo>
                      <a:pt x="654" y="645"/>
                    </a:lnTo>
                    <a:lnTo>
                      <a:pt x="654" y="653"/>
                    </a:lnTo>
                    <a:lnTo>
                      <a:pt x="655" y="660"/>
                    </a:lnTo>
                    <a:lnTo>
                      <a:pt x="658" y="667"/>
                    </a:lnTo>
                    <a:lnTo>
                      <a:pt x="660" y="672"/>
                    </a:lnTo>
                    <a:lnTo>
                      <a:pt x="663" y="677"/>
                    </a:lnTo>
                    <a:lnTo>
                      <a:pt x="666" y="681"/>
                    </a:lnTo>
                    <a:lnTo>
                      <a:pt x="672" y="683"/>
                    </a:lnTo>
                    <a:lnTo>
                      <a:pt x="677" y="684"/>
                    </a:lnTo>
                    <a:lnTo>
                      <a:pt x="687" y="684"/>
                    </a:lnTo>
                    <a:lnTo>
                      <a:pt x="697" y="684"/>
                    </a:lnTo>
                    <a:lnTo>
                      <a:pt x="703" y="684"/>
                    </a:lnTo>
                    <a:lnTo>
                      <a:pt x="708" y="685"/>
                    </a:lnTo>
                    <a:lnTo>
                      <a:pt x="714" y="687"/>
                    </a:lnTo>
                    <a:lnTo>
                      <a:pt x="720" y="689"/>
                    </a:lnTo>
                    <a:lnTo>
                      <a:pt x="726" y="692"/>
                    </a:lnTo>
                    <a:lnTo>
                      <a:pt x="732" y="696"/>
                    </a:lnTo>
                    <a:lnTo>
                      <a:pt x="738" y="701"/>
                    </a:lnTo>
                    <a:lnTo>
                      <a:pt x="743" y="706"/>
                    </a:lnTo>
                    <a:lnTo>
                      <a:pt x="749" y="712"/>
                    </a:lnTo>
                    <a:lnTo>
                      <a:pt x="754" y="717"/>
                    </a:lnTo>
                    <a:lnTo>
                      <a:pt x="759" y="724"/>
                    </a:lnTo>
                    <a:lnTo>
                      <a:pt x="763" y="731"/>
                    </a:lnTo>
                    <a:lnTo>
                      <a:pt x="765" y="738"/>
                    </a:lnTo>
                    <a:lnTo>
                      <a:pt x="769" y="746"/>
                    </a:lnTo>
                    <a:lnTo>
                      <a:pt x="770" y="756"/>
                    </a:lnTo>
                    <a:lnTo>
                      <a:pt x="771" y="765"/>
                    </a:lnTo>
                    <a:lnTo>
                      <a:pt x="770" y="773"/>
                    </a:lnTo>
                    <a:lnTo>
                      <a:pt x="769" y="779"/>
                    </a:lnTo>
                    <a:lnTo>
                      <a:pt x="766" y="784"/>
                    </a:lnTo>
                    <a:lnTo>
                      <a:pt x="764" y="787"/>
                    </a:lnTo>
                    <a:lnTo>
                      <a:pt x="761" y="790"/>
                    </a:lnTo>
                    <a:lnTo>
                      <a:pt x="759" y="794"/>
                    </a:lnTo>
                    <a:lnTo>
                      <a:pt x="758" y="797"/>
                    </a:lnTo>
                    <a:lnTo>
                      <a:pt x="758" y="801"/>
                    </a:lnTo>
                    <a:lnTo>
                      <a:pt x="758" y="809"/>
                    </a:lnTo>
                    <a:lnTo>
                      <a:pt x="759" y="818"/>
                    </a:lnTo>
                    <a:lnTo>
                      <a:pt x="760" y="825"/>
                    </a:lnTo>
                    <a:lnTo>
                      <a:pt x="761" y="831"/>
                    </a:lnTo>
                    <a:lnTo>
                      <a:pt x="765" y="844"/>
                    </a:lnTo>
                    <a:lnTo>
                      <a:pt x="771" y="856"/>
                    </a:lnTo>
                    <a:lnTo>
                      <a:pt x="774" y="866"/>
                    </a:lnTo>
                    <a:lnTo>
                      <a:pt x="777" y="875"/>
                    </a:lnTo>
                    <a:lnTo>
                      <a:pt x="772" y="882"/>
                    </a:lnTo>
                    <a:lnTo>
                      <a:pt x="769" y="889"/>
                    </a:lnTo>
                    <a:lnTo>
                      <a:pt x="765" y="897"/>
                    </a:lnTo>
                    <a:lnTo>
                      <a:pt x="762" y="904"/>
                    </a:lnTo>
                    <a:lnTo>
                      <a:pt x="760" y="912"/>
                    </a:lnTo>
                    <a:lnTo>
                      <a:pt x="759" y="922"/>
                    </a:lnTo>
                    <a:lnTo>
                      <a:pt x="758" y="932"/>
                    </a:lnTo>
                    <a:lnTo>
                      <a:pt x="758" y="943"/>
                    </a:lnTo>
                    <a:lnTo>
                      <a:pt x="758" y="956"/>
                    </a:lnTo>
                    <a:lnTo>
                      <a:pt x="760" y="967"/>
                    </a:lnTo>
                    <a:lnTo>
                      <a:pt x="762" y="978"/>
                    </a:lnTo>
                    <a:lnTo>
                      <a:pt x="765" y="986"/>
                    </a:lnTo>
                    <a:lnTo>
                      <a:pt x="770" y="994"/>
                    </a:lnTo>
                    <a:lnTo>
                      <a:pt x="774" y="1000"/>
                    </a:lnTo>
                    <a:lnTo>
                      <a:pt x="778" y="1006"/>
                    </a:lnTo>
                    <a:lnTo>
                      <a:pt x="784" y="1011"/>
                    </a:lnTo>
                    <a:lnTo>
                      <a:pt x="775" y="1026"/>
                    </a:lnTo>
                    <a:lnTo>
                      <a:pt x="769" y="1041"/>
                    </a:lnTo>
                    <a:lnTo>
                      <a:pt x="763" y="1054"/>
                    </a:lnTo>
                    <a:lnTo>
                      <a:pt x="759" y="1067"/>
                    </a:lnTo>
                    <a:lnTo>
                      <a:pt x="753" y="1080"/>
                    </a:lnTo>
                    <a:lnTo>
                      <a:pt x="747" y="1095"/>
                    </a:lnTo>
                    <a:lnTo>
                      <a:pt x="737" y="1110"/>
                    </a:lnTo>
                    <a:lnTo>
                      <a:pt x="723" y="1128"/>
                    </a:lnTo>
                    <a:lnTo>
                      <a:pt x="691" y="1122"/>
                    </a:lnTo>
                    <a:lnTo>
                      <a:pt x="681" y="1121"/>
                    </a:lnTo>
                    <a:lnTo>
                      <a:pt x="673" y="1119"/>
                    </a:lnTo>
                    <a:lnTo>
                      <a:pt x="665" y="1116"/>
                    </a:lnTo>
                    <a:lnTo>
                      <a:pt x="659" y="1113"/>
                    </a:lnTo>
                    <a:lnTo>
                      <a:pt x="653" y="1108"/>
                    </a:lnTo>
                    <a:lnTo>
                      <a:pt x="648" y="1103"/>
                    </a:lnTo>
                    <a:lnTo>
                      <a:pt x="642" y="1098"/>
                    </a:lnTo>
                    <a:lnTo>
                      <a:pt x="638" y="1092"/>
                    </a:lnTo>
                    <a:lnTo>
                      <a:pt x="627" y="1079"/>
                    </a:lnTo>
                    <a:lnTo>
                      <a:pt x="616" y="1067"/>
                    </a:lnTo>
                    <a:lnTo>
                      <a:pt x="609" y="1061"/>
                    </a:lnTo>
                    <a:lnTo>
                      <a:pt x="602" y="1056"/>
                    </a:lnTo>
                    <a:lnTo>
                      <a:pt x="594" y="1052"/>
                    </a:lnTo>
                    <a:lnTo>
                      <a:pt x="584" y="1048"/>
                    </a:lnTo>
                    <a:lnTo>
                      <a:pt x="554" y="1038"/>
                    </a:lnTo>
                    <a:lnTo>
                      <a:pt x="507" y="1018"/>
                    </a:lnTo>
                    <a:lnTo>
                      <a:pt x="483" y="1008"/>
                    </a:lnTo>
                    <a:lnTo>
                      <a:pt x="463" y="998"/>
                    </a:lnTo>
                    <a:lnTo>
                      <a:pt x="456" y="993"/>
                    </a:lnTo>
                    <a:lnTo>
                      <a:pt x="450" y="988"/>
                    </a:lnTo>
                    <a:lnTo>
                      <a:pt x="446" y="984"/>
                    </a:lnTo>
                    <a:lnTo>
                      <a:pt x="445" y="980"/>
                    </a:lnTo>
                    <a:lnTo>
                      <a:pt x="436" y="975"/>
                    </a:lnTo>
                    <a:lnTo>
                      <a:pt x="425" y="967"/>
                    </a:lnTo>
                    <a:lnTo>
                      <a:pt x="413" y="956"/>
                    </a:lnTo>
                    <a:lnTo>
                      <a:pt x="398" y="944"/>
                    </a:lnTo>
                    <a:lnTo>
                      <a:pt x="383" y="931"/>
                    </a:lnTo>
                    <a:lnTo>
                      <a:pt x="367" y="916"/>
                    </a:lnTo>
                    <a:lnTo>
                      <a:pt x="349" y="904"/>
                    </a:lnTo>
                    <a:lnTo>
                      <a:pt x="331" y="894"/>
                    </a:lnTo>
                    <a:lnTo>
                      <a:pt x="326" y="890"/>
                    </a:lnTo>
                    <a:lnTo>
                      <a:pt x="323" y="886"/>
                    </a:lnTo>
                    <a:lnTo>
                      <a:pt x="319" y="882"/>
                    </a:lnTo>
                    <a:lnTo>
                      <a:pt x="318" y="877"/>
                    </a:lnTo>
                    <a:lnTo>
                      <a:pt x="318" y="872"/>
                    </a:lnTo>
                    <a:lnTo>
                      <a:pt x="318" y="867"/>
                    </a:lnTo>
                    <a:lnTo>
                      <a:pt x="319" y="860"/>
                    </a:lnTo>
                    <a:lnTo>
                      <a:pt x="321" y="854"/>
                    </a:lnTo>
                    <a:lnTo>
                      <a:pt x="324" y="842"/>
                    </a:lnTo>
                    <a:lnTo>
                      <a:pt x="327" y="829"/>
                    </a:lnTo>
                    <a:lnTo>
                      <a:pt x="328" y="822"/>
                    </a:lnTo>
                    <a:lnTo>
                      <a:pt x="328" y="815"/>
                    </a:lnTo>
                    <a:lnTo>
                      <a:pt x="327" y="808"/>
                    </a:lnTo>
                    <a:lnTo>
                      <a:pt x="325" y="801"/>
                    </a:lnTo>
                    <a:lnTo>
                      <a:pt x="318" y="795"/>
                    </a:lnTo>
                    <a:lnTo>
                      <a:pt x="310" y="789"/>
                    </a:lnTo>
                    <a:lnTo>
                      <a:pt x="300" y="784"/>
                    </a:lnTo>
                    <a:lnTo>
                      <a:pt x="290" y="778"/>
                    </a:lnTo>
                    <a:lnTo>
                      <a:pt x="279" y="772"/>
                    </a:lnTo>
                    <a:lnTo>
                      <a:pt x="270" y="765"/>
                    </a:lnTo>
                    <a:lnTo>
                      <a:pt x="266" y="761"/>
                    </a:lnTo>
                    <a:lnTo>
                      <a:pt x="263" y="757"/>
                    </a:lnTo>
                    <a:lnTo>
                      <a:pt x="260" y="751"/>
                    </a:lnTo>
                    <a:lnTo>
                      <a:pt x="259" y="745"/>
                    </a:lnTo>
                    <a:lnTo>
                      <a:pt x="255" y="735"/>
                    </a:lnTo>
                    <a:lnTo>
                      <a:pt x="251" y="725"/>
                    </a:lnTo>
                    <a:lnTo>
                      <a:pt x="249" y="716"/>
                    </a:lnTo>
                    <a:lnTo>
                      <a:pt x="248" y="707"/>
                    </a:lnTo>
                    <a:lnTo>
                      <a:pt x="246" y="697"/>
                    </a:lnTo>
                    <a:lnTo>
                      <a:pt x="243" y="689"/>
                    </a:lnTo>
                    <a:lnTo>
                      <a:pt x="238" y="681"/>
                    </a:lnTo>
                    <a:lnTo>
                      <a:pt x="232" y="672"/>
                    </a:lnTo>
                    <a:lnTo>
                      <a:pt x="211" y="635"/>
                    </a:lnTo>
                    <a:lnTo>
                      <a:pt x="192" y="603"/>
                    </a:lnTo>
                    <a:lnTo>
                      <a:pt x="174" y="570"/>
                    </a:lnTo>
                    <a:lnTo>
                      <a:pt x="153" y="530"/>
                    </a:lnTo>
                    <a:lnTo>
                      <a:pt x="146" y="521"/>
                    </a:lnTo>
                    <a:lnTo>
                      <a:pt x="138" y="513"/>
                    </a:lnTo>
                    <a:lnTo>
                      <a:pt x="134" y="508"/>
                    </a:lnTo>
                    <a:lnTo>
                      <a:pt x="129" y="502"/>
                    </a:lnTo>
                    <a:lnTo>
                      <a:pt x="124" y="496"/>
                    </a:lnTo>
                    <a:lnTo>
                      <a:pt x="120" y="487"/>
                    </a:lnTo>
                    <a:lnTo>
                      <a:pt x="116" y="478"/>
                    </a:lnTo>
                    <a:lnTo>
                      <a:pt x="113" y="467"/>
                    </a:lnTo>
                    <a:lnTo>
                      <a:pt x="109" y="458"/>
                    </a:lnTo>
                    <a:lnTo>
                      <a:pt x="103" y="448"/>
                    </a:lnTo>
                    <a:lnTo>
                      <a:pt x="98" y="440"/>
                    </a:lnTo>
                    <a:lnTo>
                      <a:pt x="90" y="432"/>
                    </a:lnTo>
                    <a:lnTo>
                      <a:pt x="82" y="425"/>
                    </a:lnTo>
                    <a:lnTo>
                      <a:pt x="72" y="419"/>
                    </a:lnTo>
                    <a:lnTo>
                      <a:pt x="52" y="411"/>
                    </a:lnTo>
                    <a:lnTo>
                      <a:pt x="31" y="403"/>
                    </a:lnTo>
                    <a:lnTo>
                      <a:pt x="26" y="400"/>
                    </a:lnTo>
                    <a:lnTo>
                      <a:pt x="22" y="397"/>
                    </a:lnTo>
                    <a:lnTo>
                      <a:pt x="17" y="393"/>
                    </a:lnTo>
                    <a:lnTo>
                      <a:pt x="13" y="389"/>
                    </a:lnTo>
                    <a:lnTo>
                      <a:pt x="9" y="384"/>
                    </a:lnTo>
                    <a:lnTo>
                      <a:pt x="5" y="378"/>
                    </a:lnTo>
                    <a:lnTo>
                      <a:pt x="2" y="372"/>
                    </a:lnTo>
                    <a:lnTo>
                      <a:pt x="0" y="363"/>
                    </a:lnTo>
                    <a:lnTo>
                      <a:pt x="20" y="345"/>
                    </a:lnTo>
                    <a:lnTo>
                      <a:pt x="15" y="331"/>
                    </a:lnTo>
                    <a:lnTo>
                      <a:pt x="14" y="317"/>
                    </a:lnTo>
                    <a:lnTo>
                      <a:pt x="13" y="301"/>
                    </a:lnTo>
                    <a:lnTo>
                      <a:pt x="13" y="284"/>
                    </a:lnTo>
                    <a:lnTo>
                      <a:pt x="13" y="276"/>
                    </a:lnTo>
                    <a:lnTo>
                      <a:pt x="14" y="270"/>
                    </a:lnTo>
                    <a:lnTo>
                      <a:pt x="16" y="264"/>
                    </a:lnTo>
                    <a:lnTo>
                      <a:pt x="19" y="259"/>
                    </a:lnTo>
                    <a:lnTo>
                      <a:pt x="21" y="254"/>
                    </a:lnTo>
                    <a:lnTo>
                      <a:pt x="24" y="249"/>
                    </a:lnTo>
                    <a:lnTo>
                      <a:pt x="28" y="246"/>
                    </a:lnTo>
                    <a:lnTo>
                      <a:pt x="32" y="243"/>
                    </a:lnTo>
                    <a:lnTo>
                      <a:pt x="41" y="237"/>
                    </a:lnTo>
                    <a:lnTo>
                      <a:pt x="49" y="231"/>
                    </a:lnTo>
                    <a:lnTo>
                      <a:pt x="58" y="224"/>
                    </a:lnTo>
                    <a:lnTo>
                      <a:pt x="66" y="216"/>
                    </a:lnTo>
                    <a:lnTo>
                      <a:pt x="72" y="222"/>
                    </a:lnTo>
                    <a:lnTo>
                      <a:pt x="79" y="228"/>
                    </a:lnTo>
                    <a:lnTo>
                      <a:pt x="83" y="235"/>
                    </a:lnTo>
                    <a:lnTo>
                      <a:pt x="86" y="240"/>
                    </a:lnTo>
                    <a:lnTo>
                      <a:pt x="86" y="252"/>
                    </a:lnTo>
                    <a:lnTo>
                      <a:pt x="86" y="265"/>
                    </a:lnTo>
                    <a:lnTo>
                      <a:pt x="95" y="272"/>
                    </a:lnTo>
                    <a:lnTo>
                      <a:pt x="116" y="287"/>
                    </a:lnTo>
                    <a:lnTo>
                      <a:pt x="128" y="294"/>
                    </a:lnTo>
                    <a:lnTo>
                      <a:pt x="139" y="301"/>
                    </a:lnTo>
                    <a:lnTo>
                      <a:pt x="148" y="306"/>
                    </a:lnTo>
                    <a:lnTo>
                      <a:pt x="153" y="308"/>
                    </a:lnTo>
                    <a:lnTo>
                      <a:pt x="158" y="307"/>
                    </a:lnTo>
                    <a:lnTo>
                      <a:pt x="164" y="303"/>
                    </a:lnTo>
                    <a:lnTo>
                      <a:pt x="169" y="298"/>
                    </a:lnTo>
                    <a:lnTo>
                      <a:pt x="174" y="291"/>
                    </a:lnTo>
                    <a:lnTo>
                      <a:pt x="179" y="284"/>
                    </a:lnTo>
                    <a:lnTo>
                      <a:pt x="182" y="277"/>
                    </a:lnTo>
                    <a:lnTo>
                      <a:pt x="184" y="271"/>
                    </a:lnTo>
                    <a:lnTo>
                      <a:pt x="185" y="265"/>
                    </a:lnTo>
                    <a:lnTo>
                      <a:pt x="187" y="259"/>
                    </a:lnTo>
                    <a:lnTo>
                      <a:pt x="188" y="251"/>
                    </a:lnTo>
                    <a:lnTo>
                      <a:pt x="190" y="244"/>
                    </a:lnTo>
                    <a:lnTo>
                      <a:pt x="193" y="238"/>
                    </a:lnTo>
                    <a:lnTo>
                      <a:pt x="201" y="225"/>
                    </a:lnTo>
                    <a:lnTo>
                      <a:pt x="212" y="213"/>
                    </a:lnTo>
                    <a:lnTo>
                      <a:pt x="222" y="202"/>
                    </a:lnTo>
                    <a:lnTo>
                      <a:pt x="234" y="192"/>
                    </a:lnTo>
                    <a:lnTo>
                      <a:pt x="244" y="184"/>
                    </a:lnTo>
                    <a:lnTo>
                      <a:pt x="252" y="179"/>
                    </a:lnTo>
                    <a:lnTo>
                      <a:pt x="270" y="170"/>
                    </a:lnTo>
                    <a:lnTo>
                      <a:pt x="289" y="160"/>
                    </a:lnTo>
                    <a:lnTo>
                      <a:pt x="306" y="150"/>
                    </a:lnTo>
                    <a:lnTo>
                      <a:pt x="323" y="138"/>
                    </a:lnTo>
                    <a:lnTo>
                      <a:pt x="330" y="133"/>
                    </a:lnTo>
                    <a:lnTo>
                      <a:pt x="337" y="126"/>
                    </a:lnTo>
                    <a:lnTo>
                      <a:pt x="344" y="120"/>
                    </a:lnTo>
                    <a:lnTo>
                      <a:pt x="348" y="113"/>
                    </a:lnTo>
                    <a:lnTo>
                      <a:pt x="352" y="106"/>
                    </a:lnTo>
                    <a:lnTo>
                      <a:pt x="356" y="98"/>
                    </a:lnTo>
                    <a:lnTo>
                      <a:pt x="358" y="90"/>
                    </a:lnTo>
                    <a:lnTo>
                      <a:pt x="358" y="80"/>
                    </a:lnTo>
                    <a:lnTo>
                      <a:pt x="357" y="70"/>
                    </a:lnTo>
                    <a:lnTo>
                      <a:pt x="355" y="58"/>
                    </a:lnTo>
                    <a:lnTo>
                      <a:pt x="350" y="46"/>
                    </a:lnTo>
                    <a:lnTo>
                      <a:pt x="345" y="34"/>
                    </a:lnTo>
                    <a:lnTo>
                      <a:pt x="336" y="12"/>
                    </a:lnTo>
                    <a:lnTo>
                      <a:pt x="331" y="0"/>
                    </a:lnTo>
                    <a:lnTo>
                      <a:pt x="347" y="5"/>
                    </a:lnTo>
                    <a:lnTo>
                      <a:pt x="360" y="11"/>
                    </a:lnTo>
                    <a:lnTo>
                      <a:pt x="374" y="18"/>
                    </a:lnTo>
                    <a:lnTo>
                      <a:pt x="386" y="26"/>
                    </a:lnTo>
                    <a:lnTo>
                      <a:pt x="398" y="35"/>
                    </a:lnTo>
                    <a:lnTo>
                      <a:pt x="411" y="44"/>
                    </a:lnTo>
                    <a:lnTo>
                      <a:pt x="422" y="53"/>
                    </a:lnTo>
                    <a:lnTo>
                      <a:pt x="431" y="62"/>
                    </a:lnTo>
                    <a:lnTo>
                      <a:pt x="438" y="68"/>
                    </a:lnTo>
                    <a:lnTo>
                      <a:pt x="445" y="75"/>
                    </a:lnTo>
                    <a:lnTo>
                      <a:pt x="451" y="82"/>
                    </a:lnTo>
                    <a:lnTo>
                      <a:pt x="457" y="91"/>
                    </a:lnTo>
                    <a:lnTo>
                      <a:pt x="467" y="107"/>
                    </a:lnTo>
                    <a:lnTo>
                      <a:pt x="476" y="123"/>
                    </a:lnTo>
                    <a:lnTo>
                      <a:pt x="481" y="130"/>
                    </a:lnTo>
                    <a:lnTo>
                      <a:pt x="486" y="137"/>
                    </a:lnTo>
                    <a:lnTo>
                      <a:pt x="493" y="144"/>
                    </a:lnTo>
                    <a:lnTo>
                      <a:pt x="498" y="150"/>
                    </a:lnTo>
                    <a:lnTo>
                      <a:pt x="506" y="154"/>
                    </a:lnTo>
                    <a:lnTo>
                      <a:pt x="513" y="158"/>
                    </a:lnTo>
                    <a:lnTo>
                      <a:pt x="521" y="160"/>
                    </a:lnTo>
                    <a:lnTo>
                      <a:pt x="531" y="161"/>
                    </a:lnTo>
                    <a:lnTo>
                      <a:pt x="541" y="160"/>
                    </a:lnTo>
                    <a:lnTo>
                      <a:pt x="551" y="159"/>
                    </a:lnTo>
                    <a:lnTo>
                      <a:pt x="561" y="157"/>
                    </a:lnTo>
                    <a:lnTo>
                      <a:pt x="571" y="155"/>
                    </a:lnTo>
                    <a:lnTo>
                      <a:pt x="581" y="152"/>
                    </a:lnTo>
                    <a:lnTo>
                      <a:pt x="591" y="150"/>
                    </a:lnTo>
                    <a:lnTo>
                      <a:pt x="601" y="149"/>
                    </a:lnTo>
                    <a:lnTo>
                      <a:pt x="610" y="148"/>
                    </a:lnTo>
                    <a:lnTo>
                      <a:pt x="617" y="149"/>
                    </a:lnTo>
                    <a:lnTo>
                      <a:pt x="624" y="151"/>
                    </a:lnTo>
                    <a:lnTo>
                      <a:pt x="628" y="151"/>
                    </a:lnTo>
                    <a:lnTo>
                      <a:pt x="631" y="151"/>
                    </a:lnTo>
                    <a:lnTo>
                      <a:pt x="635" y="150"/>
                    </a:lnTo>
                    <a:lnTo>
                      <a:pt x="638" y="148"/>
                    </a:lnTo>
                    <a:lnTo>
                      <a:pt x="640" y="156"/>
                    </a:lnTo>
                    <a:lnTo>
                      <a:pt x="648" y="167"/>
                    </a:lnTo>
                    <a:lnTo>
                      <a:pt x="654" y="177"/>
                    </a:lnTo>
                    <a:lnTo>
                      <a:pt x="658" y="185"/>
                    </a:lnTo>
                    <a:lnTo>
                      <a:pt x="657" y="188"/>
                    </a:lnTo>
                    <a:lnTo>
                      <a:pt x="655" y="191"/>
                    </a:lnTo>
                    <a:lnTo>
                      <a:pt x="654" y="193"/>
                    </a:lnTo>
                    <a:lnTo>
                      <a:pt x="652" y="195"/>
                    </a:lnTo>
                    <a:lnTo>
                      <a:pt x="647" y="200"/>
                    </a:lnTo>
                    <a:lnTo>
                      <a:pt x="641" y="203"/>
                    </a:lnTo>
                    <a:lnTo>
                      <a:pt x="635" y="206"/>
                    </a:lnTo>
                    <a:lnTo>
                      <a:pt x="629" y="209"/>
                    </a:lnTo>
                    <a:lnTo>
                      <a:pt x="627" y="210"/>
                    </a:lnTo>
                    <a:lnTo>
                      <a:pt x="626" y="212"/>
                    </a:lnTo>
                    <a:lnTo>
                      <a:pt x="625" y="214"/>
                    </a:lnTo>
                    <a:lnTo>
                      <a:pt x="624" y="216"/>
                    </a:lnTo>
                    <a:lnTo>
                      <a:pt x="625" y="226"/>
                    </a:lnTo>
                    <a:lnTo>
                      <a:pt x="626" y="234"/>
                    </a:lnTo>
                    <a:lnTo>
                      <a:pt x="627" y="240"/>
                    </a:lnTo>
                    <a:lnTo>
                      <a:pt x="629" y="244"/>
                    </a:lnTo>
                    <a:lnTo>
                      <a:pt x="636" y="251"/>
                    </a:lnTo>
                    <a:lnTo>
                      <a:pt x="644" y="259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67" name="Freeform 8">
                <a:extLst>
                  <a:ext uri="{FF2B5EF4-FFF2-40B4-BE49-F238E27FC236}">
                    <a16:creationId xmlns:a16="http://schemas.microsoft.com/office/drawing/2014/main" id="{4135BF45-ED3A-4CFD-A8C6-9173DAA093B4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1913926" y="5139969"/>
                <a:ext cx="314910" cy="1271015"/>
              </a:xfrm>
              <a:custGeom>
                <a:avLst/>
                <a:gdLst>
                  <a:gd name="T0" fmla="*/ 80198714 w 598"/>
                  <a:gd name="T1" fmla="*/ 554435196 h 2158"/>
                  <a:gd name="T2" fmla="*/ 65616971 w 598"/>
                  <a:gd name="T3" fmla="*/ 536328921 h 2158"/>
                  <a:gd name="T4" fmla="*/ 65041410 w 598"/>
                  <a:gd name="T5" fmla="*/ 519319949 h 2158"/>
                  <a:gd name="T6" fmla="*/ 66192969 w 598"/>
                  <a:gd name="T7" fmla="*/ 505603408 h 2158"/>
                  <a:gd name="T8" fmla="*/ 69454479 w 598"/>
                  <a:gd name="T9" fmla="*/ 491337953 h 2158"/>
                  <a:gd name="T10" fmla="*/ 67919651 w 598"/>
                  <a:gd name="T11" fmla="*/ 477346431 h 2158"/>
                  <a:gd name="T12" fmla="*/ 63698435 w 598"/>
                  <a:gd name="T13" fmla="*/ 461709218 h 2158"/>
                  <a:gd name="T14" fmla="*/ 58134683 w 598"/>
                  <a:gd name="T15" fmla="*/ 433727222 h 2158"/>
                  <a:gd name="T16" fmla="*/ 43361086 w 598"/>
                  <a:gd name="T17" fmla="*/ 400532123 h 2158"/>
                  <a:gd name="T18" fmla="*/ 39523578 w 598"/>
                  <a:gd name="T19" fmla="*/ 378859485 h 2158"/>
                  <a:gd name="T20" fmla="*/ 41634404 w 598"/>
                  <a:gd name="T21" fmla="*/ 356364001 h 2158"/>
                  <a:gd name="T22" fmla="*/ 39907723 w 598"/>
                  <a:gd name="T23" fmla="*/ 338806116 h 2158"/>
                  <a:gd name="T24" fmla="*/ 35494654 w 598"/>
                  <a:gd name="T25" fmla="*/ 319602539 h 2158"/>
                  <a:gd name="T26" fmla="*/ 40483283 w 598"/>
                  <a:gd name="T27" fmla="*/ 308080602 h 2158"/>
                  <a:gd name="T28" fmla="*/ 37413189 w 598"/>
                  <a:gd name="T29" fmla="*/ 296832598 h 2158"/>
                  <a:gd name="T30" fmla="*/ 40483283 w 598"/>
                  <a:gd name="T31" fmla="*/ 281195385 h 2158"/>
                  <a:gd name="T32" fmla="*/ 40291430 w 598"/>
                  <a:gd name="T33" fmla="*/ 272416966 h 2158"/>
                  <a:gd name="T34" fmla="*/ 35878361 w 598"/>
                  <a:gd name="T35" fmla="*/ 254310691 h 2158"/>
                  <a:gd name="T36" fmla="*/ 26093393 w 598"/>
                  <a:gd name="T37" fmla="*/ 233735355 h 2158"/>
                  <a:gd name="T38" fmla="*/ 25709686 w 598"/>
                  <a:gd name="T39" fmla="*/ 188195474 h 2158"/>
                  <a:gd name="T40" fmla="*/ 35110947 w 598"/>
                  <a:gd name="T41" fmla="*/ 160212954 h 2158"/>
                  <a:gd name="T42" fmla="*/ 36262068 w 598"/>
                  <a:gd name="T43" fmla="*/ 143203982 h 2158"/>
                  <a:gd name="T44" fmla="*/ 30697878 w 598"/>
                  <a:gd name="T45" fmla="*/ 125920553 h 2158"/>
                  <a:gd name="T46" fmla="*/ 34919093 w 598"/>
                  <a:gd name="T47" fmla="*/ 111380642 h 2158"/>
                  <a:gd name="T48" fmla="*/ 43936647 w 598"/>
                  <a:gd name="T49" fmla="*/ 94920583 h 2158"/>
                  <a:gd name="T50" fmla="*/ 38372456 w 598"/>
                  <a:gd name="T51" fmla="*/ 84495948 h 2158"/>
                  <a:gd name="T52" fmla="*/ 28395635 w 598"/>
                  <a:gd name="T53" fmla="*/ 60902638 h 2158"/>
                  <a:gd name="T54" fmla="*/ 24750418 w 598"/>
                  <a:gd name="T55" fmla="*/ 34292401 h 2158"/>
                  <a:gd name="T56" fmla="*/ 17459547 w 598"/>
                  <a:gd name="T57" fmla="*/ 10150702 h 2158"/>
                  <a:gd name="T58" fmla="*/ 0 w 598"/>
                  <a:gd name="T59" fmla="*/ 12070850 h 2158"/>
                  <a:gd name="T60" fmla="*/ 5947897 w 598"/>
                  <a:gd name="T61" fmla="*/ 54867213 h 2158"/>
                  <a:gd name="T62" fmla="*/ 8058286 w 598"/>
                  <a:gd name="T63" fmla="*/ 83398646 h 2158"/>
                  <a:gd name="T64" fmla="*/ 5180483 w 598"/>
                  <a:gd name="T65" fmla="*/ 102602223 h 2158"/>
                  <a:gd name="T66" fmla="*/ 9976821 w 598"/>
                  <a:gd name="T67" fmla="*/ 143752895 h 2158"/>
                  <a:gd name="T68" fmla="*/ 8825700 w 598"/>
                  <a:gd name="T69" fmla="*/ 178044772 h 2158"/>
                  <a:gd name="T70" fmla="*/ 6907165 w 598"/>
                  <a:gd name="T71" fmla="*/ 196973893 h 2158"/>
                  <a:gd name="T72" fmla="*/ 9976821 w 598"/>
                  <a:gd name="T73" fmla="*/ 210416501 h 2158"/>
                  <a:gd name="T74" fmla="*/ 12279063 w 598"/>
                  <a:gd name="T75" fmla="*/ 238947410 h 2158"/>
                  <a:gd name="T76" fmla="*/ 15541011 w 598"/>
                  <a:gd name="T77" fmla="*/ 250469871 h 2158"/>
                  <a:gd name="T78" fmla="*/ 14006183 w 598"/>
                  <a:gd name="T79" fmla="*/ 286682420 h 2158"/>
                  <a:gd name="T80" fmla="*/ 12087210 w 598"/>
                  <a:gd name="T81" fmla="*/ 316036175 h 2158"/>
                  <a:gd name="T82" fmla="*/ 7674579 w 598"/>
                  <a:gd name="T83" fmla="*/ 325912420 h 2158"/>
                  <a:gd name="T84" fmla="*/ 11511649 w 598"/>
                  <a:gd name="T85" fmla="*/ 345115997 h 2158"/>
                  <a:gd name="T86" fmla="*/ 20337349 w 598"/>
                  <a:gd name="T87" fmla="*/ 368434851 h 2158"/>
                  <a:gd name="T88" fmla="*/ 17843254 w 598"/>
                  <a:gd name="T89" fmla="*/ 382974762 h 2158"/>
                  <a:gd name="T90" fmla="*/ 20337349 w 598"/>
                  <a:gd name="T91" fmla="*/ 397514673 h 2158"/>
                  <a:gd name="T92" fmla="*/ 31465730 w 598"/>
                  <a:gd name="T93" fmla="*/ 402452795 h 2158"/>
                  <a:gd name="T94" fmla="*/ 40099576 w 598"/>
                  <a:gd name="T95" fmla="*/ 444700246 h 2158"/>
                  <a:gd name="T96" fmla="*/ 43552940 w 598"/>
                  <a:gd name="T97" fmla="*/ 468841945 h 2158"/>
                  <a:gd name="T98" fmla="*/ 28971196 w 598"/>
                  <a:gd name="T99" fmla="*/ 479815493 h 2158"/>
                  <a:gd name="T100" fmla="*/ 39715869 w 598"/>
                  <a:gd name="T101" fmla="*/ 487222676 h 2158"/>
                  <a:gd name="T102" fmla="*/ 47965571 w 598"/>
                  <a:gd name="T103" fmla="*/ 499293526 h 2158"/>
                  <a:gd name="T104" fmla="*/ 52762347 w 598"/>
                  <a:gd name="T105" fmla="*/ 513284524 h 2158"/>
                  <a:gd name="T106" fmla="*/ 59093951 w 598"/>
                  <a:gd name="T107" fmla="*/ 537975137 h 2158"/>
                  <a:gd name="T108" fmla="*/ 68878918 w 598"/>
                  <a:gd name="T109" fmla="*/ 552240591 h 2158"/>
                  <a:gd name="T110" fmla="*/ 75402376 w 598"/>
                  <a:gd name="T111" fmla="*/ 561842380 h 2158"/>
                  <a:gd name="T112" fmla="*/ 81349835 w 598"/>
                  <a:gd name="T113" fmla="*/ 568975107 h 2158"/>
                  <a:gd name="T114" fmla="*/ 89216268 w 598"/>
                  <a:gd name="T115" fmla="*/ 578851352 h 2158"/>
                  <a:gd name="T116" fmla="*/ 99576796 w 598"/>
                  <a:gd name="T117" fmla="*/ 587081382 h 2158"/>
                  <a:gd name="T118" fmla="*/ 103222451 w 598"/>
                  <a:gd name="T119" fmla="*/ 590099356 h 2158"/>
                  <a:gd name="T120" fmla="*/ 112431858 w 598"/>
                  <a:gd name="T121" fmla="*/ 575559445 h 2158"/>
                  <a:gd name="T122" fmla="*/ 113391126 w 598"/>
                  <a:gd name="T123" fmla="*/ 568152261 h 215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98" h="2158">
                    <a:moveTo>
                      <a:pt x="491" y="2046"/>
                    </a:moveTo>
                    <a:lnTo>
                      <a:pt x="480" y="2045"/>
                    </a:lnTo>
                    <a:lnTo>
                      <a:pt x="469" y="2043"/>
                    </a:lnTo>
                    <a:lnTo>
                      <a:pt x="456" y="2039"/>
                    </a:lnTo>
                    <a:lnTo>
                      <a:pt x="444" y="2034"/>
                    </a:lnTo>
                    <a:lnTo>
                      <a:pt x="431" y="2028"/>
                    </a:lnTo>
                    <a:lnTo>
                      <a:pt x="418" y="2021"/>
                    </a:lnTo>
                    <a:lnTo>
                      <a:pt x="405" y="2013"/>
                    </a:lnTo>
                    <a:lnTo>
                      <a:pt x="392" y="2003"/>
                    </a:lnTo>
                    <a:lnTo>
                      <a:pt x="379" y="1994"/>
                    </a:lnTo>
                    <a:lnTo>
                      <a:pt x="368" y="1985"/>
                    </a:lnTo>
                    <a:lnTo>
                      <a:pt x="357" y="1976"/>
                    </a:lnTo>
                    <a:lnTo>
                      <a:pt x="349" y="1966"/>
                    </a:lnTo>
                    <a:lnTo>
                      <a:pt x="342" y="1955"/>
                    </a:lnTo>
                    <a:lnTo>
                      <a:pt x="337" y="1946"/>
                    </a:lnTo>
                    <a:lnTo>
                      <a:pt x="333" y="1937"/>
                    </a:lnTo>
                    <a:lnTo>
                      <a:pt x="332" y="1929"/>
                    </a:lnTo>
                    <a:lnTo>
                      <a:pt x="332" y="1919"/>
                    </a:lnTo>
                    <a:lnTo>
                      <a:pt x="333" y="1909"/>
                    </a:lnTo>
                    <a:lnTo>
                      <a:pt x="336" y="1900"/>
                    </a:lnTo>
                    <a:lnTo>
                      <a:pt x="339" y="1893"/>
                    </a:lnTo>
                    <a:lnTo>
                      <a:pt x="341" y="1887"/>
                    </a:lnTo>
                    <a:lnTo>
                      <a:pt x="343" y="1880"/>
                    </a:lnTo>
                    <a:lnTo>
                      <a:pt x="344" y="1874"/>
                    </a:lnTo>
                    <a:lnTo>
                      <a:pt x="345" y="1868"/>
                    </a:lnTo>
                    <a:lnTo>
                      <a:pt x="345" y="1863"/>
                    </a:lnTo>
                    <a:lnTo>
                      <a:pt x="345" y="1855"/>
                    </a:lnTo>
                    <a:lnTo>
                      <a:pt x="345" y="1843"/>
                    </a:lnTo>
                    <a:lnTo>
                      <a:pt x="345" y="1824"/>
                    </a:lnTo>
                    <a:lnTo>
                      <a:pt x="345" y="1818"/>
                    </a:lnTo>
                    <a:lnTo>
                      <a:pt x="348" y="1812"/>
                    </a:lnTo>
                    <a:lnTo>
                      <a:pt x="351" y="1807"/>
                    </a:lnTo>
                    <a:lnTo>
                      <a:pt x="355" y="1802"/>
                    </a:lnTo>
                    <a:lnTo>
                      <a:pt x="359" y="1797"/>
                    </a:lnTo>
                    <a:lnTo>
                      <a:pt x="362" y="1791"/>
                    </a:lnTo>
                    <a:lnTo>
                      <a:pt x="364" y="1783"/>
                    </a:lnTo>
                    <a:lnTo>
                      <a:pt x="365" y="1775"/>
                    </a:lnTo>
                    <a:lnTo>
                      <a:pt x="364" y="1768"/>
                    </a:lnTo>
                    <a:lnTo>
                      <a:pt x="363" y="1762"/>
                    </a:lnTo>
                    <a:lnTo>
                      <a:pt x="362" y="1756"/>
                    </a:lnTo>
                    <a:lnTo>
                      <a:pt x="360" y="1750"/>
                    </a:lnTo>
                    <a:lnTo>
                      <a:pt x="354" y="1740"/>
                    </a:lnTo>
                    <a:lnTo>
                      <a:pt x="349" y="1728"/>
                    </a:lnTo>
                    <a:lnTo>
                      <a:pt x="342" y="1718"/>
                    </a:lnTo>
                    <a:lnTo>
                      <a:pt x="337" y="1707"/>
                    </a:lnTo>
                    <a:lnTo>
                      <a:pt x="334" y="1702"/>
                    </a:lnTo>
                    <a:lnTo>
                      <a:pt x="333" y="1696"/>
                    </a:lnTo>
                    <a:lnTo>
                      <a:pt x="332" y="1690"/>
                    </a:lnTo>
                    <a:lnTo>
                      <a:pt x="332" y="1683"/>
                    </a:lnTo>
                    <a:lnTo>
                      <a:pt x="331" y="1670"/>
                    </a:lnTo>
                    <a:lnTo>
                      <a:pt x="330" y="1659"/>
                    </a:lnTo>
                    <a:lnTo>
                      <a:pt x="329" y="1648"/>
                    </a:lnTo>
                    <a:lnTo>
                      <a:pt x="327" y="1638"/>
                    </a:lnTo>
                    <a:lnTo>
                      <a:pt x="320" y="1617"/>
                    </a:lnTo>
                    <a:lnTo>
                      <a:pt x="312" y="1599"/>
                    </a:lnTo>
                    <a:lnTo>
                      <a:pt x="303" y="1581"/>
                    </a:lnTo>
                    <a:lnTo>
                      <a:pt x="292" y="1563"/>
                    </a:lnTo>
                    <a:lnTo>
                      <a:pt x="281" y="1547"/>
                    </a:lnTo>
                    <a:lnTo>
                      <a:pt x="269" y="1530"/>
                    </a:lnTo>
                    <a:lnTo>
                      <a:pt x="256" y="1514"/>
                    </a:lnTo>
                    <a:lnTo>
                      <a:pt x="245" y="1496"/>
                    </a:lnTo>
                    <a:lnTo>
                      <a:pt x="235" y="1478"/>
                    </a:lnTo>
                    <a:lnTo>
                      <a:pt x="226" y="1460"/>
                    </a:lnTo>
                    <a:lnTo>
                      <a:pt x="221" y="1449"/>
                    </a:lnTo>
                    <a:lnTo>
                      <a:pt x="217" y="1439"/>
                    </a:lnTo>
                    <a:lnTo>
                      <a:pt x="214" y="1428"/>
                    </a:lnTo>
                    <a:lnTo>
                      <a:pt x="210" y="1417"/>
                    </a:lnTo>
                    <a:lnTo>
                      <a:pt x="208" y="1406"/>
                    </a:lnTo>
                    <a:lnTo>
                      <a:pt x="207" y="1393"/>
                    </a:lnTo>
                    <a:lnTo>
                      <a:pt x="206" y="1381"/>
                    </a:lnTo>
                    <a:lnTo>
                      <a:pt x="206" y="1368"/>
                    </a:lnTo>
                    <a:lnTo>
                      <a:pt x="206" y="1355"/>
                    </a:lnTo>
                    <a:lnTo>
                      <a:pt x="207" y="1342"/>
                    </a:lnTo>
                    <a:lnTo>
                      <a:pt x="209" y="1331"/>
                    </a:lnTo>
                    <a:lnTo>
                      <a:pt x="213" y="1320"/>
                    </a:lnTo>
                    <a:lnTo>
                      <a:pt x="215" y="1309"/>
                    </a:lnTo>
                    <a:lnTo>
                      <a:pt x="217" y="1299"/>
                    </a:lnTo>
                    <a:lnTo>
                      <a:pt x="218" y="1287"/>
                    </a:lnTo>
                    <a:lnTo>
                      <a:pt x="219" y="1276"/>
                    </a:lnTo>
                    <a:lnTo>
                      <a:pt x="218" y="1268"/>
                    </a:lnTo>
                    <a:lnTo>
                      <a:pt x="217" y="1261"/>
                    </a:lnTo>
                    <a:lnTo>
                      <a:pt x="216" y="1254"/>
                    </a:lnTo>
                    <a:lnTo>
                      <a:pt x="214" y="1248"/>
                    </a:lnTo>
                    <a:lnTo>
                      <a:pt x="208" y="1235"/>
                    </a:lnTo>
                    <a:lnTo>
                      <a:pt x="203" y="1223"/>
                    </a:lnTo>
                    <a:lnTo>
                      <a:pt x="196" y="1210"/>
                    </a:lnTo>
                    <a:lnTo>
                      <a:pt x="191" y="1197"/>
                    </a:lnTo>
                    <a:lnTo>
                      <a:pt x="188" y="1190"/>
                    </a:lnTo>
                    <a:lnTo>
                      <a:pt x="187" y="1183"/>
                    </a:lnTo>
                    <a:lnTo>
                      <a:pt x="186" y="1174"/>
                    </a:lnTo>
                    <a:lnTo>
                      <a:pt x="185" y="1165"/>
                    </a:lnTo>
                    <a:lnTo>
                      <a:pt x="186" y="1158"/>
                    </a:lnTo>
                    <a:lnTo>
                      <a:pt x="189" y="1152"/>
                    </a:lnTo>
                    <a:lnTo>
                      <a:pt x="194" y="1146"/>
                    </a:lnTo>
                    <a:lnTo>
                      <a:pt x="199" y="1141"/>
                    </a:lnTo>
                    <a:lnTo>
                      <a:pt x="204" y="1135"/>
                    </a:lnTo>
                    <a:lnTo>
                      <a:pt x="208" y="1129"/>
                    </a:lnTo>
                    <a:lnTo>
                      <a:pt x="211" y="1123"/>
                    </a:lnTo>
                    <a:lnTo>
                      <a:pt x="213" y="1115"/>
                    </a:lnTo>
                    <a:lnTo>
                      <a:pt x="211" y="1109"/>
                    </a:lnTo>
                    <a:lnTo>
                      <a:pt x="209" y="1103"/>
                    </a:lnTo>
                    <a:lnTo>
                      <a:pt x="206" y="1097"/>
                    </a:lnTo>
                    <a:lnTo>
                      <a:pt x="203" y="1092"/>
                    </a:lnTo>
                    <a:lnTo>
                      <a:pt x="198" y="1087"/>
                    </a:lnTo>
                    <a:lnTo>
                      <a:pt x="195" y="1082"/>
                    </a:lnTo>
                    <a:lnTo>
                      <a:pt x="193" y="1078"/>
                    </a:lnTo>
                    <a:lnTo>
                      <a:pt x="192" y="1073"/>
                    </a:lnTo>
                    <a:lnTo>
                      <a:pt x="195" y="1064"/>
                    </a:lnTo>
                    <a:lnTo>
                      <a:pt x="203" y="1049"/>
                    </a:lnTo>
                    <a:lnTo>
                      <a:pt x="206" y="1041"/>
                    </a:lnTo>
                    <a:lnTo>
                      <a:pt x="209" y="1033"/>
                    </a:lnTo>
                    <a:lnTo>
                      <a:pt x="211" y="1025"/>
                    </a:lnTo>
                    <a:lnTo>
                      <a:pt x="213" y="1018"/>
                    </a:lnTo>
                    <a:lnTo>
                      <a:pt x="203" y="1018"/>
                    </a:lnTo>
                    <a:lnTo>
                      <a:pt x="192" y="1018"/>
                    </a:lnTo>
                    <a:lnTo>
                      <a:pt x="198" y="1012"/>
                    </a:lnTo>
                    <a:lnTo>
                      <a:pt x="205" y="1003"/>
                    </a:lnTo>
                    <a:lnTo>
                      <a:pt x="207" y="998"/>
                    </a:lnTo>
                    <a:lnTo>
                      <a:pt x="210" y="993"/>
                    </a:lnTo>
                    <a:lnTo>
                      <a:pt x="211" y="987"/>
                    </a:lnTo>
                    <a:lnTo>
                      <a:pt x="213" y="980"/>
                    </a:lnTo>
                    <a:lnTo>
                      <a:pt x="211" y="970"/>
                    </a:lnTo>
                    <a:lnTo>
                      <a:pt x="208" y="961"/>
                    </a:lnTo>
                    <a:lnTo>
                      <a:pt x="205" y="951"/>
                    </a:lnTo>
                    <a:lnTo>
                      <a:pt x="199" y="943"/>
                    </a:lnTo>
                    <a:lnTo>
                      <a:pt x="187" y="927"/>
                    </a:lnTo>
                    <a:lnTo>
                      <a:pt x="172" y="910"/>
                    </a:lnTo>
                    <a:lnTo>
                      <a:pt x="165" y="902"/>
                    </a:lnTo>
                    <a:lnTo>
                      <a:pt x="158" y="892"/>
                    </a:lnTo>
                    <a:lnTo>
                      <a:pt x="151" y="883"/>
                    </a:lnTo>
                    <a:lnTo>
                      <a:pt x="144" y="874"/>
                    </a:lnTo>
                    <a:lnTo>
                      <a:pt x="140" y="863"/>
                    </a:lnTo>
                    <a:lnTo>
                      <a:pt x="136" y="852"/>
                    </a:lnTo>
                    <a:lnTo>
                      <a:pt x="134" y="839"/>
                    </a:lnTo>
                    <a:lnTo>
                      <a:pt x="132" y="826"/>
                    </a:lnTo>
                    <a:lnTo>
                      <a:pt x="132" y="794"/>
                    </a:lnTo>
                    <a:lnTo>
                      <a:pt x="132" y="766"/>
                    </a:lnTo>
                    <a:lnTo>
                      <a:pt x="132" y="736"/>
                    </a:lnTo>
                    <a:lnTo>
                      <a:pt x="132" y="697"/>
                    </a:lnTo>
                    <a:lnTo>
                      <a:pt x="134" y="686"/>
                    </a:lnTo>
                    <a:lnTo>
                      <a:pt x="135" y="675"/>
                    </a:lnTo>
                    <a:lnTo>
                      <a:pt x="138" y="665"/>
                    </a:lnTo>
                    <a:lnTo>
                      <a:pt x="141" y="655"/>
                    </a:lnTo>
                    <a:lnTo>
                      <a:pt x="151" y="637"/>
                    </a:lnTo>
                    <a:lnTo>
                      <a:pt x="162" y="619"/>
                    </a:lnTo>
                    <a:lnTo>
                      <a:pt x="173" y="602"/>
                    </a:lnTo>
                    <a:lnTo>
                      <a:pt x="183" y="584"/>
                    </a:lnTo>
                    <a:lnTo>
                      <a:pt x="186" y="575"/>
                    </a:lnTo>
                    <a:lnTo>
                      <a:pt x="189" y="564"/>
                    </a:lnTo>
                    <a:lnTo>
                      <a:pt x="192" y="554"/>
                    </a:lnTo>
                    <a:lnTo>
                      <a:pt x="192" y="543"/>
                    </a:lnTo>
                    <a:lnTo>
                      <a:pt x="192" y="535"/>
                    </a:lnTo>
                    <a:lnTo>
                      <a:pt x="191" y="528"/>
                    </a:lnTo>
                    <a:lnTo>
                      <a:pt x="189" y="522"/>
                    </a:lnTo>
                    <a:lnTo>
                      <a:pt x="187" y="516"/>
                    </a:lnTo>
                    <a:lnTo>
                      <a:pt x="182" y="504"/>
                    </a:lnTo>
                    <a:lnTo>
                      <a:pt x="175" y="493"/>
                    </a:lnTo>
                    <a:lnTo>
                      <a:pt x="170" y="483"/>
                    </a:lnTo>
                    <a:lnTo>
                      <a:pt x="164" y="472"/>
                    </a:lnTo>
                    <a:lnTo>
                      <a:pt x="162" y="466"/>
                    </a:lnTo>
                    <a:lnTo>
                      <a:pt x="160" y="459"/>
                    </a:lnTo>
                    <a:lnTo>
                      <a:pt x="160" y="451"/>
                    </a:lnTo>
                    <a:lnTo>
                      <a:pt x="159" y="444"/>
                    </a:lnTo>
                    <a:lnTo>
                      <a:pt x="160" y="436"/>
                    </a:lnTo>
                    <a:lnTo>
                      <a:pt x="162" y="429"/>
                    </a:lnTo>
                    <a:lnTo>
                      <a:pt x="165" y="423"/>
                    </a:lnTo>
                    <a:lnTo>
                      <a:pt x="171" y="417"/>
                    </a:lnTo>
                    <a:lnTo>
                      <a:pt x="182" y="406"/>
                    </a:lnTo>
                    <a:lnTo>
                      <a:pt x="195" y="394"/>
                    </a:lnTo>
                    <a:lnTo>
                      <a:pt x="203" y="388"/>
                    </a:lnTo>
                    <a:lnTo>
                      <a:pt x="209" y="381"/>
                    </a:lnTo>
                    <a:lnTo>
                      <a:pt x="215" y="374"/>
                    </a:lnTo>
                    <a:lnTo>
                      <a:pt x="220" y="365"/>
                    </a:lnTo>
                    <a:lnTo>
                      <a:pt x="226" y="356"/>
                    </a:lnTo>
                    <a:lnTo>
                      <a:pt x="229" y="346"/>
                    </a:lnTo>
                    <a:lnTo>
                      <a:pt x="231" y="334"/>
                    </a:lnTo>
                    <a:lnTo>
                      <a:pt x="232" y="321"/>
                    </a:lnTo>
                    <a:lnTo>
                      <a:pt x="227" y="320"/>
                    </a:lnTo>
                    <a:lnTo>
                      <a:pt x="221" y="319"/>
                    </a:lnTo>
                    <a:lnTo>
                      <a:pt x="216" y="318"/>
                    </a:lnTo>
                    <a:lnTo>
                      <a:pt x="210" y="315"/>
                    </a:lnTo>
                    <a:lnTo>
                      <a:pt x="200" y="308"/>
                    </a:lnTo>
                    <a:lnTo>
                      <a:pt x="192" y="300"/>
                    </a:lnTo>
                    <a:lnTo>
                      <a:pt x="183" y="289"/>
                    </a:lnTo>
                    <a:lnTo>
                      <a:pt x="174" y="276"/>
                    </a:lnTo>
                    <a:lnTo>
                      <a:pt x="166" y="264"/>
                    </a:lnTo>
                    <a:lnTo>
                      <a:pt x="160" y="250"/>
                    </a:lnTo>
                    <a:lnTo>
                      <a:pt x="153" y="237"/>
                    </a:lnTo>
                    <a:lnTo>
                      <a:pt x="148" y="222"/>
                    </a:lnTo>
                    <a:lnTo>
                      <a:pt x="143" y="209"/>
                    </a:lnTo>
                    <a:lnTo>
                      <a:pt x="140" y="196"/>
                    </a:lnTo>
                    <a:lnTo>
                      <a:pt x="135" y="174"/>
                    </a:lnTo>
                    <a:lnTo>
                      <a:pt x="132" y="160"/>
                    </a:lnTo>
                    <a:lnTo>
                      <a:pt x="132" y="148"/>
                    </a:lnTo>
                    <a:lnTo>
                      <a:pt x="131" y="137"/>
                    </a:lnTo>
                    <a:lnTo>
                      <a:pt x="129" y="125"/>
                    </a:lnTo>
                    <a:lnTo>
                      <a:pt x="128" y="114"/>
                    </a:lnTo>
                    <a:lnTo>
                      <a:pt x="125" y="103"/>
                    </a:lnTo>
                    <a:lnTo>
                      <a:pt x="121" y="93"/>
                    </a:lnTo>
                    <a:lnTo>
                      <a:pt x="118" y="84"/>
                    </a:lnTo>
                    <a:lnTo>
                      <a:pt x="114" y="74"/>
                    </a:lnTo>
                    <a:lnTo>
                      <a:pt x="103" y="55"/>
                    </a:lnTo>
                    <a:lnTo>
                      <a:pt x="91" y="37"/>
                    </a:lnTo>
                    <a:lnTo>
                      <a:pt x="75" y="19"/>
                    </a:lnTo>
                    <a:lnTo>
                      <a:pt x="59" y="0"/>
                    </a:lnTo>
                    <a:lnTo>
                      <a:pt x="54" y="14"/>
                    </a:lnTo>
                    <a:lnTo>
                      <a:pt x="49" y="25"/>
                    </a:lnTo>
                    <a:lnTo>
                      <a:pt x="41" y="37"/>
                    </a:lnTo>
                    <a:lnTo>
                      <a:pt x="32" y="50"/>
                    </a:lnTo>
                    <a:lnTo>
                      <a:pt x="0" y="44"/>
                    </a:lnTo>
                    <a:lnTo>
                      <a:pt x="0" y="62"/>
                    </a:lnTo>
                    <a:lnTo>
                      <a:pt x="2" y="81"/>
                    </a:lnTo>
                    <a:lnTo>
                      <a:pt x="4" y="98"/>
                    </a:lnTo>
                    <a:lnTo>
                      <a:pt x="7" y="114"/>
                    </a:lnTo>
                    <a:lnTo>
                      <a:pt x="14" y="145"/>
                    </a:lnTo>
                    <a:lnTo>
                      <a:pt x="23" y="173"/>
                    </a:lnTo>
                    <a:lnTo>
                      <a:pt x="31" y="200"/>
                    </a:lnTo>
                    <a:lnTo>
                      <a:pt x="39" y="227"/>
                    </a:lnTo>
                    <a:lnTo>
                      <a:pt x="41" y="241"/>
                    </a:lnTo>
                    <a:lnTo>
                      <a:pt x="45" y="255"/>
                    </a:lnTo>
                    <a:lnTo>
                      <a:pt x="46" y="269"/>
                    </a:lnTo>
                    <a:lnTo>
                      <a:pt x="46" y="283"/>
                    </a:lnTo>
                    <a:lnTo>
                      <a:pt x="46" y="295"/>
                    </a:lnTo>
                    <a:lnTo>
                      <a:pt x="42" y="304"/>
                    </a:lnTo>
                    <a:lnTo>
                      <a:pt x="40" y="313"/>
                    </a:lnTo>
                    <a:lnTo>
                      <a:pt x="36" y="320"/>
                    </a:lnTo>
                    <a:lnTo>
                      <a:pt x="32" y="327"/>
                    </a:lnTo>
                    <a:lnTo>
                      <a:pt x="29" y="335"/>
                    </a:lnTo>
                    <a:lnTo>
                      <a:pt x="27" y="342"/>
                    </a:lnTo>
                    <a:lnTo>
                      <a:pt x="26" y="352"/>
                    </a:lnTo>
                    <a:lnTo>
                      <a:pt x="27" y="374"/>
                    </a:lnTo>
                    <a:lnTo>
                      <a:pt x="30" y="395"/>
                    </a:lnTo>
                    <a:lnTo>
                      <a:pt x="35" y="416"/>
                    </a:lnTo>
                    <a:lnTo>
                      <a:pt x="39" y="435"/>
                    </a:lnTo>
                    <a:lnTo>
                      <a:pt x="45" y="457"/>
                    </a:lnTo>
                    <a:lnTo>
                      <a:pt x="49" y="477"/>
                    </a:lnTo>
                    <a:lnTo>
                      <a:pt x="51" y="500"/>
                    </a:lnTo>
                    <a:lnTo>
                      <a:pt x="52" y="524"/>
                    </a:lnTo>
                    <a:lnTo>
                      <a:pt x="51" y="553"/>
                    </a:lnTo>
                    <a:lnTo>
                      <a:pt x="49" y="572"/>
                    </a:lnTo>
                    <a:lnTo>
                      <a:pt x="47" y="588"/>
                    </a:lnTo>
                    <a:lnTo>
                      <a:pt x="46" y="610"/>
                    </a:lnTo>
                    <a:lnTo>
                      <a:pt x="46" y="622"/>
                    </a:lnTo>
                    <a:lnTo>
                      <a:pt x="46" y="635"/>
                    </a:lnTo>
                    <a:lnTo>
                      <a:pt x="46" y="649"/>
                    </a:lnTo>
                    <a:lnTo>
                      <a:pt x="46" y="660"/>
                    </a:lnTo>
                    <a:lnTo>
                      <a:pt x="41" y="666"/>
                    </a:lnTo>
                    <a:lnTo>
                      <a:pt x="37" y="675"/>
                    </a:lnTo>
                    <a:lnTo>
                      <a:pt x="34" y="687"/>
                    </a:lnTo>
                    <a:lnTo>
                      <a:pt x="32" y="697"/>
                    </a:lnTo>
                    <a:lnTo>
                      <a:pt x="34" y="709"/>
                    </a:lnTo>
                    <a:lnTo>
                      <a:pt x="36" y="718"/>
                    </a:lnTo>
                    <a:lnTo>
                      <a:pt x="39" y="725"/>
                    </a:lnTo>
                    <a:lnTo>
                      <a:pt x="42" y="731"/>
                    </a:lnTo>
                    <a:lnTo>
                      <a:pt x="47" y="737"/>
                    </a:lnTo>
                    <a:lnTo>
                      <a:pt x="50" y="741"/>
                    </a:lnTo>
                    <a:lnTo>
                      <a:pt x="52" y="746"/>
                    </a:lnTo>
                    <a:lnTo>
                      <a:pt x="52" y="752"/>
                    </a:lnTo>
                    <a:lnTo>
                      <a:pt x="52" y="767"/>
                    </a:lnTo>
                    <a:lnTo>
                      <a:pt x="52" y="782"/>
                    </a:lnTo>
                    <a:lnTo>
                      <a:pt x="52" y="797"/>
                    </a:lnTo>
                    <a:lnTo>
                      <a:pt x="52" y="808"/>
                    </a:lnTo>
                    <a:lnTo>
                      <a:pt x="53" y="822"/>
                    </a:lnTo>
                    <a:lnTo>
                      <a:pt x="58" y="847"/>
                    </a:lnTo>
                    <a:lnTo>
                      <a:pt x="60" y="860"/>
                    </a:lnTo>
                    <a:lnTo>
                      <a:pt x="64" y="871"/>
                    </a:lnTo>
                    <a:lnTo>
                      <a:pt x="65" y="875"/>
                    </a:lnTo>
                    <a:lnTo>
                      <a:pt x="68" y="879"/>
                    </a:lnTo>
                    <a:lnTo>
                      <a:pt x="70" y="881"/>
                    </a:lnTo>
                    <a:lnTo>
                      <a:pt x="73" y="881"/>
                    </a:lnTo>
                    <a:lnTo>
                      <a:pt x="76" y="894"/>
                    </a:lnTo>
                    <a:lnTo>
                      <a:pt x="80" y="905"/>
                    </a:lnTo>
                    <a:lnTo>
                      <a:pt x="81" y="913"/>
                    </a:lnTo>
                    <a:lnTo>
                      <a:pt x="81" y="921"/>
                    </a:lnTo>
                    <a:lnTo>
                      <a:pt x="80" y="936"/>
                    </a:lnTo>
                    <a:lnTo>
                      <a:pt x="80" y="956"/>
                    </a:lnTo>
                    <a:lnTo>
                      <a:pt x="79" y="980"/>
                    </a:lnTo>
                    <a:lnTo>
                      <a:pt x="78" y="1002"/>
                    </a:lnTo>
                    <a:lnTo>
                      <a:pt x="75" y="1024"/>
                    </a:lnTo>
                    <a:lnTo>
                      <a:pt x="73" y="1045"/>
                    </a:lnTo>
                    <a:lnTo>
                      <a:pt x="70" y="1065"/>
                    </a:lnTo>
                    <a:lnTo>
                      <a:pt x="68" y="1087"/>
                    </a:lnTo>
                    <a:lnTo>
                      <a:pt x="67" y="1110"/>
                    </a:lnTo>
                    <a:lnTo>
                      <a:pt x="67" y="1135"/>
                    </a:lnTo>
                    <a:lnTo>
                      <a:pt x="65" y="1141"/>
                    </a:lnTo>
                    <a:lnTo>
                      <a:pt x="64" y="1147"/>
                    </a:lnTo>
                    <a:lnTo>
                      <a:pt x="63" y="1152"/>
                    </a:lnTo>
                    <a:lnTo>
                      <a:pt x="62" y="1156"/>
                    </a:lnTo>
                    <a:lnTo>
                      <a:pt x="58" y="1163"/>
                    </a:lnTo>
                    <a:lnTo>
                      <a:pt x="52" y="1169"/>
                    </a:lnTo>
                    <a:lnTo>
                      <a:pt x="48" y="1175"/>
                    </a:lnTo>
                    <a:lnTo>
                      <a:pt x="43" y="1181"/>
                    </a:lnTo>
                    <a:lnTo>
                      <a:pt x="41" y="1185"/>
                    </a:lnTo>
                    <a:lnTo>
                      <a:pt x="40" y="1188"/>
                    </a:lnTo>
                    <a:lnTo>
                      <a:pt x="40" y="1192"/>
                    </a:lnTo>
                    <a:lnTo>
                      <a:pt x="39" y="1196"/>
                    </a:lnTo>
                    <a:lnTo>
                      <a:pt x="40" y="1205"/>
                    </a:lnTo>
                    <a:lnTo>
                      <a:pt x="42" y="1215"/>
                    </a:lnTo>
                    <a:lnTo>
                      <a:pt x="46" y="1225"/>
                    </a:lnTo>
                    <a:lnTo>
                      <a:pt x="50" y="1237"/>
                    </a:lnTo>
                    <a:lnTo>
                      <a:pt x="60" y="1258"/>
                    </a:lnTo>
                    <a:lnTo>
                      <a:pt x="73" y="1279"/>
                    </a:lnTo>
                    <a:lnTo>
                      <a:pt x="85" y="1299"/>
                    </a:lnTo>
                    <a:lnTo>
                      <a:pt x="95" y="1317"/>
                    </a:lnTo>
                    <a:lnTo>
                      <a:pt x="99" y="1325"/>
                    </a:lnTo>
                    <a:lnTo>
                      <a:pt x="103" y="1332"/>
                    </a:lnTo>
                    <a:lnTo>
                      <a:pt x="105" y="1338"/>
                    </a:lnTo>
                    <a:lnTo>
                      <a:pt x="106" y="1343"/>
                    </a:lnTo>
                    <a:lnTo>
                      <a:pt x="105" y="1351"/>
                    </a:lnTo>
                    <a:lnTo>
                      <a:pt x="104" y="1358"/>
                    </a:lnTo>
                    <a:lnTo>
                      <a:pt x="102" y="1365"/>
                    </a:lnTo>
                    <a:lnTo>
                      <a:pt x="99" y="1372"/>
                    </a:lnTo>
                    <a:lnTo>
                      <a:pt x="97" y="1380"/>
                    </a:lnTo>
                    <a:lnTo>
                      <a:pt x="95" y="1388"/>
                    </a:lnTo>
                    <a:lnTo>
                      <a:pt x="93" y="1396"/>
                    </a:lnTo>
                    <a:lnTo>
                      <a:pt x="93" y="1406"/>
                    </a:lnTo>
                    <a:lnTo>
                      <a:pt x="93" y="1415"/>
                    </a:lnTo>
                    <a:lnTo>
                      <a:pt x="94" y="1424"/>
                    </a:lnTo>
                    <a:lnTo>
                      <a:pt x="96" y="1432"/>
                    </a:lnTo>
                    <a:lnTo>
                      <a:pt x="98" y="1438"/>
                    </a:lnTo>
                    <a:lnTo>
                      <a:pt x="102" y="1444"/>
                    </a:lnTo>
                    <a:lnTo>
                      <a:pt x="106" y="1449"/>
                    </a:lnTo>
                    <a:lnTo>
                      <a:pt x="112" y="1453"/>
                    </a:lnTo>
                    <a:lnTo>
                      <a:pt x="117" y="1457"/>
                    </a:lnTo>
                    <a:lnTo>
                      <a:pt x="123" y="1460"/>
                    </a:lnTo>
                    <a:lnTo>
                      <a:pt x="130" y="1463"/>
                    </a:lnTo>
                    <a:lnTo>
                      <a:pt x="138" y="1464"/>
                    </a:lnTo>
                    <a:lnTo>
                      <a:pt x="146" y="1465"/>
                    </a:lnTo>
                    <a:lnTo>
                      <a:pt x="164" y="1467"/>
                    </a:lnTo>
                    <a:lnTo>
                      <a:pt x="185" y="1467"/>
                    </a:lnTo>
                    <a:lnTo>
                      <a:pt x="191" y="1501"/>
                    </a:lnTo>
                    <a:lnTo>
                      <a:pt x="195" y="1531"/>
                    </a:lnTo>
                    <a:lnTo>
                      <a:pt x="197" y="1559"/>
                    </a:lnTo>
                    <a:lnTo>
                      <a:pt x="199" y="1590"/>
                    </a:lnTo>
                    <a:lnTo>
                      <a:pt x="202" y="1602"/>
                    </a:lnTo>
                    <a:lnTo>
                      <a:pt x="209" y="1621"/>
                    </a:lnTo>
                    <a:lnTo>
                      <a:pt x="216" y="1643"/>
                    </a:lnTo>
                    <a:lnTo>
                      <a:pt x="219" y="1658"/>
                    </a:lnTo>
                    <a:lnTo>
                      <a:pt x="219" y="1668"/>
                    </a:lnTo>
                    <a:lnTo>
                      <a:pt x="220" y="1679"/>
                    </a:lnTo>
                    <a:lnTo>
                      <a:pt x="221" y="1687"/>
                    </a:lnTo>
                    <a:lnTo>
                      <a:pt x="222" y="1694"/>
                    </a:lnTo>
                    <a:lnTo>
                      <a:pt x="227" y="1709"/>
                    </a:lnTo>
                    <a:lnTo>
                      <a:pt x="232" y="1725"/>
                    </a:lnTo>
                    <a:lnTo>
                      <a:pt x="202" y="1732"/>
                    </a:lnTo>
                    <a:lnTo>
                      <a:pt x="173" y="1739"/>
                    </a:lnTo>
                    <a:lnTo>
                      <a:pt x="166" y="1740"/>
                    </a:lnTo>
                    <a:lnTo>
                      <a:pt x="161" y="1743"/>
                    </a:lnTo>
                    <a:lnTo>
                      <a:pt x="155" y="1745"/>
                    </a:lnTo>
                    <a:lnTo>
                      <a:pt x="151" y="1749"/>
                    </a:lnTo>
                    <a:lnTo>
                      <a:pt x="147" y="1752"/>
                    </a:lnTo>
                    <a:lnTo>
                      <a:pt x="143" y="1757"/>
                    </a:lnTo>
                    <a:lnTo>
                      <a:pt x="141" y="1762"/>
                    </a:lnTo>
                    <a:lnTo>
                      <a:pt x="139" y="1769"/>
                    </a:lnTo>
                    <a:lnTo>
                      <a:pt x="164" y="1770"/>
                    </a:lnTo>
                    <a:lnTo>
                      <a:pt x="193" y="1773"/>
                    </a:lnTo>
                    <a:lnTo>
                      <a:pt x="207" y="1776"/>
                    </a:lnTo>
                    <a:lnTo>
                      <a:pt x="218" y="1779"/>
                    </a:lnTo>
                    <a:lnTo>
                      <a:pt x="224" y="1781"/>
                    </a:lnTo>
                    <a:lnTo>
                      <a:pt x="227" y="1783"/>
                    </a:lnTo>
                    <a:lnTo>
                      <a:pt x="230" y="1785"/>
                    </a:lnTo>
                    <a:lnTo>
                      <a:pt x="232" y="1787"/>
                    </a:lnTo>
                    <a:lnTo>
                      <a:pt x="243" y="1807"/>
                    </a:lnTo>
                    <a:lnTo>
                      <a:pt x="250" y="1820"/>
                    </a:lnTo>
                    <a:lnTo>
                      <a:pt x="253" y="1825"/>
                    </a:lnTo>
                    <a:lnTo>
                      <a:pt x="258" y="1828"/>
                    </a:lnTo>
                    <a:lnTo>
                      <a:pt x="263" y="1830"/>
                    </a:lnTo>
                    <a:lnTo>
                      <a:pt x="272" y="1830"/>
                    </a:lnTo>
                    <a:lnTo>
                      <a:pt x="272" y="1843"/>
                    </a:lnTo>
                    <a:lnTo>
                      <a:pt x="273" y="1857"/>
                    </a:lnTo>
                    <a:lnTo>
                      <a:pt x="275" y="1871"/>
                    </a:lnTo>
                    <a:lnTo>
                      <a:pt x="278" y="1884"/>
                    </a:lnTo>
                    <a:lnTo>
                      <a:pt x="282" y="1898"/>
                    </a:lnTo>
                    <a:lnTo>
                      <a:pt x="285" y="1912"/>
                    </a:lnTo>
                    <a:lnTo>
                      <a:pt x="289" y="1925"/>
                    </a:lnTo>
                    <a:lnTo>
                      <a:pt x="295" y="1937"/>
                    </a:lnTo>
                    <a:lnTo>
                      <a:pt x="301" y="1949"/>
                    </a:lnTo>
                    <a:lnTo>
                      <a:pt x="308" y="1961"/>
                    </a:lnTo>
                    <a:lnTo>
                      <a:pt x="315" y="1971"/>
                    </a:lnTo>
                    <a:lnTo>
                      <a:pt x="322" y="1980"/>
                    </a:lnTo>
                    <a:lnTo>
                      <a:pt x="330" y="1988"/>
                    </a:lnTo>
                    <a:lnTo>
                      <a:pt x="339" y="1995"/>
                    </a:lnTo>
                    <a:lnTo>
                      <a:pt x="349" y="2000"/>
                    </a:lnTo>
                    <a:lnTo>
                      <a:pt x="359" y="2003"/>
                    </a:lnTo>
                    <a:lnTo>
                      <a:pt x="359" y="2013"/>
                    </a:lnTo>
                    <a:lnTo>
                      <a:pt x="361" y="2021"/>
                    </a:lnTo>
                    <a:lnTo>
                      <a:pt x="364" y="2028"/>
                    </a:lnTo>
                    <a:lnTo>
                      <a:pt x="368" y="2034"/>
                    </a:lnTo>
                    <a:lnTo>
                      <a:pt x="374" y="2038"/>
                    </a:lnTo>
                    <a:lnTo>
                      <a:pt x="379" y="2042"/>
                    </a:lnTo>
                    <a:lnTo>
                      <a:pt x="386" y="2046"/>
                    </a:lnTo>
                    <a:lnTo>
                      <a:pt x="393" y="2048"/>
                    </a:lnTo>
                    <a:lnTo>
                      <a:pt x="407" y="2053"/>
                    </a:lnTo>
                    <a:lnTo>
                      <a:pt x="420" y="2057"/>
                    </a:lnTo>
                    <a:lnTo>
                      <a:pt x="426" y="2060"/>
                    </a:lnTo>
                    <a:lnTo>
                      <a:pt x="431" y="2063"/>
                    </a:lnTo>
                    <a:lnTo>
                      <a:pt x="435" y="2066"/>
                    </a:lnTo>
                    <a:lnTo>
                      <a:pt x="438" y="2071"/>
                    </a:lnTo>
                    <a:lnTo>
                      <a:pt x="424" y="2074"/>
                    </a:lnTo>
                    <a:lnTo>
                      <a:pt x="411" y="2077"/>
                    </a:lnTo>
                    <a:lnTo>
                      <a:pt x="415" y="2084"/>
                    </a:lnTo>
                    <a:lnTo>
                      <a:pt x="421" y="2091"/>
                    </a:lnTo>
                    <a:lnTo>
                      <a:pt x="429" y="2097"/>
                    </a:lnTo>
                    <a:lnTo>
                      <a:pt x="440" y="2102"/>
                    </a:lnTo>
                    <a:lnTo>
                      <a:pt x="452" y="2107"/>
                    </a:lnTo>
                    <a:lnTo>
                      <a:pt x="465" y="2110"/>
                    </a:lnTo>
                    <a:lnTo>
                      <a:pt x="480" y="2113"/>
                    </a:lnTo>
                    <a:lnTo>
                      <a:pt x="498" y="2114"/>
                    </a:lnTo>
                    <a:lnTo>
                      <a:pt x="502" y="2117"/>
                    </a:lnTo>
                    <a:lnTo>
                      <a:pt x="507" y="2121"/>
                    </a:lnTo>
                    <a:lnTo>
                      <a:pt x="510" y="2127"/>
                    </a:lnTo>
                    <a:lnTo>
                      <a:pt x="513" y="2131"/>
                    </a:lnTo>
                    <a:lnTo>
                      <a:pt x="519" y="2140"/>
                    </a:lnTo>
                    <a:lnTo>
                      <a:pt x="522" y="2149"/>
                    </a:lnTo>
                    <a:lnTo>
                      <a:pt x="527" y="2155"/>
                    </a:lnTo>
                    <a:lnTo>
                      <a:pt x="530" y="2158"/>
                    </a:lnTo>
                    <a:lnTo>
                      <a:pt x="531" y="2158"/>
                    </a:lnTo>
                    <a:lnTo>
                      <a:pt x="533" y="2157"/>
                    </a:lnTo>
                    <a:lnTo>
                      <a:pt x="535" y="2155"/>
                    </a:lnTo>
                    <a:lnTo>
                      <a:pt x="538" y="2151"/>
                    </a:lnTo>
                    <a:lnTo>
                      <a:pt x="543" y="2137"/>
                    </a:lnTo>
                    <a:lnTo>
                      <a:pt x="547" y="2125"/>
                    </a:lnTo>
                    <a:lnTo>
                      <a:pt x="554" y="2116"/>
                    </a:lnTo>
                    <a:lnTo>
                      <a:pt x="561" y="2109"/>
                    </a:lnTo>
                    <a:lnTo>
                      <a:pt x="567" y="2104"/>
                    </a:lnTo>
                    <a:lnTo>
                      <a:pt x="576" y="2101"/>
                    </a:lnTo>
                    <a:lnTo>
                      <a:pt x="586" y="2098"/>
                    </a:lnTo>
                    <a:lnTo>
                      <a:pt x="598" y="2095"/>
                    </a:lnTo>
                    <a:lnTo>
                      <a:pt x="592" y="2087"/>
                    </a:lnTo>
                    <a:lnTo>
                      <a:pt x="589" y="2081"/>
                    </a:lnTo>
                    <a:lnTo>
                      <a:pt x="588" y="2078"/>
                    </a:lnTo>
                    <a:lnTo>
                      <a:pt x="588" y="2076"/>
                    </a:lnTo>
                    <a:lnTo>
                      <a:pt x="589" y="2074"/>
                    </a:lnTo>
                    <a:lnTo>
                      <a:pt x="591" y="2071"/>
                    </a:lnTo>
                    <a:lnTo>
                      <a:pt x="491" y="204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68" name="Freeform 9">
                <a:extLst>
                  <a:ext uri="{FF2B5EF4-FFF2-40B4-BE49-F238E27FC236}">
                    <a16:creationId xmlns:a16="http://schemas.microsoft.com/office/drawing/2014/main" id="{14CC86DF-27C0-4ADC-948C-D04A83690B74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1798098" y="4333060"/>
                <a:ext cx="1165528" cy="1353639"/>
              </a:xfrm>
              <a:custGeom>
                <a:avLst/>
                <a:gdLst>
                  <a:gd name="T0" fmla="*/ 82997318 w 2226"/>
                  <a:gd name="T1" fmla="*/ 246970381 h 2292"/>
                  <a:gd name="T2" fmla="*/ 95258053 w 2226"/>
                  <a:gd name="T3" fmla="*/ 271502041 h 2292"/>
                  <a:gd name="T4" fmla="*/ 107896643 w 2226"/>
                  <a:gd name="T5" fmla="*/ 290520561 h 2292"/>
                  <a:gd name="T6" fmla="*/ 135059188 w 2226"/>
                  <a:gd name="T7" fmla="*/ 302648838 h 2292"/>
                  <a:gd name="T8" fmla="*/ 150526912 w 2226"/>
                  <a:gd name="T9" fmla="*/ 331866220 h 2292"/>
                  <a:gd name="T10" fmla="*/ 159581094 w 2226"/>
                  <a:gd name="T11" fmla="*/ 356122249 h 2292"/>
                  <a:gd name="T12" fmla="*/ 177123978 w 2226"/>
                  <a:gd name="T13" fmla="*/ 373487509 h 2292"/>
                  <a:gd name="T14" fmla="*/ 180519025 w 2226"/>
                  <a:gd name="T15" fmla="*/ 404083045 h 2292"/>
                  <a:gd name="T16" fmla="*/ 184102999 w 2226"/>
                  <a:gd name="T17" fmla="*/ 424755875 h 2292"/>
                  <a:gd name="T18" fmla="*/ 187121059 w 2226"/>
                  <a:gd name="T19" fmla="*/ 449838796 h 2292"/>
                  <a:gd name="T20" fmla="*/ 213340705 w 2226"/>
                  <a:gd name="T21" fmla="*/ 468030949 h 2292"/>
                  <a:gd name="T22" fmla="*/ 225035961 w 2226"/>
                  <a:gd name="T23" fmla="*/ 497523961 h 2292"/>
                  <a:gd name="T24" fmla="*/ 234467563 w 2226"/>
                  <a:gd name="T25" fmla="*/ 513786174 h 2292"/>
                  <a:gd name="T26" fmla="*/ 223149728 w 2226"/>
                  <a:gd name="T27" fmla="*/ 552099895 h 2292"/>
                  <a:gd name="T28" fmla="*/ 204475016 w 2226"/>
                  <a:gd name="T29" fmla="*/ 586554261 h 2292"/>
                  <a:gd name="T30" fmla="*/ 222583814 w 2226"/>
                  <a:gd name="T31" fmla="*/ 595650600 h 2292"/>
                  <a:gd name="T32" fmla="*/ 244464645 w 2226"/>
                  <a:gd name="T33" fmla="*/ 615771643 h 2292"/>
                  <a:gd name="T34" fmla="*/ 267666230 w 2226"/>
                  <a:gd name="T35" fmla="*/ 605848937 h 2292"/>
                  <a:gd name="T36" fmla="*/ 286340507 w 2226"/>
                  <a:gd name="T37" fmla="*/ 561195709 h 2292"/>
                  <a:gd name="T38" fmla="*/ 285209114 w 2226"/>
                  <a:gd name="T39" fmla="*/ 528670759 h 2292"/>
                  <a:gd name="T40" fmla="*/ 294451789 w 2226"/>
                  <a:gd name="T41" fmla="*/ 494216393 h 2292"/>
                  <a:gd name="T42" fmla="*/ 321803262 w 2226"/>
                  <a:gd name="T43" fmla="*/ 476024240 h 2292"/>
                  <a:gd name="T44" fmla="*/ 339157218 w 2226"/>
                  <a:gd name="T45" fmla="*/ 463344701 h 2292"/>
                  <a:gd name="T46" fmla="*/ 357831495 w 2226"/>
                  <a:gd name="T47" fmla="*/ 452319472 h 2292"/>
                  <a:gd name="T48" fmla="*/ 373865132 w 2226"/>
                  <a:gd name="T49" fmla="*/ 385890892 h 2292"/>
                  <a:gd name="T50" fmla="*/ 379901254 w 2226"/>
                  <a:gd name="T51" fmla="*/ 355019726 h 2292"/>
                  <a:gd name="T52" fmla="*/ 377637600 w 2226"/>
                  <a:gd name="T53" fmla="*/ 300443792 h 2292"/>
                  <a:gd name="T54" fmla="*/ 391030596 w 2226"/>
                  <a:gd name="T55" fmla="*/ 278117178 h 2292"/>
                  <a:gd name="T56" fmla="*/ 413100354 w 2226"/>
                  <a:gd name="T57" fmla="*/ 241733397 h 2292"/>
                  <a:gd name="T58" fmla="*/ 419136475 w 2226"/>
                  <a:gd name="T59" fmla="*/ 201765892 h 2292"/>
                  <a:gd name="T60" fmla="*/ 406875306 w 2226"/>
                  <a:gd name="T61" fmla="*/ 165106480 h 2292"/>
                  <a:gd name="T62" fmla="*/ 388389522 w 2226"/>
                  <a:gd name="T63" fmla="*/ 155183249 h 2292"/>
                  <a:gd name="T64" fmla="*/ 362358804 w 2226"/>
                  <a:gd name="T65" fmla="*/ 127344021 h 2292"/>
                  <a:gd name="T66" fmla="*/ 328593789 w 2226"/>
                  <a:gd name="T67" fmla="*/ 124036452 h 2292"/>
                  <a:gd name="T68" fmla="*/ 315012299 w 2226"/>
                  <a:gd name="T69" fmla="*/ 123209560 h 2292"/>
                  <a:gd name="T70" fmla="*/ 308599192 w 2226"/>
                  <a:gd name="T71" fmla="*/ 108600606 h 2292"/>
                  <a:gd name="T72" fmla="*/ 285209114 w 2226"/>
                  <a:gd name="T73" fmla="*/ 95921593 h 2292"/>
                  <a:gd name="T74" fmla="*/ 266157417 w 2226"/>
                  <a:gd name="T75" fmla="*/ 112735067 h 2292"/>
                  <a:gd name="T76" fmla="*/ 252387434 w 2226"/>
                  <a:gd name="T77" fmla="*/ 111632544 h 2292"/>
                  <a:gd name="T78" fmla="*/ 235221970 w 2226"/>
                  <a:gd name="T79" fmla="*/ 105844299 h 2292"/>
                  <a:gd name="T80" fmla="*/ 248426039 w 2226"/>
                  <a:gd name="T81" fmla="*/ 73870610 h 2292"/>
                  <a:gd name="T82" fmla="*/ 252387434 w 2226"/>
                  <a:gd name="T83" fmla="*/ 50717104 h 2292"/>
                  <a:gd name="T84" fmla="*/ 243521745 w 2226"/>
                  <a:gd name="T85" fmla="*/ 18743414 h 2292"/>
                  <a:gd name="T86" fmla="*/ 212020385 w 2226"/>
                  <a:gd name="T87" fmla="*/ 37210673 h 2292"/>
                  <a:gd name="T88" fmla="*/ 189196220 w 2226"/>
                  <a:gd name="T89" fmla="*/ 46858274 h 2292"/>
                  <a:gd name="T90" fmla="*/ 181084938 w 2226"/>
                  <a:gd name="T91" fmla="*/ 51543996 h 2292"/>
                  <a:gd name="T92" fmla="*/ 153167552 w 2226"/>
                  <a:gd name="T93" fmla="*/ 48512058 h 2292"/>
                  <a:gd name="T94" fmla="*/ 152979059 w 2226"/>
                  <a:gd name="T95" fmla="*/ 18467784 h 2292"/>
                  <a:gd name="T96" fmla="*/ 140529396 w 2226"/>
                  <a:gd name="T97" fmla="*/ 0 h 2292"/>
                  <a:gd name="T98" fmla="*/ 132041128 w 2226"/>
                  <a:gd name="T99" fmla="*/ 8544553 h 2292"/>
                  <a:gd name="T100" fmla="*/ 111103197 w 2226"/>
                  <a:gd name="T101" fmla="*/ 19294676 h 2292"/>
                  <a:gd name="T102" fmla="*/ 105632989 w 2226"/>
                  <a:gd name="T103" fmla="*/ 54575934 h 2292"/>
                  <a:gd name="T104" fmla="*/ 85449465 w 2226"/>
                  <a:gd name="T105" fmla="*/ 71114302 h 2292"/>
                  <a:gd name="T106" fmla="*/ 53948104 w 2226"/>
                  <a:gd name="T107" fmla="*/ 54300303 h 2292"/>
                  <a:gd name="T108" fmla="*/ 47723490 w 2226"/>
                  <a:gd name="T109" fmla="*/ 66152949 h 2292"/>
                  <a:gd name="T110" fmla="*/ 37348988 w 2226"/>
                  <a:gd name="T111" fmla="*/ 85722731 h 2292"/>
                  <a:gd name="T112" fmla="*/ 46403170 w 2226"/>
                  <a:gd name="T113" fmla="*/ 106946822 h 2292"/>
                  <a:gd name="T114" fmla="*/ 36594147 w 2226"/>
                  <a:gd name="T115" fmla="*/ 154356357 h 2292"/>
                  <a:gd name="T116" fmla="*/ 18863204 w 2226"/>
                  <a:gd name="T117" fmla="*/ 156285772 h 2292"/>
                  <a:gd name="T118" fmla="*/ 3018061 w 2226"/>
                  <a:gd name="T119" fmla="*/ 189361984 h 2292"/>
                  <a:gd name="T120" fmla="*/ 4149888 w 2226"/>
                  <a:gd name="T121" fmla="*/ 227124444 h 2292"/>
                  <a:gd name="T122" fmla="*/ 22635672 w 2226"/>
                  <a:gd name="T123" fmla="*/ 249451058 h 2292"/>
                  <a:gd name="T124" fmla="*/ 36028234 w 2226"/>
                  <a:gd name="T125" fmla="*/ 261578810 h 229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2226" h="2292">
                    <a:moveTo>
                      <a:pt x="233" y="973"/>
                    </a:moveTo>
                    <a:lnTo>
                      <a:pt x="313" y="967"/>
                    </a:lnTo>
                    <a:lnTo>
                      <a:pt x="323" y="963"/>
                    </a:lnTo>
                    <a:lnTo>
                      <a:pt x="332" y="959"/>
                    </a:lnTo>
                    <a:lnTo>
                      <a:pt x="342" y="953"/>
                    </a:lnTo>
                    <a:lnTo>
                      <a:pt x="351" y="948"/>
                    </a:lnTo>
                    <a:lnTo>
                      <a:pt x="368" y="936"/>
                    </a:lnTo>
                    <a:lnTo>
                      <a:pt x="386" y="923"/>
                    </a:lnTo>
                    <a:lnTo>
                      <a:pt x="403" y="911"/>
                    </a:lnTo>
                    <a:lnTo>
                      <a:pt x="421" y="902"/>
                    </a:lnTo>
                    <a:lnTo>
                      <a:pt x="431" y="898"/>
                    </a:lnTo>
                    <a:lnTo>
                      <a:pt x="440" y="896"/>
                    </a:lnTo>
                    <a:lnTo>
                      <a:pt x="449" y="894"/>
                    </a:lnTo>
                    <a:lnTo>
                      <a:pt x="459" y="893"/>
                    </a:lnTo>
                    <a:lnTo>
                      <a:pt x="467" y="894"/>
                    </a:lnTo>
                    <a:lnTo>
                      <a:pt x="474" y="896"/>
                    </a:lnTo>
                    <a:lnTo>
                      <a:pt x="480" y="899"/>
                    </a:lnTo>
                    <a:lnTo>
                      <a:pt x="485" y="902"/>
                    </a:lnTo>
                    <a:lnTo>
                      <a:pt x="489" y="907"/>
                    </a:lnTo>
                    <a:lnTo>
                      <a:pt x="492" y="912"/>
                    </a:lnTo>
                    <a:lnTo>
                      <a:pt x="496" y="918"/>
                    </a:lnTo>
                    <a:lnTo>
                      <a:pt x="498" y="925"/>
                    </a:lnTo>
                    <a:lnTo>
                      <a:pt x="502" y="956"/>
                    </a:lnTo>
                    <a:lnTo>
                      <a:pt x="505" y="985"/>
                    </a:lnTo>
                    <a:lnTo>
                      <a:pt x="509" y="994"/>
                    </a:lnTo>
                    <a:lnTo>
                      <a:pt x="512" y="1001"/>
                    </a:lnTo>
                    <a:lnTo>
                      <a:pt x="515" y="1008"/>
                    </a:lnTo>
                    <a:lnTo>
                      <a:pt x="520" y="1015"/>
                    </a:lnTo>
                    <a:lnTo>
                      <a:pt x="525" y="1022"/>
                    </a:lnTo>
                    <a:lnTo>
                      <a:pt x="531" y="1028"/>
                    </a:lnTo>
                    <a:lnTo>
                      <a:pt x="536" y="1033"/>
                    </a:lnTo>
                    <a:lnTo>
                      <a:pt x="543" y="1038"/>
                    </a:lnTo>
                    <a:lnTo>
                      <a:pt x="549" y="1044"/>
                    </a:lnTo>
                    <a:lnTo>
                      <a:pt x="557" y="1048"/>
                    </a:lnTo>
                    <a:lnTo>
                      <a:pt x="564" y="1051"/>
                    </a:lnTo>
                    <a:lnTo>
                      <a:pt x="572" y="1054"/>
                    </a:lnTo>
                    <a:lnTo>
                      <a:pt x="580" y="1057"/>
                    </a:lnTo>
                    <a:lnTo>
                      <a:pt x="588" y="1058"/>
                    </a:lnTo>
                    <a:lnTo>
                      <a:pt x="597" y="1059"/>
                    </a:lnTo>
                    <a:lnTo>
                      <a:pt x="605" y="1060"/>
                    </a:lnTo>
                    <a:lnTo>
                      <a:pt x="614" y="1060"/>
                    </a:lnTo>
                    <a:lnTo>
                      <a:pt x="625" y="1063"/>
                    </a:lnTo>
                    <a:lnTo>
                      <a:pt x="638" y="1066"/>
                    </a:lnTo>
                    <a:lnTo>
                      <a:pt x="653" y="1071"/>
                    </a:lnTo>
                    <a:lnTo>
                      <a:pt x="668" y="1076"/>
                    </a:lnTo>
                    <a:lnTo>
                      <a:pt x="683" y="1083"/>
                    </a:lnTo>
                    <a:lnTo>
                      <a:pt x="700" y="1090"/>
                    </a:lnTo>
                    <a:lnTo>
                      <a:pt x="716" y="1098"/>
                    </a:lnTo>
                    <a:lnTo>
                      <a:pt x="733" y="1108"/>
                    </a:lnTo>
                    <a:lnTo>
                      <a:pt x="747" y="1116"/>
                    </a:lnTo>
                    <a:lnTo>
                      <a:pt x="761" y="1126"/>
                    </a:lnTo>
                    <a:lnTo>
                      <a:pt x="773" y="1135"/>
                    </a:lnTo>
                    <a:lnTo>
                      <a:pt x="783" y="1144"/>
                    </a:lnTo>
                    <a:lnTo>
                      <a:pt x="791" y="1153"/>
                    </a:lnTo>
                    <a:lnTo>
                      <a:pt x="794" y="1158"/>
                    </a:lnTo>
                    <a:lnTo>
                      <a:pt x="796" y="1162"/>
                    </a:lnTo>
                    <a:lnTo>
                      <a:pt x="798" y="1167"/>
                    </a:lnTo>
                    <a:lnTo>
                      <a:pt x="798" y="1171"/>
                    </a:lnTo>
                    <a:lnTo>
                      <a:pt x="798" y="1190"/>
                    </a:lnTo>
                    <a:lnTo>
                      <a:pt x="798" y="1204"/>
                    </a:lnTo>
                    <a:lnTo>
                      <a:pt x="798" y="1214"/>
                    </a:lnTo>
                    <a:lnTo>
                      <a:pt x="798" y="1220"/>
                    </a:lnTo>
                    <a:lnTo>
                      <a:pt x="799" y="1229"/>
                    </a:lnTo>
                    <a:lnTo>
                      <a:pt x="803" y="1242"/>
                    </a:lnTo>
                    <a:lnTo>
                      <a:pt x="806" y="1249"/>
                    </a:lnTo>
                    <a:lnTo>
                      <a:pt x="810" y="1256"/>
                    </a:lnTo>
                    <a:lnTo>
                      <a:pt x="814" y="1263"/>
                    </a:lnTo>
                    <a:lnTo>
                      <a:pt x="818" y="1271"/>
                    </a:lnTo>
                    <a:lnTo>
                      <a:pt x="824" y="1277"/>
                    </a:lnTo>
                    <a:lnTo>
                      <a:pt x="830" y="1283"/>
                    </a:lnTo>
                    <a:lnTo>
                      <a:pt x="838" y="1288"/>
                    </a:lnTo>
                    <a:lnTo>
                      <a:pt x="846" y="1292"/>
                    </a:lnTo>
                    <a:lnTo>
                      <a:pt x="854" y="1295"/>
                    </a:lnTo>
                    <a:lnTo>
                      <a:pt x="863" y="1296"/>
                    </a:lnTo>
                    <a:lnTo>
                      <a:pt x="873" y="1296"/>
                    </a:lnTo>
                    <a:lnTo>
                      <a:pt x="884" y="1294"/>
                    </a:lnTo>
                    <a:lnTo>
                      <a:pt x="917" y="1294"/>
                    </a:lnTo>
                    <a:lnTo>
                      <a:pt x="918" y="1306"/>
                    </a:lnTo>
                    <a:lnTo>
                      <a:pt x="919" y="1317"/>
                    </a:lnTo>
                    <a:lnTo>
                      <a:pt x="923" y="1328"/>
                    </a:lnTo>
                    <a:lnTo>
                      <a:pt x="926" y="1336"/>
                    </a:lnTo>
                    <a:lnTo>
                      <a:pt x="929" y="1343"/>
                    </a:lnTo>
                    <a:lnTo>
                      <a:pt x="935" y="1349"/>
                    </a:lnTo>
                    <a:lnTo>
                      <a:pt x="939" y="1355"/>
                    </a:lnTo>
                    <a:lnTo>
                      <a:pt x="944" y="1360"/>
                    </a:lnTo>
                    <a:lnTo>
                      <a:pt x="953" y="1371"/>
                    </a:lnTo>
                    <a:lnTo>
                      <a:pt x="962" y="1385"/>
                    </a:lnTo>
                    <a:lnTo>
                      <a:pt x="965" y="1392"/>
                    </a:lnTo>
                    <a:lnTo>
                      <a:pt x="969" y="1401"/>
                    </a:lnTo>
                    <a:lnTo>
                      <a:pt x="970" y="1411"/>
                    </a:lnTo>
                    <a:lnTo>
                      <a:pt x="971" y="1423"/>
                    </a:lnTo>
                    <a:lnTo>
                      <a:pt x="970" y="1434"/>
                    </a:lnTo>
                    <a:lnTo>
                      <a:pt x="968" y="1443"/>
                    </a:lnTo>
                    <a:lnTo>
                      <a:pt x="964" y="1452"/>
                    </a:lnTo>
                    <a:lnTo>
                      <a:pt x="961" y="1459"/>
                    </a:lnTo>
                    <a:lnTo>
                      <a:pt x="957" y="1466"/>
                    </a:lnTo>
                    <a:lnTo>
                      <a:pt x="953" y="1474"/>
                    </a:lnTo>
                    <a:lnTo>
                      <a:pt x="951" y="1482"/>
                    </a:lnTo>
                    <a:lnTo>
                      <a:pt x="951" y="1491"/>
                    </a:lnTo>
                    <a:lnTo>
                      <a:pt x="951" y="1498"/>
                    </a:lnTo>
                    <a:lnTo>
                      <a:pt x="952" y="1503"/>
                    </a:lnTo>
                    <a:lnTo>
                      <a:pt x="953" y="1509"/>
                    </a:lnTo>
                    <a:lnTo>
                      <a:pt x="955" y="1513"/>
                    </a:lnTo>
                    <a:lnTo>
                      <a:pt x="959" y="1521"/>
                    </a:lnTo>
                    <a:lnTo>
                      <a:pt x="964" y="1527"/>
                    </a:lnTo>
                    <a:lnTo>
                      <a:pt x="969" y="1533"/>
                    </a:lnTo>
                    <a:lnTo>
                      <a:pt x="973" y="1537"/>
                    </a:lnTo>
                    <a:lnTo>
                      <a:pt x="976" y="1541"/>
                    </a:lnTo>
                    <a:lnTo>
                      <a:pt x="978" y="1547"/>
                    </a:lnTo>
                    <a:lnTo>
                      <a:pt x="979" y="1555"/>
                    </a:lnTo>
                    <a:lnTo>
                      <a:pt x="979" y="1564"/>
                    </a:lnTo>
                    <a:lnTo>
                      <a:pt x="979" y="1572"/>
                    </a:lnTo>
                    <a:lnTo>
                      <a:pt x="978" y="1580"/>
                    </a:lnTo>
                    <a:lnTo>
                      <a:pt x="976" y="1588"/>
                    </a:lnTo>
                    <a:lnTo>
                      <a:pt x="975" y="1596"/>
                    </a:lnTo>
                    <a:lnTo>
                      <a:pt x="975" y="1605"/>
                    </a:lnTo>
                    <a:lnTo>
                      <a:pt x="978" y="1614"/>
                    </a:lnTo>
                    <a:lnTo>
                      <a:pt x="981" y="1621"/>
                    </a:lnTo>
                    <a:lnTo>
                      <a:pt x="985" y="1627"/>
                    </a:lnTo>
                    <a:lnTo>
                      <a:pt x="992" y="1632"/>
                    </a:lnTo>
                    <a:lnTo>
                      <a:pt x="998" y="1637"/>
                    </a:lnTo>
                    <a:lnTo>
                      <a:pt x="1016" y="1645"/>
                    </a:lnTo>
                    <a:lnTo>
                      <a:pt x="1036" y="1653"/>
                    </a:lnTo>
                    <a:lnTo>
                      <a:pt x="1057" y="1661"/>
                    </a:lnTo>
                    <a:lnTo>
                      <a:pt x="1077" y="1669"/>
                    </a:lnTo>
                    <a:lnTo>
                      <a:pt x="1086" y="1673"/>
                    </a:lnTo>
                    <a:lnTo>
                      <a:pt x="1095" y="1678"/>
                    </a:lnTo>
                    <a:lnTo>
                      <a:pt x="1104" y="1682"/>
                    </a:lnTo>
                    <a:lnTo>
                      <a:pt x="1110" y="1688"/>
                    </a:lnTo>
                    <a:lnTo>
                      <a:pt x="1116" y="1692"/>
                    </a:lnTo>
                    <a:lnTo>
                      <a:pt x="1124" y="1695"/>
                    </a:lnTo>
                    <a:lnTo>
                      <a:pt x="1131" y="1698"/>
                    </a:lnTo>
                    <a:lnTo>
                      <a:pt x="1140" y="1700"/>
                    </a:lnTo>
                    <a:lnTo>
                      <a:pt x="1149" y="1702"/>
                    </a:lnTo>
                    <a:lnTo>
                      <a:pt x="1157" y="1705"/>
                    </a:lnTo>
                    <a:lnTo>
                      <a:pt x="1164" y="1708"/>
                    </a:lnTo>
                    <a:lnTo>
                      <a:pt x="1170" y="1713"/>
                    </a:lnTo>
                    <a:lnTo>
                      <a:pt x="1176" y="1721"/>
                    </a:lnTo>
                    <a:lnTo>
                      <a:pt x="1181" y="1729"/>
                    </a:lnTo>
                    <a:lnTo>
                      <a:pt x="1185" y="1739"/>
                    </a:lnTo>
                    <a:lnTo>
                      <a:pt x="1187" y="1749"/>
                    </a:lnTo>
                    <a:lnTo>
                      <a:pt x="1189" y="1772"/>
                    </a:lnTo>
                    <a:lnTo>
                      <a:pt x="1192" y="1794"/>
                    </a:lnTo>
                    <a:lnTo>
                      <a:pt x="1193" y="1805"/>
                    </a:lnTo>
                    <a:lnTo>
                      <a:pt x="1195" y="1815"/>
                    </a:lnTo>
                    <a:lnTo>
                      <a:pt x="1198" y="1825"/>
                    </a:lnTo>
                    <a:lnTo>
                      <a:pt x="1204" y="1832"/>
                    </a:lnTo>
                    <a:lnTo>
                      <a:pt x="1207" y="1836"/>
                    </a:lnTo>
                    <a:lnTo>
                      <a:pt x="1210" y="1839"/>
                    </a:lnTo>
                    <a:lnTo>
                      <a:pt x="1214" y="1842"/>
                    </a:lnTo>
                    <a:lnTo>
                      <a:pt x="1219" y="1844"/>
                    </a:lnTo>
                    <a:lnTo>
                      <a:pt x="1224" y="1846"/>
                    </a:lnTo>
                    <a:lnTo>
                      <a:pt x="1229" y="1847"/>
                    </a:lnTo>
                    <a:lnTo>
                      <a:pt x="1236" y="1848"/>
                    </a:lnTo>
                    <a:lnTo>
                      <a:pt x="1243" y="1848"/>
                    </a:lnTo>
                    <a:lnTo>
                      <a:pt x="1243" y="1864"/>
                    </a:lnTo>
                    <a:lnTo>
                      <a:pt x="1243" y="1879"/>
                    </a:lnTo>
                    <a:lnTo>
                      <a:pt x="1243" y="1891"/>
                    </a:lnTo>
                    <a:lnTo>
                      <a:pt x="1243" y="1904"/>
                    </a:lnTo>
                    <a:lnTo>
                      <a:pt x="1243" y="1921"/>
                    </a:lnTo>
                    <a:lnTo>
                      <a:pt x="1243" y="1942"/>
                    </a:lnTo>
                    <a:lnTo>
                      <a:pt x="1243" y="1961"/>
                    </a:lnTo>
                    <a:lnTo>
                      <a:pt x="1243" y="1971"/>
                    </a:lnTo>
                    <a:lnTo>
                      <a:pt x="1232" y="1974"/>
                    </a:lnTo>
                    <a:lnTo>
                      <a:pt x="1221" y="1979"/>
                    </a:lnTo>
                    <a:lnTo>
                      <a:pt x="1208" y="1985"/>
                    </a:lnTo>
                    <a:lnTo>
                      <a:pt x="1196" y="1994"/>
                    </a:lnTo>
                    <a:lnTo>
                      <a:pt x="1183" y="2003"/>
                    </a:lnTo>
                    <a:lnTo>
                      <a:pt x="1170" y="2013"/>
                    </a:lnTo>
                    <a:lnTo>
                      <a:pt x="1157" y="2023"/>
                    </a:lnTo>
                    <a:lnTo>
                      <a:pt x="1143" y="2034"/>
                    </a:lnTo>
                    <a:lnTo>
                      <a:pt x="1131" y="2047"/>
                    </a:lnTo>
                    <a:lnTo>
                      <a:pt x="1120" y="2059"/>
                    </a:lnTo>
                    <a:lnTo>
                      <a:pt x="1109" y="2070"/>
                    </a:lnTo>
                    <a:lnTo>
                      <a:pt x="1101" y="2082"/>
                    </a:lnTo>
                    <a:lnTo>
                      <a:pt x="1094" y="2094"/>
                    </a:lnTo>
                    <a:lnTo>
                      <a:pt x="1088" y="2106"/>
                    </a:lnTo>
                    <a:lnTo>
                      <a:pt x="1085" y="2116"/>
                    </a:lnTo>
                    <a:lnTo>
                      <a:pt x="1084" y="2125"/>
                    </a:lnTo>
                    <a:lnTo>
                      <a:pt x="1084" y="2128"/>
                    </a:lnTo>
                    <a:lnTo>
                      <a:pt x="1086" y="2130"/>
                    </a:lnTo>
                    <a:lnTo>
                      <a:pt x="1088" y="2132"/>
                    </a:lnTo>
                    <a:lnTo>
                      <a:pt x="1092" y="2133"/>
                    </a:lnTo>
                    <a:lnTo>
                      <a:pt x="1101" y="2137"/>
                    </a:lnTo>
                    <a:lnTo>
                      <a:pt x="1110" y="2139"/>
                    </a:lnTo>
                    <a:lnTo>
                      <a:pt x="1131" y="2142"/>
                    </a:lnTo>
                    <a:lnTo>
                      <a:pt x="1143" y="2144"/>
                    </a:lnTo>
                    <a:lnTo>
                      <a:pt x="1151" y="2145"/>
                    </a:lnTo>
                    <a:lnTo>
                      <a:pt x="1158" y="2147"/>
                    </a:lnTo>
                    <a:lnTo>
                      <a:pt x="1163" y="2150"/>
                    </a:lnTo>
                    <a:lnTo>
                      <a:pt x="1169" y="2153"/>
                    </a:lnTo>
                    <a:lnTo>
                      <a:pt x="1180" y="2161"/>
                    </a:lnTo>
                    <a:lnTo>
                      <a:pt x="1189" y="2170"/>
                    </a:lnTo>
                    <a:lnTo>
                      <a:pt x="1200" y="2178"/>
                    </a:lnTo>
                    <a:lnTo>
                      <a:pt x="1210" y="2186"/>
                    </a:lnTo>
                    <a:lnTo>
                      <a:pt x="1216" y="2190"/>
                    </a:lnTo>
                    <a:lnTo>
                      <a:pt x="1222" y="2193"/>
                    </a:lnTo>
                    <a:lnTo>
                      <a:pt x="1229" y="2197"/>
                    </a:lnTo>
                    <a:lnTo>
                      <a:pt x="1237" y="2199"/>
                    </a:lnTo>
                    <a:lnTo>
                      <a:pt x="1248" y="2203"/>
                    </a:lnTo>
                    <a:lnTo>
                      <a:pt x="1258" y="2208"/>
                    </a:lnTo>
                    <a:lnTo>
                      <a:pt x="1267" y="2214"/>
                    </a:lnTo>
                    <a:lnTo>
                      <a:pt x="1277" y="2220"/>
                    </a:lnTo>
                    <a:lnTo>
                      <a:pt x="1296" y="2234"/>
                    </a:lnTo>
                    <a:lnTo>
                      <a:pt x="1312" y="2248"/>
                    </a:lnTo>
                    <a:lnTo>
                      <a:pt x="1327" y="2262"/>
                    </a:lnTo>
                    <a:lnTo>
                      <a:pt x="1340" y="2275"/>
                    </a:lnTo>
                    <a:lnTo>
                      <a:pt x="1352" y="2285"/>
                    </a:lnTo>
                    <a:lnTo>
                      <a:pt x="1363" y="2292"/>
                    </a:lnTo>
                    <a:lnTo>
                      <a:pt x="1370" y="2276"/>
                    </a:lnTo>
                    <a:lnTo>
                      <a:pt x="1377" y="2261"/>
                    </a:lnTo>
                    <a:lnTo>
                      <a:pt x="1385" y="2248"/>
                    </a:lnTo>
                    <a:lnTo>
                      <a:pt x="1394" y="2235"/>
                    </a:lnTo>
                    <a:lnTo>
                      <a:pt x="1401" y="2223"/>
                    </a:lnTo>
                    <a:lnTo>
                      <a:pt x="1410" y="2210"/>
                    </a:lnTo>
                    <a:lnTo>
                      <a:pt x="1419" y="2198"/>
                    </a:lnTo>
                    <a:lnTo>
                      <a:pt x="1429" y="2187"/>
                    </a:lnTo>
                    <a:lnTo>
                      <a:pt x="1439" y="2160"/>
                    </a:lnTo>
                    <a:lnTo>
                      <a:pt x="1449" y="2138"/>
                    </a:lnTo>
                    <a:lnTo>
                      <a:pt x="1459" y="2116"/>
                    </a:lnTo>
                    <a:lnTo>
                      <a:pt x="1468" y="2088"/>
                    </a:lnTo>
                    <a:lnTo>
                      <a:pt x="1472" y="2082"/>
                    </a:lnTo>
                    <a:lnTo>
                      <a:pt x="1476" y="2076"/>
                    </a:lnTo>
                    <a:lnTo>
                      <a:pt x="1480" y="2070"/>
                    </a:lnTo>
                    <a:lnTo>
                      <a:pt x="1485" y="2065"/>
                    </a:lnTo>
                    <a:lnTo>
                      <a:pt x="1496" y="2055"/>
                    </a:lnTo>
                    <a:lnTo>
                      <a:pt x="1507" y="2046"/>
                    </a:lnTo>
                    <a:lnTo>
                      <a:pt x="1518" y="2036"/>
                    </a:lnTo>
                    <a:lnTo>
                      <a:pt x="1527" y="2026"/>
                    </a:lnTo>
                    <a:lnTo>
                      <a:pt x="1530" y="2021"/>
                    </a:lnTo>
                    <a:lnTo>
                      <a:pt x="1533" y="2015"/>
                    </a:lnTo>
                    <a:lnTo>
                      <a:pt x="1534" y="2009"/>
                    </a:lnTo>
                    <a:lnTo>
                      <a:pt x="1535" y="2002"/>
                    </a:lnTo>
                    <a:lnTo>
                      <a:pt x="1535" y="1993"/>
                    </a:lnTo>
                    <a:lnTo>
                      <a:pt x="1534" y="1984"/>
                    </a:lnTo>
                    <a:lnTo>
                      <a:pt x="1532" y="1975"/>
                    </a:lnTo>
                    <a:lnTo>
                      <a:pt x="1530" y="1966"/>
                    </a:lnTo>
                    <a:lnTo>
                      <a:pt x="1524" y="1950"/>
                    </a:lnTo>
                    <a:lnTo>
                      <a:pt x="1519" y="1934"/>
                    </a:lnTo>
                    <a:lnTo>
                      <a:pt x="1512" y="1918"/>
                    </a:lnTo>
                    <a:lnTo>
                      <a:pt x="1507" y="1904"/>
                    </a:lnTo>
                    <a:lnTo>
                      <a:pt x="1504" y="1891"/>
                    </a:lnTo>
                    <a:lnTo>
                      <a:pt x="1502" y="1879"/>
                    </a:lnTo>
                    <a:lnTo>
                      <a:pt x="1502" y="1873"/>
                    </a:lnTo>
                    <a:lnTo>
                      <a:pt x="1504" y="1867"/>
                    </a:lnTo>
                    <a:lnTo>
                      <a:pt x="1506" y="1861"/>
                    </a:lnTo>
                    <a:lnTo>
                      <a:pt x="1508" y="1855"/>
                    </a:lnTo>
                    <a:lnTo>
                      <a:pt x="1514" y="1843"/>
                    </a:lnTo>
                    <a:lnTo>
                      <a:pt x="1523" y="1830"/>
                    </a:lnTo>
                    <a:lnTo>
                      <a:pt x="1534" y="1817"/>
                    </a:lnTo>
                    <a:lnTo>
                      <a:pt x="1547" y="1805"/>
                    </a:lnTo>
                    <a:lnTo>
                      <a:pt x="1561" y="1793"/>
                    </a:lnTo>
                    <a:lnTo>
                      <a:pt x="1576" y="1782"/>
                    </a:lnTo>
                    <a:lnTo>
                      <a:pt x="1591" y="1772"/>
                    </a:lnTo>
                    <a:lnTo>
                      <a:pt x="1608" y="1761"/>
                    </a:lnTo>
                    <a:lnTo>
                      <a:pt x="1623" y="1753"/>
                    </a:lnTo>
                    <a:lnTo>
                      <a:pt x="1640" y="1745"/>
                    </a:lnTo>
                    <a:lnTo>
                      <a:pt x="1655" y="1739"/>
                    </a:lnTo>
                    <a:lnTo>
                      <a:pt x="1669" y="1735"/>
                    </a:lnTo>
                    <a:lnTo>
                      <a:pt x="1682" y="1732"/>
                    </a:lnTo>
                    <a:lnTo>
                      <a:pt x="1695" y="1731"/>
                    </a:lnTo>
                    <a:lnTo>
                      <a:pt x="1699" y="1731"/>
                    </a:lnTo>
                    <a:lnTo>
                      <a:pt x="1702" y="1729"/>
                    </a:lnTo>
                    <a:lnTo>
                      <a:pt x="1706" y="1727"/>
                    </a:lnTo>
                    <a:lnTo>
                      <a:pt x="1709" y="1725"/>
                    </a:lnTo>
                    <a:lnTo>
                      <a:pt x="1717" y="1718"/>
                    </a:lnTo>
                    <a:lnTo>
                      <a:pt x="1724" y="1709"/>
                    </a:lnTo>
                    <a:lnTo>
                      <a:pt x="1733" y="1701"/>
                    </a:lnTo>
                    <a:lnTo>
                      <a:pt x="1743" y="1694"/>
                    </a:lnTo>
                    <a:lnTo>
                      <a:pt x="1748" y="1692"/>
                    </a:lnTo>
                    <a:lnTo>
                      <a:pt x="1754" y="1690"/>
                    </a:lnTo>
                    <a:lnTo>
                      <a:pt x="1760" y="1688"/>
                    </a:lnTo>
                    <a:lnTo>
                      <a:pt x="1768" y="1688"/>
                    </a:lnTo>
                    <a:lnTo>
                      <a:pt x="1779" y="1684"/>
                    </a:lnTo>
                    <a:lnTo>
                      <a:pt x="1789" y="1682"/>
                    </a:lnTo>
                    <a:lnTo>
                      <a:pt x="1798" y="1681"/>
                    </a:lnTo>
                    <a:lnTo>
                      <a:pt x="1807" y="1680"/>
                    </a:lnTo>
                    <a:lnTo>
                      <a:pt x="1820" y="1681"/>
                    </a:lnTo>
                    <a:lnTo>
                      <a:pt x="1834" y="1682"/>
                    </a:lnTo>
                    <a:lnTo>
                      <a:pt x="1854" y="1681"/>
                    </a:lnTo>
                    <a:lnTo>
                      <a:pt x="1868" y="1679"/>
                    </a:lnTo>
                    <a:lnTo>
                      <a:pt x="1874" y="1678"/>
                    </a:lnTo>
                    <a:lnTo>
                      <a:pt x="1878" y="1676"/>
                    </a:lnTo>
                    <a:lnTo>
                      <a:pt x="1882" y="1673"/>
                    </a:lnTo>
                    <a:lnTo>
                      <a:pt x="1885" y="1670"/>
                    </a:lnTo>
                    <a:lnTo>
                      <a:pt x="1890" y="1663"/>
                    </a:lnTo>
                    <a:lnTo>
                      <a:pt x="1893" y="1653"/>
                    </a:lnTo>
                    <a:lnTo>
                      <a:pt x="1897" y="1641"/>
                    </a:lnTo>
                    <a:lnTo>
                      <a:pt x="1901" y="1626"/>
                    </a:lnTo>
                    <a:lnTo>
                      <a:pt x="1927" y="1571"/>
                    </a:lnTo>
                    <a:lnTo>
                      <a:pt x="1939" y="1553"/>
                    </a:lnTo>
                    <a:lnTo>
                      <a:pt x="1949" y="1535"/>
                    </a:lnTo>
                    <a:lnTo>
                      <a:pt x="1959" y="1518"/>
                    </a:lnTo>
                    <a:lnTo>
                      <a:pt x="1967" y="1500"/>
                    </a:lnTo>
                    <a:lnTo>
                      <a:pt x="1972" y="1480"/>
                    </a:lnTo>
                    <a:lnTo>
                      <a:pt x="1977" y="1460"/>
                    </a:lnTo>
                    <a:lnTo>
                      <a:pt x="1980" y="1437"/>
                    </a:lnTo>
                    <a:lnTo>
                      <a:pt x="1980" y="1411"/>
                    </a:lnTo>
                    <a:lnTo>
                      <a:pt x="1981" y="1405"/>
                    </a:lnTo>
                    <a:lnTo>
                      <a:pt x="1982" y="1400"/>
                    </a:lnTo>
                    <a:lnTo>
                      <a:pt x="1983" y="1395"/>
                    </a:lnTo>
                    <a:lnTo>
                      <a:pt x="1986" y="1391"/>
                    </a:lnTo>
                    <a:lnTo>
                      <a:pt x="1991" y="1382"/>
                    </a:lnTo>
                    <a:lnTo>
                      <a:pt x="1997" y="1372"/>
                    </a:lnTo>
                    <a:lnTo>
                      <a:pt x="2003" y="1364"/>
                    </a:lnTo>
                    <a:lnTo>
                      <a:pt x="2009" y="1354"/>
                    </a:lnTo>
                    <a:lnTo>
                      <a:pt x="2011" y="1349"/>
                    </a:lnTo>
                    <a:lnTo>
                      <a:pt x="2012" y="1343"/>
                    </a:lnTo>
                    <a:lnTo>
                      <a:pt x="2013" y="1337"/>
                    </a:lnTo>
                    <a:lnTo>
                      <a:pt x="2014" y="1331"/>
                    </a:lnTo>
                    <a:lnTo>
                      <a:pt x="2014" y="1307"/>
                    </a:lnTo>
                    <a:lnTo>
                      <a:pt x="2014" y="1288"/>
                    </a:lnTo>
                    <a:lnTo>
                      <a:pt x="2014" y="1271"/>
                    </a:lnTo>
                    <a:lnTo>
                      <a:pt x="2014" y="1250"/>
                    </a:lnTo>
                    <a:lnTo>
                      <a:pt x="2011" y="1223"/>
                    </a:lnTo>
                    <a:lnTo>
                      <a:pt x="2004" y="1185"/>
                    </a:lnTo>
                    <a:lnTo>
                      <a:pt x="2000" y="1165"/>
                    </a:lnTo>
                    <a:lnTo>
                      <a:pt x="1997" y="1145"/>
                    </a:lnTo>
                    <a:lnTo>
                      <a:pt x="1994" y="1129"/>
                    </a:lnTo>
                    <a:lnTo>
                      <a:pt x="1993" y="1115"/>
                    </a:lnTo>
                    <a:lnTo>
                      <a:pt x="1994" y="1108"/>
                    </a:lnTo>
                    <a:lnTo>
                      <a:pt x="1997" y="1102"/>
                    </a:lnTo>
                    <a:lnTo>
                      <a:pt x="1999" y="1096"/>
                    </a:lnTo>
                    <a:lnTo>
                      <a:pt x="2002" y="1090"/>
                    </a:lnTo>
                    <a:lnTo>
                      <a:pt x="2006" y="1085"/>
                    </a:lnTo>
                    <a:lnTo>
                      <a:pt x="2012" y="1081"/>
                    </a:lnTo>
                    <a:lnTo>
                      <a:pt x="2017" y="1077"/>
                    </a:lnTo>
                    <a:lnTo>
                      <a:pt x="2023" y="1073"/>
                    </a:lnTo>
                    <a:lnTo>
                      <a:pt x="2035" y="1067"/>
                    </a:lnTo>
                    <a:lnTo>
                      <a:pt x="2047" y="1063"/>
                    </a:lnTo>
                    <a:lnTo>
                      <a:pt x="2058" y="1060"/>
                    </a:lnTo>
                    <a:lnTo>
                      <a:pt x="2067" y="1060"/>
                    </a:lnTo>
                    <a:lnTo>
                      <a:pt x="2067" y="1046"/>
                    </a:lnTo>
                    <a:lnTo>
                      <a:pt x="2069" y="1032"/>
                    </a:lnTo>
                    <a:lnTo>
                      <a:pt x="2071" y="1020"/>
                    </a:lnTo>
                    <a:lnTo>
                      <a:pt x="2073" y="1009"/>
                    </a:lnTo>
                    <a:lnTo>
                      <a:pt x="2078" y="999"/>
                    </a:lnTo>
                    <a:lnTo>
                      <a:pt x="2081" y="990"/>
                    </a:lnTo>
                    <a:lnTo>
                      <a:pt x="2087" y="980"/>
                    </a:lnTo>
                    <a:lnTo>
                      <a:pt x="2092" y="972"/>
                    </a:lnTo>
                    <a:lnTo>
                      <a:pt x="2104" y="956"/>
                    </a:lnTo>
                    <a:lnTo>
                      <a:pt x="2117" y="943"/>
                    </a:lnTo>
                    <a:lnTo>
                      <a:pt x="2132" y="929"/>
                    </a:lnTo>
                    <a:lnTo>
                      <a:pt x="2147" y="917"/>
                    </a:lnTo>
                    <a:lnTo>
                      <a:pt x="2161" y="904"/>
                    </a:lnTo>
                    <a:lnTo>
                      <a:pt x="2175" y="891"/>
                    </a:lnTo>
                    <a:lnTo>
                      <a:pt x="2183" y="885"/>
                    </a:lnTo>
                    <a:lnTo>
                      <a:pt x="2190" y="877"/>
                    </a:lnTo>
                    <a:lnTo>
                      <a:pt x="2195" y="869"/>
                    </a:lnTo>
                    <a:lnTo>
                      <a:pt x="2202" y="861"/>
                    </a:lnTo>
                    <a:lnTo>
                      <a:pt x="2206" y="852"/>
                    </a:lnTo>
                    <a:lnTo>
                      <a:pt x="2212" y="843"/>
                    </a:lnTo>
                    <a:lnTo>
                      <a:pt x="2216" y="833"/>
                    </a:lnTo>
                    <a:lnTo>
                      <a:pt x="2219" y="822"/>
                    </a:lnTo>
                    <a:lnTo>
                      <a:pt x="2223" y="810"/>
                    </a:lnTo>
                    <a:lnTo>
                      <a:pt x="2225" y="798"/>
                    </a:lnTo>
                    <a:lnTo>
                      <a:pt x="2226" y="784"/>
                    </a:lnTo>
                    <a:lnTo>
                      <a:pt x="2226" y="770"/>
                    </a:lnTo>
                    <a:lnTo>
                      <a:pt x="2225" y="752"/>
                    </a:lnTo>
                    <a:lnTo>
                      <a:pt x="2222" y="732"/>
                    </a:lnTo>
                    <a:lnTo>
                      <a:pt x="2217" y="711"/>
                    </a:lnTo>
                    <a:lnTo>
                      <a:pt x="2212" y="689"/>
                    </a:lnTo>
                    <a:lnTo>
                      <a:pt x="2205" y="668"/>
                    </a:lnTo>
                    <a:lnTo>
                      <a:pt x="2199" y="649"/>
                    </a:lnTo>
                    <a:lnTo>
                      <a:pt x="2192" y="633"/>
                    </a:lnTo>
                    <a:lnTo>
                      <a:pt x="2186" y="622"/>
                    </a:lnTo>
                    <a:lnTo>
                      <a:pt x="2182" y="614"/>
                    </a:lnTo>
                    <a:lnTo>
                      <a:pt x="2178" y="608"/>
                    </a:lnTo>
                    <a:lnTo>
                      <a:pt x="2173" y="604"/>
                    </a:lnTo>
                    <a:lnTo>
                      <a:pt x="2168" y="601"/>
                    </a:lnTo>
                    <a:lnTo>
                      <a:pt x="2163" y="600"/>
                    </a:lnTo>
                    <a:lnTo>
                      <a:pt x="2157" y="599"/>
                    </a:lnTo>
                    <a:lnTo>
                      <a:pt x="2151" y="600"/>
                    </a:lnTo>
                    <a:lnTo>
                      <a:pt x="2146" y="601"/>
                    </a:lnTo>
                    <a:lnTo>
                      <a:pt x="2134" y="603"/>
                    </a:lnTo>
                    <a:lnTo>
                      <a:pt x="2122" y="605"/>
                    </a:lnTo>
                    <a:lnTo>
                      <a:pt x="2116" y="605"/>
                    </a:lnTo>
                    <a:lnTo>
                      <a:pt x="2111" y="604"/>
                    </a:lnTo>
                    <a:lnTo>
                      <a:pt x="2105" y="602"/>
                    </a:lnTo>
                    <a:lnTo>
                      <a:pt x="2100" y="597"/>
                    </a:lnTo>
                    <a:lnTo>
                      <a:pt x="2089" y="590"/>
                    </a:lnTo>
                    <a:lnTo>
                      <a:pt x="2079" y="582"/>
                    </a:lnTo>
                    <a:lnTo>
                      <a:pt x="2069" y="573"/>
                    </a:lnTo>
                    <a:lnTo>
                      <a:pt x="2059" y="563"/>
                    </a:lnTo>
                    <a:lnTo>
                      <a:pt x="2039" y="540"/>
                    </a:lnTo>
                    <a:lnTo>
                      <a:pt x="2021" y="518"/>
                    </a:lnTo>
                    <a:lnTo>
                      <a:pt x="2010" y="507"/>
                    </a:lnTo>
                    <a:lnTo>
                      <a:pt x="2000" y="497"/>
                    </a:lnTo>
                    <a:lnTo>
                      <a:pt x="1989" y="488"/>
                    </a:lnTo>
                    <a:lnTo>
                      <a:pt x="1977" y="478"/>
                    </a:lnTo>
                    <a:lnTo>
                      <a:pt x="1965" y="471"/>
                    </a:lnTo>
                    <a:lnTo>
                      <a:pt x="1950" y="466"/>
                    </a:lnTo>
                    <a:lnTo>
                      <a:pt x="1944" y="464"/>
                    </a:lnTo>
                    <a:lnTo>
                      <a:pt x="1936" y="463"/>
                    </a:lnTo>
                    <a:lnTo>
                      <a:pt x="1928" y="462"/>
                    </a:lnTo>
                    <a:lnTo>
                      <a:pt x="1921" y="462"/>
                    </a:lnTo>
                    <a:lnTo>
                      <a:pt x="1898" y="462"/>
                    </a:lnTo>
                    <a:lnTo>
                      <a:pt x="1878" y="462"/>
                    </a:lnTo>
                    <a:lnTo>
                      <a:pt x="1860" y="462"/>
                    </a:lnTo>
                    <a:lnTo>
                      <a:pt x="1841" y="462"/>
                    </a:lnTo>
                    <a:lnTo>
                      <a:pt x="1826" y="461"/>
                    </a:lnTo>
                    <a:lnTo>
                      <a:pt x="1814" y="460"/>
                    </a:lnTo>
                    <a:lnTo>
                      <a:pt x="1802" y="458"/>
                    </a:lnTo>
                    <a:lnTo>
                      <a:pt x="1791" y="456"/>
                    </a:lnTo>
                    <a:lnTo>
                      <a:pt x="1780" y="453"/>
                    </a:lnTo>
                    <a:lnTo>
                      <a:pt x="1768" y="451"/>
                    </a:lnTo>
                    <a:lnTo>
                      <a:pt x="1755" y="450"/>
                    </a:lnTo>
                    <a:lnTo>
                      <a:pt x="1742" y="450"/>
                    </a:lnTo>
                    <a:lnTo>
                      <a:pt x="1725" y="450"/>
                    </a:lnTo>
                    <a:lnTo>
                      <a:pt x="1713" y="452"/>
                    </a:lnTo>
                    <a:lnTo>
                      <a:pt x="1703" y="454"/>
                    </a:lnTo>
                    <a:lnTo>
                      <a:pt x="1696" y="458"/>
                    </a:lnTo>
                    <a:lnTo>
                      <a:pt x="1689" y="462"/>
                    </a:lnTo>
                    <a:lnTo>
                      <a:pt x="1685" y="467"/>
                    </a:lnTo>
                    <a:lnTo>
                      <a:pt x="1679" y="473"/>
                    </a:lnTo>
                    <a:lnTo>
                      <a:pt x="1675" y="480"/>
                    </a:lnTo>
                    <a:lnTo>
                      <a:pt x="1672" y="471"/>
                    </a:lnTo>
                    <a:lnTo>
                      <a:pt x="1669" y="462"/>
                    </a:lnTo>
                    <a:lnTo>
                      <a:pt x="1669" y="454"/>
                    </a:lnTo>
                    <a:lnTo>
                      <a:pt x="1670" y="447"/>
                    </a:lnTo>
                    <a:lnTo>
                      <a:pt x="1673" y="436"/>
                    </a:lnTo>
                    <a:lnTo>
                      <a:pt x="1675" y="430"/>
                    </a:lnTo>
                    <a:lnTo>
                      <a:pt x="1675" y="426"/>
                    </a:lnTo>
                    <a:lnTo>
                      <a:pt x="1673" y="421"/>
                    </a:lnTo>
                    <a:lnTo>
                      <a:pt x="1670" y="417"/>
                    </a:lnTo>
                    <a:lnTo>
                      <a:pt x="1668" y="413"/>
                    </a:lnTo>
                    <a:lnTo>
                      <a:pt x="1664" y="406"/>
                    </a:lnTo>
                    <a:lnTo>
                      <a:pt x="1662" y="400"/>
                    </a:lnTo>
                    <a:lnTo>
                      <a:pt x="1655" y="400"/>
                    </a:lnTo>
                    <a:lnTo>
                      <a:pt x="1648" y="398"/>
                    </a:lnTo>
                    <a:lnTo>
                      <a:pt x="1643" y="396"/>
                    </a:lnTo>
                    <a:lnTo>
                      <a:pt x="1636" y="394"/>
                    </a:lnTo>
                    <a:lnTo>
                      <a:pt x="1624" y="387"/>
                    </a:lnTo>
                    <a:lnTo>
                      <a:pt x="1612" y="379"/>
                    </a:lnTo>
                    <a:lnTo>
                      <a:pt x="1596" y="363"/>
                    </a:lnTo>
                    <a:lnTo>
                      <a:pt x="1588" y="357"/>
                    </a:lnTo>
                    <a:lnTo>
                      <a:pt x="1581" y="359"/>
                    </a:lnTo>
                    <a:lnTo>
                      <a:pt x="1574" y="360"/>
                    </a:lnTo>
                    <a:lnTo>
                      <a:pt x="1567" y="361"/>
                    </a:lnTo>
                    <a:lnTo>
                      <a:pt x="1560" y="362"/>
                    </a:lnTo>
                    <a:lnTo>
                      <a:pt x="1546" y="361"/>
                    </a:lnTo>
                    <a:lnTo>
                      <a:pt x="1534" y="358"/>
                    </a:lnTo>
                    <a:lnTo>
                      <a:pt x="1523" y="354"/>
                    </a:lnTo>
                    <a:lnTo>
                      <a:pt x="1512" y="348"/>
                    </a:lnTo>
                    <a:lnTo>
                      <a:pt x="1504" y="341"/>
                    </a:lnTo>
                    <a:lnTo>
                      <a:pt x="1496" y="333"/>
                    </a:lnTo>
                    <a:lnTo>
                      <a:pt x="1468" y="333"/>
                    </a:lnTo>
                    <a:lnTo>
                      <a:pt x="1468" y="337"/>
                    </a:lnTo>
                    <a:lnTo>
                      <a:pt x="1466" y="342"/>
                    </a:lnTo>
                    <a:lnTo>
                      <a:pt x="1463" y="349"/>
                    </a:lnTo>
                    <a:lnTo>
                      <a:pt x="1459" y="357"/>
                    </a:lnTo>
                    <a:lnTo>
                      <a:pt x="1446" y="373"/>
                    </a:lnTo>
                    <a:lnTo>
                      <a:pt x="1433" y="390"/>
                    </a:lnTo>
                    <a:lnTo>
                      <a:pt x="1426" y="398"/>
                    </a:lnTo>
                    <a:lnTo>
                      <a:pt x="1419" y="404"/>
                    </a:lnTo>
                    <a:lnTo>
                      <a:pt x="1411" y="409"/>
                    </a:lnTo>
                    <a:lnTo>
                      <a:pt x="1405" y="413"/>
                    </a:lnTo>
                    <a:lnTo>
                      <a:pt x="1401" y="414"/>
                    </a:lnTo>
                    <a:lnTo>
                      <a:pt x="1398" y="415"/>
                    </a:lnTo>
                    <a:lnTo>
                      <a:pt x="1395" y="415"/>
                    </a:lnTo>
                    <a:lnTo>
                      <a:pt x="1392" y="414"/>
                    </a:lnTo>
                    <a:lnTo>
                      <a:pt x="1389" y="413"/>
                    </a:lnTo>
                    <a:lnTo>
                      <a:pt x="1387" y="412"/>
                    </a:lnTo>
                    <a:lnTo>
                      <a:pt x="1385" y="409"/>
                    </a:lnTo>
                    <a:lnTo>
                      <a:pt x="1383" y="406"/>
                    </a:lnTo>
                    <a:lnTo>
                      <a:pt x="1367" y="406"/>
                    </a:lnTo>
                    <a:lnTo>
                      <a:pt x="1352" y="406"/>
                    </a:lnTo>
                    <a:lnTo>
                      <a:pt x="1338" y="405"/>
                    </a:lnTo>
                    <a:lnTo>
                      <a:pt x="1325" y="402"/>
                    </a:lnTo>
                    <a:lnTo>
                      <a:pt x="1318" y="401"/>
                    </a:lnTo>
                    <a:lnTo>
                      <a:pt x="1312" y="399"/>
                    </a:lnTo>
                    <a:lnTo>
                      <a:pt x="1308" y="396"/>
                    </a:lnTo>
                    <a:lnTo>
                      <a:pt x="1304" y="393"/>
                    </a:lnTo>
                    <a:lnTo>
                      <a:pt x="1300" y="390"/>
                    </a:lnTo>
                    <a:lnTo>
                      <a:pt x="1298" y="386"/>
                    </a:lnTo>
                    <a:lnTo>
                      <a:pt x="1297" y="381"/>
                    </a:lnTo>
                    <a:lnTo>
                      <a:pt x="1296" y="375"/>
                    </a:lnTo>
                    <a:lnTo>
                      <a:pt x="1270" y="375"/>
                    </a:lnTo>
                    <a:lnTo>
                      <a:pt x="1259" y="380"/>
                    </a:lnTo>
                    <a:lnTo>
                      <a:pt x="1247" y="384"/>
                    </a:lnTo>
                    <a:lnTo>
                      <a:pt x="1240" y="384"/>
                    </a:lnTo>
                    <a:lnTo>
                      <a:pt x="1235" y="384"/>
                    </a:lnTo>
                    <a:lnTo>
                      <a:pt x="1228" y="384"/>
                    </a:lnTo>
                    <a:lnTo>
                      <a:pt x="1224" y="382"/>
                    </a:lnTo>
                    <a:lnTo>
                      <a:pt x="1283" y="333"/>
                    </a:lnTo>
                    <a:lnTo>
                      <a:pt x="1286" y="321"/>
                    </a:lnTo>
                    <a:lnTo>
                      <a:pt x="1289" y="309"/>
                    </a:lnTo>
                    <a:lnTo>
                      <a:pt x="1294" y="299"/>
                    </a:lnTo>
                    <a:lnTo>
                      <a:pt x="1299" y="290"/>
                    </a:lnTo>
                    <a:lnTo>
                      <a:pt x="1305" y="282"/>
                    </a:lnTo>
                    <a:lnTo>
                      <a:pt x="1310" y="274"/>
                    </a:lnTo>
                    <a:lnTo>
                      <a:pt x="1317" y="268"/>
                    </a:lnTo>
                    <a:lnTo>
                      <a:pt x="1323" y="260"/>
                    </a:lnTo>
                    <a:lnTo>
                      <a:pt x="1349" y="240"/>
                    </a:lnTo>
                    <a:lnTo>
                      <a:pt x="1370" y="222"/>
                    </a:lnTo>
                    <a:lnTo>
                      <a:pt x="1362" y="217"/>
                    </a:lnTo>
                    <a:lnTo>
                      <a:pt x="1356" y="213"/>
                    </a:lnTo>
                    <a:lnTo>
                      <a:pt x="1352" y="210"/>
                    </a:lnTo>
                    <a:lnTo>
                      <a:pt x="1349" y="205"/>
                    </a:lnTo>
                    <a:lnTo>
                      <a:pt x="1345" y="201"/>
                    </a:lnTo>
                    <a:lnTo>
                      <a:pt x="1344" y="196"/>
                    </a:lnTo>
                    <a:lnTo>
                      <a:pt x="1343" y="191"/>
                    </a:lnTo>
                    <a:lnTo>
                      <a:pt x="1343" y="184"/>
                    </a:lnTo>
                    <a:lnTo>
                      <a:pt x="1338" y="184"/>
                    </a:lnTo>
                    <a:lnTo>
                      <a:pt x="1333" y="183"/>
                    </a:lnTo>
                    <a:lnTo>
                      <a:pt x="1330" y="182"/>
                    </a:lnTo>
                    <a:lnTo>
                      <a:pt x="1326" y="179"/>
                    </a:lnTo>
                    <a:lnTo>
                      <a:pt x="1320" y="174"/>
                    </a:lnTo>
                    <a:lnTo>
                      <a:pt x="1315" y="166"/>
                    </a:lnTo>
                    <a:lnTo>
                      <a:pt x="1310" y="157"/>
                    </a:lnTo>
                    <a:lnTo>
                      <a:pt x="1307" y="146"/>
                    </a:lnTo>
                    <a:lnTo>
                      <a:pt x="1305" y="135"/>
                    </a:lnTo>
                    <a:lnTo>
                      <a:pt x="1301" y="124"/>
                    </a:lnTo>
                    <a:lnTo>
                      <a:pt x="1298" y="100"/>
                    </a:lnTo>
                    <a:lnTo>
                      <a:pt x="1293" y="78"/>
                    </a:lnTo>
                    <a:lnTo>
                      <a:pt x="1291" y="68"/>
                    </a:lnTo>
                    <a:lnTo>
                      <a:pt x="1286" y="60"/>
                    </a:lnTo>
                    <a:lnTo>
                      <a:pt x="1282" y="54"/>
                    </a:lnTo>
                    <a:lnTo>
                      <a:pt x="1276" y="49"/>
                    </a:lnTo>
                    <a:lnTo>
                      <a:pt x="1264" y="71"/>
                    </a:lnTo>
                    <a:lnTo>
                      <a:pt x="1240" y="109"/>
                    </a:lnTo>
                    <a:lnTo>
                      <a:pt x="1227" y="128"/>
                    </a:lnTo>
                    <a:lnTo>
                      <a:pt x="1214" y="144"/>
                    </a:lnTo>
                    <a:lnTo>
                      <a:pt x="1207" y="150"/>
                    </a:lnTo>
                    <a:lnTo>
                      <a:pt x="1200" y="156"/>
                    </a:lnTo>
                    <a:lnTo>
                      <a:pt x="1195" y="159"/>
                    </a:lnTo>
                    <a:lnTo>
                      <a:pt x="1189" y="160"/>
                    </a:lnTo>
                    <a:lnTo>
                      <a:pt x="1124" y="135"/>
                    </a:lnTo>
                    <a:lnTo>
                      <a:pt x="1113" y="139"/>
                    </a:lnTo>
                    <a:lnTo>
                      <a:pt x="1102" y="142"/>
                    </a:lnTo>
                    <a:lnTo>
                      <a:pt x="1088" y="144"/>
                    </a:lnTo>
                    <a:lnTo>
                      <a:pt x="1075" y="146"/>
                    </a:lnTo>
                    <a:lnTo>
                      <a:pt x="1047" y="147"/>
                    </a:lnTo>
                    <a:lnTo>
                      <a:pt x="1017" y="147"/>
                    </a:lnTo>
                    <a:lnTo>
                      <a:pt x="1016" y="152"/>
                    </a:lnTo>
                    <a:lnTo>
                      <a:pt x="1015" y="157"/>
                    </a:lnTo>
                    <a:lnTo>
                      <a:pt x="1013" y="161"/>
                    </a:lnTo>
                    <a:lnTo>
                      <a:pt x="1009" y="165"/>
                    </a:lnTo>
                    <a:lnTo>
                      <a:pt x="1006" y="168"/>
                    </a:lnTo>
                    <a:lnTo>
                      <a:pt x="1003" y="170"/>
                    </a:lnTo>
                    <a:lnTo>
                      <a:pt x="1000" y="172"/>
                    </a:lnTo>
                    <a:lnTo>
                      <a:pt x="997" y="172"/>
                    </a:lnTo>
                    <a:lnTo>
                      <a:pt x="992" y="173"/>
                    </a:lnTo>
                    <a:lnTo>
                      <a:pt x="987" y="175"/>
                    </a:lnTo>
                    <a:lnTo>
                      <a:pt x="985" y="175"/>
                    </a:lnTo>
                    <a:lnTo>
                      <a:pt x="982" y="175"/>
                    </a:lnTo>
                    <a:lnTo>
                      <a:pt x="980" y="174"/>
                    </a:lnTo>
                    <a:lnTo>
                      <a:pt x="978" y="172"/>
                    </a:lnTo>
                    <a:lnTo>
                      <a:pt x="976" y="176"/>
                    </a:lnTo>
                    <a:lnTo>
                      <a:pt x="972" y="179"/>
                    </a:lnTo>
                    <a:lnTo>
                      <a:pt x="967" y="183"/>
                    </a:lnTo>
                    <a:lnTo>
                      <a:pt x="960" y="187"/>
                    </a:lnTo>
                    <a:lnTo>
                      <a:pt x="941" y="194"/>
                    </a:lnTo>
                    <a:lnTo>
                      <a:pt x="920" y="200"/>
                    </a:lnTo>
                    <a:lnTo>
                      <a:pt x="879" y="212"/>
                    </a:lnTo>
                    <a:lnTo>
                      <a:pt x="858" y="216"/>
                    </a:lnTo>
                    <a:lnTo>
                      <a:pt x="851" y="215"/>
                    </a:lnTo>
                    <a:lnTo>
                      <a:pt x="846" y="213"/>
                    </a:lnTo>
                    <a:lnTo>
                      <a:pt x="839" y="208"/>
                    </a:lnTo>
                    <a:lnTo>
                      <a:pt x="834" y="203"/>
                    </a:lnTo>
                    <a:lnTo>
                      <a:pt x="827" y="197"/>
                    </a:lnTo>
                    <a:lnTo>
                      <a:pt x="822" y="191"/>
                    </a:lnTo>
                    <a:lnTo>
                      <a:pt x="817" y="184"/>
                    </a:lnTo>
                    <a:lnTo>
                      <a:pt x="812" y="176"/>
                    </a:lnTo>
                    <a:lnTo>
                      <a:pt x="803" y="161"/>
                    </a:lnTo>
                    <a:lnTo>
                      <a:pt x="796" y="145"/>
                    </a:lnTo>
                    <a:lnTo>
                      <a:pt x="793" y="132"/>
                    </a:lnTo>
                    <a:lnTo>
                      <a:pt x="791" y="123"/>
                    </a:lnTo>
                    <a:lnTo>
                      <a:pt x="792" y="116"/>
                    </a:lnTo>
                    <a:lnTo>
                      <a:pt x="794" y="109"/>
                    </a:lnTo>
                    <a:lnTo>
                      <a:pt x="798" y="103"/>
                    </a:lnTo>
                    <a:lnTo>
                      <a:pt x="801" y="95"/>
                    </a:lnTo>
                    <a:lnTo>
                      <a:pt x="805" y="88"/>
                    </a:lnTo>
                    <a:lnTo>
                      <a:pt x="808" y="81"/>
                    </a:lnTo>
                    <a:lnTo>
                      <a:pt x="811" y="74"/>
                    </a:lnTo>
                    <a:lnTo>
                      <a:pt x="811" y="67"/>
                    </a:lnTo>
                    <a:lnTo>
                      <a:pt x="811" y="53"/>
                    </a:lnTo>
                    <a:lnTo>
                      <a:pt x="808" y="39"/>
                    </a:lnTo>
                    <a:lnTo>
                      <a:pt x="806" y="33"/>
                    </a:lnTo>
                    <a:lnTo>
                      <a:pt x="804" y="28"/>
                    </a:lnTo>
                    <a:lnTo>
                      <a:pt x="801" y="24"/>
                    </a:lnTo>
                    <a:lnTo>
                      <a:pt x="798" y="20"/>
                    </a:lnTo>
                    <a:lnTo>
                      <a:pt x="794" y="16"/>
                    </a:lnTo>
                    <a:lnTo>
                      <a:pt x="789" y="12"/>
                    </a:lnTo>
                    <a:lnTo>
                      <a:pt x="783" y="9"/>
                    </a:lnTo>
                    <a:lnTo>
                      <a:pt x="778" y="7"/>
                    </a:lnTo>
                    <a:lnTo>
                      <a:pt x="762" y="3"/>
                    </a:lnTo>
                    <a:lnTo>
                      <a:pt x="745" y="0"/>
                    </a:lnTo>
                    <a:lnTo>
                      <a:pt x="739" y="10"/>
                    </a:lnTo>
                    <a:lnTo>
                      <a:pt x="733" y="21"/>
                    </a:lnTo>
                    <a:lnTo>
                      <a:pt x="729" y="23"/>
                    </a:lnTo>
                    <a:lnTo>
                      <a:pt x="727" y="25"/>
                    </a:lnTo>
                    <a:lnTo>
                      <a:pt x="725" y="26"/>
                    </a:lnTo>
                    <a:lnTo>
                      <a:pt x="722" y="27"/>
                    </a:lnTo>
                    <a:lnTo>
                      <a:pt x="717" y="27"/>
                    </a:lnTo>
                    <a:lnTo>
                      <a:pt x="714" y="27"/>
                    </a:lnTo>
                    <a:lnTo>
                      <a:pt x="710" y="26"/>
                    </a:lnTo>
                    <a:lnTo>
                      <a:pt x="705" y="24"/>
                    </a:lnTo>
                    <a:lnTo>
                      <a:pt x="703" y="28"/>
                    </a:lnTo>
                    <a:lnTo>
                      <a:pt x="700" y="31"/>
                    </a:lnTo>
                    <a:lnTo>
                      <a:pt x="695" y="35"/>
                    </a:lnTo>
                    <a:lnTo>
                      <a:pt x="690" y="39"/>
                    </a:lnTo>
                    <a:lnTo>
                      <a:pt x="677" y="47"/>
                    </a:lnTo>
                    <a:lnTo>
                      <a:pt x="662" y="55"/>
                    </a:lnTo>
                    <a:lnTo>
                      <a:pt x="648" y="63"/>
                    </a:lnTo>
                    <a:lnTo>
                      <a:pt x="637" y="71"/>
                    </a:lnTo>
                    <a:lnTo>
                      <a:pt x="632" y="75"/>
                    </a:lnTo>
                    <a:lnTo>
                      <a:pt x="628" y="79"/>
                    </a:lnTo>
                    <a:lnTo>
                      <a:pt x="626" y="82"/>
                    </a:lnTo>
                    <a:lnTo>
                      <a:pt x="625" y="86"/>
                    </a:lnTo>
                    <a:lnTo>
                      <a:pt x="612" y="79"/>
                    </a:lnTo>
                    <a:lnTo>
                      <a:pt x="589" y="70"/>
                    </a:lnTo>
                    <a:lnTo>
                      <a:pt x="566" y="62"/>
                    </a:lnTo>
                    <a:lnTo>
                      <a:pt x="552" y="55"/>
                    </a:lnTo>
                    <a:lnTo>
                      <a:pt x="525" y="55"/>
                    </a:lnTo>
                    <a:lnTo>
                      <a:pt x="525" y="99"/>
                    </a:lnTo>
                    <a:lnTo>
                      <a:pt x="535" y="114"/>
                    </a:lnTo>
                    <a:lnTo>
                      <a:pt x="552" y="137"/>
                    </a:lnTo>
                    <a:lnTo>
                      <a:pt x="566" y="160"/>
                    </a:lnTo>
                    <a:lnTo>
                      <a:pt x="572" y="172"/>
                    </a:lnTo>
                    <a:lnTo>
                      <a:pt x="571" y="178"/>
                    </a:lnTo>
                    <a:lnTo>
                      <a:pt x="569" y="185"/>
                    </a:lnTo>
                    <a:lnTo>
                      <a:pt x="566" y="191"/>
                    </a:lnTo>
                    <a:lnTo>
                      <a:pt x="560" y="198"/>
                    </a:lnTo>
                    <a:lnTo>
                      <a:pt x="555" y="205"/>
                    </a:lnTo>
                    <a:lnTo>
                      <a:pt x="548" y="213"/>
                    </a:lnTo>
                    <a:lnTo>
                      <a:pt x="541" y="220"/>
                    </a:lnTo>
                    <a:lnTo>
                      <a:pt x="532" y="227"/>
                    </a:lnTo>
                    <a:lnTo>
                      <a:pt x="523" y="233"/>
                    </a:lnTo>
                    <a:lnTo>
                      <a:pt x="513" y="239"/>
                    </a:lnTo>
                    <a:lnTo>
                      <a:pt x="503" y="244"/>
                    </a:lnTo>
                    <a:lnTo>
                      <a:pt x="493" y="249"/>
                    </a:lnTo>
                    <a:lnTo>
                      <a:pt x="483" y="253"/>
                    </a:lnTo>
                    <a:lnTo>
                      <a:pt x="472" y="256"/>
                    </a:lnTo>
                    <a:lnTo>
                      <a:pt x="463" y="257"/>
                    </a:lnTo>
                    <a:lnTo>
                      <a:pt x="453" y="258"/>
                    </a:lnTo>
                    <a:lnTo>
                      <a:pt x="446" y="258"/>
                    </a:lnTo>
                    <a:lnTo>
                      <a:pt x="440" y="256"/>
                    </a:lnTo>
                    <a:lnTo>
                      <a:pt x="433" y="254"/>
                    </a:lnTo>
                    <a:lnTo>
                      <a:pt x="426" y="252"/>
                    </a:lnTo>
                    <a:lnTo>
                      <a:pt x="413" y="245"/>
                    </a:lnTo>
                    <a:lnTo>
                      <a:pt x="401" y="235"/>
                    </a:lnTo>
                    <a:lnTo>
                      <a:pt x="389" y="224"/>
                    </a:lnTo>
                    <a:lnTo>
                      <a:pt x="378" y="212"/>
                    </a:lnTo>
                    <a:lnTo>
                      <a:pt x="368" y="198"/>
                    </a:lnTo>
                    <a:lnTo>
                      <a:pt x="359" y="184"/>
                    </a:lnTo>
                    <a:lnTo>
                      <a:pt x="330" y="190"/>
                    </a:lnTo>
                    <a:lnTo>
                      <a:pt x="286" y="197"/>
                    </a:lnTo>
                    <a:lnTo>
                      <a:pt x="263" y="201"/>
                    </a:lnTo>
                    <a:lnTo>
                      <a:pt x="244" y="206"/>
                    </a:lnTo>
                    <a:lnTo>
                      <a:pt x="238" y="208"/>
                    </a:lnTo>
                    <a:lnTo>
                      <a:pt x="231" y="211"/>
                    </a:lnTo>
                    <a:lnTo>
                      <a:pt x="228" y="213"/>
                    </a:lnTo>
                    <a:lnTo>
                      <a:pt x="227" y="216"/>
                    </a:lnTo>
                    <a:lnTo>
                      <a:pt x="227" y="220"/>
                    </a:lnTo>
                    <a:lnTo>
                      <a:pt x="229" y="224"/>
                    </a:lnTo>
                    <a:lnTo>
                      <a:pt x="231" y="227"/>
                    </a:lnTo>
                    <a:lnTo>
                      <a:pt x="235" y="230"/>
                    </a:lnTo>
                    <a:lnTo>
                      <a:pt x="243" y="235"/>
                    </a:lnTo>
                    <a:lnTo>
                      <a:pt x="253" y="240"/>
                    </a:lnTo>
                    <a:lnTo>
                      <a:pt x="253" y="258"/>
                    </a:lnTo>
                    <a:lnTo>
                      <a:pt x="241" y="262"/>
                    </a:lnTo>
                    <a:lnTo>
                      <a:pt x="221" y="268"/>
                    </a:lnTo>
                    <a:lnTo>
                      <a:pt x="210" y="272"/>
                    </a:lnTo>
                    <a:lnTo>
                      <a:pt x="201" y="278"/>
                    </a:lnTo>
                    <a:lnTo>
                      <a:pt x="198" y="281"/>
                    </a:lnTo>
                    <a:lnTo>
                      <a:pt x="196" y="285"/>
                    </a:lnTo>
                    <a:lnTo>
                      <a:pt x="194" y="290"/>
                    </a:lnTo>
                    <a:lnTo>
                      <a:pt x="194" y="295"/>
                    </a:lnTo>
                    <a:lnTo>
                      <a:pt x="194" y="302"/>
                    </a:lnTo>
                    <a:lnTo>
                      <a:pt x="196" y="307"/>
                    </a:lnTo>
                    <a:lnTo>
                      <a:pt x="198" y="311"/>
                    </a:lnTo>
                    <a:lnTo>
                      <a:pt x="201" y="314"/>
                    </a:lnTo>
                    <a:lnTo>
                      <a:pt x="210" y="321"/>
                    </a:lnTo>
                    <a:lnTo>
                      <a:pt x="220" y="327"/>
                    </a:lnTo>
                    <a:lnTo>
                      <a:pt x="224" y="330"/>
                    </a:lnTo>
                    <a:lnTo>
                      <a:pt x="230" y="333"/>
                    </a:lnTo>
                    <a:lnTo>
                      <a:pt x="234" y="337"/>
                    </a:lnTo>
                    <a:lnTo>
                      <a:pt x="239" y="342"/>
                    </a:lnTo>
                    <a:lnTo>
                      <a:pt x="242" y="348"/>
                    </a:lnTo>
                    <a:lnTo>
                      <a:pt x="244" y="356"/>
                    </a:lnTo>
                    <a:lnTo>
                      <a:pt x="246" y="365"/>
                    </a:lnTo>
                    <a:lnTo>
                      <a:pt x="246" y="375"/>
                    </a:lnTo>
                    <a:lnTo>
                      <a:pt x="246" y="388"/>
                    </a:lnTo>
                    <a:lnTo>
                      <a:pt x="245" y="400"/>
                    </a:lnTo>
                    <a:lnTo>
                      <a:pt x="243" y="412"/>
                    </a:lnTo>
                    <a:lnTo>
                      <a:pt x="241" y="423"/>
                    </a:lnTo>
                    <a:lnTo>
                      <a:pt x="236" y="446"/>
                    </a:lnTo>
                    <a:lnTo>
                      <a:pt x="230" y="468"/>
                    </a:lnTo>
                    <a:lnTo>
                      <a:pt x="223" y="490"/>
                    </a:lnTo>
                    <a:lnTo>
                      <a:pt x="219" y="512"/>
                    </a:lnTo>
                    <a:lnTo>
                      <a:pt x="217" y="524"/>
                    </a:lnTo>
                    <a:lnTo>
                      <a:pt x="214" y="535"/>
                    </a:lnTo>
                    <a:lnTo>
                      <a:pt x="213" y="548"/>
                    </a:lnTo>
                    <a:lnTo>
                      <a:pt x="213" y="560"/>
                    </a:lnTo>
                    <a:lnTo>
                      <a:pt x="194" y="560"/>
                    </a:lnTo>
                    <a:lnTo>
                      <a:pt x="188" y="557"/>
                    </a:lnTo>
                    <a:lnTo>
                      <a:pt x="184" y="554"/>
                    </a:lnTo>
                    <a:lnTo>
                      <a:pt x="183" y="553"/>
                    </a:lnTo>
                    <a:lnTo>
                      <a:pt x="182" y="552"/>
                    </a:lnTo>
                    <a:lnTo>
                      <a:pt x="180" y="550"/>
                    </a:lnTo>
                    <a:lnTo>
                      <a:pt x="180" y="548"/>
                    </a:lnTo>
                    <a:lnTo>
                      <a:pt x="168" y="554"/>
                    </a:lnTo>
                    <a:lnTo>
                      <a:pt x="157" y="559"/>
                    </a:lnTo>
                    <a:lnTo>
                      <a:pt x="147" y="562"/>
                    </a:lnTo>
                    <a:lnTo>
                      <a:pt x="138" y="564"/>
                    </a:lnTo>
                    <a:lnTo>
                      <a:pt x="119" y="566"/>
                    </a:lnTo>
                    <a:lnTo>
                      <a:pt x="100" y="567"/>
                    </a:lnTo>
                    <a:lnTo>
                      <a:pt x="96" y="567"/>
                    </a:lnTo>
                    <a:lnTo>
                      <a:pt x="93" y="569"/>
                    </a:lnTo>
                    <a:lnTo>
                      <a:pt x="90" y="573"/>
                    </a:lnTo>
                    <a:lnTo>
                      <a:pt x="88" y="576"/>
                    </a:lnTo>
                    <a:lnTo>
                      <a:pt x="85" y="584"/>
                    </a:lnTo>
                    <a:lnTo>
                      <a:pt x="81" y="591"/>
                    </a:lnTo>
                    <a:lnTo>
                      <a:pt x="65" y="607"/>
                    </a:lnTo>
                    <a:lnTo>
                      <a:pt x="51" y="624"/>
                    </a:lnTo>
                    <a:lnTo>
                      <a:pt x="38" y="643"/>
                    </a:lnTo>
                    <a:lnTo>
                      <a:pt x="26" y="665"/>
                    </a:lnTo>
                    <a:lnTo>
                      <a:pt x="20" y="676"/>
                    </a:lnTo>
                    <a:lnTo>
                      <a:pt x="16" y="687"/>
                    </a:lnTo>
                    <a:lnTo>
                      <a:pt x="11" y="699"/>
                    </a:lnTo>
                    <a:lnTo>
                      <a:pt x="7" y="711"/>
                    </a:lnTo>
                    <a:lnTo>
                      <a:pt x="5" y="723"/>
                    </a:lnTo>
                    <a:lnTo>
                      <a:pt x="3" y="734"/>
                    </a:lnTo>
                    <a:lnTo>
                      <a:pt x="1" y="746"/>
                    </a:lnTo>
                    <a:lnTo>
                      <a:pt x="0" y="757"/>
                    </a:lnTo>
                    <a:lnTo>
                      <a:pt x="1" y="767"/>
                    </a:lnTo>
                    <a:lnTo>
                      <a:pt x="4" y="777"/>
                    </a:lnTo>
                    <a:lnTo>
                      <a:pt x="7" y="787"/>
                    </a:lnTo>
                    <a:lnTo>
                      <a:pt x="11" y="799"/>
                    </a:lnTo>
                    <a:lnTo>
                      <a:pt x="17" y="811"/>
                    </a:lnTo>
                    <a:lnTo>
                      <a:pt x="22" y="824"/>
                    </a:lnTo>
                    <a:lnTo>
                      <a:pt x="30" y="836"/>
                    </a:lnTo>
                    <a:lnTo>
                      <a:pt x="38" y="848"/>
                    </a:lnTo>
                    <a:lnTo>
                      <a:pt x="46" y="859"/>
                    </a:lnTo>
                    <a:lnTo>
                      <a:pt x="56" y="870"/>
                    </a:lnTo>
                    <a:lnTo>
                      <a:pt x="66" y="880"/>
                    </a:lnTo>
                    <a:lnTo>
                      <a:pt x="76" y="889"/>
                    </a:lnTo>
                    <a:lnTo>
                      <a:pt x="87" y="896"/>
                    </a:lnTo>
                    <a:lnTo>
                      <a:pt x="98" y="901"/>
                    </a:lnTo>
                    <a:lnTo>
                      <a:pt x="104" y="903"/>
                    </a:lnTo>
                    <a:lnTo>
                      <a:pt x="109" y="904"/>
                    </a:lnTo>
                    <a:lnTo>
                      <a:pt x="115" y="905"/>
                    </a:lnTo>
                    <a:lnTo>
                      <a:pt x="120" y="905"/>
                    </a:lnTo>
                    <a:lnTo>
                      <a:pt x="130" y="904"/>
                    </a:lnTo>
                    <a:lnTo>
                      <a:pt x="138" y="902"/>
                    </a:lnTo>
                    <a:lnTo>
                      <a:pt x="146" y="898"/>
                    </a:lnTo>
                    <a:lnTo>
                      <a:pt x="153" y="893"/>
                    </a:lnTo>
                    <a:lnTo>
                      <a:pt x="161" y="889"/>
                    </a:lnTo>
                    <a:lnTo>
                      <a:pt x="168" y="885"/>
                    </a:lnTo>
                    <a:lnTo>
                      <a:pt x="177" y="882"/>
                    </a:lnTo>
                    <a:lnTo>
                      <a:pt x="187" y="881"/>
                    </a:lnTo>
                    <a:lnTo>
                      <a:pt x="189" y="903"/>
                    </a:lnTo>
                    <a:lnTo>
                      <a:pt x="190" y="934"/>
                    </a:lnTo>
                    <a:lnTo>
                      <a:pt x="190" y="942"/>
                    </a:lnTo>
                    <a:lnTo>
                      <a:pt x="191" y="949"/>
                    </a:lnTo>
                    <a:lnTo>
                      <a:pt x="194" y="956"/>
                    </a:lnTo>
                    <a:lnTo>
                      <a:pt x="196" y="961"/>
                    </a:lnTo>
                    <a:lnTo>
                      <a:pt x="199" y="966"/>
                    </a:lnTo>
                    <a:lnTo>
                      <a:pt x="202" y="970"/>
                    </a:lnTo>
                    <a:lnTo>
                      <a:pt x="208" y="972"/>
                    </a:lnTo>
                    <a:lnTo>
                      <a:pt x="213" y="973"/>
                    </a:lnTo>
                    <a:lnTo>
                      <a:pt x="233" y="97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69" name="Freeform 10">
                <a:extLst>
                  <a:ext uri="{FF2B5EF4-FFF2-40B4-BE49-F238E27FC236}">
                    <a16:creationId xmlns:a16="http://schemas.microsoft.com/office/drawing/2014/main" id="{E857EF75-3B00-4A9F-BAB4-4F2A30BC9702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4346332" y="3148186"/>
                <a:ext cx="85062" cy="56255"/>
              </a:xfrm>
              <a:custGeom>
                <a:avLst/>
                <a:gdLst>
                  <a:gd name="T0" fmla="*/ 17693309 w 161"/>
                  <a:gd name="T1" fmla="*/ 0 h 93"/>
                  <a:gd name="T2" fmla="*/ 20140228 w 161"/>
                  <a:gd name="T3" fmla="*/ 5040364 h 93"/>
                  <a:gd name="T4" fmla="*/ 21081251 w 161"/>
                  <a:gd name="T5" fmla="*/ 3360242 h 93"/>
                  <a:gd name="T6" fmla="*/ 22022707 w 161"/>
                  <a:gd name="T7" fmla="*/ 2239985 h 93"/>
                  <a:gd name="T8" fmla="*/ 22963730 w 161"/>
                  <a:gd name="T9" fmla="*/ 1400189 h 93"/>
                  <a:gd name="T10" fmla="*/ 23904752 w 161"/>
                  <a:gd name="T11" fmla="*/ 840325 h 93"/>
                  <a:gd name="T12" fmla="*/ 25787232 w 161"/>
                  <a:gd name="T13" fmla="*/ 279932 h 93"/>
                  <a:gd name="T14" fmla="*/ 27857568 w 161"/>
                  <a:gd name="T15" fmla="*/ 0 h 93"/>
                  <a:gd name="T16" fmla="*/ 28422008 w 161"/>
                  <a:gd name="T17" fmla="*/ 0 h 93"/>
                  <a:gd name="T18" fmla="*/ 30304488 w 161"/>
                  <a:gd name="T19" fmla="*/ 0 h 93"/>
                  <a:gd name="T20" fmla="*/ 30304488 w 161"/>
                  <a:gd name="T21" fmla="*/ 25762212 h 93"/>
                  <a:gd name="T22" fmla="*/ 29175174 w 161"/>
                  <a:gd name="T23" fmla="*/ 26042144 h 93"/>
                  <a:gd name="T24" fmla="*/ 28234151 w 161"/>
                  <a:gd name="T25" fmla="*/ 26042144 h 93"/>
                  <a:gd name="T26" fmla="*/ 27292694 w 161"/>
                  <a:gd name="T27" fmla="*/ 25762212 h 93"/>
                  <a:gd name="T28" fmla="*/ 26351672 w 161"/>
                  <a:gd name="T29" fmla="*/ 25482280 h 93"/>
                  <a:gd name="T30" fmla="*/ 24281335 w 161"/>
                  <a:gd name="T31" fmla="*/ 24641955 h 93"/>
                  <a:gd name="T32" fmla="*/ 22587147 w 161"/>
                  <a:gd name="T33" fmla="*/ 22961833 h 93"/>
                  <a:gd name="T34" fmla="*/ 20892959 w 161"/>
                  <a:gd name="T35" fmla="*/ 21001780 h 93"/>
                  <a:gd name="T36" fmla="*/ 19575354 w 161"/>
                  <a:gd name="T37" fmla="*/ 18761795 h 93"/>
                  <a:gd name="T38" fmla="*/ 18258183 w 161"/>
                  <a:gd name="T39" fmla="*/ 16521280 h 93"/>
                  <a:gd name="T40" fmla="*/ 17693309 w 161"/>
                  <a:gd name="T41" fmla="*/ 13720902 h 93"/>
                  <a:gd name="T42" fmla="*/ 17316726 w 161"/>
                  <a:gd name="T43" fmla="*/ 14001363 h 93"/>
                  <a:gd name="T44" fmla="*/ 16752286 w 161"/>
                  <a:gd name="T45" fmla="*/ 14281295 h 93"/>
                  <a:gd name="T46" fmla="*/ 16187412 w 161"/>
                  <a:gd name="T47" fmla="*/ 14281295 h 93"/>
                  <a:gd name="T48" fmla="*/ 15810830 w 161"/>
                  <a:gd name="T49" fmla="*/ 14281295 h 93"/>
                  <a:gd name="T50" fmla="*/ 14681516 w 161"/>
                  <a:gd name="T51" fmla="*/ 14001363 h 93"/>
                  <a:gd name="T52" fmla="*/ 13928784 w 161"/>
                  <a:gd name="T53" fmla="*/ 13720902 h 93"/>
                  <a:gd name="T54" fmla="*/ 12234596 w 161"/>
                  <a:gd name="T55" fmla="*/ 13440970 h 93"/>
                  <a:gd name="T56" fmla="*/ 10352551 w 161"/>
                  <a:gd name="T57" fmla="*/ 12601174 h 93"/>
                  <a:gd name="T58" fmla="*/ 8281780 w 161"/>
                  <a:gd name="T59" fmla="*/ 11200985 h 93"/>
                  <a:gd name="T60" fmla="*/ 6023152 w 161"/>
                  <a:gd name="T61" fmla="*/ 9520863 h 93"/>
                  <a:gd name="T62" fmla="*/ 3952816 w 161"/>
                  <a:gd name="T63" fmla="*/ 7280349 h 93"/>
                  <a:gd name="T64" fmla="*/ 2258628 w 161"/>
                  <a:gd name="T65" fmla="*/ 5040364 h 93"/>
                  <a:gd name="T66" fmla="*/ 1505897 w 161"/>
                  <a:gd name="T67" fmla="*/ 3920106 h 93"/>
                  <a:gd name="T68" fmla="*/ 941023 w 161"/>
                  <a:gd name="T69" fmla="*/ 2520446 h 93"/>
                  <a:gd name="T70" fmla="*/ 564874 w 161"/>
                  <a:gd name="T71" fmla="*/ 1400189 h 93"/>
                  <a:gd name="T72" fmla="*/ 0 w 161"/>
                  <a:gd name="T73" fmla="*/ 0 h 93"/>
                  <a:gd name="T74" fmla="*/ 17693309 w 161"/>
                  <a:gd name="T75" fmla="*/ 0 h 9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161" h="93">
                    <a:moveTo>
                      <a:pt x="94" y="0"/>
                    </a:moveTo>
                    <a:lnTo>
                      <a:pt x="107" y="18"/>
                    </a:lnTo>
                    <a:lnTo>
                      <a:pt x="112" y="12"/>
                    </a:lnTo>
                    <a:lnTo>
                      <a:pt x="117" y="8"/>
                    </a:lnTo>
                    <a:lnTo>
                      <a:pt x="122" y="5"/>
                    </a:lnTo>
                    <a:lnTo>
                      <a:pt x="127" y="3"/>
                    </a:lnTo>
                    <a:lnTo>
                      <a:pt x="137" y="1"/>
                    </a:lnTo>
                    <a:lnTo>
                      <a:pt x="148" y="0"/>
                    </a:lnTo>
                    <a:lnTo>
                      <a:pt x="151" y="0"/>
                    </a:lnTo>
                    <a:lnTo>
                      <a:pt x="161" y="0"/>
                    </a:lnTo>
                    <a:lnTo>
                      <a:pt x="161" y="92"/>
                    </a:lnTo>
                    <a:lnTo>
                      <a:pt x="155" y="93"/>
                    </a:lnTo>
                    <a:lnTo>
                      <a:pt x="150" y="93"/>
                    </a:lnTo>
                    <a:lnTo>
                      <a:pt x="145" y="92"/>
                    </a:lnTo>
                    <a:lnTo>
                      <a:pt x="140" y="91"/>
                    </a:lnTo>
                    <a:lnTo>
                      <a:pt x="129" y="88"/>
                    </a:lnTo>
                    <a:lnTo>
                      <a:pt x="120" y="82"/>
                    </a:lnTo>
                    <a:lnTo>
                      <a:pt x="111" y="75"/>
                    </a:lnTo>
                    <a:lnTo>
                      <a:pt x="104" y="67"/>
                    </a:lnTo>
                    <a:lnTo>
                      <a:pt x="97" y="59"/>
                    </a:lnTo>
                    <a:lnTo>
                      <a:pt x="94" y="49"/>
                    </a:lnTo>
                    <a:lnTo>
                      <a:pt x="92" y="50"/>
                    </a:lnTo>
                    <a:lnTo>
                      <a:pt x="89" y="51"/>
                    </a:lnTo>
                    <a:lnTo>
                      <a:pt x="86" y="51"/>
                    </a:lnTo>
                    <a:lnTo>
                      <a:pt x="84" y="51"/>
                    </a:lnTo>
                    <a:lnTo>
                      <a:pt x="78" y="50"/>
                    </a:lnTo>
                    <a:lnTo>
                      <a:pt x="74" y="49"/>
                    </a:lnTo>
                    <a:lnTo>
                      <a:pt x="65" y="48"/>
                    </a:lnTo>
                    <a:lnTo>
                      <a:pt x="55" y="45"/>
                    </a:lnTo>
                    <a:lnTo>
                      <a:pt x="44" y="40"/>
                    </a:lnTo>
                    <a:lnTo>
                      <a:pt x="32" y="34"/>
                    </a:lnTo>
                    <a:lnTo>
                      <a:pt x="21" y="26"/>
                    </a:lnTo>
                    <a:lnTo>
                      <a:pt x="12" y="18"/>
                    </a:lnTo>
                    <a:lnTo>
                      <a:pt x="8" y="14"/>
                    </a:lnTo>
                    <a:lnTo>
                      <a:pt x="5" y="9"/>
                    </a:lnTo>
                    <a:lnTo>
                      <a:pt x="3" y="5"/>
                    </a:lnTo>
                    <a:lnTo>
                      <a:pt x="0" y="0"/>
                    </a:lnTo>
                    <a:lnTo>
                      <a:pt x="94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70" name="Freeform 11">
                <a:extLst>
                  <a:ext uri="{FF2B5EF4-FFF2-40B4-BE49-F238E27FC236}">
                    <a16:creationId xmlns:a16="http://schemas.microsoft.com/office/drawing/2014/main" id="{22FFCC96-79D3-4668-B318-C760C32E0699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3741851" y="3007548"/>
                <a:ext cx="99541" cy="179313"/>
              </a:xfrm>
              <a:custGeom>
                <a:avLst/>
                <a:gdLst>
                  <a:gd name="T0" fmla="*/ 7024489 w 192"/>
                  <a:gd name="T1" fmla="*/ 818398 h 307"/>
                  <a:gd name="T2" fmla="*/ 6839611 w 192"/>
                  <a:gd name="T3" fmla="*/ 0 h 307"/>
                  <a:gd name="T4" fmla="*/ 10536734 w 192"/>
                  <a:gd name="T5" fmla="*/ 818398 h 307"/>
                  <a:gd name="T6" fmla="*/ 20333957 w 192"/>
                  <a:gd name="T7" fmla="*/ 3818841 h 307"/>
                  <a:gd name="T8" fmla="*/ 28652589 w 192"/>
                  <a:gd name="T9" fmla="*/ 6819284 h 307"/>
                  <a:gd name="T10" fmla="*/ 33458977 w 192"/>
                  <a:gd name="T11" fmla="*/ 7637682 h 307"/>
                  <a:gd name="T12" fmla="*/ 35492201 w 192"/>
                  <a:gd name="T13" fmla="*/ 9546580 h 307"/>
                  <a:gd name="T14" fmla="*/ 34752690 w 192"/>
                  <a:gd name="T15" fmla="*/ 12820170 h 307"/>
                  <a:gd name="T16" fmla="*/ 32349711 w 192"/>
                  <a:gd name="T17" fmla="*/ 22366750 h 307"/>
                  <a:gd name="T18" fmla="*/ 29207222 w 192"/>
                  <a:gd name="T19" fmla="*/ 34641148 h 307"/>
                  <a:gd name="T20" fmla="*/ 27173568 w 192"/>
                  <a:gd name="T21" fmla="*/ 45006648 h 307"/>
                  <a:gd name="T22" fmla="*/ 26988691 w 192"/>
                  <a:gd name="T23" fmla="*/ 56462648 h 307"/>
                  <a:gd name="T24" fmla="*/ 26619365 w 192"/>
                  <a:gd name="T25" fmla="*/ 67918649 h 307"/>
                  <a:gd name="T26" fmla="*/ 24770589 w 192"/>
                  <a:gd name="T27" fmla="*/ 75556330 h 307"/>
                  <a:gd name="T28" fmla="*/ 19594446 w 192"/>
                  <a:gd name="T29" fmla="*/ 80738819 h 307"/>
                  <a:gd name="T30" fmla="*/ 15343121 w 192"/>
                  <a:gd name="T31" fmla="*/ 82648240 h 307"/>
                  <a:gd name="T32" fmla="*/ 13309468 w 192"/>
                  <a:gd name="T33" fmla="*/ 83739262 h 307"/>
                  <a:gd name="T34" fmla="*/ 9612346 w 192"/>
                  <a:gd name="T35" fmla="*/ 83193490 h 307"/>
                  <a:gd name="T36" fmla="*/ 5915223 w 192"/>
                  <a:gd name="T37" fmla="*/ 79375171 h 307"/>
                  <a:gd name="T38" fmla="*/ 5545468 w 192"/>
                  <a:gd name="T39" fmla="*/ 75556330 h 307"/>
                  <a:gd name="T40" fmla="*/ 4066877 w 192"/>
                  <a:gd name="T41" fmla="*/ 70100694 h 307"/>
                  <a:gd name="T42" fmla="*/ 1848346 w 192"/>
                  <a:gd name="T43" fmla="*/ 63008785 h 307"/>
                  <a:gd name="T44" fmla="*/ 369755 w 192"/>
                  <a:gd name="T45" fmla="*/ 57553671 h 307"/>
                  <a:gd name="T46" fmla="*/ 0 w 192"/>
                  <a:gd name="T47" fmla="*/ 53734830 h 307"/>
                  <a:gd name="T48" fmla="*/ 0 w 192"/>
                  <a:gd name="T49" fmla="*/ 49098114 h 307"/>
                  <a:gd name="T50" fmla="*/ 369755 w 192"/>
                  <a:gd name="T51" fmla="*/ 45006648 h 307"/>
                  <a:gd name="T52" fmla="*/ 2033224 w 192"/>
                  <a:gd name="T53" fmla="*/ 39551012 h 307"/>
                  <a:gd name="T54" fmla="*/ 6100101 w 192"/>
                  <a:gd name="T55" fmla="*/ 29731285 h 307"/>
                  <a:gd name="T56" fmla="*/ 8873265 w 192"/>
                  <a:gd name="T57" fmla="*/ 22094125 h 307"/>
                  <a:gd name="T58" fmla="*/ 9612346 w 192"/>
                  <a:gd name="T59" fmla="*/ 16911636 h 307"/>
                  <a:gd name="T60" fmla="*/ 9797223 w 192"/>
                  <a:gd name="T61" fmla="*/ 11183375 h 307"/>
                  <a:gd name="T62" fmla="*/ 10166978 w 192"/>
                  <a:gd name="T63" fmla="*/ 8182932 h 307"/>
                  <a:gd name="T64" fmla="*/ 10536734 w 192"/>
                  <a:gd name="T65" fmla="*/ 7091909 h 307"/>
                  <a:gd name="T66" fmla="*/ 11091366 w 192"/>
                  <a:gd name="T67" fmla="*/ 6000886 h 307"/>
                  <a:gd name="T68" fmla="*/ 8133755 w 192"/>
                  <a:gd name="T69" fmla="*/ 1909420 h 30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2" h="307">
                    <a:moveTo>
                      <a:pt x="44" y="7"/>
                    </a:moveTo>
                    <a:lnTo>
                      <a:pt x="38" y="3"/>
                    </a:lnTo>
                    <a:lnTo>
                      <a:pt x="35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57" y="3"/>
                    </a:lnTo>
                    <a:lnTo>
                      <a:pt x="82" y="8"/>
                    </a:lnTo>
                    <a:lnTo>
                      <a:pt x="110" y="14"/>
                    </a:lnTo>
                    <a:lnTo>
                      <a:pt x="141" y="22"/>
                    </a:lnTo>
                    <a:lnTo>
                      <a:pt x="155" y="25"/>
                    </a:lnTo>
                    <a:lnTo>
                      <a:pt x="169" y="27"/>
                    </a:lnTo>
                    <a:lnTo>
                      <a:pt x="181" y="28"/>
                    </a:lnTo>
                    <a:lnTo>
                      <a:pt x="192" y="29"/>
                    </a:lnTo>
                    <a:lnTo>
                      <a:pt x="192" y="35"/>
                    </a:lnTo>
                    <a:lnTo>
                      <a:pt x="192" y="41"/>
                    </a:lnTo>
                    <a:lnTo>
                      <a:pt x="188" y="47"/>
                    </a:lnTo>
                    <a:lnTo>
                      <a:pt x="183" y="61"/>
                    </a:lnTo>
                    <a:lnTo>
                      <a:pt x="175" y="82"/>
                    </a:lnTo>
                    <a:lnTo>
                      <a:pt x="167" y="104"/>
                    </a:lnTo>
                    <a:lnTo>
                      <a:pt x="158" y="127"/>
                    </a:lnTo>
                    <a:lnTo>
                      <a:pt x="152" y="148"/>
                    </a:lnTo>
                    <a:lnTo>
                      <a:pt x="147" y="165"/>
                    </a:lnTo>
                    <a:lnTo>
                      <a:pt x="146" y="176"/>
                    </a:lnTo>
                    <a:lnTo>
                      <a:pt x="146" y="207"/>
                    </a:lnTo>
                    <a:lnTo>
                      <a:pt x="146" y="234"/>
                    </a:lnTo>
                    <a:lnTo>
                      <a:pt x="144" y="249"/>
                    </a:lnTo>
                    <a:lnTo>
                      <a:pt x="141" y="263"/>
                    </a:lnTo>
                    <a:lnTo>
                      <a:pt x="134" y="277"/>
                    </a:lnTo>
                    <a:lnTo>
                      <a:pt x="127" y="294"/>
                    </a:lnTo>
                    <a:lnTo>
                      <a:pt x="106" y="296"/>
                    </a:lnTo>
                    <a:lnTo>
                      <a:pt x="91" y="300"/>
                    </a:lnTo>
                    <a:lnTo>
                      <a:pt x="83" y="303"/>
                    </a:lnTo>
                    <a:lnTo>
                      <a:pt x="77" y="306"/>
                    </a:lnTo>
                    <a:lnTo>
                      <a:pt x="72" y="307"/>
                    </a:lnTo>
                    <a:lnTo>
                      <a:pt x="64" y="307"/>
                    </a:lnTo>
                    <a:lnTo>
                      <a:pt x="52" y="305"/>
                    </a:lnTo>
                    <a:lnTo>
                      <a:pt x="33" y="300"/>
                    </a:lnTo>
                    <a:lnTo>
                      <a:pt x="32" y="291"/>
                    </a:lnTo>
                    <a:lnTo>
                      <a:pt x="32" y="284"/>
                    </a:lnTo>
                    <a:lnTo>
                      <a:pt x="30" y="277"/>
                    </a:lnTo>
                    <a:lnTo>
                      <a:pt x="28" y="270"/>
                    </a:lnTo>
                    <a:lnTo>
                      <a:pt x="22" y="257"/>
                    </a:lnTo>
                    <a:lnTo>
                      <a:pt x="17" y="244"/>
                    </a:lnTo>
                    <a:lnTo>
                      <a:pt x="10" y="231"/>
                    </a:lnTo>
                    <a:lnTo>
                      <a:pt x="5" y="218"/>
                    </a:lnTo>
                    <a:lnTo>
                      <a:pt x="2" y="211"/>
                    </a:lnTo>
                    <a:lnTo>
                      <a:pt x="1" y="204"/>
                    </a:lnTo>
                    <a:lnTo>
                      <a:pt x="0" y="197"/>
                    </a:lnTo>
                    <a:lnTo>
                      <a:pt x="0" y="189"/>
                    </a:lnTo>
                    <a:lnTo>
                      <a:pt x="0" y="180"/>
                    </a:lnTo>
                    <a:lnTo>
                      <a:pt x="1" y="173"/>
                    </a:lnTo>
                    <a:lnTo>
                      <a:pt x="2" y="165"/>
                    </a:lnTo>
                    <a:lnTo>
                      <a:pt x="5" y="158"/>
                    </a:lnTo>
                    <a:lnTo>
                      <a:pt x="11" y="145"/>
                    </a:lnTo>
                    <a:lnTo>
                      <a:pt x="18" y="133"/>
                    </a:lnTo>
                    <a:lnTo>
                      <a:pt x="33" y="109"/>
                    </a:lnTo>
                    <a:lnTo>
                      <a:pt x="46" y="90"/>
                    </a:lnTo>
                    <a:lnTo>
                      <a:pt x="48" y="81"/>
                    </a:lnTo>
                    <a:lnTo>
                      <a:pt x="50" y="72"/>
                    </a:lnTo>
                    <a:lnTo>
                      <a:pt x="52" y="62"/>
                    </a:lnTo>
                    <a:lnTo>
                      <a:pt x="53" y="53"/>
                    </a:lnTo>
                    <a:lnTo>
                      <a:pt x="53" y="41"/>
                    </a:lnTo>
                    <a:lnTo>
                      <a:pt x="54" y="34"/>
                    </a:lnTo>
                    <a:lnTo>
                      <a:pt x="55" y="30"/>
                    </a:lnTo>
                    <a:lnTo>
                      <a:pt x="56" y="28"/>
                    </a:lnTo>
                    <a:lnTo>
                      <a:pt x="57" y="26"/>
                    </a:lnTo>
                    <a:lnTo>
                      <a:pt x="58" y="25"/>
                    </a:lnTo>
                    <a:lnTo>
                      <a:pt x="60" y="22"/>
                    </a:lnTo>
                    <a:lnTo>
                      <a:pt x="60" y="16"/>
                    </a:lnTo>
                    <a:lnTo>
                      <a:pt x="44" y="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71" name="Freeform 12">
                <a:extLst>
                  <a:ext uri="{FF2B5EF4-FFF2-40B4-BE49-F238E27FC236}">
                    <a16:creationId xmlns:a16="http://schemas.microsoft.com/office/drawing/2014/main" id="{9FD2498A-2F69-4783-9A7A-01EFB665B0DB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3839581" y="2429175"/>
                <a:ext cx="206320" cy="304130"/>
              </a:xfrm>
              <a:custGeom>
                <a:avLst/>
                <a:gdLst>
                  <a:gd name="T0" fmla="*/ 4824724 w 398"/>
                  <a:gd name="T1" fmla="*/ 542876 h 518"/>
                  <a:gd name="T2" fmla="*/ 17629195 w 398"/>
                  <a:gd name="T3" fmla="*/ 3528694 h 518"/>
                  <a:gd name="T4" fmla="*/ 21526021 w 398"/>
                  <a:gd name="T5" fmla="*/ 6243074 h 518"/>
                  <a:gd name="T6" fmla="*/ 14845502 w 398"/>
                  <a:gd name="T7" fmla="*/ 12757585 h 518"/>
                  <a:gd name="T8" fmla="*/ 11876574 w 398"/>
                  <a:gd name="T9" fmla="*/ 16829155 h 518"/>
                  <a:gd name="T10" fmla="*/ 14288936 w 398"/>
                  <a:gd name="T11" fmla="*/ 18729221 h 518"/>
                  <a:gd name="T12" fmla="*/ 30990234 w 398"/>
                  <a:gd name="T13" fmla="*/ 21443601 h 518"/>
                  <a:gd name="T14" fmla="*/ 38969982 w 398"/>
                  <a:gd name="T15" fmla="*/ 29586219 h 518"/>
                  <a:gd name="T16" fmla="*/ 28577872 w 398"/>
                  <a:gd name="T17" fmla="*/ 34472103 h 518"/>
                  <a:gd name="T18" fmla="*/ 27278643 w 398"/>
                  <a:gd name="T19" fmla="*/ 37457921 h 518"/>
                  <a:gd name="T20" fmla="*/ 35444057 w 398"/>
                  <a:gd name="T21" fmla="*/ 38815111 h 518"/>
                  <a:gd name="T22" fmla="*/ 39155217 w 398"/>
                  <a:gd name="T23" fmla="*/ 42343804 h 518"/>
                  <a:gd name="T24" fmla="*/ 45093504 w 398"/>
                  <a:gd name="T25" fmla="*/ 51844134 h 518"/>
                  <a:gd name="T26" fmla="*/ 47877197 w 398"/>
                  <a:gd name="T27" fmla="*/ 57544331 h 518"/>
                  <a:gd name="T28" fmla="*/ 48248529 w 398"/>
                  <a:gd name="T29" fmla="*/ 64330281 h 518"/>
                  <a:gd name="T30" fmla="*/ 50475225 w 398"/>
                  <a:gd name="T31" fmla="*/ 68944727 h 518"/>
                  <a:gd name="T32" fmla="*/ 53073252 w 398"/>
                  <a:gd name="T33" fmla="*/ 75730155 h 518"/>
                  <a:gd name="T34" fmla="*/ 56784412 w 398"/>
                  <a:gd name="T35" fmla="*/ 80616039 h 518"/>
                  <a:gd name="T36" fmla="*/ 60681669 w 398"/>
                  <a:gd name="T37" fmla="*/ 86859112 h 518"/>
                  <a:gd name="T38" fmla="*/ 64207163 w 398"/>
                  <a:gd name="T39" fmla="*/ 91473558 h 518"/>
                  <a:gd name="T40" fmla="*/ 68660986 w 398"/>
                  <a:gd name="T41" fmla="*/ 92559310 h 518"/>
                  <a:gd name="T42" fmla="*/ 73485710 w 398"/>
                  <a:gd name="T43" fmla="*/ 99073822 h 518"/>
                  <a:gd name="T44" fmla="*/ 73300475 w 398"/>
                  <a:gd name="T45" fmla="*/ 107216961 h 518"/>
                  <a:gd name="T46" fmla="*/ 70888113 w 398"/>
                  <a:gd name="T47" fmla="*/ 109659903 h 518"/>
                  <a:gd name="T48" fmla="*/ 68104420 w 398"/>
                  <a:gd name="T49" fmla="*/ 112645721 h 518"/>
                  <a:gd name="T50" fmla="*/ 68290086 w 398"/>
                  <a:gd name="T51" fmla="*/ 115631539 h 518"/>
                  <a:gd name="T52" fmla="*/ 69774550 w 398"/>
                  <a:gd name="T53" fmla="*/ 120245463 h 518"/>
                  <a:gd name="T54" fmla="*/ 66619956 w 398"/>
                  <a:gd name="T55" fmla="*/ 125674223 h 518"/>
                  <a:gd name="T56" fmla="*/ 27093408 w 398"/>
                  <a:gd name="T57" fmla="*/ 135717428 h 518"/>
                  <a:gd name="T58" fmla="*/ 12618806 w 398"/>
                  <a:gd name="T59" fmla="*/ 137888932 h 518"/>
                  <a:gd name="T60" fmla="*/ 9835113 w 398"/>
                  <a:gd name="T61" fmla="*/ 140603312 h 518"/>
                  <a:gd name="T62" fmla="*/ 10763011 w 398"/>
                  <a:gd name="T63" fmla="*/ 133817362 h 518"/>
                  <a:gd name="T64" fmla="*/ 13175372 w 398"/>
                  <a:gd name="T65" fmla="*/ 129202917 h 518"/>
                  <a:gd name="T66" fmla="*/ 21155121 w 398"/>
                  <a:gd name="T67" fmla="*/ 124317033 h 518"/>
                  <a:gd name="T68" fmla="*/ 31918131 w 398"/>
                  <a:gd name="T69" fmla="*/ 119159711 h 518"/>
                  <a:gd name="T70" fmla="*/ 33216930 w 398"/>
                  <a:gd name="T71" fmla="*/ 115631539 h 518"/>
                  <a:gd name="T72" fmla="*/ 31732466 w 398"/>
                  <a:gd name="T73" fmla="*/ 117802521 h 518"/>
                  <a:gd name="T74" fmla="*/ 20598124 w 398"/>
                  <a:gd name="T75" fmla="*/ 117259646 h 518"/>
                  <a:gd name="T76" fmla="*/ 14103270 w 398"/>
                  <a:gd name="T77" fmla="*/ 114002911 h 518"/>
                  <a:gd name="T78" fmla="*/ 14288936 w 398"/>
                  <a:gd name="T79" fmla="*/ 109117027 h 518"/>
                  <a:gd name="T80" fmla="*/ 17629195 w 398"/>
                  <a:gd name="T81" fmla="*/ 106131209 h 518"/>
                  <a:gd name="T82" fmla="*/ 16144731 w 398"/>
                  <a:gd name="T83" fmla="*/ 95545128 h 518"/>
                  <a:gd name="T84" fmla="*/ 19484991 w 398"/>
                  <a:gd name="T85" fmla="*/ 89302054 h 518"/>
                  <a:gd name="T86" fmla="*/ 28577872 w 398"/>
                  <a:gd name="T87" fmla="*/ 83873295 h 518"/>
                  <a:gd name="T88" fmla="*/ 31918131 w 398"/>
                  <a:gd name="T89" fmla="*/ 78987411 h 518"/>
                  <a:gd name="T90" fmla="*/ 27464308 w 398"/>
                  <a:gd name="T91" fmla="*/ 73558651 h 518"/>
                  <a:gd name="T92" fmla="*/ 25794179 w 398"/>
                  <a:gd name="T93" fmla="*/ 67044661 h 518"/>
                  <a:gd name="T94" fmla="*/ 17443530 w 398"/>
                  <a:gd name="T95" fmla="*/ 64873157 h 518"/>
                  <a:gd name="T96" fmla="*/ 14845502 w 398"/>
                  <a:gd name="T97" fmla="*/ 58630083 h 518"/>
                  <a:gd name="T98" fmla="*/ 16701298 w 398"/>
                  <a:gd name="T99" fmla="*/ 52115572 h 518"/>
                  <a:gd name="T100" fmla="*/ 18557093 w 398"/>
                  <a:gd name="T101" fmla="*/ 45601060 h 518"/>
                  <a:gd name="T102" fmla="*/ 13546704 w 398"/>
                  <a:gd name="T103" fmla="*/ 50486944 h 518"/>
                  <a:gd name="T104" fmla="*/ 4082492 w 398"/>
                  <a:gd name="T105" fmla="*/ 43972432 h 518"/>
                  <a:gd name="T106" fmla="*/ 3711591 w 398"/>
                  <a:gd name="T107" fmla="*/ 38543673 h 518"/>
                  <a:gd name="T108" fmla="*/ 2598028 w 398"/>
                  <a:gd name="T109" fmla="*/ 35557855 h 518"/>
                  <a:gd name="T110" fmla="*/ 3711591 w 398"/>
                  <a:gd name="T111" fmla="*/ 17100593 h 518"/>
                  <a:gd name="T112" fmla="*/ 3525925 w 398"/>
                  <a:gd name="T113" fmla="*/ 13300461 h 518"/>
                  <a:gd name="T114" fmla="*/ 742232 w 398"/>
                  <a:gd name="T115" fmla="*/ 10857519 h 518"/>
                  <a:gd name="T116" fmla="*/ 3711591 w 398"/>
                  <a:gd name="T117" fmla="*/ 5157322 h 518"/>
                  <a:gd name="T118" fmla="*/ 556566 w 398"/>
                  <a:gd name="T119" fmla="*/ 2442942 h 51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98" h="518">
                    <a:moveTo>
                      <a:pt x="0" y="1"/>
                    </a:moveTo>
                    <a:lnTo>
                      <a:pt x="6" y="0"/>
                    </a:lnTo>
                    <a:lnTo>
                      <a:pt x="15" y="1"/>
                    </a:lnTo>
                    <a:lnTo>
                      <a:pt x="26" y="2"/>
                    </a:lnTo>
                    <a:lnTo>
                      <a:pt x="39" y="5"/>
                    </a:lnTo>
                    <a:lnTo>
                      <a:pt x="56" y="8"/>
                    </a:lnTo>
                    <a:lnTo>
                      <a:pt x="75" y="11"/>
                    </a:lnTo>
                    <a:lnTo>
                      <a:pt x="95" y="13"/>
                    </a:lnTo>
                    <a:lnTo>
                      <a:pt x="120" y="13"/>
                    </a:lnTo>
                    <a:lnTo>
                      <a:pt x="120" y="17"/>
                    </a:lnTo>
                    <a:lnTo>
                      <a:pt x="118" y="20"/>
                    </a:lnTo>
                    <a:lnTo>
                      <a:pt x="116" y="23"/>
                    </a:lnTo>
                    <a:lnTo>
                      <a:pt x="114" y="26"/>
                    </a:lnTo>
                    <a:lnTo>
                      <a:pt x="107" y="32"/>
                    </a:lnTo>
                    <a:lnTo>
                      <a:pt x="99" y="37"/>
                    </a:lnTo>
                    <a:lnTo>
                      <a:pt x="80" y="47"/>
                    </a:lnTo>
                    <a:lnTo>
                      <a:pt x="66" y="57"/>
                    </a:lnTo>
                    <a:lnTo>
                      <a:pt x="65" y="59"/>
                    </a:lnTo>
                    <a:lnTo>
                      <a:pt x="64" y="61"/>
                    </a:lnTo>
                    <a:lnTo>
                      <a:pt x="64" y="62"/>
                    </a:lnTo>
                    <a:lnTo>
                      <a:pt x="65" y="64"/>
                    </a:lnTo>
                    <a:lnTo>
                      <a:pt x="68" y="66"/>
                    </a:lnTo>
                    <a:lnTo>
                      <a:pt x="71" y="67"/>
                    </a:lnTo>
                    <a:lnTo>
                      <a:pt x="77" y="69"/>
                    </a:lnTo>
                    <a:lnTo>
                      <a:pt x="84" y="70"/>
                    </a:lnTo>
                    <a:lnTo>
                      <a:pt x="103" y="73"/>
                    </a:lnTo>
                    <a:lnTo>
                      <a:pt x="131" y="76"/>
                    </a:lnTo>
                    <a:lnTo>
                      <a:pt x="167" y="79"/>
                    </a:lnTo>
                    <a:lnTo>
                      <a:pt x="213" y="81"/>
                    </a:lnTo>
                    <a:lnTo>
                      <a:pt x="213" y="91"/>
                    </a:lnTo>
                    <a:lnTo>
                      <a:pt x="213" y="105"/>
                    </a:lnTo>
                    <a:lnTo>
                      <a:pt x="210" y="109"/>
                    </a:lnTo>
                    <a:lnTo>
                      <a:pt x="202" y="112"/>
                    </a:lnTo>
                    <a:lnTo>
                      <a:pt x="191" y="116"/>
                    </a:lnTo>
                    <a:lnTo>
                      <a:pt x="179" y="120"/>
                    </a:lnTo>
                    <a:lnTo>
                      <a:pt x="154" y="127"/>
                    </a:lnTo>
                    <a:lnTo>
                      <a:pt x="139" y="130"/>
                    </a:lnTo>
                    <a:lnTo>
                      <a:pt x="142" y="133"/>
                    </a:lnTo>
                    <a:lnTo>
                      <a:pt x="144" y="136"/>
                    </a:lnTo>
                    <a:lnTo>
                      <a:pt x="147" y="138"/>
                    </a:lnTo>
                    <a:lnTo>
                      <a:pt x="150" y="140"/>
                    </a:lnTo>
                    <a:lnTo>
                      <a:pt x="160" y="142"/>
                    </a:lnTo>
                    <a:lnTo>
                      <a:pt x="170" y="143"/>
                    </a:lnTo>
                    <a:lnTo>
                      <a:pt x="191" y="143"/>
                    </a:lnTo>
                    <a:lnTo>
                      <a:pt x="206" y="142"/>
                    </a:lnTo>
                    <a:lnTo>
                      <a:pt x="206" y="147"/>
                    </a:lnTo>
                    <a:lnTo>
                      <a:pt x="208" y="152"/>
                    </a:lnTo>
                    <a:lnTo>
                      <a:pt x="211" y="156"/>
                    </a:lnTo>
                    <a:lnTo>
                      <a:pt x="214" y="161"/>
                    </a:lnTo>
                    <a:lnTo>
                      <a:pt x="223" y="172"/>
                    </a:lnTo>
                    <a:lnTo>
                      <a:pt x="233" y="182"/>
                    </a:lnTo>
                    <a:lnTo>
                      <a:pt x="243" y="191"/>
                    </a:lnTo>
                    <a:lnTo>
                      <a:pt x="250" y="200"/>
                    </a:lnTo>
                    <a:lnTo>
                      <a:pt x="254" y="205"/>
                    </a:lnTo>
                    <a:lnTo>
                      <a:pt x="257" y="209"/>
                    </a:lnTo>
                    <a:lnTo>
                      <a:pt x="258" y="212"/>
                    </a:lnTo>
                    <a:lnTo>
                      <a:pt x="259" y="216"/>
                    </a:lnTo>
                    <a:lnTo>
                      <a:pt x="259" y="223"/>
                    </a:lnTo>
                    <a:lnTo>
                      <a:pt x="260" y="232"/>
                    </a:lnTo>
                    <a:lnTo>
                      <a:pt x="260" y="237"/>
                    </a:lnTo>
                    <a:lnTo>
                      <a:pt x="262" y="241"/>
                    </a:lnTo>
                    <a:lnTo>
                      <a:pt x="263" y="244"/>
                    </a:lnTo>
                    <a:lnTo>
                      <a:pt x="266" y="247"/>
                    </a:lnTo>
                    <a:lnTo>
                      <a:pt x="272" y="254"/>
                    </a:lnTo>
                    <a:lnTo>
                      <a:pt x="277" y="261"/>
                    </a:lnTo>
                    <a:lnTo>
                      <a:pt x="280" y="267"/>
                    </a:lnTo>
                    <a:lnTo>
                      <a:pt x="283" y="273"/>
                    </a:lnTo>
                    <a:lnTo>
                      <a:pt x="286" y="279"/>
                    </a:lnTo>
                    <a:lnTo>
                      <a:pt x="291" y="284"/>
                    </a:lnTo>
                    <a:lnTo>
                      <a:pt x="297" y="288"/>
                    </a:lnTo>
                    <a:lnTo>
                      <a:pt x="305" y="291"/>
                    </a:lnTo>
                    <a:lnTo>
                      <a:pt x="306" y="297"/>
                    </a:lnTo>
                    <a:lnTo>
                      <a:pt x="310" y="304"/>
                    </a:lnTo>
                    <a:lnTo>
                      <a:pt x="315" y="310"/>
                    </a:lnTo>
                    <a:lnTo>
                      <a:pt x="320" y="316"/>
                    </a:lnTo>
                    <a:lnTo>
                      <a:pt x="327" y="320"/>
                    </a:lnTo>
                    <a:lnTo>
                      <a:pt x="334" y="324"/>
                    </a:lnTo>
                    <a:lnTo>
                      <a:pt x="340" y="326"/>
                    </a:lnTo>
                    <a:lnTo>
                      <a:pt x="346" y="327"/>
                    </a:lnTo>
                    <a:lnTo>
                      <a:pt x="346" y="337"/>
                    </a:lnTo>
                    <a:lnTo>
                      <a:pt x="346" y="346"/>
                    </a:lnTo>
                    <a:lnTo>
                      <a:pt x="355" y="343"/>
                    </a:lnTo>
                    <a:lnTo>
                      <a:pt x="363" y="341"/>
                    </a:lnTo>
                    <a:lnTo>
                      <a:pt x="370" y="341"/>
                    </a:lnTo>
                    <a:lnTo>
                      <a:pt x="376" y="342"/>
                    </a:lnTo>
                    <a:lnTo>
                      <a:pt x="389" y="347"/>
                    </a:lnTo>
                    <a:lnTo>
                      <a:pt x="398" y="352"/>
                    </a:lnTo>
                    <a:lnTo>
                      <a:pt x="396" y="365"/>
                    </a:lnTo>
                    <a:lnTo>
                      <a:pt x="394" y="376"/>
                    </a:lnTo>
                    <a:lnTo>
                      <a:pt x="393" y="382"/>
                    </a:lnTo>
                    <a:lnTo>
                      <a:pt x="393" y="389"/>
                    </a:lnTo>
                    <a:lnTo>
                      <a:pt x="395" y="395"/>
                    </a:lnTo>
                    <a:lnTo>
                      <a:pt x="398" y="401"/>
                    </a:lnTo>
                    <a:lnTo>
                      <a:pt x="393" y="402"/>
                    </a:lnTo>
                    <a:lnTo>
                      <a:pt x="387" y="403"/>
                    </a:lnTo>
                    <a:lnTo>
                      <a:pt x="382" y="404"/>
                    </a:lnTo>
                    <a:lnTo>
                      <a:pt x="376" y="406"/>
                    </a:lnTo>
                    <a:lnTo>
                      <a:pt x="372" y="409"/>
                    </a:lnTo>
                    <a:lnTo>
                      <a:pt x="369" y="412"/>
                    </a:lnTo>
                    <a:lnTo>
                      <a:pt x="367" y="415"/>
                    </a:lnTo>
                    <a:lnTo>
                      <a:pt x="365" y="420"/>
                    </a:lnTo>
                    <a:lnTo>
                      <a:pt x="365" y="422"/>
                    </a:lnTo>
                    <a:lnTo>
                      <a:pt x="367" y="424"/>
                    </a:lnTo>
                    <a:lnTo>
                      <a:pt x="368" y="426"/>
                    </a:lnTo>
                    <a:lnTo>
                      <a:pt x="370" y="429"/>
                    </a:lnTo>
                    <a:lnTo>
                      <a:pt x="376" y="433"/>
                    </a:lnTo>
                    <a:lnTo>
                      <a:pt x="385" y="438"/>
                    </a:lnTo>
                    <a:lnTo>
                      <a:pt x="376" y="443"/>
                    </a:lnTo>
                    <a:lnTo>
                      <a:pt x="371" y="447"/>
                    </a:lnTo>
                    <a:lnTo>
                      <a:pt x="367" y="451"/>
                    </a:lnTo>
                    <a:lnTo>
                      <a:pt x="363" y="455"/>
                    </a:lnTo>
                    <a:lnTo>
                      <a:pt x="359" y="463"/>
                    </a:lnTo>
                    <a:lnTo>
                      <a:pt x="352" y="475"/>
                    </a:lnTo>
                    <a:lnTo>
                      <a:pt x="146" y="475"/>
                    </a:lnTo>
                    <a:lnTo>
                      <a:pt x="146" y="487"/>
                    </a:lnTo>
                    <a:lnTo>
                      <a:pt x="146" y="500"/>
                    </a:lnTo>
                    <a:lnTo>
                      <a:pt x="116" y="501"/>
                    </a:lnTo>
                    <a:lnTo>
                      <a:pt x="90" y="503"/>
                    </a:lnTo>
                    <a:lnTo>
                      <a:pt x="78" y="505"/>
                    </a:lnTo>
                    <a:lnTo>
                      <a:pt x="68" y="508"/>
                    </a:lnTo>
                    <a:lnTo>
                      <a:pt x="64" y="510"/>
                    </a:lnTo>
                    <a:lnTo>
                      <a:pt x="59" y="512"/>
                    </a:lnTo>
                    <a:lnTo>
                      <a:pt x="56" y="515"/>
                    </a:lnTo>
                    <a:lnTo>
                      <a:pt x="53" y="518"/>
                    </a:lnTo>
                    <a:lnTo>
                      <a:pt x="54" y="511"/>
                    </a:lnTo>
                    <a:lnTo>
                      <a:pt x="55" y="505"/>
                    </a:lnTo>
                    <a:lnTo>
                      <a:pt x="56" y="499"/>
                    </a:lnTo>
                    <a:lnTo>
                      <a:pt x="58" y="493"/>
                    </a:lnTo>
                    <a:lnTo>
                      <a:pt x="61" y="488"/>
                    </a:lnTo>
                    <a:lnTo>
                      <a:pt x="64" y="484"/>
                    </a:lnTo>
                    <a:lnTo>
                      <a:pt x="68" y="480"/>
                    </a:lnTo>
                    <a:lnTo>
                      <a:pt x="71" y="476"/>
                    </a:lnTo>
                    <a:lnTo>
                      <a:pt x="81" y="470"/>
                    </a:lnTo>
                    <a:lnTo>
                      <a:pt x="91" y="465"/>
                    </a:lnTo>
                    <a:lnTo>
                      <a:pt x="102" y="462"/>
                    </a:lnTo>
                    <a:lnTo>
                      <a:pt x="114" y="458"/>
                    </a:lnTo>
                    <a:lnTo>
                      <a:pt x="136" y="453"/>
                    </a:lnTo>
                    <a:lnTo>
                      <a:pt x="157" y="448"/>
                    </a:lnTo>
                    <a:lnTo>
                      <a:pt x="165" y="444"/>
                    </a:lnTo>
                    <a:lnTo>
                      <a:pt x="172" y="439"/>
                    </a:lnTo>
                    <a:lnTo>
                      <a:pt x="174" y="436"/>
                    </a:lnTo>
                    <a:lnTo>
                      <a:pt x="177" y="433"/>
                    </a:lnTo>
                    <a:lnTo>
                      <a:pt x="179" y="429"/>
                    </a:lnTo>
                    <a:lnTo>
                      <a:pt x="179" y="426"/>
                    </a:lnTo>
                    <a:lnTo>
                      <a:pt x="179" y="428"/>
                    </a:lnTo>
                    <a:lnTo>
                      <a:pt x="177" y="430"/>
                    </a:lnTo>
                    <a:lnTo>
                      <a:pt x="174" y="432"/>
                    </a:lnTo>
                    <a:lnTo>
                      <a:pt x="171" y="434"/>
                    </a:lnTo>
                    <a:lnTo>
                      <a:pt x="162" y="437"/>
                    </a:lnTo>
                    <a:lnTo>
                      <a:pt x="152" y="438"/>
                    </a:lnTo>
                    <a:lnTo>
                      <a:pt x="137" y="437"/>
                    </a:lnTo>
                    <a:lnTo>
                      <a:pt x="111" y="432"/>
                    </a:lnTo>
                    <a:lnTo>
                      <a:pt x="96" y="429"/>
                    </a:lnTo>
                    <a:lnTo>
                      <a:pt x="84" y="425"/>
                    </a:lnTo>
                    <a:lnTo>
                      <a:pt x="80" y="423"/>
                    </a:lnTo>
                    <a:lnTo>
                      <a:pt x="76" y="420"/>
                    </a:lnTo>
                    <a:lnTo>
                      <a:pt x="73" y="417"/>
                    </a:lnTo>
                    <a:lnTo>
                      <a:pt x="73" y="414"/>
                    </a:lnTo>
                    <a:lnTo>
                      <a:pt x="73" y="407"/>
                    </a:lnTo>
                    <a:lnTo>
                      <a:pt x="77" y="402"/>
                    </a:lnTo>
                    <a:lnTo>
                      <a:pt x="80" y="398"/>
                    </a:lnTo>
                    <a:lnTo>
                      <a:pt x="84" y="395"/>
                    </a:lnTo>
                    <a:lnTo>
                      <a:pt x="90" y="392"/>
                    </a:lnTo>
                    <a:lnTo>
                      <a:pt x="95" y="391"/>
                    </a:lnTo>
                    <a:lnTo>
                      <a:pt x="101" y="390"/>
                    </a:lnTo>
                    <a:lnTo>
                      <a:pt x="106" y="389"/>
                    </a:lnTo>
                    <a:lnTo>
                      <a:pt x="106" y="352"/>
                    </a:lnTo>
                    <a:lnTo>
                      <a:pt x="87" y="352"/>
                    </a:lnTo>
                    <a:lnTo>
                      <a:pt x="90" y="345"/>
                    </a:lnTo>
                    <a:lnTo>
                      <a:pt x="94" y="339"/>
                    </a:lnTo>
                    <a:lnTo>
                      <a:pt x="100" y="334"/>
                    </a:lnTo>
                    <a:lnTo>
                      <a:pt x="105" y="329"/>
                    </a:lnTo>
                    <a:lnTo>
                      <a:pt x="117" y="323"/>
                    </a:lnTo>
                    <a:lnTo>
                      <a:pt x="129" y="319"/>
                    </a:lnTo>
                    <a:lnTo>
                      <a:pt x="142" y="315"/>
                    </a:lnTo>
                    <a:lnTo>
                      <a:pt x="154" y="309"/>
                    </a:lnTo>
                    <a:lnTo>
                      <a:pt x="159" y="306"/>
                    </a:lnTo>
                    <a:lnTo>
                      <a:pt x="163" y="302"/>
                    </a:lnTo>
                    <a:lnTo>
                      <a:pt x="169" y="297"/>
                    </a:lnTo>
                    <a:lnTo>
                      <a:pt x="172" y="291"/>
                    </a:lnTo>
                    <a:lnTo>
                      <a:pt x="166" y="286"/>
                    </a:lnTo>
                    <a:lnTo>
                      <a:pt x="159" y="281"/>
                    </a:lnTo>
                    <a:lnTo>
                      <a:pt x="154" y="277"/>
                    </a:lnTo>
                    <a:lnTo>
                      <a:pt x="148" y="271"/>
                    </a:lnTo>
                    <a:lnTo>
                      <a:pt x="145" y="265"/>
                    </a:lnTo>
                    <a:lnTo>
                      <a:pt x="142" y="260"/>
                    </a:lnTo>
                    <a:lnTo>
                      <a:pt x="140" y="254"/>
                    </a:lnTo>
                    <a:lnTo>
                      <a:pt x="139" y="247"/>
                    </a:lnTo>
                    <a:lnTo>
                      <a:pt x="125" y="247"/>
                    </a:lnTo>
                    <a:lnTo>
                      <a:pt x="113" y="245"/>
                    </a:lnTo>
                    <a:lnTo>
                      <a:pt x="103" y="242"/>
                    </a:lnTo>
                    <a:lnTo>
                      <a:pt x="94" y="239"/>
                    </a:lnTo>
                    <a:lnTo>
                      <a:pt x="88" y="235"/>
                    </a:lnTo>
                    <a:lnTo>
                      <a:pt x="83" y="229"/>
                    </a:lnTo>
                    <a:lnTo>
                      <a:pt x="80" y="224"/>
                    </a:lnTo>
                    <a:lnTo>
                      <a:pt x="80" y="216"/>
                    </a:lnTo>
                    <a:lnTo>
                      <a:pt x="80" y="209"/>
                    </a:lnTo>
                    <a:lnTo>
                      <a:pt x="82" y="203"/>
                    </a:lnTo>
                    <a:lnTo>
                      <a:pt x="86" y="198"/>
                    </a:lnTo>
                    <a:lnTo>
                      <a:pt x="90" y="192"/>
                    </a:lnTo>
                    <a:lnTo>
                      <a:pt x="93" y="186"/>
                    </a:lnTo>
                    <a:lnTo>
                      <a:pt x="96" y="180"/>
                    </a:lnTo>
                    <a:lnTo>
                      <a:pt x="99" y="174"/>
                    </a:lnTo>
                    <a:lnTo>
                      <a:pt x="100" y="168"/>
                    </a:lnTo>
                    <a:lnTo>
                      <a:pt x="92" y="171"/>
                    </a:lnTo>
                    <a:lnTo>
                      <a:pt x="86" y="175"/>
                    </a:lnTo>
                    <a:lnTo>
                      <a:pt x="80" y="180"/>
                    </a:lnTo>
                    <a:lnTo>
                      <a:pt x="73" y="186"/>
                    </a:lnTo>
                    <a:lnTo>
                      <a:pt x="64" y="199"/>
                    </a:lnTo>
                    <a:lnTo>
                      <a:pt x="53" y="210"/>
                    </a:lnTo>
                    <a:lnTo>
                      <a:pt x="31" y="179"/>
                    </a:lnTo>
                    <a:lnTo>
                      <a:pt x="22" y="162"/>
                    </a:lnTo>
                    <a:lnTo>
                      <a:pt x="20" y="157"/>
                    </a:lnTo>
                    <a:lnTo>
                      <a:pt x="20" y="153"/>
                    </a:lnTo>
                    <a:lnTo>
                      <a:pt x="20" y="148"/>
                    </a:lnTo>
                    <a:lnTo>
                      <a:pt x="20" y="142"/>
                    </a:lnTo>
                    <a:lnTo>
                      <a:pt x="17" y="141"/>
                    </a:lnTo>
                    <a:lnTo>
                      <a:pt x="16" y="138"/>
                    </a:lnTo>
                    <a:lnTo>
                      <a:pt x="15" y="135"/>
                    </a:lnTo>
                    <a:lnTo>
                      <a:pt x="14" y="131"/>
                    </a:lnTo>
                    <a:lnTo>
                      <a:pt x="14" y="121"/>
                    </a:lnTo>
                    <a:lnTo>
                      <a:pt x="15" y="110"/>
                    </a:lnTo>
                    <a:lnTo>
                      <a:pt x="17" y="84"/>
                    </a:lnTo>
                    <a:lnTo>
                      <a:pt x="20" y="63"/>
                    </a:lnTo>
                    <a:lnTo>
                      <a:pt x="21" y="59"/>
                    </a:lnTo>
                    <a:lnTo>
                      <a:pt x="21" y="55"/>
                    </a:lnTo>
                    <a:lnTo>
                      <a:pt x="20" y="51"/>
                    </a:lnTo>
                    <a:lnTo>
                      <a:pt x="19" y="49"/>
                    </a:lnTo>
                    <a:lnTo>
                      <a:pt x="15" y="45"/>
                    </a:lnTo>
                    <a:lnTo>
                      <a:pt x="11" y="43"/>
                    </a:lnTo>
                    <a:lnTo>
                      <a:pt x="6" y="41"/>
                    </a:lnTo>
                    <a:lnTo>
                      <a:pt x="4" y="40"/>
                    </a:lnTo>
                    <a:lnTo>
                      <a:pt x="3" y="39"/>
                    </a:lnTo>
                    <a:lnTo>
                      <a:pt x="6" y="37"/>
                    </a:lnTo>
                    <a:lnTo>
                      <a:pt x="13" y="28"/>
                    </a:lnTo>
                    <a:lnTo>
                      <a:pt x="20" y="19"/>
                    </a:lnTo>
                    <a:lnTo>
                      <a:pt x="20" y="13"/>
                    </a:lnTo>
                    <a:lnTo>
                      <a:pt x="11" y="11"/>
                    </a:lnTo>
                    <a:lnTo>
                      <a:pt x="5" y="10"/>
                    </a:lnTo>
                    <a:lnTo>
                      <a:pt x="3" y="9"/>
                    </a:lnTo>
                    <a:lnTo>
                      <a:pt x="1" y="7"/>
                    </a:lnTo>
                    <a:lnTo>
                      <a:pt x="0" y="5"/>
                    </a:lnTo>
                    <a:lnTo>
                      <a:pt x="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72" name="Freeform 13">
                <a:extLst>
                  <a:ext uri="{FF2B5EF4-FFF2-40B4-BE49-F238E27FC236}">
                    <a16:creationId xmlns:a16="http://schemas.microsoft.com/office/drawing/2014/main" id="{6808ECF0-0F44-4AF6-AD0C-4EFB149065BE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272130" y="2770221"/>
                <a:ext cx="204510" cy="86141"/>
              </a:xfrm>
              <a:custGeom>
                <a:avLst/>
                <a:gdLst>
                  <a:gd name="T0" fmla="*/ 37567961 w 382"/>
                  <a:gd name="T1" fmla="*/ 5566719 h 148"/>
                  <a:gd name="T2" fmla="*/ 34997797 w 382"/>
                  <a:gd name="T3" fmla="*/ 8217758 h 148"/>
                  <a:gd name="T4" fmla="*/ 34404614 w 382"/>
                  <a:gd name="T5" fmla="*/ 11928904 h 148"/>
                  <a:gd name="T6" fmla="*/ 33218248 w 382"/>
                  <a:gd name="T7" fmla="*/ 14049632 h 148"/>
                  <a:gd name="T8" fmla="*/ 32822497 w 382"/>
                  <a:gd name="T9" fmla="*/ 16170361 h 148"/>
                  <a:gd name="T10" fmla="*/ 34997797 w 382"/>
                  <a:gd name="T11" fmla="*/ 19616351 h 148"/>
                  <a:gd name="T12" fmla="*/ 30647640 w 382"/>
                  <a:gd name="T13" fmla="*/ 22797186 h 148"/>
                  <a:gd name="T14" fmla="*/ 21354588 w 382"/>
                  <a:gd name="T15" fmla="*/ 25448226 h 148"/>
                  <a:gd name="T16" fmla="*/ 15224882 w 382"/>
                  <a:gd name="T17" fmla="*/ 25713381 h 148"/>
                  <a:gd name="T18" fmla="*/ 10281987 w 382"/>
                  <a:gd name="T19" fmla="*/ 25183070 h 148"/>
                  <a:gd name="T20" fmla="*/ 791059 w 382"/>
                  <a:gd name="T21" fmla="*/ 29424527 h 148"/>
                  <a:gd name="T22" fmla="*/ 0 w 382"/>
                  <a:gd name="T23" fmla="*/ 34196295 h 148"/>
                  <a:gd name="T24" fmla="*/ 791059 w 382"/>
                  <a:gd name="T25" fmla="*/ 34726091 h 148"/>
                  <a:gd name="T26" fmla="*/ 2372732 w 382"/>
                  <a:gd name="T27" fmla="*/ 34726091 h 148"/>
                  <a:gd name="T28" fmla="*/ 10084111 w 382"/>
                  <a:gd name="T29" fmla="*/ 34196295 h 148"/>
                  <a:gd name="T30" fmla="*/ 22540954 w 382"/>
                  <a:gd name="T31" fmla="*/ 33665984 h 148"/>
                  <a:gd name="T32" fmla="*/ 24320503 w 382"/>
                  <a:gd name="T33" fmla="*/ 35521557 h 148"/>
                  <a:gd name="T34" fmla="*/ 27088542 w 382"/>
                  <a:gd name="T35" fmla="*/ 37377130 h 148"/>
                  <a:gd name="T36" fmla="*/ 31438699 w 382"/>
                  <a:gd name="T37" fmla="*/ 38967547 h 148"/>
                  <a:gd name="T38" fmla="*/ 36579470 w 382"/>
                  <a:gd name="T39" fmla="*/ 39232703 h 148"/>
                  <a:gd name="T40" fmla="*/ 41522810 w 382"/>
                  <a:gd name="T41" fmla="*/ 39232703 h 148"/>
                  <a:gd name="T42" fmla="*/ 46070399 w 382"/>
                  <a:gd name="T43" fmla="*/ 39232703 h 148"/>
                  <a:gd name="T44" fmla="*/ 50420555 w 382"/>
                  <a:gd name="T45" fmla="*/ 39232703 h 148"/>
                  <a:gd name="T46" fmla="*/ 54374961 w 382"/>
                  <a:gd name="T47" fmla="*/ 37907441 h 148"/>
                  <a:gd name="T48" fmla="*/ 59515732 w 382"/>
                  <a:gd name="T49" fmla="*/ 35521557 h 148"/>
                  <a:gd name="T50" fmla="*/ 66040745 w 382"/>
                  <a:gd name="T51" fmla="*/ 32075566 h 148"/>
                  <a:gd name="T52" fmla="*/ 69797719 w 382"/>
                  <a:gd name="T53" fmla="*/ 27303799 h 148"/>
                  <a:gd name="T54" fmla="*/ 73554248 w 382"/>
                  <a:gd name="T55" fmla="*/ 19086041 h 148"/>
                  <a:gd name="T56" fmla="*/ 74345307 w 382"/>
                  <a:gd name="T57" fmla="*/ 13784477 h 148"/>
                  <a:gd name="T58" fmla="*/ 71774699 w 382"/>
                  <a:gd name="T59" fmla="*/ 11663749 h 148"/>
                  <a:gd name="T60" fmla="*/ 70588333 w 382"/>
                  <a:gd name="T61" fmla="*/ 8482914 h 148"/>
                  <a:gd name="T62" fmla="*/ 68611353 w 382"/>
                  <a:gd name="T63" fmla="*/ 5831874 h 148"/>
                  <a:gd name="T64" fmla="*/ 66040745 w 382"/>
                  <a:gd name="T65" fmla="*/ 4506612 h 148"/>
                  <a:gd name="T66" fmla="*/ 63074830 w 382"/>
                  <a:gd name="T67" fmla="*/ 2120728 h 148"/>
                  <a:gd name="T68" fmla="*/ 40138568 w 382"/>
                  <a:gd name="T69" fmla="*/ 4771768 h 14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82" h="148">
                    <a:moveTo>
                      <a:pt x="203" y="18"/>
                    </a:moveTo>
                    <a:lnTo>
                      <a:pt x="190" y="21"/>
                    </a:lnTo>
                    <a:lnTo>
                      <a:pt x="177" y="24"/>
                    </a:lnTo>
                    <a:lnTo>
                      <a:pt x="177" y="31"/>
                    </a:lnTo>
                    <a:lnTo>
                      <a:pt x="175" y="40"/>
                    </a:lnTo>
                    <a:lnTo>
                      <a:pt x="174" y="45"/>
                    </a:lnTo>
                    <a:lnTo>
                      <a:pt x="172" y="49"/>
                    </a:lnTo>
                    <a:lnTo>
                      <a:pt x="168" y="53"/>
                    </a:lnTo>
                    <a:lnTo>
                      <a:pt x="164" y="55"/>
                    </a:lnTo>
                    <a:lnTo>
                      <a:pt x="166" y="61"/>
                    </a:lnTo>
                    <a:lnTo>
                      <a:pt x="170" y="67"/>
                    </a:lnTo>
                    <a:lnTo>
                      <a:pt x="177" y="74"/>
                    </a:lnTo>
                    <a:lnTo>
                      <a:pt x="184" y="80"/>
                    </a:lnTo>
                    <a:lnTo>
                      <a:pt x="155" y="86"/>
                    </a:lnTo>
                    <a:lnTo>
                      <a:pt x="125" y="93"/>
                    </a:lnTo>
                    <a:lnTo>
                      <a:pt x="108" y="96"/>
                    </a:lnTo>
                    <a:lnTo>
                      <a:pt x="88" y="97"/>
                    </a:lnTo>
                    <a:lnTo>
                      <a:pt x="77" y="97"/>
                    </a:lnTo>
                    <a:lnTo>
                      <a:pt x="65" y="96"/>
                    </a:lnTo>
                    <a:lnTo>
                      <a:pt x="52" y="95"/>
                    </a:lnTo>
                    <a:lnTo>
                      <a:pt x="38" y="93"/>
                    </a:lnTo>
                    <a:lnTo>
                      <a:pt x="4" y="111"/>
                    </a:lnTo>
                    <a:lnTo>
                      <a:pt x="1" y="122"/>
                    </a:lnTo>
                    <a:lnTo>
                      <a:pt x="0" y="129"/>
                    </a:lnTo>
                    <a:lnTo>
                      <a:pt x="1" y="130"/>
                    </a:lnTo>
                    <a:lnTo>
                      <a:pt x="4" y="131"/>
                    </a:lnTo>
                    <a:lnTo>
                      <a:pt x="7" y="131"/>
                    </a:lnTo>
                    <a:lnTo>
                      <a:pt x="12" y="131"/>
                    </a:lnTo>
                    <a:lnTo>
                      <a:pt x="28" y="131"/>
                    </a:lnTo>
                    <a:lnTo>
                      <a:pt x="51" y="129"/>
                    </a:lnTo>
                    <a:lnTo>
                      <a:pt x="110" y="123"/>
                    </a:lnTo>
                    <a:lnTo>
                      <a:pt x="114" y="127"/>
                    </a:lnTo>
                    <a:lnTo>
                      <a:pt x="119" y="131"/>
                    </a:lnTo>
                    <a:lnTo>
                      <a:pt x="123" y="134"/>
                    </a:lnTo>
                    <a:lnTo>
                      <a:pt x="128" y="137"/>
                    </a:lnTo>
                    <a:lnTo>
                      <a:pt x="137" y="141"/>
                    </a:lnTo>
                    <a:lnTo>
                      <a:pt x="148" y="144"/>
                    </a:lnTo>
                    <a:lnTo>
                      <a:pt x="159" y="147"/>
                    </a:lnTo>
                    <a:lnTo>
                      <a:pt x="172" y="148"/>
                    </a:lnTo>
                    <a:lnTo>
                      <a:pt x="185" y="148"/>
                    </a:lnTo>
                    <a:lnTo>
                      <a:pt x="197" y="148"/>
                    </a:lnTo>
                    <a:lnTo>
                      <a:pt x="210" y="148"/>
                    </a:lnTo>
                    <a:lnTo>
                      <a:pt x="222" y="148"/>
                    </a:lnTo>
                    <a:lnTo>
                      <a:pt x="233" y="148"/>
                    </a:lnTo>
                    <a:lnTo>
                      <a:pt x="243" y="148"/>
                    </a:lnTo>
                    <a:lnTo>
                      <a:pt x="255" y="148"/>
                    </a:lnTo>
                    <a:lnTo>
                      <a:pt x="265" y="145"/>
                    </a:lnTo>
                    <a:lnTo>
                      <a:pt x="275" y="143"/>
                    </a:lnTo>
                    <a:lnTo>
                      <a:pt x="284" y="140"/>
                    </a:lnTo>
                    <a:lnTo>
                      <a:pt x="301" y="134"/>
                    </a:lnTo>
                    <a:lnTo>
                      <a:pt x="323" y="129"/>
                    </a:lnTo>
                    <a:lnTo>
                      <a:pt x="334" y="121"/>
                    </a:lnTo>
                    <a:lnTo>
                      <a:pt x="344" y="113"/>
                    </a:lnTo>
                    <a:lnTo>
                      <a:pt x="353" y="103"/>
                    </a:lnTo>
                    <a:lnTo>
                      <a:pt x="360" y="93"/>
                    </a:lnTo>
                    <a:lnTo>
                      <a:pt x="372" y="72"/>
                    </a:lnTo>
                    <a:lnTo>
                      <a:pt x="382" y="55"/>
                    </a:lnTo>
                    <a:lnTo>
                      <a:pt x="376" y="52"/>
                    </a:lnTo>
                    <a:lnTo>
                      <a:pt x="367" y="47"/>
                    </a:lnTo>
                    <a:lnTo>
                      <a:pt x="363" y="44"/>
                    </a:lnTo>
                    <a:lnTo>
                      <a:pt x="359" y="39"/>
                    </a:lnTo>
                    <a:lnTo>
                      <a:pt x="357" y="32"/>
                    </a:lnTo>
                    <a:lnTo>
                      <a:pt x="356" y="24"/>
                    </a:lnTo>
                    <a:lnTo>
                      <a:pt x="347" y="22"/>
                    </a:lnTo>
                    <a:lnTo>
                      <a:pt x="341" y="20"/>
                    </a:lnTo>
                    <a:lnTo>
                      <a:pt x="334" y="17"/>
                    </a:lnTo>
                    <a:lnTo>
                      <a:pt x="330" y="14"/>
                    </a:lnTo>
                    <a:lnTo>
                      <a:pt x="319" y="8"/>
                    </a:lnTo>
                    <a:lnTo>
                      <a:pt x="303" y="0"/>
                    </a:lnTo>
                    <a:lnTo>
                      <a:pt x="203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73" name="Freeform 14">
                <a:extLst>
                  <a:ext uri="{FF2B5EF4-FFF2-40B4-BE49-F238E27FC236}">
                    <a16:creationId xmlns:a16="http://schemas.microsoft.com/office/drawing/2014/main" id="{667F5EED-1A38-4181-81B9-FF84300D1EC2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6071097" y="2599699"/>
                <a:ext cx="1545591" cy="1167294"/>
              </a:xfrm>
              <a:custGeom>
                <a:avLst/>
                <a:gdLst>
                  <a:gd name="T0" fmla="*/ 71018374 w 2936"/>
                  <a:gd name="T1" fmla="*/ 293580501 h 1983"/>
                  <a:gd name="T2" fmla="*/ 73303082 w 2936"/>
                  <a:gd name="T3" fmla="*/ 324007352 h 1983"/>
                  <a:gd name="T4" fmla="*/ 91010004 w 2936"/>
                  <a:gd name="T5" fmla="*/ 372252092 h 1983"/>
                  <a:gd name="T6" fmla="*/ 146225670 w 2936"/>
                  <a:gd name="T7" fmla="*/ 408984210 h 1983"/>
                  <a:gd name="T8" fmla="*/ 197252413 w 2936"/>
                  <a:gd name="T9" fmla="*/ 425430888 h 1983"/>
                  <a:gd name="T10" fmla="*/ 214007229 w 2936"/>
                  <a:gd name="T11" fmla="*/ 419126145 h 1983"/>
                  <a:gd name="T12" fmla="*/ 266747503 w 2936"/>
                  <a:gd name="T13" fmla="*/ 396922894 h 1983"/>
                  <a:gd name="T14" fmla="*/ 294545364 w 2936"/>
                  <a:gd name="T15" fmla="*/ 422690036 h 1983"/>
                  <a:gd name="T16" fmla="*/ 300257571 w 2936"/>
                  <a:gd name="T17" fmla="*/ 465178203 h 1983"/>
                  <a:gd name="T18" fmla="*/ 305969340 w 2936"/>
                  <a:gd name="T19" fmla="*/ 486011290 h 1983"/>
                  <a:gd name="T20" fmla="*/ 324818617 w 2936"/>
                  <a:gd name="T21" fmla="*/ 524113572 h 1983"/>
                  <a:gd name="T22" fmla="*/ 350712701 w 2936"/>
                  <a:gd name="T23" fmla="*/ 509585228 h 1983"/>
                  <a:gd name="T24" fmla="*/ 394504390 w 2936"/>
                  <a:gd name="T25" fmla="*/ 508214541 h 1983"/>
                  <a:gd name="T26" fmla="*/ 431251273 w 2936"/>
                  <a:gd name="T27" fmla="*/ 543575971 h 1983"/>
                  <a:gd name="T28" fmla="*/ 448767948 w 2936"/>
                  <a:gd name="T29" fmla="*/ 523565401 h 1983"/>
                  <a:gd name="T30" fmla="*/ 467807472 w 2936"/>
                  <a:gd name="T31" fmla="*/ 511504086 h 1983"/>
                  <a:gd name="T32" fmla="*/ 484752971 w 2936"/>
                  <a:gd name="T33" fmla="*/ 500539634 h 1983"/>
                  <a:gd name="T34" fmla="*/ 510837301 w 2936"/>
                  <a:gd name="T35" fmla="*/ 474772491 h 1983"/>
                  <a:gd name="T36" fmla="*/ 517691861 w 2936"/>
                  <a:gd name="T37" fmla="*/ 442974429 h 1983"/>
                  <a:gd name="T38" fmla="*/ 531971722 w 2936"/>
                  <a:gd name="T39" fmla="*/ 389247464 h 1983"/>
                  <a:gd name="T40" fmla="*/ 515026223 w 2936"/>
                  <a:gd name="T41" fmla="*/ 376912324 h 1983"/>
                  <a:gd name="T42" fmla="*/ 502650577 w 2936"/>
                  <a:gd name="T43" fmla="*/ 348951977 h 1983"/>
                  <a:gd name="T44" fmla="*/ 508172099 w 2936"/>
                  <a:gd name="T45" fmla="*/ 336343015 h 1983"/>
                  <a:gd name="T46" fmla="*/ 482087333 w 2936"/>
                  <a:gd name="T47" fmla="*/ 290839126 h 1983"/>
                  <a:gd name="T48" fmla="*/ 491797778 w 2936"/>
                  <a:gd name="T49" fmla="*/ 272199244 h 1983"/>
                  <a:gd name="T50" fmla="*/ 467046048 w 2936"/>
                  <a:gd name="T51" fmla="*/ 263701297 h 1983"/>
                  <a:gd name="T52" fmla="*/ 444198096 w 2936"/>
                  <a:gd name="T53" fmla="*/ 243142557 h 1983"/>
                  <a:gd name="T54" fmla="*/ 450861973 w 2936"/>
                  <a:gd name="T55" fmla="*/ 229162383 h 1983"/>
                  <a:gd name="T56" fmla="*/ 465141834 w 2936"/>
                  <a:gd name="T57" fmla="*/ 207232956 h 1983"/>
                  <a:gd name="T58" fmla="*/ 475233209 w 2936"/>
                  <a:gd name="T59" fmla="*/ 213812046 h 1983"/>
                  <a:gd name="T60" fmla="*/ 482087333 w 2936"/>
                  <a:gd name="T61" fmla="*/ 233822616 h 1983"/>
                  <a:gd name="T62" fmla="*/ 511980091 w 2936"/>
                  <a:gd name="T63" fmla="*/ 209151814 h 1983"/>
                  <a:gd name="T64" fmla="*/ 538445352 w 2936"/>
                  <a:gd name="T65" fmla="*/ 184481535 h 1983"/>
                  <a:gd name="T66" fmla="*/ 549488398 w 2936"/>
                  <a:gd name="T67" fmla="*/ 154602331 h 1983"/>
                  <a:gd name="T68" fmla="*/ 557484876 w 2936"/>
                  <a:gd name="T69" fmla="*/ 135414278 h 1983"/>
                  <a:gd name="T70" fmla="*/ 550820999 w 2936"/>
                  <a:gd name="T71" fmla="*/ 84154340 h 1983"/>
                  <a:gd name="T72" fmla="*/ 518263038 w 2936"/>
                  <a:gd name="T73" fmla="*/ 93474282 h 1983"/>
                  <a:gd name="T74" fmla="*/ 468569332 w 2936"/>
                  <a:gd name="T75" fmla="*/ 56193994 h 1983"/>
                  <a:gd name="T76" fmla="*/ 437915149 w 2936"/>
                  <a:gd name="T77" fmla="*/ 24396455 h 1983"/>
                  <a:gd name="T78" fmla="*/ 376987714 w 2936"/>
                  <a:gd name="T79" fmla="*/ 14528344 h 1983"/>
                  <a:gd name="T80" fmla="*/ 382128743 w 2936"/>
                  <a:gd name="T81" fmla="*/ 42488167 h 1983"/>
                  <a:gd name="T82" fmla="*/ 371656438 w 2936"/>
                  <a:gd name="T83" fmla="*/ 62224913 h 1983"/>
                  <a:gd name="T84" fmla="*/ 385555805 w 2936"/>
                  <a:gd name="T85" fmla="*/ 95941309 h 1983"/>
                  <a:gd name="T86" fmla="*/ 408594004 w 2936"/>
                  <a:gd name="T87" fmla="*/ 101423535 h 1983"/>
                  <a:gd name="T88" fmla="*/ 388601937 w 2936"/>
                  <a:gd name="T89" fmla="*/ 124723650 h 1983"/>
                  <a:gd name="T90" fmla="*/ 360042215 w 2936"/>
                  <a:gd name="T91" fmla="*/ 156247365 h 1983"/>
                  <a:gd name="T92" fmla="*/ 310348509 w 2936"/>
                  <a:gd name="T93" fmla="*/ 195445987 h 1983"/>
                  <a:gd name="T94" fmla="*/ 233808612 w 2936"/>
                  <a:gd name="T95" fmla="*/ 180643820 h 1983"/>
                  <a:gd name="T96" fmla="*/ 197252413 w 2936"/>
                  <a:gd name="T97" fmla="*/ 153505990 h 1983"/>
                  <a:gd name="T98" fmla="*/ 143179102 w 2936"/>
                  <a:gd name="T99" fmla="*/ 135688625 h 1983"/>
                  <a:gd name="T100" fmla="*/ 130612772 w 2936"/>
                  <a:gd name="T101" fmla="*/ 103890563 h 1983"/>
                  <a:gd name="T102" fmla="*/ 97483634 w 2936"/>
                  <a:gd name="T103" fmla="*/ 81961136 h 1983"/>
                  <a:gd name="T104" fmla="*/ 81871173 w 2936"/>
                  <a:gd name="T105" fmla="*/ 85250681 h 1983"/>
                  <a:gd name="T106" fmla="*/ 80538136 w 2936"/>
                  <a:gd name="T107" fmla="*/ 106357591 h 1983"/>
                  <a:gd name="T108" fmla="*/ 58071550 w 2936"/>
                  <a:gd name="T109" fmla="*/ 104713080 h 1983"/>
                  <a:gd name="T110" fmla="*/ 43220513 w 2936"/>
                  <a:gd name="T111" fmla="*/ 138977647 h 1983"/>
                  <a:gd name="T112" fmla="*/ 49503459 w 2936"/>
                  <a:gd name="T113" fmla="*/ 163100278 h 1983"/>
                  <a:gd name="T114" fmla="*/ 47980175 w 2936"/>
                  <a:gd name="T115" fmla="*/ 196268504 h 1983"/>
                  <a:gd name="T116" fmla="*/ 22467022 w 2936"/>
                  <a:gd name="T117" fmla="*/ 214086393 h 1983"/>
                  <a:gd name="T118" fmla="*/ 7615984 w 2936"/>
                  <a:gd name="T119" fmla="*/ 245061414 h 198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2936" h="1983">
                    <a:moveTo>
                      <a:pt x="98" y="954"/>
                    </a:moveTo>
                    <a:lnTo>
                      <a:pt x="129" y="989"/>
                    </a:lnTo>
                    <a:lnTo>
                      <a:pt x="157" y="1017"/>
                    </a:lnTo>
                    <a:lnTo>
                      <a:pt x="170" y="1029"/>
                    </a:lnTo>
                    <a:lnTo>
                      <a:pt x="182" y="1041"/>
                    </a:lnTo>
                    <a:lnTo>
                      <a:pt x="194" y="1050"/>
                    </a:lnTo>
                    <a:lnTo>
                      <a:pt x="205" y="1059"/>
                    </a:lnTo>
                    <a:lnTo>
                      <a:pt x="216" y="1066"/>
                    </a:lnTo>
                    <a:lnTo>
                      <a:pt x="227" y="1072"/>
                    </a:lnTo>
                    <a:lnTo>
                      <a:pt x="238" y="1076"/>
                    </a:lnTo>
                    <a:lnTo>
                      <a:pt x="248" y="1080"/>
                    </a:lnTo>
                    <a:lnTo>
                      <a:pt x="259" y="1082"/>
                    </a:lnTo>
                    <a:lnTo>
                      <a:pt x="270" y="1084"/>
                    </a:lnTo>
                    <a:lnTo>
                      <a:pt x="281" y="1084"/>
                    </a:lnTo>
                    <a:lnTo>
                      <a:pt x="292" y="1084"/>
                    </a:lnTo>
                    <a:lnTo>
                      <a:pt x="364" y="1065"/>
                    </a:lnTo>
                    <a:lnTo>
                      <a:pt x="373" y="1071"/>
                    </a:lnTo>
                    <a:lnTo>
                      <a:pt x="383" y="1079"/>
                    </a:lnTo>
                    <a:lnTo>
                      <a:pt x="393" y="1090"/>
                    </a:lnTo>
                    <a:lnTo>
                      <a:pt x="401" y="1102"/>
                    </a:lnTo>
                    <a:lnTo>
                      <a:pt x="410" y="1114"/>
                    </a:lnTo>
                    <a:lnTo>
                      <a:pt x="418" y="1127"/>
                    </a:lnTo>
                    <a:lnTo>
                      <a:pt x="420" y="1133"/>
                    </a:lnTo>
                    <a:lnTo>
                      <a:pt x="422" y="1139"/>
                    </a:lnTo>
                    <a:lnTo>
                      <a:pt x="423" y="1145"/>
                    </a:lnTo>
                    <a:lnTo>
                      <a:pt x="425" y="1151"/>
                    </a:lnTo>
                    <a:lnTo>
                      <a:pt x="423" y="1157"/>
                    </a:lnTo>
                    <a:lnTo>
                      <a:pt x="420" y="1162"/>
                    </a:lnTo>
                    <a:lnTo>
                      <a:pt x="416" y="1167"/>
                    </a:lnTo>
                    <a:lnTo>
                      <a:pt x="409" y="1172"/>
                    </a:lnTo>
                    <a:lnTo>
                      <a:pt x="403" y="1176"/>
                    </a:lnTo>
                    <a:lnTo>
                      <a:pt x="396" y="1179"/>
                    </a:lnTo>
                    <a:lnTo>
                      <a:pt x="390" y="1182"/>
                    </a:lnTo>
                    <a:lnTo>
                      <a:pt x="385" y="1182"/>
                    </a:lnTo>
                    <a:lnTo>
                      <a:pt x="399" y="1200"/>
                    </a:lnTo>
                    <a:lnTo>
                      <a:pt x="412" y="1217"/>
                    </a:lnTo>
                    <a:lnTo>
                      <a:pt x="419" y="1226"/>
                    </a:lnTo>
                    <a:lnTo>
                      <a:pt x="423" y="1235"/>
                    </a:lnTo>
                    <a:lnTo>
                      <a:pt x="428" y="1245"/>
                    </a:lnTo>
                    <a:lnTo>
                      <a:pt x="431" y="1256"/>
                    </a:lnTo>
                    <a:lnTo>
                      <a:pt x="385" y="1256"/>
                    </a:lnTo>
                    <a:lnTo>
                      <a:pt x="385" y="1287"/>
                    </a:lnTo>
                    <a:lnTo>
                      <a:pt x="390" y="1300"/>
                    </a:lnTo>
                    <a:lnTo>
                      <a:pt x="397" y="1311"/>
                    </a:lnTo>
                    <a:lnTo>
                      <a:pt x="405" y="1321"/>
                    </a:lnTo>
                    <a:lnTo>
                      <a:pt x="414" y="1328"/>
                    </a:lnTo>
                    <a:lnTo>
                      <a:pt x="423" y="1335"/>
                    </a:lnTo>
                    <a:lnTo>
                      <a:pt x="434" y="1340"/>
                    </a:lnTo>
                    <a:lnTo>
                      <a:pt x="444" y="1345"/>
                    </a:lnTo>
                    <a:lnTo>
                      <a:pt x="456" y="1349"/>
                    </a:lnTo>
                    <a:lnTo>
                      <a:pt x="478" y="1358"/>
                    </a:lnTo>
                    <a:lnTo>
                      <a:pt x="500" y="1367"/>
                    </a:lnTo>
                    <a:lnTo>
                      <a:pt x="510" y="1373"/>
                    </a:lnTo>
                    <a:lnTo>
                      <a:pt x="520" y="1381"/>
                    </a:lnTo>
                    <a:lnTo>
                      <a:pt x="529" y="1389"/>
                    </a:lnTo>
                    <a:lnTo>
                      <a:pt x="538" y="1398"/>
                    </a:lnTo>
                    <a:lnTo>
                      <a:pt x="617" y="1404"/>
                    </a:lnTo>
                    <a:lnTo>
                      <a:pt x="620" y="1408"/>
                    </a:lnTo>
                    <a:lnTo>
                      <a:pt x="623" y="1411"/>
                    </a:lnTo>
                    <a:lnTo>
                      <a:pt x="628" y="1414"/>
                    </a:lnTo>
                    <a:lnTo>
                      <a:pt x="633" y="1417"/>
                    </a:lnTo>
                    <a:lnTo>
                      <a:pt x="644" y="1422"/>
                    </a:lnTo>
                    <a:lnTo>
                      <a:pt x="656" y="1427"/>
                    </a:lnTo>
                    <a:lnTo>
                      <a:pt x="678" y="1436"/>
                    </a:lnTo>
                    <a:lnTo>
                      <a:pt x="690" y="1441"/>
                    </a:lnTo>
                    <a:lnTo>
                      <a:pt x="723" y="1462"/>
                    </a:lnTo>
                    <a:lnTo>
                      <a:pt x="754" y="1481"/>
                    </a:lnTo>
                    <a:lnTo>
                      <a:pt x="768" y="1492"/>
                    </a:lnTo>
                    <a:lnTo>
                      <a:pt x="784" y="1501"/>
                    </a:lnTo>
                    <a:lnTo>
                      <a:pt x="798" y="1509"/>
                    </a:lnTo>
                    <a:lnTo>
                      <a:pt x="814" y="1517"/>
                    </a:lnTo>
                    <a:lnTo>
                      <a:pt x="830" y="1525"/>
                    </a:lnTo>
                    <a:lnTo>
                      <a:pt x="847" y="1531"/>
                    </a:lnTo>
                    <a:lnTo>
                      <a:pt x="866" y="1537"/>
                    </a:lnTo>
                    <a:lnTo>
                      <a:pt x="886" y="1543"/>
                    </a:lnTo>
                    <a:lnTo>
                      <a:pt x="907" y="1547"/>
                    </a:lnTo>
                    <a:lnTo>
                      <a:pt x="930" y="1550"/>
                    </a:lnTo>
                    <a:lnTo>
                      <a:pt x="955" y="1552"/>
                    </a:lnTo>
                    <a:lnTo>
                      <a:pt x="982" y="1552"/>
                    </a:lnTo>
                    <a:lnTo>
                      <a:pt x="982" y="1521"/>
                    </a:lnTo>
                    <a:lnTo>
                      <a:pt x="1015" y="1521"/>
                    </a:lnTo>
                    <a:lnTo>
                      <a:pt x="1021" y="1532"/>
                    </a:lnTo>
                    <a:lnTo>
                      <a:pt x="1025" y="1539"/>
                    </a:lnTo>
                    <a:lnTo>
                      <a:pt x="1031" y="1545"/>
                    </a:lnTo>
                    <a:lnTo>
                      <a:pt x="1036" y="1552"/>
                    </a:lnTo>
                    <a:lnTo>
                      <a:pt x="1042" y="1552"/>
                    </a:lnTo>
                    <a:lnTo>
                      <a:pt x="1046" y="1551"/>
                    </a:lnTo>
                    <a:lnTo>
                      <a:pt x="1050" y="1548"/>
                    </a:lnTo>
                    <a:lnTo>
                      <a:pt x="1054" y="1546"/>
                    </a:lnTo>
                    <a:lnTo>
                      <a:pt x="1058" y="1538"/>
                    </a:lnTo>
                    <a:lnTo>
                      <a:pt x="1062" y="1530"/>
                    </a:lnTo>
                    <a:lnTo>
                      <a:pt x="1066" y="1522"/>
                    </a:lnTo>
                    <a:lnTo>
                      <a:pt x="1071" y="1516"/>
                    </a:lnTo>
                    <a:lnTo>
                      <a:pt x="1075" y="1513"/>
                    </a:lnTo>
                    <a:lnTo>
                      <a:pt x="1078" y="1511"/>
                    </a:lnTo>
                    <a:lnTo>
                      <a:pt x="1083" y="1510"/>
                    </a:lnTo>
                    <a:lnTo>
                      <a:pt x="1089" y="1509"/>
                    </a:lnTo>
                    <a:lnTo>
                      <a:pt x="1092" y="1512"/>
                    </a:lnTo>
                    <a:lnTo>
                      <a:pt x="1096" y="1516"/>
                    </a:lnTo>
                    <a:lnTo>
                      <a:pt x="1102" y="1519"/>
                    </a:lnTo>
                    <a:lnTo>
                      <a:pt x="1109" y="1522"/>
                    </a:lnTo>
                    <a:lnTo>
                      <a:pt x="1124" y="1529"/>
                    </a:lnTo>
                    <a:lnTo>
                      <a:pt x="1142" y="1534"/>
                    </a:lnTo>
                    <a:lnTo>
                      <a:pt x="1159" y="1539"/>
                    </a:lnTo>
                    <a:lnTo>
                      <a:pt x="1178" y="1543"/>
                    </a:lnTo>
                    <a:lnTo>
                      <a:pt x="1194" y="1546"/>
                    </a:lnTo>
                    <a:lnTo>
                      <a:pt x="1208" y="1546"/>
                    </a:lnTo>
                    <a:lnTo>
                      <a:pt x="1217" y="1535"/>
                    </a:lnTo>
                    <a:lnTo>
                      <a:pt x="1227" y="1526"/>
                    </a:lnTo>
                    <a:lnTo>
                      <a:pt x="1236" y="1518"/>
                    </a:lnTo>
                    <a:lnTo>
                      <a:pt x="1247" y="1510"/>
                    </a:lnTo>
                    <a:lnTo>
                      <a:pt x="1258" y="1502"/>
                    </a:lnTo>
                    <a:lnTo>
                      <a:pt x="1269" y="1496"/>
                    </a:lnTo>
                    <a:lnTo>
                      <a:pt x="1280" y="1489"/>
                    </a:lnTo>
                    <a:lnTo>
                      <a:pt x="1292" y="1482"/>
                    </a:lnTo>
                    <a:lnTo>
                      <a:pt x="1317" y="1472"/>
                    </a:lnTo>
                    <a:lnTo>
                      <a:pt x="1344" y="1463"/>
                    </a:lnTo>
                    <a:lnTo>
                      <a:pt x="1372" y="1455"/>
                    </a:lnTo>
                    <a:lnTo>
                      <a:pt x="1401" y="1448"/>
                    </a:lnTo>
                    <a:lnTo>
                      <a:pt x="1408" y="1456"/>
                    </a:lnTo>
                    <a:lnTo>
                      <a:pt x="1418" y="1465"/>
                    </a:lnTo>
                    <a:lnTo>
                      <a:pt x="1431" y="1476"/>
                    </a:lnTo>
                    <a:lnTo>
                      <a:pt x="1446" y="1487"/>
                    </a:lnTo>
                    <a:lnTo>
                      <a:pt x="1453" y="1492"/>
                    </a:lnTo>
                    <a:lnTo>
                      <a:pt x="1461" y="1496"/>
                    </a:lnTo>
                    <a:lnTo>
                      <a:pt x="1469" y="1499"/>
                    </a:lnTo>
                    <a:lnTo>
                      <a:pt x="1475" y="1502"/>
                    </a:lnTo>
                    <a:lnTo>
                      <a:pt x="1483" y="1504"/>
                    </a:lnTo>
                    <a:lnTo>
                      <a:pt x="1490" y="1505"/>
                    </a:lnTo>
                    <a:lnTo>
                      <a:pt x="1495" y="1505"/>
                    </a:lnTo>
                    <a:lnTo>
                      <a:pt x="1501" y="1503"/>
                    </a:lnTo>
                    <a:lnTo>
                      <a:pt x="1512" y="1510"/>
                    </a:lnTo>
                    <a:lnTo>
                      <a:pt x="1521" y="1518"/>
                    </a:lnTo>
                    <a:lnTo>
                      <a:pt x="1530" y="1526"/>
                    </a:lnTo>
                    <a:lnTo>
                      <a:pt x="1538" y="1534"/>
                    </a:lnTo>
                    <a:lnTo>
                      <a:pt x="1547" y="1542"/>
                    </a:lnTo>
                    <a:lnTo>
                      <a:pt x="1555" y="1547"/>
                    </a:lnTo>
                    <a:lnTo>
                      <a:pt x="1561" y="1550"/>
                    </a:lnTo>
                    <a:lnTo>
                      <a:pt x="1566" y="1551"/>
                    </a:lnTo>
                    <a:lnTo>
                      <a:pt x="1573" y="1552"/>
                    </a:lnTo>
                    <a:lnTo>
                      <a:pt x="1581" y="1552"/>
                    </a:lnTo>
                    <a:lnTo>
                      <a:pt x="1586" y="1578"/>
                    </a:lnTo>
                    <a:lnTo>
                      <a:pt x="1593" y="1602"/>
                    </a:lnTo>
                    <a:lnTo>
                      <a:pt x="1596" y="1613"/>
                    </a:lnTo>
                    <a:lnTo>
                      <a:pt x="1598" y="1625"/>
                    </a:lnTo>
                    <a:lnTo>
                      <a:pt x="1599" y="1637"/>
                    </a:lnTo>
                    <a:lnTo>
                      <a:pt x="1600" y="1650"/>
                    </a:lnTo>
                    <a:lnTo>
                      <a:pt x="1599" y="1658"/>
                    </a:lnTo>
                    <a:lnTo>
                      <a:pt x="1598" y="1664"/>
                    </a:lnTo>
                    <a:lnTo>
                      <a:pt x="1596" y="1670"/>
                    </a:lnTo>
                    <a:lnTo>
                      <a:pt x="1593" y="1676"/>
                    </a:lnTo>
                    <a:lnTo>
                      <a:pt x="1585" y="1686"/>
                    </a:lnTo>
                    <a:lnTo>
                      <a:pt x="1577" y="1697"/>
                    </a:lnTo>
                    <a:lnTo>
                      <a:pt x="1569" y="1707"/>
                    </a:lnTo>
                    <a:lnTo>
                      <a:pt x="1561" y="1719"/>
                    </a:lnTo>
                    <a:lnTo>
                      <a:pt x="1558" y="1724"/>
                    </a:lnTo>
                    <a:lnTo>
                      <a:pt x="1555" y="1730"/>
                    </a:lnTo>
                    <a:lnTo>
                      <a:pt x="1554" y="1736"/>
                    </a:lnTo>
                    <a:lnTo>
                      <a:pt x="1553" y="1743"/>
                    </a:lnTo>
                    <a:lnTo>
                      <a:pt x="1554" y="1748"/>
                    </a:lnTo>
                    <a:lnTo>
                      <a:pt x="1555" y="1753"/>
                    </a:lnTo>
                    <a:lnTo>
                      <a:pt x="1558" y="1756"/>
                    </a:lnTo>
                    <a:lnTo>
                      <a:pt x="1561" y="1759"/>
                    </a:lnTo>
                    <a:lnTo>
                      <a:pt x="1565" y="1761"/>
                    </a:lnTo>
                    <a:lnTo>
                      <a:pt x="1570" y="1764"/>
                    </a:lnTo>
                    <a:lnTo>
                      <a:pt x="1574" y="1765"/>
                    </a:lnTo>
                    <a:lnTo>
                      <a:pt x="1580" y="1767"/>
                    </a:lnTo>
                    <a:lnTo>
                      <a:pt x="1591" y="1769"/>
                    </a:lnTo>
                    <a:lnTo>
                      <a:pt x="1602" y="1771"/>
                    </a:lnTo>
                    <a:lnTo>
                      <a:pt x="1607" y="1773"/>
                    </a:lnTo>
                    <a:lnTo>
                      <a:pt x="1611" y="1775"/>
                    </a:lnTo>
                    <a:lnTo>
                      <a:pt x="1616" y="1777"/>
                    </a:lnTo>
                    <a:lnTo>
                      <a:pt x="1620" y="1780"/>
                    </a:lnTo>
                    <a:lnTo>
                      <a:pt x="1627" y="1787"/>
                    </a:lnTo>
                    <a:lnTo>
                      <a:pt x="1632" y="1794"/>
                    </a:lnTo>
                    <a:lnTo>
                      <a:pt x="1636" y="1801"/>
                    </a:lnTo>
                    <a:lnTo>
                      <a:pt x="1639" y="1807"/>
                    </a:lnTo>
                    <a:lnTo>
                      <a:pt x="1645" y="1822"/>
                    </a:lnTo>
                    <a:lnTo>
                      <a:pt x="1653" y="1836"/>
                    </a:lnTo>
                    <a:lnTo>
                      <a:pt x="1659" y="1848"/>
                    </a:lnTo>
                    <a:lnTo>
                      <a:pt x="1666" y="1862"/>
                    </a:lnTo>
                    <a:lnTo>
                      <a:pt x="1674" y="1877"/>
                    </a:lnTo>
                    <a:lnTo>
                      <a:pt x="1683" y="1890"/>
                    </a:lnTo>
                    <a:lnTo>
                      <a:pt x="1688" y="1897"/>
                    </a:lnTo>
                    <a:lnTo>
                      <a:pt x="1694" y="1903"/>
                    </a:lnTo>
                    <a:lnTo>
                      <a:pt x="1699" y="1908"/>
                    </a:lnTo>
                    <a:lnTo>
                      <a:pt x="1706" y="1912"/>
                    </a:lnTo>
                    <a:lnTo>
                      <a:pt x="1712" y="1916"/>
                    </a:lnTo>
                    <a:lnTo>
                      <a:pt x="1719" y="1919"/>
                    </a:lnTo>
                    <a:lnTo>
                      <a:pt x="1726" y="1921"/>
                    </a:lnTo>
                    <a:lnTo>
                      <a:pt x="1733" y="1921"/>
                    </a:lnTo>
                    <a:lnTo>
                      <a:pt x="1741" y="1921"/>
                    </a:lnTo>
                    <a:lnTo>
                      <a:pt x="1752" y="1918"/>
                    </a:lnTo>
                    <a:lnTo>
                      <a:pt x="1762" y="1916"/>
                    </a:lnTo>
                    <a:lnTo>
                      <a:pt x="1766" y="1915"/>
                    </a:lnTo>
                    <a:lnTo>
                      <a:pt x="1777" y="1910"/>
                    </a:lnTo>
                    <a:lnTo>
                      <a:pt x="1787" y="1904"/>
                    </a:lnTo>
                    <a:lnTo>
                      <a:pt x="1795" y="1898"/>
                    </a:lnTo>
                    <a:lnTo>
                      <a:pt x="1803" y="1891"/>
                    </a:lnTo>
                    <a:lnTo>
                      <a:pt x="1809" y="1884"/>
                    </a:lnTo>
                    <a:lnTo>
                      <a:pt x="1816" y="1878"/>
                    </a:lnTo>
                    <a:lnTo>
                      <a:pt x="1823" y="1871"/>
                    </a:lnTo>
                    <a:lnTo>
                      <a:pt x="1833" y="1866"/>
                    </a:lnTo>
                    <a:lnTo>
                      <a:pt x="1842" y="1859"/>
                    </a:lnTo>
                    <a:lnTo>
                      <a:pt x="1852" y="1853"/>
                    </a:lnTo>
                    <a:lnTo>
                      <a:pt x="1863" y="1848"/>
                    </a:lnTo>
                    <a:lnTo>
                      <a:pt x="1874" y="1844"/>
                    </a:lnTo>
                    <a:lnTo>
                      <a:pt x="1896" y="1838"/>
                    </a:lnTo>
                    <a:lnTo>
                      <a:pt x="1919" y="1834"/>
                    </a:lnTo>
                    <a:lnTo>
                      <a:pt x="1941" y="1831"/>
                    </a:lnTo>
                    <a:lnTo>
                      <a:pt x="1960" y="1827"/>
                    </a:lnTo>
                    <a:lnTo>
                      <a:pt x="1968" y="1824"/>
                    </a:lnTo>
                    <a:lnTo>
                      <a:pt x="1975" y="1821"/>
                    </a:lnTo>
                    <a:lnTo>
                      <a:pt x="1981" y="1816"/>
                    </a:lnTo>
                    <a:lnTo>
                      <a:pt x="1986" y="1811"/>
                    </a:lnTo>
                    <a:lnTo>
                      <a:pt x="1996" y="1820"/>
                    </a:lnTo>
                    <a:lnTo>
                      <a:pt x="2008" y="1827"/>
                    </a:lnTo>
                    <a:lnTo>
                      <a:pt x="2019" y="1832"/>
                    </a:lnTo>
                    <a:lnTo>
                      <a:pt x="2031" y="1837"/>
                    </a:lnTo>
                    <a:lnTo>
                      <a:pt x="2054" y="1846"/>
                    </a:lnTo>
                    <a:lnTo>
                      <a:pt x="2072" y="1854"/>
                    </a:lnTo>
                    <a:lnTo>
                      <a:pt x="2091" y="1869"/>
                    </a:lnTo>
                    <a:lnTo>
                      <a:pt x="2109" y="1887"/>
                    </a:lnTo>
                    <a:lnTo>
                      <a:pt x="2119" y="1896"/>
                    </a:lnTo>
                    <a:lnTo>
                      <a:pt x="2129" y="1903"/>
                    </a:lnTo>
                    <a:lnTo>
                      <a:pt x="2140" y="1910"/>
                    </a:lnTo>
                    <a:lnTo>
                      <a:pt x="2152" y="1915"/>
                    </a:lnTo>
                    <a:lnTo>
                      <a:pt x="2245" y="1921"/>
                    </a:lnTo>
                    <a:lnTo>
                      <a:pt x="2238" y="1935"/>
                    </a:lnTo>
                    <a:lnTo>
                      <a:pt x="2232" y="1947"/>
                    </a:lnTo>
                    <a:lnTo>
                      <a:pt x="2232" y="1953"/>
                    </a:lnTo>
                    <a:lnTo>
                      <a:pt x="2235" y="1957"/>
                    </a:lnTo>
                    <a:lnTo>
                      <a:pt x="2238" y="1961"/>
                    </a:lnTo>
                    <a:lnTo>
                      <a:pt x="2243" y="1965"/>
                    </a:lnTo>
                    <a:lnTo>
                      <a:pt x="2248" y="1968"/>
                    </a:lnTo>
                    <a:lnTo>
                      <a:pt x="2254" y="1972"/>
                    </a:lnTo>
                    <a:lnTo>
                      <a:pt x="2259" y="1977"/>
                    </a:lnTo>
                    <a:lnTo>
                      <a:pt x="2265" y="1983"/>
                    </a:lnTo>
                    <a:lnTo>
                      <a:pt x="2266" y="1980"/>
                    </a:lnTo>
                    <a:lnTo>
                      <a:pt x="2267" y="1972"/>
                    </a:lnTo>
                    <a:lnTo>
                      <a:pt x="2268" y="1968"/>
                    </a:lnTo>
                    <a:lnTo>
                      <a:pt x="2267" y="1963"/>
                    </a:lnTo>
                    <a:lnTo>
                      <a:pt x="2267" y="1957"/>
                    </a:lnTo>
                    <a:lnTo>
                      <a:pt x="2265" y="1953"/>
                    </a:lnTo>
                    <a:lnTo>
                      <a:pt x="2275" y="1947"/>
                    </a:lnTo>
                    <a:lnTo>
                      <a:pt x="2293" y="1935"/>
                    </a:lnTo>
                    <a:lnTo>
                      <a:pt x="2303" y="1927"/>
                    </a:lnTo>
                    <a:lnTo>
                      <a:pt x="2313" y="1921"/>
                    </a:lnTo>
                    <a:lnTo>
                      <a:pt x="2319" y="1919"/>
                    </a:lnTo>
                    <a:lnTo>
                      <a:pt x="2323" y="1917"/>
                    </a:lnTo>
                    <a:lnTo>
                      <a:pt x="2327" y="1916"/>
                    </a:lnTo>
                    <a:lnTo>
                      <a:pt x="2331" y="1915"/>
                    </a:lnTo>
                    <a:lnTo>
                      <a:pt x="2341" y="1915"/>
                    </a:lnTo>
                    <a:lnTo>
                      <a:pt x="2349" y="1913"/>
                    </a:lnTo>
                    <a:lnTo>
                      <a:pt x="2357" y="1910"/>
                    </a:lnTo>
                    <a:lnTo>
                      <a:pt x="2364" y="1906"/>
                    </a:lnTo>
                    <a:lnTo>
                      <a:pt x="2370" y="1901"/>
                    </a:lnTo>
                    <a:lnTo>
                      <a:pt x="2376" y="1895"/>
                    </a:lnTo>
                    <a:lnTo>
                      <a:pt x="2382" y="1889"/>
                    </a:lnTo>
                    <a:lnTo>
                      <a:pt x="2388" y="1882"/>
                    </a:lnTo>
                    <a:lnTo>
                      <a:pt x="2399" y="1867"/>
                    </a:lnTo>
                    <a:lnTo>
                      <a:pt x="2412" y="1853"/>
                    </a:lnTo>
                    <a:lnTo>
                      <a:pt x="2418" y="1847"/>
                    </a:lnTo>
                    <a:lnTo>
                      <a:pt x="2426" y="1840"/>
                    </a:lnTo>
                    <a:lnTo>
                      <a:pt x="2435" y="1835"/>
                    </a:lnTo>
                    <a:lnTo>
                      <a:pt x="2444" y="1830"/>
                    </a:lnTo>
                    <a:lnTo>
                      <a:pt x="2449" y="1838"/>
                    </a:lnTo>
                    <a:lnTo>
                      <a:pt x="2454" y="1846"/>
                    </a:lnTo>
                    <a:lnTo>
                      <a:pt x="2455" y="1850"/>
                    </a:lnTo>
                    <a:lnTo>
                      <a:pt x="2456" y="1854"/>
                    </a:lnTo>
                    <a:lnTo>
                      <a:pt x="2457" y="1860"/>
                    </a:lnTo>
                    <a:lnTo>
                      <a:pt x="2457" y="1866"/>
                    </a:lnTo>
                    <a:lnTo>
                      <a:pt x="2462" y="1860"/>
                    </a:lnTo>
                    <a:lnTo>
                      <a:pt x="2468" y="1857"/>
                    </a:lnTo>
                    <a:lnTo>
                      <a:pt x="2474" y="1855"/>
                    </a:lnTo>
                    <a:lnTo>
                      <a:pt x="2481" y="1855"/>
                    </a:lnTo>
                    <a:lnTo>
                      <a:pt x="2487" y="1856"/>
                    </a:lnTo>
                    <a:lnTo>
                      <a:pt x="2493" y="1858"/>
                    </a:lnTo>
                    <a:lnTo>
                      <a:pt x="2499" y="1862"/>
                    </a:lnTo>
                    <a:lnTo>
                      <a:pt x="2504" y="1866"/>
                    </a:lnTo>
                    <a:lnTo>
                      <a:pt x="2505" y="1856"/>
                    </a:lnTo>
                    <a:lnTo>
                      <a:pt x="2507" y="1847"/>
                    </a:lnTo>
                    <a:lnTo>
                      <a:pt x="2511" y="1841"/>
                    </a:lnTo>
                    <a:lnTo>
                      <a:pt x="2514" y="1836"/>
                    </a:lnTo>
                    <a:lnTo>
                      <a:pt x="2517" y="1832"/>
                    </a:lnTo>
                    <a:lnTo>
                      <a:pt x="2522" y="1829"/>
                    </a:lnTo>
                    <a:lnTo>
                      <a:pt x="2527" y="1828"/>
                    </a:lnTo>
                    <a:lnTo>
                      <a:pt x="2533" y="1827"/>
                    </a:lnTo>
                    <a:lnTo>
                      <a:pt x="2546" y="1826"/>
                    </a:lnTo>
                    <a:lnTo>
                      <a:pt x="2561" y="1827"/>
                    </a:lnTo>
                    <a:lnTo>
                      <a:pt x="2569" y="1827"/>
                    </a:lnTo>
                    <a:lnTo>
                      <a:pt x="2578" y="1826"/>
                    </a:lnTo>
                    <a:lnTo>
                      <a:pt x="2588" y="1825"/>
                    </a:lnTo>
                    <a:lnTo>
                      <a:pt x="2596" y="1824"/>
                    </a:lnTo>
                    <a:lnTo>
                      <a:pt x="2604" y="1821"/>
                    </a:lnTo>
                    <a:lnTo>
                      <a:pt x="2611" y="1816"/>
                    </a:lnTo>
                    <a:lnTo>
                      <a:pt x="2616" y="1810"/>
                    </a:lnTo>
                    <a:lnTo>
                      <a:pt x="2622" y="1804"/>
                    </a:lnTo>
                    <a:lnTo>
                      <a:pt x="2633" y="1790"/>
                    </a:lnTo>
                    <a:lnTo>
                      <a:pt x="2642" y="1774"/>
                    </a:lnTo>
                    <a:lnTo>
                      <a:pt x="2648" y="1766"/>
                    </a:lnTo>
                    <a:lnTo>
                      <a:pt x="2653" y="1758"/>
                    </a:lnTo>
                    <a:lnTo>
                      <a:pt x="2660" y="1750"/>
                    </a:lnTo>
                    <a:lnTo>
                      <a:pt x="2667" y="1743"/>
                    </a:lnTo>
                    <a:lnTo>
                      <a:pt x="2674" y="1737"/>
                    </a:lnTo>
                    <a:lnTo>
                      <a:pt x="2683" y="1732"/>
                    </a:lnTo>
                    <a:lnTo>
                      <a:pt x="2693" y="1728"/>
                    </a:lnTo>
                    <a:lnTo>
                      <a:pt x="2703" y="1725"/>
                    </a:lnTo>
                    <a:lnTo>
                      <a:pt x="2704" y="1716"/>
                    </a:lnTo>
                    <a:lnTo>
                      <a:pt x="2706" y="1707"/>
                    </a:lnTo>
                    <a:lnTo>
                      <a:pt x="2711" y="1699"/>
                    </a:lnTo>
                    <a:lnTo>
                      <a:pt x="2715" y="1691"/>
                    </a:lnTo>
                    <a:lnTo>
                      <a:pt x="2726" y="1677"/>
                    </a:lnTo>
                    <a:lnTo>
                      <a:pt x="2737" y="1663"/>
                    </a:lnTo>
                    <a:lnTo>
                      <a:pt x="2733" y="1658"/>
                    </a:lnTo>
                    <a:lnTo>
                      <a:pt x="2730" y="1651"/>
                    </a:lnTo>
                    <a:lnTo>
                      <a:pt x="2729" y="1645"/>
                    </a:lnTo>
                    <a:lnTo>
                      <a:pt x="2729" y="1638"/>
                    </a:lnTo>
                    <a:lnTo>
                      <a:pt x="2728" y="1631"/>
                    </a:lnTo>
                    <a:lnTo>
                      <a:pt x="2726" y="1625"/>
                    </a:lnTo>
                    <a:lnTo>
                      <a:pt x="2725" y="1622"/>
                    </a:lnTo>
                    <a:lnTo>
                      <a:pt x="2723" y="1619"/>
                    </a:lnTo>
                    <a:lnTo>
                      <a:pt x="2719" y="1616"/>
                    </a:lnTo>
                    <a:lnTo>
                      <a:pt x="2716" y="1614"/>
                    </a:lnTo>
                    <a:lnTo>
                      <a:pt x="2728" y="1602"/>
                    </a:lnTo>
                    <a:lnTo>
                      <a:pt x="2739" y="1588"/>
                    </a:lnTo>
                    <a:lnTo>
                      <a:pt x="2750" y="1573"/>
                    </a:lnTo>
                    <a:lnTo>
                      <a:pt x="2760" y="1558"/>
                    </a:lnTo>
                    <a:lnTo>
                      <a:pt x="2780" y="1521"/>
                    </a:lnTo>
                    <a:lnTo>
                      <a:pt x="2803" y="1478"/>
                    </a:lnTo>
                    <a:lnTo>
                      <a:pt x="2798" y="1475"/>
                    </a:lnTo>
                    <a:lnTo>
                      <a:pt x="2796" y="1471"/>
                    </a:lnTo>
                    <a:lnTo>
                      <a:pt x="2795" y="1467"/>
                    </a:lnTo>
                    <a:lnTo>
                      <a:pt x="2794" y="1462"/>
                    </a:lnTo>
                    <a:lnTo>
                      <a:pt x="2795" y="1451"/>
                    </a:lnTo>
                    <a:lnTo>
                      <a:pt x="2796" y="1441"/>
                    </a:lnTo>
                    <a:lnTo>
                      <a:pt x="2790" y="1428"/>
                    </a:lnTo>
                    <a:lnTo>
                      <a:pt x="2790" y="1426"/>
                    </a:lnTo>
                    <a:lnTo>
                      <a:pt x="2792" y="1423"/>
                    </a:lnTo>
                    <a:lnTo>
                      <a:pt x="2794" y="1420"/>
                    </a:lnTo>
                    <a:lnTo>
                      <a:pt x="2797" y="1417"/>
                    </a:lnTo>
                    <a:lnTo>
                      <a:pt x="2801" y="1414"/>
                    </a:lnTo>
                    <a:lnTo>
                      <a:pt x="2804" y="1412"/>
                    </a:lnTo>
                    <a:lnTo>
                      <a:pt x="2807" y="1411"/>
                    </a:lnTo>
                    <a:lnTo>
                      <a:pt x="2809" y="1410"/>
                    </a:lnTo>
                    <a:lnTo>
                      <a:pt x="2809" y="1386"/>
                    </a:lnTo>
                    <a:lnTo>
                      <a:pt x="2801" y="1389"/>
                    </a:lnTo>
                    <a:lnTo>
                      <a:pt x="2793" y="1391"/>
                    </a:lnTo>
                    <a:lnTo>
                      <a:pt x="2785" y="1393"/>
                    </a:lnTo>
                    <a:lnTo>
                      <a:pt x="2778" y="1394"/>
                    </a:lnTo>
                    <a:lnTo>
                      <a:pt x="2763" y="1395"/>
                    </a:lnTo>
                    <a:lnTo>
                      <a:pt x="2750" y="1394"/>
                    </a:lnTo>
                    <a:lnTo>
                      <a:pt x="2738" y="1392"/>
                    </a:lnTo>
                    <a:lnTo>
                      <a:pt x="2725" y="1389"/>
                    </a:lnTo>
                    <a:lnTo>
                      <a:pt x="2711" y="1384"/>
                    </a:lnTo>
                    <a:lnTo>
                      <a:pt x="2696" y="1380"/>
                    </a:lnTo>
                    <a:lnTo>
                      <a:pt x="2705" y="1375"/>
                    </a:lnTo>
                    <a:lnTo>
                      <a:pt x="2713" y="1369"/>
                    </a:lnTo>
                    <a:lnTo>
                      <a:pt x="2719" y="1363"/>
                    </a:lnTo>
                    <a:lnTo>
                      <a:pt x="2726" y="1356"/>
                    </a:lnTo>
                    <a:lnTo>
                      <a:pt x="2737" y="1342"/>
                    </a:lnTo>
                    <a:lnTo>
                      <a:pt x="2750" y="1324"/>
                    </a:lnTo>
                    <a:lnTo>
                      <a:pt x="2730" y="1316"/>
                    </a:lnTo>
                    <a:lnTo>
                      <a:pt x="2712" y="1310"/>
                    </a:lnTo>
                    <a:lnTo>
                      <a:pt x="2695" y="1305"/>
                    </a:lnTo>
                    <a:lnTo>
                      <a:pt x="2679" y="1300"/>
                    </a:lnTo>
                    <a:lnTo>
                      <a:pt x="2662" y="1294"/>
                    </a:lnTo>
                    <a:lnTo>
                      <a:pt x="2647" y="1287"/>
                    </a:lnTo>
                    <a:lnTo>
                      <a:pt x="2639" y="1282"/>
                    </a:lnTo>
                    <a:lnTo>
                      <a:pt x="2632" y="1277"/>
                    </a:lnTo>
                    <a:lnTo>
                      <a:pt x="2624" y="1270"/>
                    </a:lnTo>
                    <a:lnTo>
                      <a:pt x="2617" y="1262"/>
                    </a:lnTo>
                    <a:lnTo>
                      <a:pt x="2626" y="1268"/>
                    </a:lnTo>
                    <a:lnTo>
                      <a:pt x="2640" y="1273"/>
                    </a:lnTo>
                    <a:lnTo>
                      <a:pt x="2657" y="1278"/>
                    </a:lnTo>
                    <a:lnTo>
                      <a:pt x="2675" y="1283"/>
                    </a:lnTo>
                    <a:lnTo>
                      <a:pt x="2715" y="1293"/>
                    </a:lnTo>
                    <a:lnTo>
                      <a:pt x="2750" y="1299"/>
                    </a:lnTo>
                    <a:lnTo>
                      <a:pt x="2749" y="1293"/>
                    </a:lnTo>
                    <a:lnTo>
                      <a:pt x="2746" y="1288"/>
                    </a:lnTo>
                    <a:lnTo>
                      <a:pt x="2742" y="1283"/>
                    </a:lnTo>
                    <a:lnTo>
                      <a:pt x="2737" y="1279"/>
                    </a:lnTo>
                    <a:lnTo>
                      <a:pt x="2725" y="1272"/>
                    </a:lnTo>
                    <a:lnTo>
                      <a:pt x="2709" y="1266"/>
                    </a:lnTo>
                    <a:lnTo>
                      <a:pt x="2695" y="1259"/>
                    </a:lnTo>
                    <a:lnTo>
                      <a:pt x="2682" y="1252"/>
                    </a:lnTo>
                    <a:lnTo>
                      <a:pt x="2678" y="1248"/>
                    </a:lnTo>
                    <a:lnTo>
                      <a:pt x="2673" y="1244"/>
                    </a:lnTo>
                    <a:lnTo>
                      <a:pt x="2671" y="1238"/>
                    </a:lnTo>
                    <a:lnTo>
                      <a:pt x="2670" y="1232"/>
                    </a:lnTo>
                    <a:lnTo>
                      <a:pt x="2669" y="1227"/>
                    </a:lnTo>
                    <a:lnTo>
                      <a:pt x="2668" y="1224"/>
                    </a:lnTo>
                    <a:lnTo>
                      <a:pt x="2666" y="1220"/>
                    </a:lnTo>
                    <a:lnTo>
                      <a:pt x="2662" y="1217"/>
                    </a:lnTo>
                    <a:lnTo>
                      <a:pt x="2656" y="1212"/>
                    </a:lnTo>
                    <a:lnTo>
                      <a:pt x="2650" y="1208"/>
                    </a:lnTo>
                    <a:lnTo>
                      <a:pt x="2626" y="1186"/>
                    </a:lnTo>
                    <a:lnTo>
                      <a:pt x="2581" y="1145"/>
                    </a:lnTo>
                    <a:lnTo>
                      <a:pt x="2557" y="1124"/>
                    </a:lnTo>
                    <a:lnTo>
                      <a:pt x="2537" y="1105"/>
                    </a:lnTo>
                    <a:lnTo>
                      <a:pt x="2523" y="1090"/>
                    </a:lnTo>
                    <a:lnTo>
                      <a:pt x="2517" y="1084"/>
                    </a:lnTo>
                    <a:lnTo>
                      <a:pt x="2517" y="1078"/>
                    </a:lnTo>
                    <a:lnTo>
                      <a:pt x="2520" y="1074"/>
                    </a:lnTo>
                    <a:lnTo>
                      <a:pt x="2522" y="1070"/>
                    </a:lnTo>
                    <a:lnTo>
                      <a:pt x="2525" y="1068"/>
                    </a:lnTo>
                    <a:lnTo>
                      <a:pt x="2528" y="1065"/>
                    </a:lnTo>
                    <a:lnTo>
                      <a:pt x="2532" y="1061"/>
                    </a:lnTo>
                    <a:lnTo>
                      <a:pt x="2534" y="1055"/>
                    </a:lnTo>
                    <a:lnTo>
                      <a:pt x="2537" y="1047"/>
                    </a:lnTo>
                    <a:lnTo>
                      <a:pt x="2535" y="1046"/>
                    </a:lnTo>
                    <a:lnTo>
                      <a:pt x="2530" y="1043"/>
                    </a:lnTo>
                    <a:lnTo>
                      <a:pt x="2528" y="1042"/>
                    </a:lnTo>
                    <a:lnTo>
                      <a:pt x="2526" y="1039"/>
                    </a:lnTo>
                    <a:lnTo>
                      <a:pt x="2524" y="1036"/>
                    </a:lnTo>
                    <a:lnTo>
                      <a:pt x="2524" y="1034"/>
                    </a:lnTo>
                    <a:lnTo>
                      <a:pt x="2557" y="1034"/>
                    </a:lnTo>
                    <a:lnTo>
                      <a:pt x="2558" y="1028"/>
                    </a:lnTo>
                    <a:lnTo>
                      <a:pt x="2559" y="1022"/>
                    </a:lnTo>
                    <a:lnTo>
                      <a:pt x="2561" y="1016"/>
                    </a:lnTo>
                    <a:lnTo>
                      <a:pt x="2565" y="1011"/>
                    </a:lnTo>
                    <a:lnTo>
                      <a:pt x="2569" y="1006"/>
                    </a:lnTo>
                    <a:lnTo>
                      <a:pt x="2573" y="1002"/>
                    </a:lnTo>
                    <a:lnTo>
                      <a:pt x="2578" y="997"/>
                    </a:lnTo>
                    <a:lnTo>
                      <a:pt x="2583" y="993"/>
                    </a:lnTo>
                    <a:lnTo>
                      <a:pt x="2607" y="977"/>
                    </a:lnTo>
                    <a:lnTo>
                      <a:pt x="2630" y="960"/>
                    </a:lnTo>
                    <a:lnTo>
                      <a:pt x="2617" y="958"/>
                    </a:lnTo>
                    <a:lnTo>
                      <a:pt x="2603" y="954"/>
                    </a:lnTo>
                    <a:lnTo>
                      <a:pt x="2590" y="949"/>
                    </a:lnTo>
                    <a:lnTo>
                      <a:pt x="2577" y="944"/>
                    </a:lnTo>
                    <a:lnTo>
                      <a:pt x="2563" y="938"/>
                    </a:lnTo>
                    <a:lnTo>
                      <a:pt x="2552" y="932"/>
                    </a:lnTo>
                    <a:lnTo>
                      <a:pt x="2544" y="924"/>
                    </a:lnTo>
                    <a:lnTo>
                      <a:pt x="2537" y="917"/>
                    </a:lnTo>
                    <a:lnTo>
                      <a:pt x="2498" y="917"/>
                    </a:lnTo>
                    <a:lnTo>
                      <a:pt x="2498" y="926"/>
                    </a:lnTo>
                    <a:lnTo>
                      <a:pt x="2498" y="938"/>
                    </a:lnTo>
                    <a:lnTo>
                      <a:pt x="2498" y="950"/>
                    </a:lnTo>
                    <a:lnTo>
                      <a:pt x="2498" y="967"/>
                    </a:lnTo>
                    <a:lnTo>
                      <a:pt x="2457" y="967"/>
                    </a:lnTo>
                    <a:lnTo>
                      <a:pt x="2453" y="962"/>
                    </a:lnTo>
                    <a:lnTo>
                      <a:pt x="2449" y="956"/>
                    </a:lnTo>
                    <a:lnTo>
                      <a:pt x="2447" y="949"/>
                    </a:lnTo>
                    <a:lnTo>
                      <a:pt x="2444" y="942"/>
                    </a:lnTo>
                    <a:lnTo>
                      <a:pt x="2442" y="936"/>
                    </a:lnTo>
                    <a:lnTo>
                      <a:pt x="2438" y="928"/>
                    </a:lnTo>
                    <a:lnTo>
                      <a:pt x="2435" y="922"/>
                    </a:lnTo>
                    <a:lnTo>
                      <a:pt x="2431" y="917"/>
                    </a:lnTo>
                    <a:lnTo>
                      <a:pt x="2426" y="914"/>
                    </a:lnTo>
                    <a:lnTo>
                      <a:pt x="2421" y="911"/>
                    </a:lnTo>
                    <a:lnTo>
                      <a:pt x="2413" y="909"/>
                    </a:lnTo>
                    <a:lnTo>
                      <a:pt x="2404" y="907"/>
                    </a:lnTo>
                    <a:lnTo>
                      <a:pt x="2387" y="903"/>
                    </a:lnTo>
                    <a:lnTo>
                      <a:pt x="2367" y="899"/>
                    </a:lnTo>
                    <a:lnTo>
                      <a:pt x="2357" y="897"/>
                    </a:lnTo>
                    <a:lnTo>
                      <a:pt x="2348" y="894"/>
                    </a:lnTo>
                    <a:lnTo>
                      <a:pt x="2339" y="890"/>
                    </a:lnTo>
                    <a:lnTo>
                      <a:pt x="2333" y="887"/>
                    </a:lnTo>
                    <a:lnTo>
                      <a:pt x="2326" y="882"/>
                    </a:lnTo>
                    <a:lnTo>
                      <a:pt x="2322" y="876"/>
                    </a:lnTo>
                    <a:lnTo>
                      <a:pt x="2320" y="872"/>
                    </a:lnTo>
                    <a:lnTo>
                      <a:pt x="2319" y="869"/>
                    </a:lnTo>
                    <a:lnTo>
                      <a:pt x="2319" y="866"/>
                    </a:lnTo>
                    <a:lnTo>
                      <a:pt x="2317" y="862"/>
                    </a:lnTo>
                    <a:lnTo>
                      <a:pt x="2319" y="858"/>
                    </a:lnTo>
                    <a:lnTo>
                      <a:pt x="2319" y="855"/>
                    </a:lnTo>
                    <a:lnTo>
                      <a:pt x="2321" y="853"/>
                    </a:lnTo>
                    <a:lnTo>
                      <a:pt x="2322" y="850"/>
                    </a:lnTo>
                    <a:lnTo>
                      <a:pt x="2327" y="846"/>
                    </a:lnTo>
                    <a:lnTo>
                      <a:pt x="2334" y="843"/>
                    </a:lnTo>
                    <a:lnTo>
                      <a:pt x="2341" y="840"/>
                    </a:lnTo>
                    <a:lnTo>
                      <a:pt x="2348" y="839"/>
                    </a:lnTo>
                    <a:lnTo>
                      <a:pt x="2357" y="838"/>
                    </a:lnTo>
                    <a:lnTo>
                      <a:pt x="2365" y="837"/>
                    </a:lnTo>
                    <a:lnTo>
                      <a:pt x="2368" y="836"/>
                    </a:lnTo>
                    <a:lnTo>
                      <a:pt x="2372" y="833"/>
                    </a:lnTo>
                    <a:lnTo>
                      <a:pt x="2378" y="828"/>
                    </a:lnTo>
                    <a:lnTo>
                      <a:pt x="2383" y="822"/>
                    </a:lnTo>
                    <a:lnTo>
                      <a:pt x="2393" y="811"/>
                    </a:lnTo>
                    <a:lnTo>
                      <a:pt x="2398" y="806"/>
                    </a:lnTo>
                    <a:lnTo>
                      <a:pt x="2410" y="798"/>
                    </a:lnTo>
                    <a:lnTo>
                      <a:pt x="2423" y="789"/>
                    </a:lnTo>
                    <a:lnTo>
                      <a:pt x="2428" y="783"/>
                    </a:lnTo>
                    <a:lnTo>
                      <a:pt x="2433" y="776"/>
                    </a:lnTo>
                    <a:lnTo>
                      <a:pt x="2435" y="773"/>
                    </a:lnTo>
                    <a:lnTo>
                      <a:pt x="2436" y="768"/>
                    </a:lnTo>
                    <a:lnTo>
                      <a:pt x="2437" y="763"/>
                    </a:lnTo>
                    <a:lnTo>
                      <a:pt x="2437" y="757"/>
                    </a:lnTo>
                    <a:lnTo>
                      <a:pt x="2438" y="758"/>
                    </a:lnTo>
                    <a:lnTo>
                      <a:pt x="2439" y="758"/>
                    </a:lnTo>
                    <a:lnTo>
                      <a:pt x="2442" y="757"/>
                    </a:lnTo>
                    <a:lnTo>
                      <a:pt x="2443" y="756"/>
                    </a:lnTo>
                    <a:lnTo>
                      <a:pt x="2445" y="752"/>
                    </a:lnTo>
                    <a:lnTo>
                      <a:pt x="2448" y="747"/>
                    </a:lnTo>
                    <a:lnTo>
                      <a:pt x="2451" y="742"/>
                    </a:lnTo>
                    <a:lnTo>
                      <a:pt x="2455" y="737"/>
                    </a:lnTo>
                    <a:lnTo>
                      <a:pt x="2457" y="735"/>
                    </a:lnTo>
                    <a:lnTo>
                      <a:pt x="2459" y="734"/>
                    </a:lnTo>
                    <a:lnTo>
                      <a:pt x="2461" y="733"/>
                    </a:lnTo>
                    <a:lnTo>
                      <a:pt x="2464" y="733"/>
                    </a:lnTo>
                    <a:lnTo>
                      <a:pt x="2471" y="733"/>
                    </a:lnTo>
                    <a:lnTo>
                      <a:pt x="2478" y="735"/>
                    </a:lnTo>
                    <a:lnTo>
                      <a:pt x="2484" y="737"/>
                    </a:lnTo>
                    <a:lnTo>
                      <a:pt x="2491" y="741"/>
                    </a:lnTo>
                    <a:lnTo>
                      <a:pt x="2503" y="751"/>
                    </a:lnTo>
                    <a:lnTo>
                      <a:pt x="2517" y="764"/>
                    </a:lnTo>
                    <a:lnTo>
                      <a:pt x="2511" y="769"/>
                    </a:lnTo>
                    <a:lnTo>
                      <a:pt x="2504" y="775"/>
                    </a:lnTo>
                    <a:lnTo>
                      <a:pt x="2496" y="780"/>
                    </a:lnTo>
                    <a:lnTo>
                      <a:pt x="2491" y="782"/>
                    </a:lnTo>
                    <a:lnTo>
                      <a:pt x="2493" y="789"/>
                    </a:lnTo>
                    <a:lnTo>
                      <a:pt x="2496" y="795"/>
                    </a:lnTo>
                    <a:lnTo>
                      <a:pt x="2501" y="800"/>
                    </a:lnTo>
                    <a:lnTo>
                      <a:pt x="2504" y="805"/>
                    </a:lnTo>
                    <a:lnTo>
                      <a:pt x="2510" y="809"/>
                    </a:lnTo>
                    <a:lnTo>
                      <a:pt x="2514" y="813"/>
                    </a:lnTo>
                    <a:lnTo>
                      <a:pt x="2518" y="816"/>
                    </a:lnTo>
                    <a:lnTo>
                      <a:pt x="2524" y="819"/>
                    </a:lnTo>
                    <a:lnTo>
                      <a:pt x="2524" y="837"/>
                    </a:lnTo>
                    <a:lnTo>
                      <a:pt x="2523" y="840"/>
                    </a:lnTo>
                    <a:lnTo>
                      <a:pt x="2523" y="842"/>
                    </a:lnTo>
                    <a:lnTo>
                      <a:pt x="2525" y="844"/>
                    </a:lnTo>
                    <a:lnTo>
                      <a:pt x="2527" y="847"/>
                    </a:lnTo>
                    <a:lnTo>
                      <a:pt x="2529" y="849"/>
                    </a:lnTo>
                    <a:lnTo>
                      <a:pt x="2532" y="851"/>
                    </a:lnTo>
                    <a:lnTo>
                      <a:pt x="2532" y="853"/>
                    </a:lnTo>
                    <a:lnTo>
                      <a:pt x="2530" y="856"/>
                    </a:lnTo>
                    <a:lnTo>
                      <a:pt x="2561" y="830"/>
                    </a:lnTo>
                    <a:lnTo>
                      <a:pt x="2585" y="810"/>
                    </a:lnTo>
                    <a:lnTo>
                      <a:pt x="2596" y="803"/>
                    </a:lnTo>
                    <a:lnTo>
                      <a:pt x="2605" y="797"/>
                    </a:lnTo>
                    <a:lnTo>
                      <a:pt x="2613" y="793"/>
                    </a:lnTo>
                    <a:lnTo>
                      <a:pt x="2621" y="790"/>
                    </a:lnTo>
                    <a:lnTo>
                      <a:pt x="2627" y="787"/>
                    </a:lnTo>
                    <a:lnTo>
                      <a:pt x="2633" y="786"/>
                    </a:lnTo>
                    <a:lnTo>
                      <a:pt x="2638" y="785"/>
                    </a:lnTo>
                    <a:lnTo>
                      <a:pt x="2645" y="785"/>
                    </a:lnTo>
                    <a:lnTo>
                      <a:pt x="2657" y="786"/>
                    </a:lnTo>
                    <a:lnTo>
                      <a:pt x="2670" y="788"/>
                    </a:lnTo>
                    <a:lnTo>
                      <a:pt x="2674" y="781"/>
                    </a:lnTo>
                    <a:lnTo>
                      <a:pt x="2679" y="774"/>
                    </a:lnTo>
                    <a:lnTo>
                      <a:pt x="2683" y="768"/>
                    </a:lnTo>
                    <a:lnTo>
                      <a:pt x="2689" y="763"/>
                    </a:lnTo>
                    <a:lnTo>
                      <a:pt x="2701" y="753"/>
                    </a:lnTo>
                    <a:lnTo>
                      <a:pt x="2713" y="745"/>
                    </a:lnTo>
                    <a:lnTo>
                      <a:pt x="2724" y="738"/>
                    </a:lnTo>
                    <a:lnTo>
                      <a:pt x="2735" y="730"/>
                    </a:lnTo>
                    <a:lnTo>
                      <a:pt x="2739" y="726"/>
                    </a:lnTo>
                    <a:lnTo>
                      <a:pt x="2743" y="721"/>
                    </a:lnTo>
                    <a:lnTo>
                      <a:pt x="2747" y="715"/>
                    </a:lnTo>
                    <a:lnTo>
                      <a:pt x="2750" y="708"/>
                    </a:lnTo>
                    <a:lnTo>
                      <a:pt x="2758" y="708"/>
                    </a:lnTo>
                    <a:lnTo>
                      <a:pt x="2765" y="706"/>
                    </a:lnTo>
                    <a:lnTo>
                      <a:pt x="2773" y="705"/>
                    </a:lnTo>
                    <a:lnTo>
                      <a:pt x="2780" y="704"/>
                    </a:lnTo>
                    <a:lnTo>
                      <a:pt x="2792" y="700"/>
                    </a:lnTo>
                    <a:lnTo>
                      <a:pt x="2803" y="694"/>
                    </a:lnTo>
                    <a:lnTo>
                      <a:pt x="2812" y="688"/>
                    </a:lnTo>
                    <a:lnTo>
                      <a:pt x="2820" y="681"/>
                    </a:lnTo>
                    <a:lnTo>
                      <a:pt x="2828" y="673"/>
                    </a:lnTo>
                    <a:lnTo>
                      <a:pt x="2836" y="665"/>
                    </a:lnTo>
                    <a:lnTo>
                      <a:pt x="2842" y="657"/>
                    </a:lnTo>
                    <a:lnTo>
                      <a:pt x="2850" y="649"/>
                    </a:lnTo>
                    <a:lnTo>
                      <a:pt x="2858" y="641"/>
                    </a:lnTo>
                    <a:lnTo>
                      <a:pt x="2866" y="635"/>
                    </a:lnTo>
                    <a:lnTo>
                      <a:pt x="2876" y="630"/>
                    </a:lnTo>
                    <a:lnTo>
                      <a:pt x="2887" y="625"/>
                    </a:lnTo>
                    <a:lnTo>
                      <a:pt x="2901" y="623"/>
                    </a:lnTo>
                    <a:lnTo>
                      <a:pt x="2916" y="622"/>
                    </a:lnTo>
                    <a:lnTo>
                      <a:pt x="2915" y="611"/>
                    </a:lnTo>
                    <a:lnTo>
                      <a:pt x="2914" y="602"/>
                    </a:lnTo>
                    <a:lnTo>
                      <a:pt x="2910" y="593"/>
                    </a:lnTo>
                    <a:lnTo>
                      <a:pt x="2906" y="586"/>
                    </a:lnTo>
                    <a:lnTo>
                      <a:pt x="2902" y="580"/>
                    </a:lnTo>
                    <a:lnTo>
                      <a:pt x="2897" y="574"/>
                    </a:lnTo>
                    <a:lnTo>
                      <a:pt x="2892" y="569"/>
                    </a:lnTo>
                    <a:lnTo>
                      <a:pt x="2886" y="564"/>
                    </a:lnTo>
                    <a:lnTo>
                      <a:pt x="2875" y="554"/>
                    </a:lnTo>
                    <a:lnTo>
                      <a:pt x="2865" y="543"/>
                    </a:lnTo>
                    <a:lnTo>
                      <a:pt x="2861" y="536"/>
                    </a:lnTo>
                    <a:lnTo>
                      <a:pt x="2859" y="529"/>
                    </a:lnTo>
                    <a:lnTo>
                      <a:pt x="2857" y="520"/>
                    </a:lnTo>
                    <a:lnTo>
                      <a:pt x="2855" y="511"/>
                    </a:lnTo>
                    <a:lnTo>
                      <a:pt x="2857" y="505"/>
                    </a:lnTo>
                    <a:lnTo>
                      <a:pt x="2860" y="499"/>
                    </a:lnTo>
                    <a:lnTo>
                      <a:pt x="2862" y="497"/>
                    </a:lnTo>
                    <a:lnTo>
                      <a:pt x="2864" y="495"/>
                    </a:lnTo>
                    <a:lnTo>
                      <a:pt x="2866" y="493"/>
                    </a:lnTo>
                    <a:lnTo>
                      <a:pt x="2870" y="493"/>
                    </a:lnTo>
                    <a:lnTo>
                      <a:pt x="2885" y="493"/>
                    </a:lnTo>
                    <a:lnTo>
                      <a:pt x="2903" y="495"/>
                    </a:lnTo>
                    <a:lnTo>
                      <a:pt x="2911" y="495"/>
                    </a:lnTo>
                    <a:lnTo>
                      <a:pt x="2919" y="495"/>
                    </a:lnTo>
                    <a:lnTo>
                      <a:pt x="2928" y="494"/>
                    </a:lnTo>
                    <a:lnTo>
                      <a:pt x="2936" y="493"/>
                    </a:lnTo>
                    <a:lnTo>
                      <a:pt x="2936" y="412"/>
                    </a:lnTo>
                    <a:lnTo>
                      <a:pt x="2930" y="407"/>
                    </a:lnTo>
                    <a:lnTo>
                      <a:pt x="2926" y="402"/>
                    </a:lnTo>
                    <a:lnTo>
                      <a:pt x="2921" y="396"/>
                    </a:lnTo>
                    <a:lnTo>
                      <a:pt x="2917" y="389"/>
                    </a:lnTo>
                    <a:lnTo>
                      <a:pt x="2914" y="382"/>
                    </a:lnTo>
                    <a:lnTo>
                      <a:pt x="2911" y="375"/>
                    </a:lnTo>
                    <a:lnTo>
                      <a:pt x="2909" y="365"/>
                    </a:lnTo>
                    <a:lnTo>
                      <a:pt x="2909" y="357"/>
                    </a:lnTo>
                    <a:lnTo>
                      <a:pt x="2909" y="348"/>
                    </a:lnTo>
                    <a:lnTo>
                      <a:pt x="2909" y="341"/>
                    </a:lnTo>
                    <a:lnTo>
                      <a:pt x="2909" y="332"/>
                    </a:lnTo>
                    <a:lnTo>
                      <a:pt x="2909" y="320"/>
                    </a:lnTo>
                    <a:lnTo>
                      <a:pt x="2904" y="316"/>
                    </a:lnTo>
                    <a:lnTo>
                      <a:pt x="2897" y="310"/>
                    </a:lnTo>
                    <a:lnTo>
                      <a:pt x="2893" y="307"/>
                    </a:lnTo>
                    <a:lnTo>
                      <a:pt x="2888" y="304"/>
                    </a:lnTo>
                    <a:lnTo>
                      <a:pt x="2883" y="302"/>
                    </a:lnTo>
                    <a:lnTo>
                      <a:pt x="2876" y="301"/>
                    </a:lnTo>
                    <a:lnTo>
                      <a:pt x="2866" y="302"/>
                    </a:lnTo>
                    <a:lnTo>
                      <a:pt x="2858" y="303"/>
                    </a:lnTo>
                    <a:lnTo>
                      <a:pt x="2849" y="305"/>
                    </a:lnTo>
                    <a:lnTo>
                      <a:pt x="2841" y="308"/>
                    </a:lnTo>
                    <a:lnTo>
                      <a:pt x="2827" y="314"/>
                    </a:lnTo>
                    <a:lnTo>
                      <a:pt x="2813" y="323"/>
                    </a:lnTo>
                    <a:lnTo>
                      <a:pt x="2798" y="331"/>
                    </a:lnTo>
                    <a:lnTo>
                      <a:pt x="2784" y="338"/>
                    </a:lnTo>
                    <a:lnTo>
                      <a:pt x="2776" y="341"/>
                    </a:lnTo>
                    <a:lnTo>
                      <a:pt x="2768" y="343"/>
                    </a:lnTo>
                    <a:lnTo>
                      <a:pt x="2759" y="344"/>
                    </a:lnTo>
                    <a:lnTo>
                      <a:pt x="2750" y="344"/>
                    </a:lnTo>
                    <a:lnTo>
                      <a:pt x="2735" y="343"/>
                    </a:lnTo>
                    <a:lnTo>
                      <a:pt x="2722" y="341"/>
                    </a:lnTo>
                    <a:lnTo>
                      <a:pt x="2708" y="336"/>
                    </a:lnTo>
                    <a:lnTo>
                      <a:pt x="2696" y="331"/>
                    </a:lnTo>
                    <a:lnTo>
                      <a:pt x="2684" y="324"/>
                    </a:lnTo>
                    <a:lnTo>
                      <a:pt x="2672" y="315"/>
                    </a:lnTo>
                    <a:lnTo>
                      <a:pt x="2661" y="307"/>
                    </a:lnTo>
                    <a:lnTo>
                      <a:pt x="2650" y="298"/>
                    </a:lnTo>
                    <a:lnTo>
                      <a:pt x="2627" y="280"/>
                    </a:lnTo>
                    <a:lnTo>
                      <a:pt x="2604" y="261"/>
                    </a:lnTo>
                    <a:lnTo>
                      <a:pt x="2592" y="253"/>
                    </a:lnTo>
                    <a:lnTo>
                      <a:pt x="2579" y="245"/>
                    </a:lnTo>
                    <a:lnTo>
                      <a:pt x="2565" y="239"/>
                    </a:lnTo>
                    <a:lnTo>
                      <a:pt x="2550" y="233"/>
                    </a:lnTo>
                    <a:lnTo>
                      <a:pt x="2525" y="227"/>
                    </a:lnTo>
                    <a:lnTo>
                      <a:pt x="2499" y="219"/>
                    </a:lnTo>
                    <a:lnTo>
                      <a:pt x="2487" y="215"/>
                    </a:lnTo>
                    <a:lnTo>
                      <a:pt x="2473" y="211"/>
                    </a:lnTo>
                    <a:lnTo>
                      <a:pt x="2461" y="205"/>
                    </a:lnTo>
                    <a:lnTo>
                      <a:pt x="2450" y="199"/>
                    </a:lnTo>
                    <a:lnTo>
                      <a:pt x="2438" y="193"/>
                    </a:lnTo>
                    <a:lnTo>
                      <a:pt x="2428" y="187"/>
                    </a:lnTo>
                    <a:lnTo>
                      <a:pt x="2418" y="179"/>
                    </a:lnTo>
                    <a:lnTo>
                      <a:pt x="2410" y="171"/>
                    </a:lnTo>
                    <a:lnTo>
                      <a:pt x="2401" y="162"/>
                    </a:lnTo>
                    <a:lnTo>
                      <a:pt x="2394" y="152"/>
                    </a:lnTo>
                    <a:lnTo>
                      <a:pt x="2389" y="141"/>
                    </a:lnTo>
                    <a:lnTo>
                      <a:pt x="2384" y="129"/>
                    </a:lnTo>
                    <a:lnTo>
                      <a:pt x="2370" y="128"/>
                    </a:lnTo>
                    <a:lnTo>
                      <a:pt x="2357" y="126"/>
                    </a:lnTo>
                    <a:lnTo>
                      <a:pt x="2346" y="122"/>
                    </a:lnTo>
                    <a:lnTo>
                      <a:pt x="2335" y="117"/>
                    </a:lnTo>
                    <a:lnTo>
                      <a:pt x="2325" y="111"/>
                    </a:lnTo>
                    <a:lnTo>
                      <a:pt x="2316" y="105"/>
                    </a:lnTo>
                    <a:lnTo>
                      <a:pt x="2308" y="98"/>
                    </a:lnTo>
                    <a:lnTo>
                      <a:pt x="2300" y="89"/>
                    </a:lnTo>
                    <a:lnTo>
                      <a:pt x="2283" y="74"/>
                    </a:lnTo>
                    <a:lnTo>
                      <a:pt x="2267" y="59"/>
                    </a:lnTo>
                    <a:lnTo>
                      <a:pt x="2257" y="52"/>
                    </a:lnTo>
                    <a:lnTo>
                      <a:pt x="2247" y="46"/>
                    </a:lnTo>
                    <a:lnTo>
                      <a:pt x="2236" y="41"/>
                    </a:lnTo>
                    <a:lnTo>
                      <a:pt x="2225" y="36"/>
                    </a:lnTo>
                    <a:lnTo>
                      <a:pt x="2190" y="25"/>
                    </a:lnTo>
                    <a:lnTo>
                      <a:pt x="2160" y="18"/>
                    </a:lnTo>
                    <a:lnTo>
                      <a:pt x="2131" y="10"/>
                    </a:lnTo>
                    <a:lnTo>
                      <a:pt x="2092" y="0"/>
                    </a:lnTo>
                    <a:lnTo>
                      <a:pt x="1973" y="18"/>
                    </a:lnTo>
                    <a:lnTo>
                      <a:pt x="1973" y="27"/>
                    </a:lnTo>
                    <a:lnTo>
                      <a:pt x="1973" y="36"/>
                    </a:lnTo>
                    <a:lnTo>
                      <a:pt x="1973" y="42"/>
                    </a:lnTo>
                    <a:lnTo>
                      <a:pt x="1975" y="46"/>
                    </a:lnTo>
                    <a:lnTo>
                      <a:pt x="1977" y="50"/>
                    </a:lnTo>
                    <a:lnTo>
                      <a:pt x="1980" y="53"/>
                    </a:lnTo>
                    <a:lnTo>
                      <a:pt x="1989" y="58"/>
                    </a:lnTo>
                    <a:lnTo>
                      <a:pt x="1999" y="62"/>
                    </a:lnTo>
                    <a:lnTo>
                      <a:pt x="2009" y="66"/>
                    </a:lnTo>
                    <a:lnTo>
                      <a:pt x="2018" y="72"/>
                    </a:lnTo>
                    <a:lnTo>
                      <a:pt x="2021" y="75"/>
                    </a:lnTo>
                    <a:lnTo>
                      <a:pt x="2023" y="80"/>
                    </a:lnTo>
                    <a:lnTo>
                      <a:pt x="2025" y="85"/>
                    </a:lnTo>
                    <a:lnTo>
                      <a:pt x="2025" y="91"/>
                    </a:lnTo>
                    <a:lnTo>
                      <a:pt x="2024" y="101"/>
                    </a:lnTo>
                    <a:lnTo>
                      <a:pt x="2022" y="108"/>
                    </a:lnTo>
                    <a:lnTo>
                      <a:pt x="2019" y="114"/>
                    </a:lnTo>
                    <a:lnTo>
                      <a:pt x="2016" y="120"/>
                    </a:lnTo>
                    <a:lnTo>
                      <a:pt x="2012" y="125"/>
                    </a:lnTo>
                    <a:lnTo>
                      <a:pt x="2009" y="131"/>
                    </a:lnTo>
                    <a:lnTo>
                      <a:pt x="2007" y="138"/>
                    </a:lnTo>
                    <a:lnTo>
                      <a:pt x="2006" y="147"/>
                    </a:lnTo>
                    <a:lnTo>
                      <a:pt x="2007" y="155"/>
                    </a:lnTo>
                    <a:lnTo>
                      <a:pt x="2009" y="161"/>
                    </a:lnTo>
                    <a:lnTo>
                      <a:pt x="2012" y="168"/>
                    </a:lnTo>
                    <a:lnTo>
                      <a:pt x="2018" y="174"/>
                    </a:lnTo>
                    <a:lnTo>
                      <a:pt x="2022" y="179"/>
                    </a:lnTo>
                    <a:lnTo>
                      <a:pt x="2028" y="184"/>
                    </a:lnTo>
                    <a:lnTo>
                      <a:pt x="2033" y="187"/>
                    </a:lnTo>
                    <a:lnTo>
                      <a:pt x="2039" y="190"/>
                    </a:lnTo>
                    <a:lnTo>
                      <a:pt x="2033" y="197"/>
                    </a:lnTo>
                    <a:lnTo>
                      <a:pt x="2025" y="204"/>
                    </a:lnTo>
                    <a:lnTo>
                      <a:pt x="2017" y="211"/>
                    </a:lnTo>
                    <a:lnTo>
                      <a:pt x="2008" y="216"/>
                    </a:lnTo>
                    <a:lnTo>
                      <a:pt x="1999" y="221"/>
                    </a:lnTo>
                    <a:lnTo>
                      <a:pt x="1989" y="224"/>
                    </a:lnTo>
                    <a:lnTo>
                      <a:pt x="1980" y="227"/>
                    </a:lnTo>
                    <a:lnTo>
                      <a:pt x="1973" y="227"/>
                    </a:lnTo>
                    <a:lnTo>
                      <a:pt x="1962" y="227"/>
                    </a:lnTo>
                    <a:lnTo>
                      <a:pt x="1952" y="227"/>
                    </a:lnTo>
                    <a:lnTo>
                      <a:pt x="1940" y="227"/>
                    </a:lnTo>
                    <a:lnTo>
                      <a:pt x="1925" y="227"/>
                    </a:lnTo>
                    <a:lnTo>
                      <a:pt x="1919" y="258"/>
                    </a:lnTo>
                    <a:lnTo>
                      <a:pt x="1924" y="278"/>
                    </a:lnTo>
                    <a:lnTo>
                      <a:pt x="1930" y="296"/>
                    </a:lnTo>
                    <a:lnTo>
                      <a:pt x="1933" y="304"/>
                    </a:lnTo>
                    <a:lnTo>
                      <a:pt x="1938" y="311"/>
                    </a:lnTo>
                    <a:lnTo>
                      <a:pt x="1942" y="319"/>
                    </a:lnTo>
                    <a:lnTo>
                      <a:pt x="1947" y="326"/>
                    </a:lnTo>
                    <a:lnTo>
                      <a:pt x="1953" y="331"/>
                    </a:lnTo>
                    <a:lnTo>
                      <a:pt x="1961" y="336"/>
                    </a:lnTo>
                    <a:lnTo>
                      <a:pt x="1968" y="340"/>
                    </a:lnTo>
                    <a:lnTo>
                      <a:pt x="1977" y="344"/>
                    </a:lnTo>
                    <a:lnTo>
                      <a:pt x="1987" y="347"/>
                    </a:lnTo>
                    <a:lnTo>
                      <a:pt x="1999" y="349"/>
                    </a:lnTo>
                    <a:lnTo>
                      <a:pt x="2011" y="350"/>
                    </a:lnTo>
                    <a:lnTo>
                      <a:pt x="2025" y="350"/>
                    </a:lnTo>
                    <a:lnTo>
                      <a:pt x="2036" y="350"/>
                    </a:lnTo>
                    <a:lnTo>
                      <a:pt x="2043" y="349"/>
                    </a:lnTo>
                    <a:lnTo>
                      <a:pt x="2048" y="347"/>
                    </a:lnTo>
                    <a:lnTo>
                      <a:pt x="2053" y="344"/>
                    </a:lnTo>
                    <a:lnTo>
                      <a:pt x="2057" y="342"/>
                    </a:lnTo>
                    <a:lnTo>
                      <a:pt x="2064" y="340"/>
                    </a:lnTo>
                    <a:lnTo>
                      <a:pt x="2073" y="339"/>
                    </a:lnTo>
                    <a:lnTo>
                      <a:pt x="2086" y="338"/>
                    </a:lnTo>
                    <a:lnTo>
                      <a:pt x="2092" y="339"/>
                    </a:lnTo>
                    <a:lnTo>
                      <a:pt x="2098" y="340"/>
                    </a:lnTo>
                    <a:lnTo>
                      <a:pt x="2103" y="341"/>
                    </a:lnTo>
                    <a:lnTo>
                      <a:pt x="2109" y="343"/>
                    </a:lnTo>
                    <a:lnTo>
                      <a:pt x="2122" y="349"/>
                    </a:lnTo>
                    <a:lnTo>
                      <a:pt x="2138" y="357"/>
                    </a:lnTo>
                    <a:lnTo>
                      <a:pt x="2140" y="361"/>
                    </a:lnTo>
                    <a:lnTo>
                      <a:pt x="2142" y="366"/>
                    </a:lnTo>
                    <a:lnTo>
                      <a:pt x="2146" y="370"/>
                    </a:lnTo>
                    <a:lnTo>
                      <a:pt x="2151" y="375"/>
                    </a:lnTo>
                    <a:lnTo>
                      <a:pt x="2157" y="379"/>
                    </a:lnTo>
                    <a:lnTo>
                      <a:pt x="2164" y="382"/>
                    </a:lnTo>
                    <a:lnTo>
                      <a:pt x="2170" y="385"/>
                    </a:lnTo>
                    <a:lnTo>
                      <a:pt x="2178" y="388"/>
                    </a:lnTo>
                    <a:lnTo>
                      <a:pt x="2175" y="393"/>
                    </a:lnTo>
                    <a:lnTo>
                      <a:pt x="2169" y="399"/>
                    </a:lnTo>
                    <a:lnTo>
                      <a:pt x="2160" y="405"/>
                    </a:lnTo>
                    <a:lnTo>
                      <a:pt x="2152" y="410"/>
                    </a:lnTo>
                    <a:lnTo>
                      <a:pt x="2141" y="416"/>
                    </a:lnTo>
                    <a:lnTo>
                      <a:pt x="2130" y="420"/>
                    </a:lnTo>
                    <a:lnTo>
                      <a:pt x="2118" y="423"/>
                    </a:lnTo>
                    <a:lnTo>
                      <a:pt x="2106" y="424"/>
                    </a:lnTo>
                    <a:lnTo>
                      <a:pt x="2098" y="426"/>
                    </a:lnTo>
                    <a:lnTo>
                      <a:pt x="2084" y="434"/>
                    </a:lnTo>
                    <a:lnTo>
                      <a:pt x="2064" y="443"/>
                    </a:lnTo>
                    <a:lnTo>
                      <a:pt x="2041" y="455"/>
                    </a:lnTo>
                    <a:lnTo>
                      <a:pt x="2019" y="467"/>
                    </a:lnTo>
                    <a:lnTo>
                      <a:pt x="1998" y="479"/>
                    </a:lnTo>
                    <a:lnTo>
                      <a:pt x="1989" y="485"/>
                    </a:lnTo>
                    <a:lnTo>
                      <a:pt x="1981" y="490"/>
                    </a:lnTo>
                    <a:lnTo>
                      <a:pt x="1976" y="495"/>
                    </a:lnTo>
                    <a:lnTo>
                      <a:pt x="1973" y="499"/>
                    </a:lnTo>
                    <a:lnTo>
                      <a:pt x="1860" y="499"/>
                    </a:lnTo>
                    <a:lnTo>
                      <a:pt x="1860" y="506"/>
                    </a:lnTo>
                    <a:lnTo>
                      <a:pt x="1861" y="513"/>
                    </a:lnTo>
                    <a:lnTo>
                      <a:pt x="1863" y="520"/>
                    </a:lnTo>
                    <a:lnTo>
                      <a:pt x="1864" y="525"/>
                    </a:lnTo>
                    <a:lnTo>
                      <a:pt x="1869" y="536"/>
                    </a:lnTo>
                    <a:lnTo>
                      <a:pt x="1876" y="546"/>
                    </a:lnTo>
                    <a:lnTo>
                      <a:pt x="1882" y="554"/>
                    </a:lnTo>
                    <a:lnTo>
                      <a:pt x="1887" y="562"/>
                    </a:lnTo>
                    <a:lnTo>
                      <a:pt x="1889" y="566"/>
                    </a:lnTo>
                    <a:lnTo>
                      <a:pt x="1891" y="570"/>
                    </a:lnTo>
                    <a:lnTo>
                      <a:pt x="1893" y="574"/>
                    </a:lnTo>
                    <a:lnTo>
                      <a:pt x="1893" y="578"/>
                    </a:lnTo>
                    <a:lnTo>
                      <a:pt x="1893" y="583"/>
                    </a:lnTo>
                    <a:lnTo>
                      <a:pt x="1890" y="588"/>
                    </a:lnTo>
                    <a:lnTo>
                      <a:pt x="1888" y="594"/>
                    </a:lnTo>
                    <a:lnTo>
                      <a:pt x="1885" y="601"/>
                    </a:lnTo>
                    <a:lnTo>
                      <a:pt x="1877" y="613"/>
                    </a:lnTo>
                    <a:lnTo>
                      <a:pt x="1867" y="625"/>
                    </a:lnTo>
                    <a:lnTo>
                      <a:pt x="1856" y="637"/>
                    </a:lnTo>
                    <a:lnTo>
                      <a:pt x="1845" y="647"/>
                    </a:lnTo>
                    <a:lnTo>
                      <a:pt x="1834" y="655"/>
                    </a:lnTo>
                    <a:lnTo>
                      <a:pt x="1827" y="659"/>
                    </a:lnTo>
                    <a:lnTo>
                      <a:pt x="1727" y="659"/>
                    </a:lnTo>
                    <a:lnTo>
                      <a:pt x="1699" y="674"/>
                    </a:lnTo>
                    <a:lnTo>
                      <a:pt x="1664" y="694"/>
                    </a:lnTo>
                    <a:lnTo>
                      <a:pt x="1647" y="704"/>
                    </a:lnTo>
                    <a:lnTo>
                      <a:pt x="1630" y="713"/>
                    </a:lnTo>
                    <a:lnTo>
                      <a:pt x="1624" y="716"/>
                    </a:lnTo>
                    <a:lnTo>
                      <a:pt x="1617" y="718"/>
                    </a:lnTo>
                    <a:lnTo>
                      <a:pt x="1611" y="720"/>
                    </a:lnTo>
                    <a:lnTo>
                      <a:pt x="1607" y="721"/>
                    </a:lnTo>
                    <a:lnTo>
                      <a:pt x="1598" y="720"/>
                    </a:lnTo>
                    <a:lnTo>
                      <a:pt x="1587" y="719"/>
                    </a:lnTo>
                    <a:lnTo>
                      <a:pt x="1574" y="717"/>
                    </a:lnTo>
                    <a:lnTo>
                      <a:pt x="1560" y="714"/>
                    </a:lnTo>
                    <a:lnTo>
                      <a:pt x="1527" y="705"/>
                    </a:lnTo>
                    <a:lnTo>
                      <a:pt x="1493" y="696"/>
                    </a:lnTo>
                    <a:lnTo>
                      <a:pt x="1460" y="686"/>
                    </a:lnTo>
                    <a:lnTo>
                      <a:pt x="1430" y="676"/>
                    </a:lnTo>
                    <a:lnTo>
                      <a:pt x="1418" y="671"/>
                    </a:lnTo>
                    <a:lnTo>
                      <a:pt x="1407" y="667"/>
                    </a:lnTo>
                    <a:lnTo>
                      <a:pt x="1400" y="663"/>
                    </a:lnTo>
                    <a:lnTo>
                      <a:pt x="1394" y="659"/>
                    </a:lnTo>
                    <a:lnTo>
                      <a:pt x="1228" y="659"/>
                    </a:lnTo>
                    <a:lnTo>
                      <a:pt x="1169" y="646"/>
                    </a:lnTo>
                    <a:lnTo>
                      <a:pt x="1160" y="646"/>
                    </a:lnTo>
                    <a:lnTo>
                      <a:pt x="1151" y="646"/>
                    </a:lnTo>
                    <a:lnTo>
                      <a:pt x="1143" y="644"/>
                    </a:lnTo>
                    <a:lnTo>
                      <a:pt x="1133" y="641"/>
                    </a:lnTo>
                    <a:lnTo>
                      <a:pt x="1123" y="638"/>
                    </a:lnTo>
                    <a:lnTo>
                      <a:pt x="1112" y="633"/>
                    </a:lnTo>
                    <a:lnTo>
                      <a:pt x="1102" y="628"/>
                    </a:lnTo>
                    <a:lnTo>
                      <a:pt x="1092" y="622"/>
                    </a:lnTo>
                    <a:lnTo>
                      <a:pt x="1082" y="615"/>
                    </a:lnTo>
                    <a:lnTo>
                      <a:pt x="1073" y="608"/>
                    </a:lnTo>
                    <a:lnTo>
                      <a:pt x="1065" y="601"/>
                    </a:lnTo>
                    <a:lnTo>
                      <a:pt x="1056" y="592"/>
                    </a:lnTo>
                    <a:lnTo>
                      <a:pt x="1049" y="584"/>
                    </a:lnTo>
                    <a:lnTo>
                      <a:pt x="1044" y="576"/>
                    </a:lnTo>
                    <a:lnTo>
                      <a:pt x="1038" y="568"/>
                    </a:lnTo>
                    <a:lnTo>
                      <a:pt x="1036" y="560"/>
                    </a:lnTo>
                    <a:lnTo>
                      <a:pt x="1022" y="560"/>
                    </a:lnTo>
                    <a:lnTo>
                      <a:pt x="1008" y="558"/>
                    </a:lnTo>
                    <a:lnTo>
                      <a:pt x="994" y="555"/>
                    </a:lnTo>
                    <a:lnTo>
                      <a:pt x="980" y="552"/>
                    </a:lnTo>
                    <a:lnTo>
                      <a:pt x="953" y="543"/>
                    </a:lnTo>
                    <a:lnTo>
                      <a:pt x="923" y="532"/>
                    </a:lnTo>
                    <a:lnTo>
                      <a:pt x="893" y="522"/>
                    </a:lnTo>
                    <a:lnTo>
                      <a:pt x="863" y="513"/>
                    </a:lnTo>
                    <a:lnTo>
                      <a:pt x="846" y="510"/>
                    </a:lnTo>
                    <a:lnTo>
                      <a:pt x="831" y="507"/>
                    </a:lnTo>
                    <a:lnTo>
                      <a:pt x="813" y="505"/>
                    </a:lnTo>
                    <a:lnTo>
                      <a:pt x="797" y="505"/>
                    </a:lnTo>
                    <a:lnTo>
                      <a:pt x="786" y="504"/>
                    </a:lnTo>
                    <a:lnTo>
                      <a:pt x="770" y="501"/>
                    </a:lnTo>
                    <a:lnTo>
                      <a:pt x="763" y="499"/>
                    </a:lnTo>
                    <a:lnTo>
                      <a:pt x="756" y="497"/>
                    </a:lnTo>
                    <a:lnTo>
                      <a:pt x="752" y="495"/>
                    </a:lnTo>
                    <a:lnTo>
                      <a:pt x="750" y="493"/>
                    </a:lnTo>
                    <a:lnTo>
                      <a:pt x="746" y="485"/>
                    </a:lnTo>
                    <a:lnTo>
                      <a:pt x="744" y="477"/>
                    </a:lnTo>
                    <a:lnTo>
                      <a:pt x="743" y="470"/>
                    </a:lnTo>
                    <a:lnTo>
                      <a:pt x="743" y="461"/>
                    </a:lnTo>
                    <a:lnTo>
                      <a:pt x="743" y="456"/>
                    </a:lnTo>
                    <a:lnTo>
                      <a:pt x="743" y="449"/>
                    </a:lnTo>
                    <a:lnTo>
                      <a:pt x="743" y="440"/>
                    </a:lnTo>
                    <a:lnTo>
                      <a:pt x="743" y="431"/>
                    </a:lnTo>
                    <a:lnTo>
                      <a:pt x="741" y="431"/>
                    </a:lnTo>
                    <a:lnTo>
                      <a:pt x="736" y="428"/>
                    </a:lnTo>
                    <a:lnTo>
                      <a:pt x="732" y="426"/>
                    </a:lnTo>
                    <a:lnTo>
                      <a:pt x="728" y="422"/>
                    </a:lnTo>
                    <a:lnTo>
                      <a:pt x="717" y="414"/>
                    </a:lnTo>
                    <a:lnTo>
                      <a:pt x="705" y="403"/>
                    </a:lnTo>
                    <a:lnTo>
                      <a:pt x="695" y="391"/>
                    </a:lnTo>
                    <a:lnTo>
                      <a:pt x="686" y="379"/>
                    </a:lnTo>
                    <a:lnTo>
                      <a:pt x="681" y="372"/>
                    </a:lnTo>
                    <a:lnTo>
                      <a:pt x="679" y="367"/>
                    </a:lnTo>
                    <a:lnTo>
                      <a:pt x="677" y="361"/>
                    </a:lnTo>
                    <a:lnTo>
                      <a:pt x="677" y="357"/>
                    </a:lnTo>
                    <a:lnTo>
                      <a:pt x="661" y="356"/>
                    </a:lnTo>
                    <a:lnTo>
                      <a:pt x="645" y="355"/>
                    </a:lnTo>
                    <a:lnTo>
                      <a:pt x="630" y="353"/>
                    </a:lnTo>
                    <a:lnTo>
                      <a:pt x="616" y="351"/>
                    </a:lnTo>
                    <a:lnTo>
                      <a:pt x="602" y="348"/>
                    </a:lnTo>
                    <a:lnTo>
                      <a:pt x="589" y="344"/>
                    </a:lnTo>
                    <a:lnTo>
                      <a:pt x="576" y="340"/>
                    </a:lnTo>
                    <a:lnTo>
                      <a:pt x="564" y="335"/>
                    </a:lnTo>
                    <a:lnTo>
                      <a:pt x="552" y="329"/>
                    </a:lnTo>
                    <a:lnTo>
                      <a:pt x="541" y="323"/>
                    </a:lnTo>
                    <a:lnTo>
                      <a:pt x="531" y="315"/>
                    </a:lnTo>
                    <a:lnTo>
                      <a:pt x="522" y="307"/>
                    </a:lnTo>
                    <a:lnTo>
                      <a:pt x="512" y="299"/>
                    </a:lnTo>
                    <a:lnTo>
                      <a:pt x="505" y="290"/>
                    </a:lnTo>
                    <a:lnTo>
                      <a:pt x="497" y="281"/>
                    </a:lnTo>
                    <a:lnTo>
                      <a:pt x="490" y="271"/>
                    </a:lnTo>
                    <a:lnTo>
                      <a:pt x="475" y="268"/>
                    </a:lnTo>
                    <a:lnTo>
                      <a:pt x="463" y="267"/>
                    </a:lnTo>
                    <a:lnTo>
                      <a:pt x="454" y="267"/>
                    </a:lnTo>
                    <a:lnTo>
                      <a:pt x="449" y="268"/>
                    </a:lnTo>
                    <a:lnTo>
                      <a:pt x="444" y="270"/>
                    </a:lnTo>
                    <a:lnTo>
                      <a:pt x="442" y="273"/>
                    </a:lnTo>
                    <a:lnTo>
                      <a:pt x="441" y="277"/>
                    </a:lnTo>
                    <a:lnTo>
                      <a:pt x="441" y="281"/>
                    </a:lnTo>
                    <a:lnTo>
                      <a:pt x="441" y="286"/>
                    </a:lnTo>
                    <a:lnTo>
                      <a:pt x="441" y="291"/>
                    </a:lnTo>
                    <a:lnTo>
                      <a:pt x="440" y="296"/>
                    </a:lnTo>
                    <a:lnTo>
                      <a:pt x="439" y="301"/>
                    </a:lnTo>
                    <a:lnTo>
                      <a:pt x="436" y="307"/>
                    </a:lnTo>
                    <a:lnTo>
                      <a:pt x="430" y="311"/>
                    </a:lnTo>
                    <a:lnTo>
                      <a:pt x="422" y="316"/>
                    </a:lnTo>
                    <a:lnTo>
                      <a:pt x="411" y="320"/>
                    </a:lnTo>
                    <a:lnTo>
                      <a:pt x="407" y="320"/>
                    </a:lnTo>
                    <a:lnTo>
                      <a:pt x="403" y="321"/>
                    </a:lnTo>
                    <a:lnTo>
                      <a:pt x="400" y="322"/>
                    </a:lnTo>
                    <a:lnTo>
                      <a:pt x="398" y="323"/>
                    </a:lnTo>
                    <a:lnTo>
                      <a:pt x="397" y="325"/>
                    </a:lnTo>
                    <a:lnTo>
                      <a:pt x="396" y="327"/>
                    </a:lnTo>
                    <a:lnTo>
                      <a:pt x="396" y="329"/>
                    </a:lnTo>
                    <a:lnTo>
                      <a:pt x="396" y="332"/>
                    </a:lnTo>
                    <a:lnTo>
                      <a:pt x="401" y="344"/>
                    </a:lnTo>
                    <a:lnTo>
                      <a:pt x="410" y="357"/>
                    </a:lnTo>
                    <a:lnTo>
                      <a:pt x="415" y="364"/>
                    </a:lnTo>
                    <a:lnTo>
                      <a:pt x="419" y="371"/>
                    </a:lnTo>
                    <a:lnTo>
                      <a:pt x="421" y="379"/>
                    </a:lnTo>
                    <a:lnTo>
                      <a:pt x="423" y="385"/>
                    </a:lnTo>
                    <a:lnTo>
                      <a:pt x="423" y="388"/>
                    </a:lnTo>
                    <a:lnTo>
                      <a:pt x="422" y="390"/>
                    </a:lnTo>
                    <a:lnTo>
                      <a:pt x="421" y="393"/>
                    </a:lnTo>
                    <a:lnTo>
                      <a:pt x="420" y="395"/>
                    </a:lnTo>
                    <a:lnTo>
                      <a:pt x="417" y="397"/>
                    </a:lnTo>
                    <a:lnTo>
                      <a:pt x="414" y="398"/>
                    </a:lnTo>
                    <a:lnTo>
                      <a:pt x="409" y="399"/>
                    </a:lnTo>
                    <a:lnTo>
                      <a:pt x="405" y="400"/>
                    </a:lnTo>
                    <a:lnTo>
                      <a:pt x="392" y="400"/>
                    </a:lnTo>
                    <a:lnTo>
                      <a:pt x="377" y="400"/>
                    </a:lnTo>
                    <a:lnTo>
                      <a:pt x="370" y="400"/>
                    </a:lnTo>
                    <a:lnTo>
                      <a:pt x="361" y="399"/>
                    </a:lnTo>
                    <a:lnTo>
                      <a:pt x="351" y="397"/>
                    </a:lnTo>
                    <a:lnTo>
                      <a:pt x="341" y="395"/>
                    </a:lnTo>
                    <a:lnTo>
                      <a:pt x="331" y="393"/>
                    </a:lnTo>
                    <a:lnTo>
                      <a:pt x="321" y="390"/>
                    </a:lnTo>
                    <a:lnTo>
                      <a:pt x="313" y="386"/>
                    </a:lnTo>
                    <a:lnTo>
                      <a:pt x="305" y="382"/>
                    </a:lnTo>
                    <a:lnTo>
                      <a:pt x="303" y="387"/>
                    </a:lnTo>
                    <a:lnTo>
                      <a:pt x="302" y="393"/>
                    </a:lnTo>
                    <a:lnTo>
                      <a:pt x="303" y="401"/>
                    </a:lnTo>
                    <a:lnTo>
                      <a:pt x="303" y="409"/>
                    </a:lnTo>
                    <a:lnTo>
                      <a:pt x="307" y="427"/>
                    </a:lnTo>
                    <a:lnTo>
                      <a:pt x="311" y="448"/>
                    </a:lnTo>
                    <a:lnTo>
                      <a:pt x="316" y="467"/>
                    </a:lnTo>
                    <a:lnTo>
                      <a:pt x="320" y="483"/>
                    </a:lnTo>
                    <a:lnTo>
                      <a:pt x="320" y="491"/>
                    </a:lnTo>
                    <a:lnTo>
                      <a:pt x="320" y="497"/>
                    </a:lnTo>
                    <a:lnTo>
                      <a:pt x="320" y="502"/>
                    </a:lnTo>
                    <a:lnTo>
                      <a:pt x="318" y="505"/>
                    </a:lnTo>
                    <a:lnTo>
                      <a:pt x="292" y="503"/>
                    </a:lnTo>
                    <a:lnTo>
                      <a:pt x="254" y="503"/>
                    </a:lnTo>
                    <a:lnTo>
                      <a:pt x="244" y="504"/>
                    </a:lnTo>
                    <a:lnTo>
                      <a:pt x="236" y="505"/>
                    </a:lnTo>
                    <a:lnTo>
                      <a:pt x="227" y="507"/>
                    </a:lnTo>
                    <a:lnTo>
                      <a:pt x="220" y="510"/>
                    </a:lnTo>
                    <a:lnTo>
                      <a:pt x="214" y="513"/>
                    </a:lnTo>
                    <a:lnTo>
                      <a:pt x="209" y="517"/>
                    </a:lnTo>
                    <a:lnTo>
                      <a:pt x="207" y="520"/>
                    </a:lnTo>
                    <a:lnTo>
                      <a:pt x="206" y="523"/>
                    </a:lnTo>
                    <a:lnTo>
                      <a:pt x="205" y="526"/>
                    </a:lnTo>
                    <a:lnTo>
                      <a:pt x="205" y="529"/>
                    </a:lnTo>
                    <a:lnTo>
                      <a:pt x="216" y="531"/>
                    </a:lnTo>
                    <a:lnTo>
                      <a:pt x="226" y="534"/>
                    </a:lnTo>
                    <a:lnTo>
                      <a:pt x="233" y="538"/>
                    </a:lnTo>
                    <a:lnTo>
                      <a:pt x="239" y="544"/>
                    </a:lnTo>
                    <a:lnTo>
                      <a:pt x="243" y="550"/>
                    </a:lnTo>
                    <a:lnTo>
                      <a:pt x="247" y="556"/>
                    </a:lnTo>
                    <a:lnTo>
                      <a:pt x="250" y="563"/>
                    </a:lnTo>
                    <a:lnTo>
                      <a:pt x="252" y="569"/>
                    </a:lnTo>
                    <a:lnTo>
                      <a:pt x="255" y="583"/>
                    </a:lnTo>
                    <a:lnTo>
                      <a:pt x="260" y="595"/>
                    </a:lnTo>
                    <a:lnTo>
                      <a:pt x="262" y="601"/>
                    </a:lnTo>
                    <a:lnTo>
                      <a:pt x="266" y="605"/>
                    </a:lnTo>
                    <a:lnTo>
                      <a:pt x="272" y="608"/>
                    </a:lnTo>
                    <a:lnTo>
                      <a:pt x="278" y="610"/>
                    </a:lnTo>
                    <a:lnTo>
                      <a:pt x="276" y="614"/>
                    </a:lnTo>
                    <a:lnTo>
                      <a:pt x="275" y="618"/>
                    </a:lnTo>
                    <a:lnTo>
                      <a:pt x="275" y="621"/>
                    </a:lnTo>
                    <a:lnTo>
                      <a:pt x="275" y="625"/>
                    </a:lnTo>
                    <a:lnTo>
                      <a:pt x="277" y="632"/>
                    </a:lnTo>
                    <a:lnTo>
                      <a:pt x="278" y="640"/>
                    </a:lnTo>
                    <a:lnTo>
                      <a:pt x="277" y="658"/>
                    </a:lnTo>
                    <a:lnTo>
                      <a:pt x="274" y="674"/>
                    </a:lnTo>
                    <a:lnTo>
                      <a:pt x="270" y="688"/>
                    </a:lnTo>
                    <a:lnTo>
                      <a:pt x="264" y="700"/>
                    </a:lnTo>
                    <a:lnTo>
                      <a:pt x="261" y="705"/>
                    </a:lnTo>
                    <a:lnTo>
                      <a:pt x="257" y="711"/>
                    </a:lnTo>
                    <a:lnTo>
                      <a:pt x="252" y="716"/>
                    </a:lnTo>
                    <a:lnTo>
                      <a:pt x="248" y="720"/>
                    </a:lnTo>
                    <a:lnTo>
                      <a:pt x="242" y="724"/>
                    </a:lnTo>
                    <a:lnTo>
                      <a:pt x="237" y="727"/>
                    </a:lnTo>
                    <a:lnTo>
                      <a:pt x="231" y="730"/>
                    </a:lnTo>
                    <a:lnTo>
                      <a:pt x="225" y="733"/>
                    </a:lnTo>
                    <a:lnTo>
                      <a:pt x="206" y="735"/>
                    </a:lnTo>
                    <a:lnTo>
                      <a:pt x="182" y="737"/>
                    </a:lnTo>
                    <a:lnTo>
                      <a:pt x="170" y="739"/>
                    </a:lnTo>
                    <a:lnTo>
                      <a:pt x="158" y="741"/>
                    </a:lnTo>
                    <a:lnTo>
                      <a:pt x="152" y="743"/>
                    </a:lnTo>
                    <a:lnTo>
                      <a:pt x="147" y="745"/>
                    </a:lnTo>
                    <a:lnTo>
                      <a:pt x="142" y="748"/>
                    </a:lnTo>
                    <a:lnTo>
                      <a:pt x="139" y="751"/>
                    </a:lnTo>
                    <a:lnTo>
                      <a:pt x="134" y="758"/>
                    </a:lnTo>
                    <a:lnTo>
                      <a:pt x="127" y="770"/>
                    </a:lnTo>
                    <a:lnTo>
                      <a:pt x="123" y="776"/>
                    </a:lnTo>
                    <a:lnTo>
                      <a:pt x="118" y="781"/>
                    </a:lnTo>
                    <a:lnTo>
                      <a:pt x="113" y="785"/>
                    </a:lnTo>
                    <a:lnTo>
                      <a:pt x="105" y="788"/>
                    </a:lnTo>
                    <a:lnTo>
                      <a:pt x="81" y="794"/>
                    </a:lnTo>
                    <a:lnTo>
                      <a:pt x="45" y="800"/>
                    </a:lnTo>
                    <a:lnTo>
                      <a:pt x="27" y="804"/>
                    </a:lnTo>
                    <a:lnTo>
                      <a:pt x="13" y="807"/>
                    </a:lnTo>
                    <a:lnTo>
                      <a:pt x="3" y="810"/>
                    </a:lnTo>
                    <a:lnTo>
                      <a:pt x="0" y="812"/>
                    </a:lnTo>
                    <a:lnTo>
                      <a:pt x="0" y="824"/>
                    </a:lnTo>
                    <a:lnTo>
                      <a:pt x="3" y="833"/>
                    </a:lnTo>
                    <a:lnTo>
                      <a:pt x="6" y="842"/>
                    </a:lnTo>
                    <a:lnTo>
                      <a:pt x="9" y="850"/>
                    </a:lnTo>
                    <a:lnTo>
                      <a:pt x="14" y="859"/>
                    </a:lnTo>
                    <a:lnTo>
                      <a:pt x="18" y="869"/>
                    </a:lnTo>
                    <a:lnTo>
                      <a:pt x="23" y="880"/>
                    </a:lnTo>
                    <a:lnTo>
                      <a:pt x="26" y="893"/>
                    </a:lnTo>
                    <a:lnTo>
                      <a:pt x="40" y="894"/>
                    </a:lnTo>
                    <a:lnTo>
                      <a:pt x="53" y="896"/>
                    </a:lnTo>
                    <a:lnTo>
                      <a:pt x="59" y="897"/>
                    </a:lnTo>
                    <a:lnTo>
                      <a:pt x="64" y="899"/>
                    </a:lnTo>
                    <a:lnTo>
                      <a:pt x="70" y="902"/>
                    </a:lnTo>
                    <a:lnTo>
                      <a:pt x="74" y="905"/>
                    </a:lnTo>
                    <a:lnTo>
                      <a:pt x="79" y="909"/>
                    </a:lnTo>
                    <a:lnTo>
                      <a:pt x="83" y="913"/>
                    </a:lnTo>
                    <a:lnTo>
                      <a:pt x="87" y="918"/>
                    </a:lnTo>
                    <a:lnTo>
                      <a:pt x="90" y="924"/>
                    </a:lnTo>
                    <a:lnTo>
                      <a:pt x="93" y="931"/>
                    </a:lnTo>
                    <a:lnTo>
                      <a:pt x="95" y="938"/>
                    </a:lnTo>
                    <a:lnTo>
                      <a:pt x="97" y="946"/>
                    </a:lnTo>
                    <a:lnTo>
                      <a:pt x="98" y="95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74" name="Freeform 15">
                <a:extLst>
                  <a:ext uri="{FF2B5EF4-FFF2-40B4-BE49-F238E27FC236}">
                    <a16:creationId xmlns:a16="http://schemas.microsoft.com/office/drawing/2014/main" id="{7CC0854C-4A11-484B-8B22-BD673DEE4C2E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4738" y="2084612"/>
                <a:ext cx="266045" cy="307646"/>
              </a:xfrm>
              <a:custGeom>
                <a:avLst/>
                <a:gdLst>
                  <a:gd name="T0" fmla="*/ 66132051 w 504"/>
                  <a:gd name="T1" fmla="*/ 133865368 h 524"/>
                  <a:gd name="T2" fmla="*/ 49071901 w 504"/>
                  <a:gd name="T3" fmla="*/ 137123730 h 524"/>
                  <a:gd name="T4" fmla="*/ 45046571 w 504"/>
                  <a:gd name="T5" fmla="*/ 140382092 h 524"/>
                  <a:gd name="T6" fmla="*/ 40254616 w 504"/>
                  <a:gd name="T7" fmla="*/ 141740047 h 524"/>
                  <a:gd name="T8" fmla="*/ 29711438 w 504"/>
                  <a:gd name="T9" fmla="*/ 142283020 h 524"/>
                  <a:gd name="T10" fmla="*/ 20318855 w 504"/>
                  <a:gd name="T11" fmla="*/ 141740047 h 524"/>
                  <a:gd name="T12" fmla="*/ 18018541 w 504"/>
                  <a:gd name="T13" fmla="*/ 140110605 h 524"/>
                  <a:gd name="T14" fmla="*/ 13609679 w 504"/>
                  <a:gd name="T15" fmla="*/ 138210198 h 524"/>
                  <a:gd name="T16" fmla="*/ 6900941 w 504"/>
                  <a:gd name="T17" fmla="*/ 134680349 h 524"/>
                  <a:gd name="T18" fmla="*/ 4217096 w 504"/>
                  <a:gd name="T19" fmla="*/ 131964961 h 524"/>
                  <a:gd name="T20" fmla="*/ 3833564 w 504"/>
                  <a:gd name="T21" fmla="*/ 129521059 h 524"/>
                  <a:gd name="T22" fmla="*/ 5175487 w 504"/>
                  <a:gd name="T23" fmla="*/ 125719724 h 524"/>
                  <a:gd name="T24" fmla="*/ 6133878 w 504"/>
                  <a:gd name="T25" fmla="*/ 120831920 h 524"/>
                  <a:gd name="T26" fmla="*/ 5367253 w 504"/>
                  <a:gd name="T27" fmla="*/ 117302072 h 524"/>
                  <a:gd name="T28" fmla="*/ 1916782 w 504"/>
                  <a:gd name="T29" fmla="*/ 113229249 h 524"/>
                  <a:gd name="T30" fmla="*/ 191766 w 504"/>
                  <a:gd name="T31" fmla="*/ 110513861 h 524"/>
                  <a:gd name="T32" fmla="*/ 191766 w 504"/>
                  <a:gd name="T33" fmla="*/ 106169031 h 524"/>
                  <a:gd name="T34" fmla="*/ 3258705 w 504"/>
                  <a:gd name="T35" fmla="*/ 97751900 h 524"/>
                  <a:gd name="T36" fmla="*/ 9200817 w 504"/>
                  <a:gd name="T37" fmla="*/ 89062761 h 524"/>
                  <a:gd name="T38" fmla="*/ 16485290 w 504"/>
                  <a:gd name="T39" fmla="*/ 81188083 h 524"/>
                  <a:gd name="T40" fmla="*/ 23769325 w 504"/>
                  <a:gd name="T41" fmla="*/ 75757306 h 524"/>
                  <a:gd name="T42" fmla="*/ 30669829 w 504"/>
                  <a:gd name="T43" fmla="*/ 73856898 h 524"/>
                  <a:gd name="T44" fmla="*/ 29711438 w 504"/>
                  <a:gd name="T45" fmla="*/ 71684483 h 524"/>
                  <a:gd name="T46" fmla="*/ 27219796 w 504"/>
                  <a:gd name="T47" fmla="*/ 70327050 h 524"/>
                  <a:gd name="T48" fmla="*/ 25494342 w 504"/>
                  <a:gd name="T49" fmla="*/ 68154635 h 524"/>
                  <a:gd name="T50" fmla="*/ 24344185 w 504"/>
                  <a:gd name="T51" fmla="*/ 62180884 h 524"/>
                  <a:gd name="T52" fmla="*/ 23769325 w 504"/>
                  <a:gd name="T53" fmla="*/ 52948772 h 524"/>
                  <a:gd name="T54" fmla="*/ 22043871 w 504"/>
                  <a:gd name="T55" fmla="*/ 43716660 h 524"/>
                  <a:gd name="T56" fmla="*/ 19168698 w 504"/>
                  <a:gd name="T57" fmla="*/ 36385476 h 524"/>
                  <a:gd name="T58" fmla="*/ 13034820 w 504"/>
                  <a:gd name="T59" fmla="*/ 24437975 h 524"/>
                  <a:gd name="T60" fmla="*/ 16485290 w 504"/>
                  <a:gd name="T61" fmla="*/ 16291810 h 524"/>
                  <a:gd name="T62" fmla="*/ 20318855 w 504"/>
                  <a:gd name="T63" fmla="*/ 15205863 h 524"/>
                  <a:gd name="T64" fmla="*/ 24919482 w 504"/>
                  <a:gd name="T65" fmla="*/ 15748836 h 524"/>
                  <a:gd name="T66" fmla="*/ 26644499 w 504"/>
                  <a:gd name="T67" fmla="*/ 16563296 h 524"/>
                  <a:gd name="T68" fmla="*/ 30669829 w 504"/>
                  <a:gd name="T69" fmla="*/ 15205863 h 524"/>
                  <a:gd name="T70" fmla="*/ 31436892 w 504"/>
                  <a:gd name="T71" fmla="*/ 8960626 h 524"/>
                  <a:gd name="T72" fmla="*/ 32778377 w 504"/>
                  <a:gd name="T73" fmla="*/ 3529849 h 524"/>
                  <a:gd name="T74" fmla="*/ 35845754 w 504"/>
                  <a:gd name="T75" fmla="*/ 0 h 524"/>
                  <a:gd name="T76" fmla="*/ 43129789 w 504"/>
                  <a:gd name="T77" fmla="*/ 0 h 524"/>
                  <a:gd name="T78" fmla="*/ 48688808 w 504"/>
                  <a:gd name="T79" fmla="*/ 2172415 h 524"/>
                  <a:gd name="T80" fmla="*/ 53672529 w 504"/>
                  <a:gd name="T81" fmla="*/ 5702264 h 524"/>
                  <a:gd name="T82" fmla="*/ 53480763 w 504"/>
                  <a:gd name="T83" fmla="*/ 16834783 h 524"/>
                  <a:gd name="T84" fmla="*/ 55972843 w 504"/>
                  <a:gd name="T85" fmla="*/ 20908126 h 524"/>
                  <a:gd name="T86" fmla="*/ 61148330 w 504"/>
                  <a:gd name="T87" fmla="*/ 25523922 h 524"/>
                  <a:gd name="T88" fmla="*/ 68240599 w 504"/>
                  <a:gd name="T89" fmla="*/ 32312133 h 524"/>
                  <a:gd name="T90" fmla="*/ 66323817 w 504"/>
                  <a:gd name="T91" fmla="*/ 36656963 h 524"/>
                  <a:gd name="T92" fmla="*/ 65173660 w 504"/>
                  <a:gd name="T93" fmla="*/ 41544245 h 524"/>
                  <a:gd name="T94" fmla="*/ 65940723 w 504"/>
                  <a:gd name="T95" fmla="*/ 47789482 h 524"/>
                  <a:gd name="T96" fmla="*/ 69582522 w 504"/>
                  <a:gd name="T97" fmla="*/ 54306727 h 524"/>
                  <a:gd name="T98" fmla="*/ 72458133 w 504"/>
                  <a:gd name="T99" fmla="*/ 57021594 h 524"/>
                  <a:gd name="T100" fmla="*/ 73991384 w 504"/>
                  <a:gd name="T101" fmla="*/ 69512069 h 524"/>
                  <a:gd name="T102" fmla="*/ 77441854 w 504"/>
                  <a:gd name="T103" fmla="*/ 78472694 h 524"/>
                  <a:gd name="T104" fmla="*/ 82809107 w 504"/>
                  <a:gd name="T105" fmla="*/ 85532913 h 524"/>
                  <a:gd name="T106" fmla="*/ 88751220 w 504"/>
                  <a:gd name="T107" fmla="*/ 90963168 h 524"/>
                  <a:gd name="T108" fmla="*/ 89326517 w 504"/>
                  <a:gd name="T109" fmla="*/ 105897544 h 524"/>
                  <a:gd name="T110" fmla="*/ 76099932 w 504"/>
                  <a:gd name="T111" fmla="*/ 124090282 h 52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04" h="524">
                    <a:moveTo>
                      <a:pt x="365" y="493"/>
                    </a:moveTo>
                    <a:lnTo>
                      <a:pt x="355" y="493"/>
                    </a:lnTo>
                    <a:lnTo>
                      <a:pt x="345" y="493"/>
                    </a:lnTo>
                    <a:lnTo>
                      <a:pt x="266" y="493"/>
                    </a:lnTo>
                    <a:lnTo>
                      <a:pt x="262" y="500"/>
                    </a:lnTo>
                    <a:lnTo>
                      <a:pt x="256" y="505"/>
                    </a:lnTo>
                    <a:lnTo>
                      <a:pt x="250" y="510"/>
                    </a:lnTo>
                    <a:lnTo>
                      <a:pt x="243" y="513"/>
                    </a:lnTo>
                    <a:lnTo>
                      <a:pt x="235" y="517"/>
                    </a:lnTo>
                    <a:lnTo>
                      <a:pt x="228" y="519"/>
                    </a:lnTo>
                    <a:lnTo>
                      <a:pt x="219" y="521"/>
                    </a:lnTo>
                    <a:lnTo>
                      <a:pt x="210" y="522"/>
                    </a:lnTo>
                    <a:lnTo>
                      <a:pt x="191" y="524"/>
                    </a:lnTo>
                    <a:lnTo>
                      <a:pt x="173" y="524"/>
                    </a:lnTo>
                    <a:lnTo>
                      <a:pt x="155" y="524"/>
                    </a:lnTo>
                    <a:lnTo>
                      <a:pt x="140" y="524"/>
                    </a:lnTo>
                    <a:lnTo>
                      <a:pt x="121" y="523"/>
                    </a:lnTo>
                    <a:lnTo>
                      <a:pt x="106" y="522"/>
                    </a:lnTo>
                    <a:lnTo>
                      <a:pt x="100" y="521"/>
                    </a:lnTo>
                    <a:lnTo>
                      <a:pt x="96" y="519"/>
                    </a:lnTo>
                    <a:lnTo>
                      <a:pt x="94" y="516"/>
                    </a:lnTo>
                    <a:lnTo>
                      <a:pt x="93" y="512"/>
                    </a:lnTo>
                    <a:lnTo>
                      <a:pt x="82" y="511"/>
                    </a:lnTo>
                    <a:lnTo>
                      <a:pt x="71" y="509"/>
                    </a:lnTo>
                    <a:lnTo>
                      <a:pt x="59" y="505"/>
                    </a:lnTo>
                    <a:lnTo>
                      <a:pt x="47" y="501"/>
                    </a:lnTo>
                    <a:lnTo>
                      <a:pt x="36" y="496"/>
                    </a:lnTo>
                    <a:lnTo>
                      <a:pt x="28" y="491"/>
                    </a:lnTo>
                    <a:lnTo>
                      <a:pt x="25" y="489"/>
                    </a:lnTo>
                    <a:lnTo>
                      <a:pt x="22" y="486"/>
                    </a:lnTo>
                    <a:lnTo>
                      <a:pt x="20" y="484"/>
                    </a:lnTo>
                    <a:lnTo>
                      <a:pt x="20" y="481"/>
                    </a:lnTo>
                    <a:lnTo>
                      <a:pt x="20" y="477"/>
                    </a:lnTo>
                    <a:lnTo>
                      <a:pt x="22" y="472"/>
                    </a:lnTo>
                    <a:lnTo>
                      <a:pt x="25" y="467"/>
                    </a:lnTo>
                    <a:lnTo>
                      <a:pt x="27" y="463"/>
                    </a:lnTo>
                    <a:lnTo>
                      <a:pt x="31" y="456"/>
                    </a:lnTo>
                    <a:lnTo>
                      <a:pt x="33" y="450"/>
                    </a:lnTo>
                    <a:lnTo>
                      <a:pt x="32" y="445"/>
                    </a:lnTo>
                    <a:lnTo>
                      <a:pt x="31" y="440"/>
                    </a:lnTo>
                    <a:lnTo>
                      <a:pt x="30" y="436"/>
                    </a:lnTo>
                    <a:lnTo>
                      <a:pt x="28" y="432"/>
                    </a:lnTo>
                    <a:lnTo>
                      <a:pt x="22" y="426"/>
                    </a:lnTo>
                    <a:lnTo>
                      <a:pt x="17" y="421"/>
                    </a:lnTo>
                    <a:lnTo>
                      <a:pt x="10" y="417"/>
                    </a:lnTo>
                    <a:lnTo>
                      <a:pt x="5" y="412"/>
                    </a:lnTo>
                    <a:lnTo>
                      <a:pt x="3" y="409"/>
                    </a:lnTo>
                    <a:lnTo>
                      <a:pt x="1" y="407"/>
                    </a:lnTo>
                    <a:lnTo>
                      <a:pt x="0" y="404"/>
                    </a:lnTo>
                    <a:lnTo>
                      <a:pt x="0" y="401"/>
                    </a:lnTo>
                    <a:lnTo>
                      <a:pt x="1" y="391"/>
                    </a:lnTo>
                    <a:lnTo>
                      <a:pt x="5" y="381"/>
                    </a:lnTo>
                    <a:lnTo>
                      <a:pt x="10" y="371"/>
                    </a:lnTo>
                    <a:lnTo>
                      <a:pt x="17" y="360"/>
                    </a:lnTo>
                    <a:lnTo>
                      <a:pt x="26" y="349"/>
                    </a:lnTo>
                    <a:lnTo>
                      <a:pt x="37" y="338"/>
                    </a:lnTo>
                    <a:lnTo>
                      <a:pt x="48" y="328"/>
                    </a:lnTo>
                    <a:lnTo>
                      <a:pt x="60" y="318"/>
                    </a:lnTo>
                    <a:lnTo>
                      <a:pt x="73" y="309"/>
                    </a:lnTo>
                    <a:lnTo>
                      <a:pt x="86" y="299"/>
                    </a:lnTo>
                    <a:lnTo>
                      <a:pt x="99" y="291"/>
                    </a:lnTo>
                    <a:lnTo>
                      <a:pt x="112" y="285"/>
                    </a:lnTo>
                    <a:lnTo>
                      <a:pt x="124" y="279"/>
                    </a:lnTo>
                    <a:lnTo>
                      <a:pt x="138" y="275"/>
                    </a:lnTo>
                    <a:lnTo>
                      <a:pt x="149" y="272"/>
                    </a:lnTo>
                    <a:lnTo>
                      <a:pt x="160" y="272"/>
                    </a:lnTo>
                    <a:lnTo>
                      <a:pt x="166" y="266"/>
                    </a:lnTo>
                    <a:lnTo>
                      <a:pt x="160" y="265"/>
                    </a:lnTo>
                    <a:lnTo>
                      <a:pt x="155" y="264"/>
                    </a:lnTo>
                    <a:lnTo>
                      <a:pt x="150" y="263"/>
                    </a:lnTo>
                    <a:lnTo>
                      <a:pt x="145" y="261"/>
                    </a:lnTo>
                    <a:lnTo>
                      <a:pt x="142" y="259"/>
                    </a:lnTo>
                    <a:lnTo>
                      <a:pt x="139" y="257"/>
                    </a:lnTo>
                    <a:lnTo>
                      <a:pt x="135" y="254"/>
                    </a:lnTo>
                    <a:lnTo>
                      <a:pt x="133" y="251"/>
                    </a:lnTo>
                    <a:lnTo>
                      <a:pt x="130" y="244"/>
                    </a:lnTo>
                    <a:lnTo>
                      <a:pt x="128" y="236"/>
                    </a:lnTo>
                    <a:lnTo>
                      <a:pt x="127" y="229"/>
                    </a:lnTo>
                    <a:lnTo>
                      <a:pt x="127" y="222"/>
                    </a:lnTo>
                    <a:lnTo>
                      <a:pt x="126" y="208"/>
                    </a:lnTo>
                    <a:lnTo>
                      <a:pt x="124" y="195"/>
                    </a:lnTo>
                    <a:lnTo>
                      <a:pt x="121" y="182"/>
                    </a:lnTo>
                    <a:lnTo>
                      <a:pt x="119" y="171"/>
                    </a:lnTo>
                    <a:lnTo>
                      <a:pt x="115" y="161"/>
                    </a:lnTo>
                    <a:lnTo>
                      <a:pt x="110" y="152"/>
                    </a:lnTo>
                    <a:lnTo>
                      <a:pt x="106" y="143"/>
                    </a:lnTo>
                    <a:lnTo>
                      <a:pt x="100" y="134"/>
                    </a:lnTo>
                    <a:lnTo>
                      <a:pt x="89" y="119"/>
                    </a:lnTo>
                    <a:lnTo>
                      <a:pt x="78" y="104"/>
                    </a:lnTo>
                    <a:lnTo>
                      <a:pt x="68" y="90"/>
                    </a:lnTo>
                    <a:lnTo>
                      <a:pt x="60" y="74"/>
                    </a:lnTo>
                    <a:lnTo>
                      <a:pt x="74" y="66"/>
                    </a:lnTo>
                    <a:lnTo>
                      <a:pt x="86" y="60"/>
                    </a:lnTo>
                    <a:lnTo>
                      <a:pt x="93" y="58"/>
                    </a:lnTo>
                    <a:lnTo>
                      <a:pt x="99" y="57"/>
                    </a:lnTo>
                    <a:lnTo>
                      <a:pt x="106" y="56"/>
                    </a:lnTo>
                    <a:lnTo>
                      <a:pt x="112" y="56"/>
                    </a:lnTo>
                    <a:lnTo>
                      <a:pt x="123" y="56"/>
                    </a:lnTo>
                    <a:lnTo>
                      <a:pt x="130" y="58"/>
                    </a:lnTo>
                    <a:lnTo>
                      <a:pt x="133" y="59"/>
                    </a:lnTo>
                    <a:lnTo>
                      <a:pt x="137" y="60"/>
                    </a:lnTo>
                    <a:lnTo>
                      <a:pt x="139" y="61"/>
                    </a:lnTo>
                    <a:lnTo>
                      <a:pt x="143" y="61"/>
                    </a:lnTo>
                    <a:lnTo>
                      <a:pt x="149" y="59"/>
                    </a:lnTo>
                    <a:lnTo>
                      <a:pt x="160" y="56"/>
                    </a:lnTo>
                    <a:lnTo>
                      <a:pt x="160" y="47"/>
                    </a:lnTo>
                    <a:lnTo>
                      <a:pt x="162" y="40"/>
                    </a:lnTo>
                    <a:lnTo>
                      <a:pt x="164" y="33"/>
                    </a:lnTo>
                    <a:lnTo>
                      <a:pt x="166" y="25"/>
                    </a:lnTo>
                    <a:lnTo>
                      <a:pt x="168" y="19"/>
                    </a:lnTo>
                    <a:lnTo>
                      <a:pt x="171" y="13"/>
                    </a:lnTo>
                    <a:lnTo>
                      <a:pt x="172" y="7"/>
                    </a:lnTo>
                    <a:lnTo>
                      <a:pt x="173" y="0"/>
                    </a:lnTo>
                    <a:lnTo>
                      <a:pt x="187" y="0"/>
                    </a:lnTo>
                    <a:lnTo>
                      <a:pt x="201" y="0"/>
                    </a:lnTo>
                    <a:lnTo>
                      <a:pt x="214" y="0"/>
                    </a:lnTo>
                    <a:lnTo>
                      <a:pt x="225" y="0"/>
                    </a:lnTo>
                    <a:lnTo>
                      <a:pt x="235" y="1"/>
                    </a:lnTo>
                    <a:lnTo>
                      <a:pt x="244" y="4"/>
                    </a:lnTo>
                    <a:lnTo>
                      <a:pt x="254" y="8"/>
                    </a:lnTo>
                    <a:lnTo>
                      <a:pt x="263" y="12"/>
                    </a:lnTo>
                    <a:lnTo>
                      <a:pt x="270" y="17"/>
                    </a:lnTo>
                    <a:lnTo>
                      <a:pt x="280" y="21"/>
                    </a:lnTo>
                    <a:lnTo>
                      <a:pt x="289" y="24"/>
                    </a:lnTo>
                    <a:lnTo>
                      <a:pt x="299" y="25"/>
                    </a:lnTo>
                    <a:lnTo>
                      <a:pt x="279" y="62"/>
                    </a:lnTo>
                    <a:lnTo>
                      <a:pt x="283" y="67"/>
                    </a:lnTo>
                    <a:lnTo>
                      <a:pt x="287" y="72"/>
                    </a:lnTo>
                    <a:lnTo>
                      <a:pt x="292" y="77"/>
                    </a:lnTo>
                    <a:lnTo>
                      <a:pt x="297" y="82"/>
                    </a:lnTo>
                    <a:lnTo>
                      <a:pt x="308" y="88"/>
                    </a:lnTo>
                    <a:lnTo>
                      <a:pt x="319" y="94"/>
                    </a:lnTo>
                    <a:lnTo>
                      <a:pt x="341" y="103"/>
                    </a:lnTo>
                    <a:lnTo>
                      <a:pt x="358" y="111"/>
                    </a:lnTo>
                    <a:lnTo>
                      <a:pt x="356" y="119"/>
                    </a:lnTo>
                    <a:lnTo>
                      <a:pt x="353" y="126"/>
                    </a:lnTo>
                    <a:lnTo>
                      <a:pt x="350" y="131"/>
                    </a:lnTo>
                    <a:lnTo>
                      <a:pt x="346" y="135"/>
                    </a:lnTo>
                    <a:lnTo>
                      <a:pt x="343" y="141"/>
                    </a:lnTo>
                    <a:lnTo>
                      <a:pt x="341" y="146"/>
                    </a:lnTo>
                    <a:lnTo>
                      <a:pt x="340" y="153"/>
                    </a:lnTo>
                    <a:lnTo>
                      <a:pt x="339" y="161"/>
                    </a:lnTo>
                    <a:lnTo>
                      <a:pt x="340" y="168"/>
                    </a:lnTo>
                    <a:lnTo>
                      <a:pt x="344" y="176"/>
                    </a:lnTo>
                    <a:lnTo>
                      <a:pt x="350" y="184"/>
                    </a:lnTo>
                    <a:lnTo>
                      <a:pt x="356" y="193"/>
                    </a:lnTo>
                    <a:lnTo>
                      <a:pt x="363" y="200"/>
                    </a:lnTo>
                    <a:lnTo>
                      <a:pt x="369" y="205"/>
                    </a:lnTo>
                    <a:lnTo>
                      <a:pt x="375" y="209"/>
                    </a:lnTo>
                    <a:lnTo>
                      <a:pt x="378" y="210"/>
                    </a:lnTo>
                    <a:lnTo>
                      <a:pt x="379" y="226"/>
                    </a:lnTo>
                    <a:lnTo>
                      <a:pt x="381" y="241"/>
                    </a:lnTo>
                    <a:lnTo>
                      <a:pt x="386" y="256"/>
                    </a:lnTo>
                    <a:lnTo>
                      <a:pt x="391" y="268"/>
                    </a:lnTo>
                    <a:lnTo>
                      <a:pt x="397" y="279"/>
                    </a:lnTo>
                    <a:lnTo>
                      <a:pt x="404" y="289"/>
                    </a:lnTo>
                    <a:lnTo>
                      <a:pt x="413" y="298"/>
                    </a:lnTo>
                    <a:lnTo>
                      <a:pt x="422" y="307"/>
                    </a:lnTo>
                    <a:lnTo>
                      <a:pt x="432" y="315"/>
                    </a:lnTo>
                    <a:lnTo>
                      <a:pt x="442" y="322"/>
                    </a:lnTo>
                    <a:lnTo>
                      <a:pt x="452" y="329"/>
                    </a:lnTo>
                    <a:lnTo>
                      <a:pt x="463" y="335"/>
                    </a:lnTo>
                    <a:lnTo>
                      <a:pt x="485" y="346"/>
                    </a:lnTo>
                    <a:lnTo>
                      <a:pt x="504" y="357"/>
                    </a:lnTo>
                    <a:lnTo>
                      <a:pt x="466" y="390"/>
                    </a:lnTo>
                    <a:lnTo>
                      <a:pt x="430" y="424"/>
                    </a:lnTo>
                    <a:lnTo>
                      <a:pt x="413" y="440"/>
                    </a:lnTo>
                    <a:lnTo>
                      <a:pt x="397" y="457"/>
                    </a:lnTo>
                    <a:lnTo>
                      <a:pt x="380" y="476"/>
                    </a:lnTo>
                    <a:lnTo>
                      <a:pt x="365" y="49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75" name="Freeform 16">
                <a:extLst>
                  <a:ext uri="{FF2B5EF4-FFF2-40B4-BE49-F238E27FC236}">
                    <a16:creationId xmlns:a16="http://schemas.microsoft.com/office/drawing/2014/main" id="{9A20FC2D-D79E-4F14-B846-60475CB8A535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176209" y="2553991"/>
                <a:ext cx="220799" cy="267212"/>
              </a:xfrm>
              <a:custGeom>
                <a:avLst/>
                <a:gdLst>
                  <a:gd name="T0" fmla="*/ 74008467 w 438"/>
                  <a:gd name="T1" fmla="*/ 52967765 h 451"/>
                  <a:gd name="T2" fmla="*/ 70881572 w 438"/>
                  <a:gd name="T3" fmla="*/ 35683374 h 451"/>
                  <a:gd name="T4" fmla="*/ 67233250 w 438"/>
                  <a:gd name="T5" fmla="*/ 23695813 h 451"/>
                  <a:gd name="T6" fmla="*/ 63758736 w 438"/>
                  <a:gd name="T7" fmla="*/ 17284390 h 451"/>
                  <a:gd name="T8" fmla="*/ 61847671 w 438"/>
                  <a:gd name="T9" fmla="*/ 16169268 h 451"/>
                  <a:gd name="T10" fmla="*/ 58199348 w 438"/>
                  <a:gd name="T11" fmla="*/ 12545122 h 451"/>
                  <a:gd name="T12" fmla="*/ 54551026 w 438"/>
                  <a:gd name="T13" fmla="*/ 10593659 h 451"/>
                  <a:gd name="T14" fmla="*/ 50902704 w 438"/>
                  <a:gd name="T15" fmla="*/ 10593659 h 451"/>
                  <a:gd name="T16" fmla="*/ 47949201 w 438"/>
                  <a:gd name="T17" fmla="*/ 11708780 h 451"/>
                  <a:gd name="T18" fmla="*/ 43606059 w 438"/>
                  <a:gd name="T19" fmla="*/ 16169268 h 451"/>
                  <a:gd name="T20" fmla="*/ 40826365 w 438"/>
                  <a:gd name="T21" fmla="*/ 18678293 h 451"/>
                  <a:gd name="T22" fmla="*/ 37699053 w 438"/>
                  <a:gd name="T23" fmla="*/ 18399512 h 451"/>
                  <a:gd name="T24" fmla="*/ 30229016 w 438"/>
                  <a:gd name="T25" fmla="*/ 10314878 h 451"/>
                  <a:gd name="T26" fmla="*/ 19631250 w 438"/>
                  <a:gd name="T27" fmla="*/ 0 h 451"/>
                  <a:gd name="T28" fmla="*/ 16504355 w 438"/>
                  <a:gd name="T29" fmla="*/ 6411951 h 451"/>
                  <a:gd name="T30" fmla="*/ 16156737 w 438"/>
                  <a:gd name="T31" fmla="*/ 11987561 h 451"/>
                  <a:gd name="T32" fmla="*/ 17025365 w 438"/>
                  <a:gd name="T33" fmla="*/ 14496585 h 451"/>
                  <a:gd name="T34" fmla="*/ 20673688 w 438"/>
                  <a:gd name="T35" fmla="*/ 19235854 h 451"/>
                  <a:gd name="T36" fmla="*/ 17199174 w 438"/>
                  <a:gd name="T37" fmla="*/ 20350976 h 451"/>
                  <a:gd name="T38" fmla="*/ 11465977 w 438"/>
                  <a:gd name="T39" fmla="*/ 25926057 h 451"/>
                  <a:gd name="T40" fmla="*/ 10076339 w 438"/>
                  <a:gd name="T41" fmla="*/ 33174350 h 451"/>
                  <a:gd name="T42" fmla="*/ 7817655 w 438"/>
                  <a:gd name="T43" fmla="*/ 38471179 h 451"/>
                  <a:gd name="T44" fmla="*/ 6080398 w 438"/>
                  <a:gd name="T45" fmla="*/ 43489228 h 451"/>
                  <a:gd name="T46" fmla="*/ 5733197 w 438"/>
                  <a:gd name="T47" fmla="*/ 49901179 h 451"/>
                  <a:gd name="T48" fmla="*/ 1216246 w 438"/>
                  <a:gd name="T49" fmla="*/ 66348700 h 451"/>
                  <a:gd name="T50" fmla="*/ 2605885 w 438"/>
                  <a:gd name="T51" fmla="*/ 68578944 h 451"/>
                  <a:gd name="T52" fmla="*/ 4516951 w 438"/>
                  <a:gd name="T53" fmla="*/ 68857725 h 451"/>
                  <a:gd name="T54" fmla="*/ 5733197 w 438"/>
                  <a:gd name="T55" fmla="*/ 96456993 h 451"/>
                  <a:gd name="T56" fmla="*/ 16156737 w 438"/>
                  <a:gd name="T57" fmla="*/ 98408456 h 451"/>
                  <a:gd name="T58" fmla="*/ 18067803 w 438"/>
                  <a:gd name="T59" fmla="*/ 104819879 h 451"/>
                  <a:gd name="T60" fmla="*/ 15461918 w 438"/>
                  <a:gd name="T61" fmla="*/ 118480123 h 451"/>
                  <a:gd name="T62" fmla="*/ 18936431 w 438"/>
                  <a:gd name="T63" fmla="*/ 124613294 h 451"/>
                  <a:gd name="T64" fmla="*/ 26406885 w 438"/>
                  <a:gd name="T65" fmla="*/ 124613294 h 451"/>
                  <a:gd name="T66" fmla="*/ 35614595 w 438"/>
                  <a:gd name="T67" fmla="*/ 123776953 h 451"/>
                  <a:gd name="T68" fmla="*/ 47949201 w 438"/>
                  <a:gd name="T69" fmla="*/ 124334514 h 451"/>
                  <a:gd name="T70" fmla="*/ 59588987 w 438"/>
                  <a:gd name="T71" fmla="*/ 123219392 h 451"/>
                  <a:gd name="T72" fmla="*/ 64627365 w 438"/>
                  <a:gd name="T73" fmla="*/ 120431587 h 451"/>
                  <a:gd name="T74" fmla="*/ 62368681 w 438"/>
                  <a:gd name="T75" fmla="*/ 115134757 h 451"/>
                  <a:gd name="T76" fmla="*/ 64105938 w 438"/>
                  <a:gd name="T77" fmla="*/ 112346953 h 451"/>
                  <a:gd name="T78" fmla="*/ 64627365 w 438"/>
                  <a:gd name="T79" fmla="*/ 106492562 h 451"/>
                  <a:gd name="T80" fmla="*/ 66017003 w 438"/>
                  <a:gd name="T81" fmla="*/ 102311383 h 451"/>
                  <a:gd name="T82" fmla="*/ 59588987 w 438"/>
                  <a:gd name="T83" fmla="*/ 95899432 h 451"/>
                  <a:gd name="T84" fmla="*/ 56462092 w 438"/>
                  <a:gd name="T85" fmla="*/ 90045042 h 451"/>
                  <a:gd name="T86" fmla="*/ 54029599 w 438"/>
                  <a:gd name="T87" fmla="*/ 81960407 h 451"/>
                  <a:gd name="T88" fmla="*/ 51076513 w 438"/>
                  <a:gd name="T89" fmla="*/ 77221139 h 451"/>
                  <a:gd name="T90" fmla="*/ 54551026 w 438"/>
                  <a:gd name="T91" fmla="*/ 76663578 h 451"/>
                  <a:gd name="T92" fmla="*/ 60110414 w 438"/>
                  <a:gd name="T93" fmla="*/ 75548456 h 451"/>
                  <a:gd name="T94" fmla="*/ 64105938 w 438"/>
                  <a:gd name="T95" fmla="*/ 72481871 h 451"/>
                  <a:gd name="T96" fmla="*/ 70707763 w 438"/>
                  <a:gd name="T97" fmla="*/ 66906261 h 451"/>
                  <a:gd name="T98" fmla="*/ 76093342 w 438"/>
                  <a:gd name="T99" fmla="*/ 65512359 h 45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438" h="451">
                    <a:moveTo>
                      <a:pt x="438" y="235"/>
                    </a:moveTo>
                    <a:lnTo>
                      <a:pt x="431" y="212"/>
                    </a:lnTo>
                    <a:lnTo>
                      <a:pt x="426" y="190"/>
                    </a:lnTo>
                    <a:lnTo>
                      <a:pt x="420" y="169"/>
                    </a:lnTo>
                    <a:lnTo>
                      <a:pt x="415" y="148"/>
                    </a:lnTo>
                    <a:lnTo>
                      <a:pt x="408" y="128"/>
                    </a:lnTo>
                    <a:lnTo>
                      <a:pt x="398" y="106"/>
                    </a:lnTo>
                    <a:lnTo>
                      <a:pt x="393" y="95"/>
                    </a:lnTo>
                    <a:lnTo>
                      <a:pt x="387" y="85"/>
                    </a:lnTo>
                    <a:lnTo>
                      <a:pt x="380" y="74"/>
                    </a:lnTo>
                    <a:lnTo>
                      <a:pt x="372" y="62"/>
                    </a:lnTo>
                    <a:lnTo>
                      <a:pt x="367" y="62"/>
                    </a:lnTo>
                    <a:lnTo>
                      <a:pt x="363" y="61"/>
                    </a:lnTo>
                    <a:lnTo>
                      <a:pt x="359" y="60"/>
                    </a:lnTo>
                    <a:lnTo>
                      <a:pt x="356" y="58"/>
                    </a:lnTo>
                    <a:lnTo>
                      <a:pt x="349" y="54"/>
                    </a:lnTo>
                    <a:lnTo>
                      <a:pt x="342" y="49"/>
                    </a:lnTo>
                    <a:lnTo>
                      <a:pt x="335" y="45"/>
                    </a:lnTo>
                    <a:lnTo>
                      <a:pt x="326" y="41"/>
                    </a:lnTo>
                    <a:lnTo>
                      <a:pt x="320" y="40"/>
                    </a:lnTo>
                    <a:lnTo>
                      <a:pt x="314" y="38"/>
                    </a:lnTo>
                    <a:lnTo>
                      <a:pt x="307" y="38"/>
                    </a:lnTo>
                    <a:lnTo>
                      <a:pt x="298" y="37"/>
                    </a:lnTo>
                    <a:lnTo>
                      <a:pt x="293" y="38"/>
                    </a:lnTo>
                    <a:lnTo>
                      <a:pt x="287" y="39"/>
                    </a:lnTo>
                    <a:lnTo>
                      <a:pt x="282" y="40"/>
                    </a:lnTo>
                    <a:lnTo>
                      <a:pt x="276" y="42"/>
                    </a:lnTo>
                    <a:lnTo>
                      <a:pt x="268" y="47"/>
                    </a:lnTo>
                    <a:lnTo>
                      <a:pt x="260" y="52"/>
                    </a:lnTo>
                    <a:lnTo>
                      <a:pt x="251" y="58"/>
                    </a:lnTo>
                    <a:lnTo>
                      <a:pt x="244" y="64"/>
                    </a:lnTo>
                    <a:lnTo>
                      <a:pt x="239" y="66"/>
                    </a:lnTo>
                    <a:lnTo>
                      <a:pt x="235" y="67"/>
                    </a:lnTo>
                    <a:lnTo>
                      <a:pt x="230" y="68"/>
                    </a:lnTo>
                    <a:lnTo>
                      <a:pt x="226" y="69"/>
                    </a:lnTo>
                    <a:lnTo>
                      <a:pt x="217" y="66"/>
                    </a:lnTo>
                    <a:lnTo>
                      <a:pt x="205" y="58"/>
                    </a:lnTo>
                    <a:lnTo>
                      <a:pt x="190" y="48"/>
                    </a:lnTo>
                    <a:lnTo>
                      <a:pt x="174" y="37"/>
                    </a:lnTo>
                    <a:lnTo>
                      <a:pt x="145" y="16"/>
                    </a:lnTo>
                    <a:lnTo>
                      <a:pt x="133" y="7"/>
                    </a:lnTo>
                    <a:lnTo>
                      <a:pt x="113" y="0"/>
                    </a:lnTo>
                    <a:lnTo>
                      <a:pt x="104" y="9"/>
                    </a:lnTo>
                    <a:lnTo>
                      <a:pt x="98" y="18"/>
                    </a:lnTo>
                    <a:lnTo>
                      <a:pt x="95" y="23"/>
                    </a:lnTo>
                    <a:lnTo>
                      <a:pt x="94" y="28"/>
                    </a:lnTo>
                    <a:lnTo>
                      <a:pt x="93" y="35"/>
                    </a:lnTo>
                    <a:lnTo>
                      <a:pt x="93" y="43"/>
                    </a:lnTo>
                    <a:lnTo>
                      <a:pt x="93" y="46"/>
                    </a:lnTo>
                    <a:lnTo>
                      <a:pt x="95" y="49"/>
                    </a:lnTo>
                    <a:lnTo>
                      <a:pt x="98" y="52"/>
                    </a:lnTo>
                    <a:lnTo>
                      <a:pt x="101" y="55"/>
                    </a:lnTo>
                    <a:lnTo>
                      <a:pt x="110" y="63"/>
                    </a:lnTo>
                    <a:lnTo>
                      <a:pt x="119" y="69"/>
                    </a:lnTo>
                    <a:lnTo>
                      <a:pt x="112" y="69"/>
                    </a:lnTo>
                    <a:lnTo>
                      <a:pt x="105" y="71"/>
                    </a:lnTo>
                    <a:lnTo>
                      <a:pt x="99" y="73"/>
                    </a:lnTo>
                    <a:lnTo>
                      <a:pt x="93" y="76"/>
                    </a:lnTo>
                    <a:lnTo>
                      <a:pt x="80" y="84"/>
                    </a:lnTo>
                    <a:lnTo>
                      <a:pt x="66" y="93"/>
                    </a:lnTo>
                    <a:lnTo>
                      <a:pt x="63" y="103"/>
                    </a:lnTo>
                    <a:lnTo>
                      <a:pt x="61" y="112"/>
                    </a:lnTo>
                    <a:lnTo>
                      <a:pt x="58" y="119"/>
                    </a:lnTo>
                    <a:lnTo>
                      <a:pt x="56" y="125"/>
                    </a:lnTo>
                    <a:lnTo>
                      <a:pt x="49" y="133"/>
                    </a:lnTo>
                    <a:lnTo>
                      <a:pt x="45" y="138"/>
                    </a:lnTo>
                    <a:lnTo>
                      <a:pt x="39" y="144"/>
                    </a:lnTo>
                    <a:lnTo>
                      <a:pt x="36" y="151"/>
                    </a:lnTo>
                    <a:lnTo>
                      <a:pt x="35" y="156"/>
                    </a:lnTo>
                    <a:lnTo>
                      <a:pt x="34" y="162"/>
                    </a:lnTo>
                    <a:lnTo>
                      <a:pt x="33" y="169"/>
                    </a:lnTo>
                    <a:lnTo>
                      <a:pt x="33" y="179"/>
                    </a:lnTo>
                    <a:lnTo>
                      <a:pt x="0" y="235"/>
                    </a:lnTo>
                    <a:lnTo>
                      <a:pt x="4" y="236"/>
                    </a:lnTo>
                    <a:lnTo>
                      <a:pt x="7" y="238"/>
                    </a:lnTo>
                    <a:lnTo>
                      <a:pt x="11" y="240"/>
                    </a:lnTo>
                    <a:lnTo>
                      <a:pt x="13" y="243"/>
                    </a:lnTo>
                    <a:lnTo>
                      <a:pt x="15" y="246"/>
                    </a:lnTo>
                    <a:lnTo>
                      <a:pt x="18" y="248"/>
                    </a:lnTo>
                    <a:lnTo>
                      <a:pt x="22" y="248"/>
                    </a:lnTo>
                    <a:lnTo>
                      <a:pt x="26" y="247"/>
                    </a:lnTo>
                    <a:lnTo>
                      <a:pt x="39" y="277"/>
                    </a:lnTo>
                    <a:lnTo>
                      <a:pt x="33" y="308"/>
                    </a:lnTo>
                    <a:lnTo>
                      <a:pt x="33" y="346"/>
                    </a:lnTo>
                    <a:lnTo>
                      <a:pt x="53" y="347"/>
                    </a:lnTo>
                    <a:lnTo>
                      <a:pt x="72" y="350"/>
                    </a:lnTo>
                    <a:lnTo>
                      <a:pt x="93" y="353"/>
                    </a:lnTo>
                    <a:lnTo>
                      <a:pt x="113" y="358"/>
                    </a:lnTo>
                    <a:lnTo>
                      <a:pt x="107" y="366"/>
                    </a:lnTo>
                    <a:lnTo>
                      <a:pt x="104" y="376"/>
                    </a:lnTo>
                    <a:lnTo>
                      <a:pt x="100" y="387"/>
                    </a:lnTo>
                    <a:lnTo>
                      <a:pt x="96" y="400"/>
                    </a:lnTo>
                    <a:lnTo>
                      <a:pt x="89" y="425"/>
                    </a:lnTo>
                    <a:lnTo>
                      <a:pt x="79" y="451"/>
                    </a:lnTo>
                    <a:lnTo>
                      <a:pt x="94" y="449"/>
                    </a:lnTo>
                    <a:lnTo>
                      <a:pt x="109" y="447"/>
                    </a:lnTo>
                    <a:lnTo>
                      <a:pt x="123" y="447"/>
                    </a:lnTo>
                    <a:lnTo>
                      <a:pt x="137" y="447"/>
                    </a:lnTo>
                    <a:lnTo>
                      <a:pt x="152" y="447"/>
                    </a:lnTo>
                    <a:lnTo>
                      <a:pt x="169" y="446"/>
                    </a:lnTo>
                    <a:lnTo>
                      <a:pt x="186" y="445"/>
                    </a:lnTo>
                    <a:lnTo>
                      <a:pt x="205" y="444"/>
                    </a:lnTo>
                    <a:lnTo>
                      <a:pt x="228" y="445"/>
                    </a:lnTo>
                    <a:lnTo>
                      <a:pt x="252" y="446"/>
                    </a:lnTo>
                    <a:lnTo>
                      <a:pt x="276" y="446"/>
                    </a:lnTo>
                    <a:lnTo>
                      <a:pt x="300" y="445"/>
                    </a:lnTo>
                    <a:lnTo>
                      <a:pt x="322" y="444"/>
                    </a:lnTo>
                    <a:lnTo>
                      <a:pt x="343" y="442"/>
                    </a:lnTo>
                    <a:lnTo>
                      <a:pt x="362" y="440"/>
                    </a:lnTo>
                    <a:lnTo>
                      <a:pt x="379" y="438"/>
                    </a:lnTo>
                    <a:lnTo>
                      <a:pt x="372" y="432"/>
                    </a:lnTo>
                    <a:lnTo>
                      <a:pt x="365" y="425"/>
                    </a:lnTo>
                    <a:lnTo>
                      <a:pt x="361" y="419"/>
                    </a:lnTo>
                    <a:lnTo>
                      <a:pt x="359" y="413"/>
                    </a:lnTo>
                    <a:lnTo>
                      <a:pt x="363" y="411"/>
                    </a:lnTo>
                    <a:lnTo>
                      <a:pt x="367" y="407"/>
                    </a:lnTo>
                    <a:lnTo>
                      <a:pt x="369" y="403"/>
                    </a:lnTo>
                    <a:lnTo>
                      <a:pt x="370" y="398"/>
                    </a:lnTo>
                    <a:lnTo>
                      <a:pt x="372" y="389"/>
                    </a:lnTo>
                    <a:lnTo>
                      <a:pt x="372" y="382"/>
                    </a:lnTo>
                    <a:lnTo>
                      <a:pt x="385" y="379"/>
                    </a:lnTo>
                    <a:lnTo>
                      <a:pt x="398" y="376"/>
                    </a:lnTo>
                    <a:lnTo>
                      <a:pt x="380" y="367"/>
                    </a:lnTo>
                    <a:lnTo>
                      <a:pt x="365" y="359"/>
                    </a:lnTo>
                    <a:lnTo>
                      <a:pt x="353" y="351"/>
                    </a:lnTo>
                    <a:lnTo>
                      <a:pt x="343" y="344"/>
                    </a:lnTo>
                    <a:lnTo>
                      <a:pt x="336" y="336"/>
                    </a:lnTo>
                    <a:lnTo>
                      <a:pt x="330" y="329"/>
                    </a:lnTo>
                    <a:lnTo>
                      <a:pt x="325" y="323"/>
                    </a:lnTo>
                    <a:lnTo>
                      <a:pt x="322" y="317"/>
                    </a:lnTo>
                    <a:lnTo>
                      <a:pt x="316" y="305"/>
                    </a:lnTo>
                    <a:lnTo>
                      <a:pt x="311" y="294"/>
                    </a:lnTo>
                    <a:lnTo>
                      <a:pt x="306" y="289"/>
                    </a:lnTo>
                    <a:lnTo>
                      <a:pt x="301" y="283"/>
                    </a:lnTo>
                    <a:lnTo>
                      <a:pt x="294" y="277"/>
                    </a:lnTo>
                    <a:lnTo>
                      <a:pt x="285" y="271"/>
                    </a:lnTo>
                    <a:lnTo>
                      <a:pt x="301" y="274"/>
                    </a:lnTo>
                    <a:lnTo>
                      <a:pt x="314" y="275"/>
                    </a:lnTo>
                    <a:lnTo>
                      <a:pt x="326" y="275"/>
                    </a:lnTo>
                    <a:lnTo>
                      <a:pt x="336" y="273"/>
                    </a:lnTo>
                    <a:lnTo>
                      <a:pt x="346" y="271"/>
                    </a:lnTo>
                    <a:lnTo>
                      <a:pt x="354" y="268"/>
                    </a:lnTo>
                    <a:lnTo>
                      <a:pt x="362" y="264"/>
                    </a:lnTo>
                    <a:lnTo>
                      <a:pt x="369" y="260"/>
                    </a:lnTo>
                    <a:lnTo>
                      <a:pt x="383" y="251"/>
                    </a:lnTo>
                    <a:lnTo>
                      <a:pt x="398" y="243"/>
                    </a:lnTo>
                    <a:lnTo>
                      <a:pt x="407" y="240"/>
                    </a:lnTo>
                    <a:lnTo>
                      <a:pt x="416" y="237"/>
                    </a:lnTo>
                    <a:lnTo>
                      <a:pt x="427" y="236"/>
                    </a:lnTo>
                    <a:lnTo>
                      <a:pt x="438" y="23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76" name="Freeform 17">
                <a:extLst>
                  <a:ext uri="{FF2B5EF4-FFF2-40B4-BE49-F238E27FC236}">
                    <a16:creationId xmlns:a16="http://schemas.microsoft.com/office/drawing/2014/main" id="{4640BCEE-7877-416F-98D3-5326CF7784BF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206976" y="2842299"/>
                <a:ext cx="302240" cy="309403"/>
              </a:xfrm>
              <a:custGeom>
                <a:avLst/>
                <a:gdLst>
                  <a:gd name="T0" fmla="*/ 61579273 w 578"/>
                  <a:gd name="T1" fmla="*/ 24173297 h 524"/>
                  <a:gd name="T2" fmla="*/ 58754237 w 578"/>
                  <a:gd name="T3" fmla="*/ 23349386 h 524"/>
                  <a:gd name="T4" fmla="*/ 56682978 w 578"/>
                  <a:gd name="T5" fmla="*/ 21701040 h 524"/>
                  <a:gd name="T6" fmla="*/ 51786683 w 578"/>
                  <a:gd name="T7" fmla="*/ 18130235 h 524"/>
                  <a:gd name="T8" fmla="*/ 47267060 w 578"/>
                  <a:gd name="T9" fmla="*/ 21426403 h 524"/>
                  <a:gd name="T10" fmla="*/ 46325815 w 578"/>
                  <a:gd name="T11" fmla="*/ 28843174 h 524"/>
                  <a:gd name="T12" fmla="*/ 47643731 w 578"/>
                  <a:gd name="T13" fmla="*/ 42028895 h 524"/>
                  <a:gd name="T14" fmla="*/ 50845005 w 578"/>
                  <a:gd name="T15" fmla="*/ 47248046 h 524"/>
                  <a:gd name="T16" fmla="*/ 54046712 w 578"/>
                  <a:gd name="T17" fmla="*/ 48896392 h 524"/>
                  <a:gd name="T18" fmla="*/ 56117971 w 578"/>
                  <a:gd name="T19" fmla="*/ 52467198 h 524"/>
                  <a:gd name="T20" fmla="*/ 66098897 w 578"/>
                  <a:gd name="T21" fmla="*/ 61806952 h 524"/>
                  <a:gd name="T22" fmla="*/ 84553628 w 578"/>
                  <a:gd name="T23" fmla="*/ 84881701 h 524"/>
                  <a:gd name="T24" fmla="*/ 89826595 w 578"/>
                  <a:gd name="T25" fmla="*/ 88452506 h 524"/>
                  <a:gd name="T26" fmla="*/ 94910791 w 578"/>
                  <a:gd name="T27" fmla="*/ 90100852 h 524"/>
                  <a:gd name="T28" fmla="*/ 100937101 w 578"/>
                  <a:gd name="T29" fmla="*/ 97792261 h 524"/>
                  <a:gd name="T30" fmla="*/ 108846333 w 578"/>
                  <a:gd name="T31" fmla="*/ 103286573 h 524"/>
                  <a:gd name="T32" fmla="*/ 106398403 w 578"/>
                  <a:gd name="T33" fmla="*/ 111801892 h 524"/>
                  <a:gd name="T34" fmla="*/ 99053743 w 578"/>
                  <a:gd name="T35" fmla="*/ 105209556 h 524"/>
                  <a:gd name="T36" fmla="*/ 95664134 w 578"/>
                  <a:gd name="T37" fmla="*/ 103286573 h 524"/>
                  <a:gd name="T38" fmla="*/ 93781211 w 578"/>
                  <a:gd name="T39" fmla="*/ 109054998 h 524"/>
                  <a:gd name="T40" fmla="*/ 95287463 w 578"/>
                  <a:gd name="T41" fmla="*/ 117021568 h 524"/>
                  <a:gd name="T42" fmla="*/ 96794149 w 578"/>
                  <a:gd name="T43" fmla="*/ 121416284 h 524"/>
                  <a:gd name="T44" fmla="*/ 94157882 w 578"/>
                  <a:gd name="T45" fmla="*/ 128558418 h 524"/>
                  <a:gd name="T46" fmla="*/ 90956175 w 578"/>
                  <a:gd name="T47" fmla="*/ 138722608 h 524"/>
                  <a:gd name="T48" fmla="*/ 87566566 w 578"/>
                  <a:gd name="T49" fmla="*/ 143392485 h 524"/>
                  <a:gd name="T50" fmla="*/ 82105698 w 578"/>
                  <a:gd name="T51" fmla="*/ 138722608 h 524"/>
                  <a:gd name="T52" fmla="*/ 85871978 w 578"/>
                  <a:gd name="T53" fmla="*/ 132953659 h 524"/>
                  <a:gd name="T54" fmla="*/ 87566566 w 578"/>
                  <a:gd name="T55" fmla="*/ 128283781 h 524"/>
                  <a:gd name="T56" fmla="*/ 86813223 w 578"/>
                  <a:gd name="T57" fmla="*/ 121141647 h 524"/>
                  <a:gd name="T58" fmla="*/ 80410676 w 578"/>
                  <a:gd name="T59" fmla="*/ 108505724 h 524"/>
                  <a:gd name="T60" fmla="*/ 72501444 w 578"/>
                  <a:gd name="T61" fmla="*/ 101363590 h 524"/>
                  <a:gd name="T62" fmla="*/ 66851806 w 578"/>
                  <a:gd name="T63" fmla="*/ 97792261 h 524"/>
                  <a:gd name="T64" fmla="*/ 59884252 w 578"/>
                  <a:gd name="T65" fmla="*/ 90650126 h 524"/>
                  <a:gd name="T66" fmla="*/ 50468333 w 578"/>
                  <a:gd name="T67" fmla="*/ 86530047 h 524"/>
                  <a:gd name="T68" fmla="*/ 41052849 w 578"/>
                  <a:gd name="T69" fmla="*/ 78288841 h 524"/>
                  <a:gd name="T70" fmla="*/ 30506916 w 578"/>
                  <a:gd name="T71" fmla="*/ 62906024 h 524"/>
                  <a:gd name="T72" fmla="*/ 23727698 w 578"/>
                  <a:gd name="T73" fmla="*/ 46149498 h 524"/>
                  <a:gd name="T74" fmla="*/ 14500115 w 578"/>
                  <a:gd name="T75" fmla="*/ 42303532 h 524"/>
                  <a:gd name="T76" fmla="*/ 9604254 w 578"/>
                  <a:gd name="T77" fmla="*/ 43127443 h 524"/>
                  <a:gd name="T78" fmla="*/ 2824602 w 578"/>
                  <a:gd name="T79" fmla="*/ 45325063 h 524"/>
                  <a:gd name="T80" fmla="*/ 565007 w 578"/>
                  <a:gd name="T81" fmla="*/ 36534583 h 524"/>
                  <a:gd name="T82" fmla="*/ 188336 w 578"/>
                  <a:gd name="T83" fmla="*/ 25547006 h 524"/>
                  <a:gd name="T84" fmla="*/ 1130014 w 578"/>
                  <a:gd name="T85" fmla="*/ 13460358 h 524"/>
                  <a:gd name="T86" fmla="*/ 8474240 w 578"/>
                  <a:gd name="T87" fmla="*/ 11262738 h 524"/>
                  <a:gd name="T88" fmla="*/ 12805528 w 578"/>
                  <a:gd name="T89" fmla="*/ 9065117 h 524"/>
                  <a:gd name="T90" fmla="*/ 15630129 w 578"/>
                  <a:gd name="T91" fmla="*/ 13185721 h 524"/>
                  <a:gd name="T92" fmla="*/ 19584746 w 578"/>
                  <a:gd name="T93" fmla="*/ 12086649 h 524"/>
                  <a:gd name="T94" fmla="*/ 28058986 w 578"/>
                  <a:gd name="T95" fmla="*/ 4395240 h 524"/>
                  <a:gd name="T96" fmla="*/ 45007465 w 578"/>
                  <a:gd name="T97" fmla="*/ 0 h 524"/>
                  <a:gd name="T98" fmla="*/ 48397074 w 578"/>
                  <a:gd name="T99" fmla="*/ 3571329 h 524"/>
                  <a:gd name="T100" fmla="*/ 62520518 w 578"/>
                  <a:gd name="T101" fmla="*/ 5219151 h 524"/>
                  <a:gd name="T102" fmla="*/ 60637595 w 578"/>
                  <a:gd name="T103" fmla="*/ 17855598 h 524"/>
                  <a:gd name="T104" fmla="*/ 61202602 w 578"/>
                  <a:gd name="T105" fmla="*/ 24722571 h 52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78" h="524">
                    <a:moveTo>
                      <a:pt x="332" y="99"/>
                    </a:moveTo>
                    <a:lnTo>
                      <a:pt x="331" y="94"/>
                    </a:lnTo>
                    <a:lnTo>
                      <a:pt x="329" y="90"/>
                    </a:lnTo>
                    <a:lnTo>
                      <a:pt x="327" y="88"/>
                    </a:lnTo>
                    <a:lnTo>
                      <a:pt x="325" y="86"/>
                    </a:lnTo>
                    <a:lnTo>
                      <a:pt x="320" y="85"/>
                    </a:lnTo>
                    <a:lnTo>
                      <a:pt x="315" y="85"/>
                    </a:lnTo>
                    <a:lnTo>
                      <a:pt x="312" y="85"/>
                    </a:lnTo>
                    <a:lnTo>
                      <a:pt x="309" y="85"/>
                    </a:lnTo>
                    <a:lnTo>
                      <a:pt x="306" y="84"/>
                    </a:lnTo>
                    <a:lnTo>
                      <a:pt x="304" y="82"/>
                    </a:lnTo>
                    <a:lnTo>
                      <a:pt x="301" y="79"/>
                    </a:lnTo>
                    <a:lnTo>
                      <a:pt x="297" y="75"/>
                    </a:lnTo>
                    <a:lnTo>
                      <a:pt x="295" y="69"/>
                    </a:lnTo>
                    <a:lnTo>
                      <a:pt x="293" y="61"/>
                    </a:lnTo>
                    <a:lnTo>
                      <a:pt x="275" y="66"/>
                    </a:lnTo>
                    <a:lnTo>
                      <a:pt x="263" y="70"/>
                    </a:lnTo>
                    <a:lnTo>
                      <a:pt x="258" y="73"/>
                    </a:lnTo>
                    <a:lnTo>
                      <a:pt x="254" y="76"/>
                    </a:lnTo>
                    <a:lnTo>
                      <a:pt x="251" y="78"/>
                    </a:lnTo>
                    <a:lnTo>
                      <a:pt x="249" y="81"/>
                    </a:lnTo>
                    <a:lnTo>
                      <a:pt x="247" y="87"/>
                    </a:lnTo>
                    <a:lnTo>
                      <a:pt x="246" y="95"/>
                    </a:lnTo>
                    <a:lnTo>
                      <a:pt x="246" y="105"/>
                    </a:lnTo>
                    <a:lnTo>
                      <a:pt x="246" y="117"/>
                    </a:lnTo>
                    <a:lnTo>
                      <a:pt x="247" y="131"/>
                    </a:lnTo>
                    <a:lnTo>
                      <a:pt x="249" y="143"/>
                    </a:lnTo>
                    <a:lnTo>
                      <a:pt x="253" y="153"/>
                    </a:lnTo>
                    <a:lnTo>
                      <a:pt x="259" y="162"/>
                    </a:lnTo>
                    <a:lnTo>
                      <a:pt x="262" y="166"/>
                    </a:lnTo>
                    <a:lnTo>
                      <a:pt x="266" y="169"/>
                    </a:lnTo>
                    <a:lnTo>
                      <a:pt x="270" y="172"/>
                    </a:lnTo>
                    <a:lnTo>
                      <a:pt x="274" y="174"/>
                    </a:lnTo>
                    <a:lnTo>
                      <a:pt x="279" y="176"/>
                    </a:lnTo>
                    <a:lnTo>
                      <a:pt x="283" y="177"/>
                    </a:lnTo>
                    <a:lnTo>
                      <a:pt x="287" y="178"/>
                    </a:lnTo>
                    <a:lnTo>
                      <a:pt x="293" y="178"/>
                    </a:lnTo>
                    <a:lnTo>
                      <a:pt x="293" y="182"/>
                    </a:lnTo>
                    <a:lnTo>
                      <a:pt x="295" y="187"/>
                    </a:lnTo>
                    <a:lnTo>
                      <a:pt x="298" y="191"/>
                    </a:lnTo>
                    <a:lnTo>
                      <a:pt x="303" y="195"/>
                    </a:lnTo>
                    <a:lnTo>
                      <a:pt x="314" y="203"/>
                    </a:lnTo>
                    <a:lnTo>
                      <a:pt x="327" y="211"/>
                    </a:lnTo>
                    <a:lnTo>
                      <a:pt x="351" y="225"/>
                    </a:lnTo>
                    <a:lnTo>
                      <a:pt x="365" y="234"/>
                    </a:lnTo>
                    <a:lnTo>
                      <a:pt x="439" y="296"/>
                    </a:lnTo>
                    <a:lnTo>
                      <a:pt x="443" y="303"/>
                    </a:lnTo>
                    <a:lnTo>
                      <a:pt x="449" y="309"/>
                    </a:lnTo>
                    <a:lnTo>
                      <a:pt x="454" y="314"/>
                    </a:lnTo>
                    <a:lnTo>
                      <a:pt x="461" y="318"/>
                    </a:lnTo>
                    <a:lnTo>
                      <a:pt x="469" y="320"/>
                    </a:lnTo>
                    <a:lnTo>
                      <a:pt x="477" y="322"/>
                    </a:lnTo>
                    <a:lnTo>
                      <a:pt x="487" y="322"/>
                    </a:lnTo>
                    <a:lnTo>
                      <a:pt x="498" y="321"/>
                    </a:lnTo>
                    <a:lnTo>
                      <a:pt x="500" y="324"/>
                    </a:lnTo>
                    <a:lnTo>
                      <a:pt x="504" y="328"/>
                    </a:lnTo>
                    <a:lnTo>
                      <a:pt x="507" y="332"/>
                    </a:lnTo>
                    <a:lnTo>
                      <a:pt x="511" y="337"/>
                    </a:lnTo>
                    <a:lnTo>
                      <a:pt x="523" y="346"/>
                    </a:lnTo>
                    <a:lnTo>
                      <a:pt x="536" y="356"/>
                    </a:lnTo>
                    <a:lnTo>
                      <a:pt x="549" y="364"/>
                    </a:lnTo>
                    <a:lnTo>
                      <a:pt x="561" y="370"/>
                    </a:lnTo>
                    <a:lnTo>
                      <a:pt x="571" y="374"/>
                    </a:lnTo>
                    <a:lnTo>
                      <a:pt x="578" y="376"/>
                    </a:lnTo>
                    <a:lnTo>
                      <a:pt x="577" y="383"/>
                    </a:lnTo>
                    <a:lnTo>
                      <a:pt x="574" y="391"/>
                    </a:lnTo>
                    <a:lnTo>
                      <a:pt x="570" y="400"/>
                    </a:lnTo>
                    <a:lnTo>
                      <a:pt x="565" y="407"/>
                    </a:lnTo>
                    <a:lnTo>
                      <a:pt x="552" y="388"/>
                    </a:lnTo>
                    <a:lnTo>
                      <a:pt x="541" y="387"/>
                    </a:lnTo>
                    <a:lnTo>
                      <a:pt x="530" y="384"/>
                    </a:lnTo>
                    <a:lnTo>
                      <a:pt x="526" y="383"/>
                    </a:lnTo>
                    <a:lnTo>
                      <a:pt x="521" y="381"/>
                    </a:lnTo>
                    <a:lnTo>
                      <a:pt x="519" y="378"/>
                    </a:lnTo>
                    <a:lnTo>
                      <a:pt x="518" y="376"/>
                    </a:lnTo>
                    <a:lnTo>
                      <a:pt x="508" y="376"/>
                    </a:lnTo>
                    <a:lnTo>
                      <a:pt x="498" y="376"/>
                    </a:lnTo>
                    <a:lnTo>
                      <a:pt x="498" y="382"/>
                    </a:lnTo>
                    <a:lnTo>
                      <a:pt x="498" y="389"/>
                    </a:lnTo>
                    <a:lnTo>
                      <a:pt x="498" y="397"/>
                    </a:lnTo>
                    <a:lnTo>
                      <a:pt x="498" y="407"/>
                    </a:lnTo>
                    <a:lnTo>
                      <a:pt x="499" y="414"/>
                    </a:lnTo>
                    <a:lnTo>
                      <a:pt x="504" y="422"/>
                    </a:lnTo>
                    <a:lnTo>
                      <a:pt x="506" y="426"/>
                    </a:lnTo>
                    <a:lnTo>
                      <a:pt x="509" y="429"/>
                    </a:lnTo>
                    <a:lnTo>
                      <a:pt x="514" y="431"/>
                    </a:lnTo>
                    <a:lnTo>
                      <a:pt x="518" y="432"/>
                    </a:lnTo>
                    <a:lnTo>
                      <a:pt x="514" y="442"/>
                    </a:lnTo>
                    <a:lnTo>
                      <a:pt x="508" y="454"/>
                    </a:lnTo>
                    <a:lnTo>
                      <a:pt x="506" y="460"/>
                    </a:lnTo>
                    <a:lnTo>
                      <a:pt x="504" y="465"/>
                    </a:lnTo>
                    <a:lnTo>
                      <a:pt x="500" y="468"/>
                    </a:lnTo>
                    <a:lnTo>
                      <a:pt x="498" y="469"/>
                    </a:lnTo>
                    <a:lnTo>
                      <a:pt x="493" y="485"/>
                    </a:lnTo>
                    <a:lnTo>
                      <a:pt x="486" y="498"/>
                    </a:lnTo>
                    <a:lnTo>
                      <a:pt x="483" y="505"/>
                    </a:lnTo>
                    <a:lnTo>
                      <a:pt x="481" y="511"/>
                    </a:lnTo>
                    <a:lnTo>
                      <a:pt x="480" y="518"/>
                    </a:lnTo>
                    <a:lnTo>
                      <a:pt x="478" y="524"/>
                    </a:lnTo>
                    <a:lnTo>
                      <a:pt x="465" y="522"/>
                    </a:lnTo>
                    <a:lnTo>
                      <a:pt x="450" y="518"/>
                    </a:lnTo>
                    <a:lnTo>
                      <a:pt x="438" y="513"/>
                    </a:lnTo>
                    <a:lnTo>
                      <a:pt x="432" y="511"/>
                    </a:lnTo>
                    <a:lnTo>
                      <a:pt x="436" y="505"/>
                    </a:lnTo>
                    <a:lnTo>
                      <a:pt x="440" y="499"/>
                    </a:lnTo>
                    <a:lnTo>
                      <a:pt x="445" y="494"/>
                    </a:lnTo>
                    <a:lnTo>
                      <a:pt x="451" y="489"/>
                    </a:lnTo>
                    <a:lnTo>
                      <a:pt x="456" y="484"/>
                    </a:lnTo>
                    <a:lnTo>
                      <a:pt x="461" y="478"/>
                    </a:lnTo>
                    <a:lnTo>
                      <a:pt x="463" y="475"/>
                    </a:lnTo>
                    <a:lnTo>
                      <a:pt x="464" y="471"/>
                    </a:lnTo>
                    <a:lnTo>
                      <a:pt x="465" y="467"/>
                    </a:lnTo>
                    <a:lnTo>
                      <a:pt x="465" y="463"/>
                    </a:lnTo>
                    <a:lnTo>
                      <a:pt x="464" y="455"/>
                    </a:lnTo>
                    <a:lnTo>
                      <a:pt x="463" y="448"/>
                    </a:lnTo>
                    <a:lnTo>
                      <a:pt x="461" y="441"/>
                    </a:lnTo>
                    <a:lnTo>
                      <a:pt x="458" y="434"/>
                    </a:lnTo>
                    <a:lnTo>
                      <a:pt x="449" y="420"/>
                    </a:lnTo>
                    <a:lnTo>
                      <a:pt x="439" y="407"/>
                    </a:lnTo>
                    <a:lnTo>
                      <a:pt x="427" y="395"/>
                    </a:lnTo>
                    <a:lnTo>
                      <a:pt x="415" y="384"/>
                    </a:lnTo>
                    <a:lnTo>
                      <a:pt x="403" y="376"/>
                    </a:lnTo>
                    <a:lnTo>
                      <a:pt x="392" y="370"/>
                    </a:lnTo>
                    <a:lnTo>
                      <a:pt x="385" y="369"/>
                    </a:lnTo>
                    <a:lnTo>
                      <a:pt x="378" y="367"/>
                    </a:lnTo>
                    <a:lnTo>
                      <a:pt x="372" y="364"/>
                    </a:lnTo>
                    <a:lnTo>
                      <a:pt x="366" y="362"/>
                    </a:lnTo>
                    <a:lnTo>
                      <a:pt x="355" y="356"/>
                    </a:lnTo>
                    <a:lnTo>
                      <a:pt x="348" y="349"/>
                    </a:lnTo>
                    <a:lnTo>
                      <a:pt x="336" y="338"/>
                    </a:lnTo>
                    <a:lnTo>
                      <a:pt x="332" y="333"/>
                    </a:lnTo>
                    <a:lnTo>
                      <a:pt x="318" y="330"/>
                    </a:lnTo>
                    <a:lnTo>
                      <a:pt x="305" y="327"/>
                    </a:lnTo>
                    <a:lnTo>
                      <a:pt x="292" y="323"/>
                    </a:lnTo>
                    <a:lnTo>
                      <a:pt x="280" y="319"/>
                    </a:lnTo>
                    <a:lnTo>
                      <a:pt x="268" y="315"/>
                    </a:lnTo>
                    <a:lnTo>
                      <a:pt x="257" y="310"/>
                    </a:lnTo>
                    <a:lnTo>
                      <a:pt x="247" y="304"/>
                    </a:lnTo>
                    <a:lnTo>
                      <a:pt x="237" y="299"/>
                    </a:lnTo>
                    <a:lnTo>
                      <a:pt x="218" y="285"/>
                    </a:lnTo>
                    <a:lnTo>
                      <a:pt x="202" y="272"/>
                    </a:lnTo>
                    <a:lnTo>
                      <a:pt x="186" y="258"/>
                    </a:lnTo>
                    <a:lnTo>
                      <a:pt x="173" y="244"/>
                    </a:lnTo>
                    <a:lnTo>
                      <a:pt x="162" y="229"/>
                    </a:lnTo>
                    <a:lnTo>
                      <a:pt x="152" y="215"/>
                    </a:lnTo>
                    <a:lnTo>
                      <a:pt x="144" y="202"/>
                    </a:lnTo>
                    <a:lnTo>
                      <a:pt x="137" y="189"/>
                    </a:lnTo>
                    <a:lnTo>
                      <a:pt x="126" y="168"/>
                    </a:lnTo>
                    <a:lnTo>
                      <a:pt x="119" y="154"/>
                    </a:lnTo>
                    <a:lnTo>
                      <a:pt x="102" y="154"/>
                    </a:lnTo>
                    <a:lnTo>
                      <a:pt x="89" y="154"/>
                    </a:lnTo>
                    <a:lnTo>
                      <a:pt x="77" y="154"/>
                    </a:lnTo>
                    <a:lnTo>
                      <a:pt x="67" y="154"/>
                    </a:lnTo>
                    <a:lnTo>
                      <a:pt x="61" y="155"/>
                    </a:lnTo>
                    <a:lnTo>
                      <a:pt x="57" y="155"/>
                    </a:lnTo>
                    <a:lnTo>
                      <a:pt x="51" y="157"/>
                    </a:lnTo>
                    <a:lnTo>
                      <a:pt x="46" y="159"/>
                    </a:lnTo>
                    <a:lnTo>
                      <a:pt x="34" y="164"/>
                    </a:lnTo>
                    <a:lnTo>
                      <a:pt x="21" y="172"/>
                    </a:lnTo>
                    <a:lnTo>
                      <a:pt x="15" y="165"/>
                    </a:lnTo>
                    <a:lnTo>
                      <a:pt x="12" y="158"/>
                    </a:lnTo>
                    <a:lnTo>
                      <a:pt x="7" y="150"/>
                    </a:lnTo>
                    <a:lnTo>
                      <a:pt x="5" y="141"/>
                    </a:lnTo>
                    <a:lnTo>
                      <a:pt x="3" y="133"/>
                    </a:lnTo>
                    <a:lnTo>
                      <a:pt x="1" y="123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1" y="93"/>
                    </a:lnTo>
                    <a:lnTo>
                      <a:pt x="3" y="83"/>
                    </a:lnTo>
                    <a:lnTo>
                      <a:pt x="5" y="71"/>
                    </a:lnTo>
                    <a:lnTo>
                      <a:pt x="6" y="55"/>
                    </a:lnTo>
                    <a:lnTo>
                      <a:pt x="6" y="49"/>
                    </a:lnTo>
                    <a:lnTo>
                      <a:pt x="27" y="49"/>
                    </a:lnTo>
                    <a:lnTo>
                      <a:pt x="34" y="47"/>
                    </a:lnTo>
                    <a:lnTo>
                      <a:pt x="39" y="44"/>
                    </a:lnTo>
                    <a:lnTo>
                      <a:pt x="45" y="41"/>
                    </a:lnTo>
                    <a:lnTo>
                      <a:pt x="49" y="37"/>
                    </a:lnTo>
                    <a:lnTo>
                      <a:pt x="58" y="31"/>
                    </a:lnTo>
                    <a:lnTo>
                      <a:pt x="67" y="25"/>
                    </a:lnTo>
                    <a:lnTo>
                      <a:pt x="68" y="33"/>
                    </a:lnTo>
                    <a:lnTo>
                      <a:pt x="70" y="39"/>
                    </a:lnTo>
                    <a:lnTo>
                      <a:pt x="73" y="44"/>
                    </a:lnTo>
                    <a:lnTo>
                      <a:pt x="78" y="46"/>
                    </a:lnTo>
                    <a:lnTo>
                      <a:pt x="83" y="48"/>
                    </a:lnTo>
                    <a:lnTo>
                      <a:pt x="89" y="49"/>
                    </a:lnTo>
                    <a:lnTo>
                      <a:pt x="94" y="49"/>
                    </a:lnTo>
                    <a:lnTo>
                      <a:pt x="100" y="49"/>
                    </a:lnTo>
                    <a:lnTo>
                      <a:pt x="104" y="44"/>
                    </a:lnTo>
                    <a:lnTo>
                      <a:pt x="113" y="38"/>
                    </a:lnTo>
                    <a:lnTo>
                      <a:pt x="124" y="31"/>
                    </a:lnTo>
                    <a:lnTo>
                      <a:pt x="136" y="24"/>
                    </a:lnTo>
                    <a:lnTo>
                      <a:pt x="149" y="16"/>
                    </a:lnTo>
                    <a:lnTo>
                      <a:pt x="160" y="11"/>
                    </a:lnTo>
                    <a:lnTo>
                      <a:pt x="168" y="7"/>
                    </a:lnTo>
                    <a:lnTo>
                      <a:pt x="173" y="6"/>
                    </a:lnTo>
                    <a:lnTo>
                      <a:pt x="239" y="0"/>
                    </a:lnTo>
                    <a:lnTo>
                      <a:pt x="243" y="4"/>
                    </a:lnTo>
                    <a:lnTo>
                      <a:pt x="248" y="8"/>
                    </a:lnTo>
                    <a:lnTo>
                      <a:pt x="252" y="11"/>
                    </a:lnTo>
                    <a:lnTo>
                      <a:pt x="257" y="13"/>
                    </a:lnTo>
                    <a:lnTo>
                      <a:pt x="266" y="16"/>
                    </a:lnTo>
                    <a:lnTo>
                      <a:pt x="279" y="19"/>
                    </a:lnTo>
                    <a:lnTo>
                      <a:pt x="304" y="20"/>
                    </a:lnTo>
                    <a:lnTo>
                      <a:pt x="332" y="19"/>
                    </a:lnTo>
                    <a:lnTo>
                      <a:pt x="331" y="34"/>
                    </a:lnTo>
                    <a:lnTo>
                      <a:pt x="329" y="46"/>
                    </a:lnTo>
                    <a:lnTo>
                      <a:pt x="325" y="56"/>
                    </a:lnTo>
                    <a:lnTo>
                      <a:pt x="322" y="65"/>
                    </a:lnTo>
                    <a:lnTo>
                      <a:pt x="320" y="74"/>
                    </a:lnTo>
                    <a:lnTo>
                      <a:pt x="321" y="82"/>
                    </a:lnTo>
                    <a:lnTo>
                      <a:pt x="322" y="86"/>
                    </a:lnTo>
                    <a:lnTo>
                      <a:pt x="325" y="90"/>
                    </a:lnTo>
                    <a:lnTo>
                      <a:pt x="328" y="94"/>
                    </a:lnTo>
                    <a:lnTo>
                      <a:pt x="332" y="9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77" name="Freeform 18">
                <a:extLst>
                  <a:ext uri="{FF2B5EF4-FFF2-40B4-BE49-F238E27FC236}">
                    <a16:creationId xmlns:a16="http://schemas.microsoft.com/office/drawing/2014/main" id="{CDB32B92-AF46-466F-9CAC-F9DDFE714A90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228694" y="3032160"/>
                <a:ext cx="39816" cy="93172"/>
              </a:xfrm>
              <a:custGeom>
                <a:avLst/>
                <a:gdLst>
                  <a:gd name="T0" fmla="*/ 0 w 79"/>
                  <a:gd name="T1" fmla="*/ 9849247 h 160"/>
                  <a:gd name="T2" fmla="*/ 1068504 w 79"/>
                  <a:gd name="T3" fmla="*/ 9849247 h 160"/>
                  <a:gd name="T4" fmla="*/ 1958924 w 79"/>
                  <a:gd name="T5" fmla="*/ 9583023 h 160"/>
                  <a:gd name="T6" fmla="*/ 2849344 w 79"/>
                  <a:gd name="T7" fmla="*/ 9316799 h 160"/>
                  <a:gd name="T8" fmla="*/ 3383596 w 79"/>
                  <a:gd name="T9" fmla="*/ 8784352 h 160"/>
                  <a:gd name="T10" fmla="*/ 4630184 w 79"/>
                  <a:gd name="T11" fmla="*/ 7453233 h 160"/>
                  <a:gd name="T12" fmla="*/ 5520604 w 79"/>
                  <a:gd name="T13" fmla="*/ 5856407 h 160"/>
                  <a:gd name="T14" fmla="*/ 6589108 w 79"/>
                  <a:gd name="T15" fmla="*/ 4259064 h 160"/>
                  <a:gd name="T16" fmla="*/ 7301444 w 79"/>
                  <a:gd name="T17" fmla="*/ 2661722 h 160"/>
                  <a:gd name="T18" fmla="*/ 8191864 w 79"/>
                  <a:gd name="T19" fmla="*/ 1331119 h 160"/>
                  <a:gd name="T20" fmla="*/ 9438452 w 79"/>
                  <a:gd name="T21" fmla="*/ 0 h 160"/>
                  <a:gd name="T22" fmla="*/ 10150788 w 79"/>
                  <a:gd name="T23" fmla="*/ 798671 h 160"/>
                  <a:gd name="T24" fmla="*/ 11041208 w 79"/>
                  <a:gd name="T25" fmla="*/ 1863566 h 160"/>
                  <a:gd name="T26" fmla="*/ 11397376 w 79"/>
                  <a:gd name="T27" fmla="*/ 2661722 h 160"/>
                  <a:gd name="T28" fmla="*/ 11753544 w 79"/>
                  <a:gd name="T29" fmla="*/ 3726617 h 160"/>
                  <a:gd name="T30" fmla="*/ 12287796 w 79"/>
                  <a:gd name="T31" fmla="*/ 5856407 h 160"/>
                  <a:gd name="T32" fmla="*/ 12822048 w 79"/>
                  <a:gd name="T33" fmla="*/ 8518128 h 160"/>
                  <a:gd name="T34" fmla="*/ 13000132 w 79"/>
                  <a:gd name="T35" fmla="*/ 10647918 h 160"/>
                  <a:gd name="T36" fmla="*/ 13178216 w 79"/>
                  <a:gd name="T37" fmla="*/ 13043416 h 160"/>
                  <a:gd name="T38" fmla="*/ 13534384 w 79"/>
                  <a:gd name="T39" fmla="*/ 15438914 h 160"/>
                  <a:gd name="T40" fmla="*/ 14068636 w 79"/>
                  <a:gd name="T41" fmla="*/ 17834928 h 160"/>
                  <a:gd name="T42" fmla="*/ 14068636 w 79"/>
                  <a:gd name="T43" fmla="*/ 26086832 h 160"/>
                  <a:gd name="T44" fmla="*/ 12109712 w 79"/>
                  <a:gd name="T45" fmla="*/ 30612120 h 160"/>
                  <a:gd name="T46" fmla="*/ 10506956 w 79"/>
                  <a:gd name="T47" fmla="*/ 34338736 h 160"/>
                  <a:gd name="T48" fmla="*/ 9438452 w 79"/>
                  <a:gd name="T49" fmla="*/ 36202303 h 160"/>
                  <a:gd name="T50" fmla="*/ 8904200 w 79"/>
                  <a:gd name="T51" fmla="*/ 38331577 h 160"/>
                  <a:gd name="T52" fmla="*/ 8548032 w 79"/>
                  <a:gd name="T53" fmla="*/ 40195143 h 160"/>
                  <a:gd name="T54" fmla="*/ 8191864 w 79"/>
                  <a:gd name="T55" fmla="*/ 42590641 h 160"/>
                  <a:gd name="T56" fmla="*/ 7123360 w 79"/>
                  <a:gd name="T57" fmla="*/ 41259522 h 160"/>
                  <a:gd name="T58" fmla="*/ 5876772 w 79"/>
                  <a:gd name="T59" fmla="*/ 39928919 h 160"/>
                  <a:gd name="T60" fmla="*/ 4986352 w 79"/>
                  <a:gd name="T61" fmla="*/ 38331577 h 160"/>
                  <a:gd name="T62" fmla="*/ 3917848 w 79"/>
                  <a:gd name="T63" fmla="*/ 36468010 h 160"/>
                  <a:gd name="T64" fmla="*/ 3205512 w 79"/>
                  <a:gd name="T65" fmla="*/ 34604960 h 160"/>
                  <a:gd name="T66" fmla="*/ 2671260 w 79"/>
                  <a:gd name="T67" fmla="*/ 32741394 h 160"/>
                  <a:gd name="T68" fmla="*/ 1958924 w 79"/>
                  <a:gd name="T69" fmla="*/ 30612120 h 160"/>
                  <a:gd name="T70" fmla="*/ 1424672 w 79"/>
                  <a:gd name="T71" fmla="*/ 28748553 h 160"/>
                  <a:gd name="T72" fmla="*/ 712336 w 79"/>
                  <a:gd name="T73" fmla="*/ 24223266 h 160"/>
                  <a:gd name="T74" fmla="*/ 178084 w 79"/>
                  <a:gd name="T75" fmla="*/ 19431754 h 160"/>
                  <a:gd name="T76" fmla="*/ 0 w 79"/>
                  <a:gd name="T77" fmla="*/ 14640758 h 160"/>
                  <a:gd name="T78" fmla="*/ 0 w 79"/>
                  <a:gd name="T79" fmla="*/ 9849247 h 16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79" h="160">
                    <a:moveTo>
                      <a:pt x="0" y="37"/>
                    </a:moveTo>
                    <a:lnTo>
                      <a:pt x="6" y="37"/>
                    </a:lnTo>
                    <a:lnTo>
                      <a:pt x="11" y="36"/>
                    </a:lnTo>
                    <a:lnTo>
                      <a:pt x="16" y="35"/>
                    </a:lnTo>
                    <a:lnTo>
                      <a:pt x="19" y="33"/>
                    </a:lnTo>
                    <a:lnTo>
                      <a:pt x="26" y="28"/>
                    </a:lnTo>
                    <a:lnTo>
                      <a:pt x="31" y="22"/>
                    </a:lnTo>
                    <a:lnTo>
                      <a:pt x="37" y="16"/>
                    </a:lnTo>
                    <a:lnTo>
                      <a:pt x="41" y="10"/>
                    </a:lnTo>
                    <a:lnTo>
                      <a:pt x="46" y="5"/>
                    </a:lnTo>
                    <a:lnTo>
                      <a:pt x="53" y="0"/>
                    </a:lnTo>
                    <a:lnTo>
                      <a:pt x="57" y="3"/>
                    </a:lnTo>
                    <a:lnTo>
                      <a:pt x="62" y="7"/>
                    </a:lnTo>
                    <a:lnTo>
                      <a:pt x="64" y="10"/>
                    </a:lnTo>
                    <a:lnTo>
                      <a:pt x="66" y="14"/>
                    </a:lnTo>
                    <a:lnTo>
                      <a:pt x="69" y="22"/>
                    </a:lnTo>
                    <a:lnTo>
                      <a:pt x="72" y="32"/>
                    </a:lnTo>
                    <a:lnTo>
                      <a:pt x="73" y="40"/>
                    </a:lnTo>
                    <a:lnTo>
                      <a:pt x="74" y="49"/>
                    </a:lnTo>
                    <a:lnTo>
                      <a:pt x="76" y="58"/>
                    </a:lnTo>
                    <a:lnTo>
                      <a:pt x="79" y="67"/>
                    </a:lnTo>
                    <a:lnTo>
                      <a:pt x="79" y="98"/>
                    </a:lnTo>
                    <a:lnTo>
                      <a:pt x="68" y="115"/>
                    </a:lnTo>
                    <a:lnTo>
                      <a:pt x="59" y="129"/>
                    </a:lnTo>
                    <a:lnTo>
                      <a:pt x="53" y="136"/>
                    </a:lnTo>
                    <a:lnTo>
                      <a:pt x="50" y="144"/>
                    </a:lnTo>
                    <a:lnTo>
                      <a:pt x="48" y="151"/>
                    </a:lnTo>
                    <a:lnTo>
                      <a:pt x="46" y="160"/>
                    </a:lnTo>
                    <a:lnTo>
                      <a:pt x="40" y="155"/>
                    </a:lnTo>
                    <a:lnTo>
                      <a:pt x="33" y="150"/>
                    </a:lnTo>
                    <a:lnTo>
                      <a:pt x="28" y="144"/>
                    </a:lnTo>
                    <a:lnTo>
                      <a:pt x="22" y="137"/>
                    </a:lnTo>
                    <a:lnTo>
                      <a:pt x="18" y="130"/>
                    </a:lnTo>
                    <a:lnTo>
                      <a:pt x="15" y="123"/>
                    </a:lnTo>
                    <a:lnTo>
                      <a:pt x="11" y="115"/>
                    </a:lnTo>
                    <a:lnTo>
                      <a:pt x="8" y="108"/>
                    </a:lnTo>
                    <a:lnTo>
                      <a:pt x="4" y="91"/>
                    </a:lnTo>
                    <a:lnTo>
                      <a:pt x="1" y="73"/>
                    </a:lnTo>
                    <a:lnTo>
                      <a:pt x="0" y="55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578" name="Group 19">
                <a:extLst>
                  <a:ext uri="{FF2B5EF4-FFF2-40B4-BE49-F238E27FC236}">
                    <a16:creationId xmlns:a16="http://schemas.microsoft.com/office/drawing/2014/main" id="{A3A439E7-18BD-43B6-A4F4-897F3E9C2043}"/>
                  </a:ext>
                </a:extLst>
              </p:cNvPr>
              <p:cNvGrpSpPr>
                <a:grpSpLocks/>
              </p:cNvGrpSpPr>
              <p:nvPr>
                <p:custDataLst>
                  <p:tags r:id="rId16"/>
                </p:custDataLst>
              </p:nvPr>
            </p:nvGrpSpPr>
            <p:grpSpPr bwMode="auto">
              <a:xfrm>
                <a:off x="7024628" y="4224658"/>
                <a:ext cx="570444" cy="239171"/>
                <a:chOff x="4488" y="2394"/>
                <a:chExt cx="358" cy="124"/>
              </a:xfrm>
            </p:grpSpPr>
            <p:sp>
              <p:nvSpPr>
                <p:cNvPr id="1110" name="Freeform 20">
                  <a:extLst>
                    <a:ext uri="{FF2B5EF4-FFF2-40B4-BE49-F238E27FC236}">
                      <a16:creationId xmlns:a16="http://schemas.microsoft.com/office/drawing/2014/main" id="{99BC6246-5B5B-4E6A-A7AD-F909BA94B4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676" y="2394"/>
                  <a:ext cx="170" cy="124"/>
                </a:xfrm>
                <a:custGeom>
                  <a:avLst/>
                  <a:gdLst>
                    <a:gd name="T0" fmla="*/ 47 w 512"/>
                    <a:gd name="T1" fmla="*/ 18 h 408"/>
                    <a:gd name="T2" fmla="*/ 43 w 512"/>
                    <a:gd name="T3" fmla="*/ 18 h 408"/>
                    <a:gd name="T4" fmla="*/ 41 w 512"/>
                    <a:gd name="T5" fmla="*/ 19 h 408"/>
                    <a:gd name="T6" fmla="*/ 39 w 512"/>
                    <a:gd name="T7" fmla="*/ 20 h 408"/>
                    <a:gd name="T8" fmla="*/ 39 w 512"/>
                    <a:gd name="T9" fmla="*/ 23 h 408"/>
                    <a:gd name="T10" fmla="*/ 36 w 512"/>
                    <a:gd name="T11" fmla="*/ 28 h 408"/>
                    <a:gd name="T12" fmla="*/ 34 w 512"/>
                    <a:gd name="T13" fmla="*/ 31 h 408"/>
                    <a:gd name="T14" fmla="*/ 32 w 512"/>
                    <a:gd name="T15" fmla="*/ 32 h 408"/>
                    <a:gd name="T16" fmla="*/ 30 w 512"/>
                    <a:gd name="T17" fmla="*/ 33 h 408"/>
                    <a:gd name="T18" fmla="*/ 29 w 512"/>
                    <a:gd name="T19" fmla="*/ 34 h 408"/>
                    <a:gd name="T20" fmla="*/ 28 w 512"/>
                    <a:gd name="T21" fmla="*/ 35 h 408"/>
                    <a:gd name="T22" fmla="*/ 24 w 512"/>
                    <a:gd name="T23" fmla="*/ 34 h 408"/>
                    <a:gd name="T24" fmla="*/ 20 w 512"/>
                    <a:gd name="T25" fmla="*/ 34 h 408"/>
                    <a:gd name="T26" fmla="*/ 17 w 512"/>
                    <a:gd name="T27" fmla="*/ 34 h 408"/>
                    <a:gd name="T28" fmla="*/ 15 w 512"/>
                    <a:gd name="T29" fmla="*/ 36 h 408"/>
                    <a:gd name="T30" fmla="*/ 11 w 512"/>
                    <a:gd name="T31" fmla="*/ 37 h 408"/>
                    <a:gd name="T32" fmla="*/ 7 w 512"/>
                    <a:gd name="T33" fmla="*/ 38 h 408"/>
                    <a:gd name="T34" fmla="*/ 5 w 512"/>
                    <a:gd name="T35" fmla="*/ 37 h 408"/>
                    <a:gd name="T36" fmla="*/ 2 w 512"/>
                    <a:gd name="T37" fmla="*/ 34 h 408"/>
                    <a:gd name="T38" fmla="*/ 0 w 512"/>
                    <a:gd name="T39" fmla="*/ 32 h 408"/>
                    <a:gd name="T40" fmla="*/ 1 w 512"/>
                    <a:gd name="T41" fmla="*/ 31 h 408"/>
                    <a:gd name="T42" fmla="*/ 4 w 512"/>
                    <a:gd name="T43" fmla="*/ 32 h 408"/>
                    <a:gd name="T44" fmla="*/ 6 w 512"/>
                    <a:gd name="T45" fmla="*/ 31 h 408"/>
                    <a:gd name="T46" fmla="*/ 6 w 512"/>
                    <a:gd name="T47" fmla="*/ 29 h 408"/>
                    <a:gd name="T48" fmla="*/ 8 w 512"/>
                    <a:gd name="T49" fmla="*/ 28 h 408"/>
                    <a:gd name="T50" fmla="*/ 9 w 512"/>
                    <a:gd name="T51" fmla="*/ 26 h 408"/>
                    <a:gd name="T52" fmla="*/ 10 w 512"/>
                    <a:gd name="T53" fmla="*/ 25 h 408"/>
                    <a:gd name="T54" fmla="*/ 11 w 512"/>
                    <a:gd name="T55" fmla="*/ 24 h 408"/>
                    <a:gd name="T56" fmla="*/ 15 w 512"/>
                    <a:gd name="T57" fmla="*/ 23 h 408"/>
                    <a:gd name="T58" fmla="*/ 19 w 512"/>
                    <a:gd name="T59" fmla="*/ 22 h 408"/>
                    <a:gd name="T60" fmla="*/ 22 w 512"/>
                    <a:gd name="T61" fmla="*/ 20 h 408"/>
                    <a:gd name="T62" fmla="*/ 24 w 512"/>
                    <a:gd name="T63" fmla="*/ 19 h 408"/>
                    <a:gd name="T64" fmla="*/ 24 w 512"/>
                    <a:gd name="T65" fmla="*/ 18 h 408"/>
                    <a:gd name="T66" fmla="*/ 25 w 512"/>
                    <a:gd name="T67" fmla="*/ 15 h 408"/>
                    <a:gd name="T68" fmla="*/ 25 w 512"/>
                    <a:gd name="T69" fmla="*/ 14 h 408"/>
                    <a:gd name="T70" fmla="*/ 26 w 512"/>
                    <a:gd name="T71" fmla="*/ 14 h 408"/>
                    <a:gd name="T72" fmla="*/ 27 w 512"/>
                    <a:gd name="T73" fmla="*/ 13 h 408"/>
                    <a:gd name="T74" fmla="*/ 26 w 512"/>
                    <a:gd name="T75" fmla="*/ 14 h 408"/>
                    <a:gd name="T76" fmla="*/ 27 w 512"/>
                    <a:gd name="T77" fmla="*/ 16 h 408"/>
                    <a:gd name="T78" fmla="*/ 28 w 512"/>
                    <a:gd name="T79" fmla="*/ 18 h 408"/>
                    <a:gd name="T80" fmla="*/ 30 w 512"/>
                    <a:gd name="T81" fmla="*/ 19 h 408"/>
                    <a:gd name="T82" fmla="*/ 34 w 512"/>
                    <a:gd name="T83" fmla="*/ 19 h 408"/>
                    <a:gd name="T84" fmla="*/ 36 w 512"/>
                    <a:gd name="T85" fmla="*/ 19 h 408"/>
                    <a:gd name="T86" fmla="*/ 36 w 512"/>
                    <a:gd name="T87" fmla="*/ 18 h 408"/>
                    <a:gd name="T88" fmla="*/ 36 w 512"/>
                    <a:gd name="T89" fmla="*/ 16 h 408"/>
                    <a:gd name="T90" fmla="*/ 33 w 512"/>
                    <a:gd name="T91" fmla="*/ 12 h 408"/>
                    <a:gd name="T92" fmla="*/ 36 w 512"/>
                    <a:gd name="T93" fmla="*/ 10 h 408"/>
                    <a:gd name="T94" fmla="*/ 38 w 512"/>
                    <a:gd name="T95" fmla="*/ 6 h 408"/>
                    <a:gd name="T96" fmla="*/ 42 w 512"/>
                    <a:gd name="T97" fmla="*/ 2 h 408"/>
                    <a:gd name="T98" fmla="*/ 44 w 512"/>
                    <a:gd name="T99" fmla="*/ 0 h 408"/>
                    <a:gd name="T100" fmla="*/ 45 w 512"/>
                    <a:gd name="T101" fmla="*/ 2 h 408"/>
                    <a:gd name="T102" fmla="*/ 46 w 512"/>
                    <a:gd name="T103" fmla="*/ 5 h 408"/>
                    <a:gd name="T104" fmla="*/ 49 w 512"/>
                    <a:gd name="T105" fmla="*/ 7 h 408"/>
                    <a:gd name="T106" fmla="*/ 54 w 512"/>
                    <a:gd name="T107" fmla="*/ 10 h 408"/>
                    <a:gd name="T108" fmla="*/ 57 w 512"/>
                    <a:gd name="T109" fmla="*/ 12 h 408"/>
                    <a:gd name="T110" fmla="*/ 56 w 512"/>
                    <a:gd name="T111" fmla="*/ 14 h 408"/>
                    <a:gd name="T112" fmla="*/ 53 w 512"/>
                    <a:gd name="T113" fmla="*/ 14 h 408"/>
                    <a:gd name="T114" fmla="*/ 51 w 512"/>
                    <a:gd name="T115" fmla="*/ 17 h 40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0" t="0" r="r" b="b"/>
                  <a:pathLst>
                    <a:path w="512" h="408">
                      <a:moveTo>
                        <a:pt x="452" y="204"/>
                      </a:moveTo>
                      <a:lnTo>
                        <a:pt x="442" y="202"/>
                      </a:lnTo>
                      <a:lnTo>
                        <a:pt x="424" y="198"/>
                      </a:lnTo>
                      <a:lnTo>
                        <a:pt x="407" y="194"/>
                      </a:lnTo>
                      <a:lnTo>
                        <a:pt x="392" y="192"/>
                      </a:lnTo>
                      <a:lnTo>
                        <a:pt x="387" y="193"/>
                      </a:lnTo>
                      <a:lnTo>
                        <a:pt x="380" y="195"/>
                      </a:lnTo>
                      <a:lnTo>
                        <a:pt x="374" y="198"/>
                      </a:lnTo>
                      <a:lnTo>
                        <a:pt x="367" y="203"/>
                      </a:lnTo>
                      <a:lnTo>
                        <a:pt x="362" y="207"/>
                      </a:lnTo>
                      <a:lnTo>
                        <a:pt x="356" y="212"/>
                      </a:lnTo>
                      <a:lnTo>
                        <a:pt x="354" y="217"/>
                      </a:lnTo>
                      <a:lnTo>
                        <a:pt x="353" y="222"/>
                      </a:lnTo>
                      <a:lnTo>
                        <a:pt x="351" y="238"/>
                      </a:lnTo>
                      <a:lnTo>
                        <a:pt x="347" y="254"/>
                      </a:lnTo>
                      <a:lnTo>
                        <a:pt x="342" y="271"/>
                      </a:lnTo>
                      <a:lnTo>
                        <a:pt x="335" y="289"/>
                      </a:lnTo>
                      <a:lnTo>
                        <a:pt x="327" y="306"/>
                      </a:lnTo>
                      <a:lnTo>
                        <a:pt x="316" y="321"/>
                      </a:lnTo>
                      <a:lnTo>
                        <a:pt x="310" y="328"/>
                      </a:lnTo>
                      <a:lnTo>
                        <a:pt x="305" y="335"/>
                      </a:lnTo>
                      <a:lnTo>
                        <a:pt x="299" y="341"/>
                      </a:lnTo>
                      <a:lnTo>
                        <a:pt x="293" y="346"/>
                      </a:lnTo>
                      <a:lnTo>
                        <a:pt x="289" y="350"/>
                      </a:lnTo>
                      <a:lnTo>
                        <a:pt x="284" y="354"/>
                      </a:lnTo>
                      <a:lnTo>
                        <a:pt x="277" y="356"/>
                      </a:lnTo>
                      <a:lnTo>
                        <a:pt x="271" y="359"/>
                      </a:lnTo>
                      <a:lnTo>
                        <a:pt x="264" y="362"/>
                      </a:lnTo>
                      <a:lnTo>
                        <a:pt x="258" y="366"/>
                      </a:lnTo>
                      <a:lnTo>
                        <a:pt x="256" y="368"/>
                      </a:lnTo>
                      <a:lnTo>
                        <a:pt x="254" y="370"/>
                      </a:lnTo>
                      <a:lnTo>
                        <a:pt x="253" y="373"/>
                      </a:lnTo>
                      <a:lnTo>
                        <a:pt x="253" y="376"/>
                      </a:lnTo>
                      <a:lnTo>
                        <a:pt x="227" y="376"/>
                      </a:lnTo>
                      <a:lnTo>
                        <a:pt x="221" y="373"/>
                      </a:lnTo>
                      <a:lnTo>
                        <a:pt x="215" y="370"/>
                      </a:lnTo>
                      <a:lnTo>
                        <a:pt x="208" y="369"/>
                      </a:lnTo>
                      <a:lnTo>
                        <a:pt x="200" y="368"/>
                      </a:lnTo>
                      <a:lnTo>
                        <a:pt x="183" y="367"/>
                      </a:lnTo>
                      <a:lnTo>
                        <a:pt x="160" y="364"/>
                      </a:lnTo>
                      <a:lnTo>
                        <a:pt x="157" y="369"/>
                      </a:lnTo>
                      <a:lnTo>
                        <a:pt x="155" y="373"/>
                      </a:lnTo>
                      <a:lnTo>
                        <a:pt x="152" y="377"/>
                      </a:lnTo>
                      <a:lnTo>
                        <a:pt x="148" y="381"/>
                      </a:lnTo>
                      <a:lnTo>
                        <a:pt x="138" y="388"/>
                      </a:lnTo>
                      <a:lnTo>
                        <a:pt x="126" y="396"/>
                      </a:lnTo>
                      <a:lnTo>
                        <a:pt x="111" y="401"/>
                      </a:lnTo>
                      <a:lnTo>
                        <a:pt x="97" y="405"/>
                      </a:lnTo>
                      <a:lnTo>
                        <a:pt x="82" y="407"/>
                      </a:lnTo>
                      <a:lnTo>
                        <a:pt x="66" y="408"/>
                      </a:lnTo>
                      <a:lnTo>
                        <a:pt x="62" y="407"/>
                      </a:lnTo>
                      <a:lnTo>
                        <a:pt x="56" y="406"/>
                      </a:lnTo>
                      <a:lnTo>
                        <a:pt x="51" y="403"/>
                      </a:lnTo>
                      <a:lnTo>
                        <a:pt x="45" y="400"/>
                      </a:lnTo>
                      <a:lnTo>
                        <a:pt x="34" y="390"/>
                      </a:lnTo>
                      <a:lnTo>
                        <a:pt x="24" y="379"/>
                      </a:lnTo>
                      <a:lnTo>
                        <a:pt x="15" y="368"/>
                      </a:lnTo>
                      <a:lnTo>
                        <a:pt x="7" y="356"/>
                      </a:lnTo>
                      <a:lnTo>
                        <a:pt x="4" y="350"/>
                      </a:lnTo>
                      <a:lnTo>
                        <a:pt x="2" y="344"/>
                      </a:lnTo>
                      <a:lnTo>
                        <a:pt x="0" y="338"/>
                      </a:lnTo>
                      <a:lnTo>
                        <a:pt x="0" y="333"/>
                      </a:lnTo>
                      <a:lnTo>
                        <a:pt x="8" y="335"/>
                      </a:lnTo>
                      <a:lnTo>
                        <a:pt x="19" y="340"/>
                      </a:lnTo>
                      <a:lnTo>
                        <a:pt x="27" y="342"/>
                      </a:lnTo>
                      <a:lnTo>
                        <a:pt x="34" y="344"/>
                      </a:lnTo>
                      <a:lnTo>
                        <a:pt x="43" y="346"/>
                      </a:lnTo>
                      <a:lnTo>
                        <a:pt x="53" y="346"/>
                      </a:lnTo>
                      <a:lnTo>
                        <a:pt x="53" y="336"/>
                      </a:lnTo>
                      <a:lnTo>
                        <a:pt x="54" y="328"/>
                      </a:lnTo>
                      <a:lnTo>
                        <a:pt x="54" y="321"/>
                      </a:lnTo>
                      <a:lnTo>
                        <a:pt x="56" y="314"/>
                      </a:lnTo>
                      <a:lnTo>
                        <a:pt x="60" y="308"/>
                      </a:lnTo>
                      <a:lnTo>
                        <a:pt x="64" y="303"/>
                      </a:lnTo>
                      <a:lnTo>
                        <a:pt x="71" y="300"/>
                      </a:lnTo>
                      <a:lnTo>
                        <a:pt x="80" y="297"/>
                      </a:lnTo>
                      <a:lnTo>
                        <a:pt x="81" y="291"/>
                      </a:lnTo>
                      <a:lnTo>
                        <a:pt x="82" y="286"/>
                      </a:lnTo>
                      <a:lnTo>
                        <a:pt x="84" y="281"/>
                      </a:lnTo>
                      <a:lnTo>
                        <a:pt x="86" y="276"/>
                      </a:lnTo>
                      <a:lnTo>
                        <a:pt x="89" y="272"/>
                      </a:lnTo>
                      <a:lnTo>
                        <a:pt x="93" y="268"/>
                      </a:lnTo>
                      <a:lnTo>
                        <a:pt x="97" y="265"/>
                      </a:lnTo>
                      <a:lnTo>
                        <a:pt x="101" y="262"/>
                      </a:lnTo>
                      <a:lnTo>
                        <a:pt x="112" y="256"/>
                      </a:lnTo>
                      <a:lnTo>
                        <a:pt x="125" y="251"/>
                      </a:lnTo>
                      <a:lnTo>
                        <a:pt x="137" y="246"/>
                      </a:lnTo>
                      <a:lnTo>
                        <a:pt x="150" y="241"/>
                      </a:lnTo>
                      <a:lnTo>
                        <a:pt x="163" y="237"/>
                      </a:lnTo>
                      <a:lnTo>
                        <a:pt x="175" y="232"/>
                      </a:lnTo>
                      <a:lnTo>
                        <a:pt x="187" y="226"/>
                      </a:lnTo>
                      <a:lnTo>
                        <a:pt x="198" y="220"/>
                      </a:lnTo>
                      <a:lnTo>
                        <a:pt x="202" y="217"/>
                      </a:lnTo>
                      <a:lnTo>
                        <a:pt x="207" y="213"/>
                      </a:lnTo>
                      <a:lnTo>
                        <a:pt x="210" y="210"/>
                      </a:lnTo>
                      <a:lnTo>
                        <a:pt x="213" y="205"/>
                      </a:lnTo>
                      <a:lnTo>
                        <a:pt x="216" y="201"/>
                      </a:lnTo>
                      <a:lnTo>
                        <a:pt x="218" y="196"/>
                      </a:lnTo>
                      <a:lnTo>
                        <a:pt x="219" y="191"/>
                      </a:lnTo>
                      <a:lnTo>
                        <a:pt x="219" y="186"/>
                      </a:lnTo>
                      <a:lnTo>
                        <a:pt x="221" y="175"/>
                      </a:lnTo>
                      <a:lnTo>
                        <a:pt x="227" y="161"/>
                      </a:lnTo>
                      <a:lnTo>
                        <a:pt x="231" y="150"/>
                      </a:lnTo>
                      <a:lnTo>
                        <a:pt x="233" y="143"/>
                      </a:lnTo>
                      <a:lnTo>
                        <a:pt x="229" y="149"/>
                      </a:lnTo>
                      <a:lnTo>
                        <a:pt x="228" y="153"/>
                      </a:lnTo>
                      <a:lnTo>
                        <a:pt x="229" y="153"/>
                      </a:lnTo>
                      <a:lnTo>
                        <a:pt x="231" y="152"/>
                      </a:lnTo>
                      <a:lnTo>
                        <a:pt x="237" y="146"/>
                      </a:lnTo>
                      <a:lnTo>
                        <a:pt x="240" y="143"/>
                      </a:lnTo>
                      <a:lnTo>
                        <a:pt x="239" y="143"/>
                      </a:lnTo>
                      <a:lnTo>
                        <a:pt x="238" y="146"/>
                      </a:lnTo>
                      <a:lnTo>
                        <a:pt x="237" y="150"/>
                      </a:lnTo>
                      <a:lnTo>
                        <a:pt x="237" y="155"/>
                      </a:lnTo>
                      <a:lnTo>
                        <a:pt x="238" y="160"/>
                      </a:lnTo>
                      <a:lnTo>
                        <a:pt x="239" y="166"/>
                      </a:lnTo>
                      <a:lnTo>
                        <a:pt x="240" y="174"/>
                      </a:lnTo>
                      <a:lnTo>
                        <a:pt x="243" y="181"/>
                      </a:lnTo>
                      <a:lnTo>
                        <a:pt x="246" y="187"/>
                      </a:lnTo>
                      <a:lnTo>
                        <a:pt x="251" y="193"/>
                      </a:lnTo>
                      <a:lnTo>
                        <a:pt x="256" y="198"/>
                      </a:lnTo>
                      <a:lnTo>
                        <a:pt x="264" y="202"/>
                      </a:lnTo>
                      <a:lnTo>
                        <a:pt x="272" y="205"/>
                      </a:lnTo>
                      <a:lnTo>
                        <a:pt x="282" y="207"/>
                      </a:lnTo>
                      <a:lnTo>
                        <a:pt x="293" y="206"/>
                      </a:lnTo>
                      <a:lnTo>
                        <a:pt x="306" y="204"/>
                      </a:lnTo>
                      <a:lnTo>
                        <a:pt x="311" y="206"/>
                      </a:lnTo>
                      <a:lnTo>
                        <a:pt x="317" y="206"/>
                      </a:lnTo>
                      <a:lnTo>
                        <a:pt x="320" y="205"/>
                      </a:lnTo>
                      <a:lnTo>
                        <a:pt x="323" y="204"/>
                      </a:lnTo>
                      <a:lnTo>
                        <a:pt x="325" y="201"/>
                      </a:lnTo>
                      <a:lnTo>
                        <a:pt x="327" y="198"/>
                      </a:lnTo>
                      <a:lnTo>
                        <a:pt x="328" y="193"/>
                      </a:lnTo>
                      <a:lnTo>
                        <a:pt x="328" y="188"/>
                      </a:lnTo>
                      <a:lnTo>
                        <a:pt x="324" y="176"/>
                      </a:lnTo>
                      <a:lnTo>
                        <a:pt x="319" y="161"/>
                      </a:lnTo>
                      <a:lnTo>
                        <a:pt x="310" y="146"/>
                      </a:lnTo>
                      <a:lnTo>
                        <a:pt x="299" y="130"/>
                      </a:lnTo>
                      <a:lnTo>
                        <a:pt x="307" y="124"/>
                      </a:lnTo>
                      <a:lnTo>
                        <a:pt x="312" y="118"/>
                      </a:lnTo>
                      <a:lnTo>
                        <a:pt x="319" y="109"/>
                      </a:lnTo>
                      <a:lnTo>
                        <a:pt x="324" y="101"/>
                      </a:lnTo>
                      <a:lnTo>
                        <a:pt x="334" y="84"/>
                      </a:lnTo>
                      <a:lnTo>
                        <a:pt x="344" y="66"/>
                      </a:lnTo>
                      <a:lnTo>
                        <a:pt x="354" y="47"/>
                      </a:lnTo>
                      <a:lnTo>
                        <a:pt x="366" y="30"/>
                      </a:lnTo>
                      <a:lnTo>
                        <a:pt x="374" y="22"/>
                      </a:lnTo>
                      <a:lnTo>
                        <a:pt x="381" y="14"/>
                      </a:lnTo>
                      <a:lnTo>
                        <a:pt x="389" y="7"/>
                      </a:lnTo>
                      <a:lnTo>
                        <a:pt x="399" y="0"/>
                      </a:lnTo>
                      <a:lnTo>
                        <a:pt x="399" y="9"/>
                      </a:lnTo>
                      <a:lnTo>
                        <a:pt x="400" y="16"/>
                      </a:lnTo>
                      <a:lnTo>
                        <a:pt x="401" y="23"/>
                      </a:lnTo>
                      <a:lnTo>
                        <a:pt x="403" y="29"/>
                      </a:lnTo>
                      <a:lnTo>
                        <a:pt x="408" y="41"/>
                      </a:lnTo>
                      <a:lnTo>
                        <a:pt x="413" y="50"/>
                      </a:lnTo>
                      <a:lnTo>
                        <a:pt x="421" y="59"/>
                      </a:lnTo>
                      <a:lnTo>
                        <a:pt x="430" y="68"/>
                      </a:lnTo>
                      <a:lnTo>
                        <a:pt x="439" y="75"/>
                      </a:lnTo>
                      <a:lnTo>
                        <a:pt x="447" y="81"/>
                      </a:lnTo>
                      <a:lnTo>
                        <a:pt x="467" y="93"/>
                      </a:lnTo>
                      <a:lnTo>
                        <a:pt x="486" y="106"/>
                      </a:lnTo>
                      <a:lnTo>
                        <a:pt x="493" y="113"/>
                      </a:lnTo>
                      <a:lnTo>
                        <a:pt x="501" y="123"/>
                      </a:lnTo>
                      <a:lnTo>
                        <a:pt x="508" y="132"/>
                      </a:lnTo>
                      <a:lnTo>
                        <a:pt x="512" y="143"/>
                      </a:lnTo>
                      <a:lnTo>
                        <a:pt x="504" y="146"/>
                      </a:lnTo>
                      <a:lnTo>
                        <a:pt x="499" y="149"/>
                      </a:lnTo>
                      <a:lnTo>
                        <a:pt x="493" y="150"/>
                      </a:lnTo>
                      <a:lnTo>
                        <a:pt x="489" y="151"/>
                      </a:lnTo>
                      <a:lnTo>
                        <a:pt x="478" y="152"/>
                      </a:lnTo>
                      <a:lnTo>
                        <a:pt x="465" y="155"/>
                      </a:lnTo>
                      <a:lnTo>
                        <a:pt x="463" y="166"/>
                      </a:lnTo>
                      <a:lnTo>
                        <a:pt x="458" y="180"/>
                      </a:lnTo>
                      <a:lnTo>
                        <a:pt x="454" y="193"/>
                      </a:lnTo>
                      <a:lnTo>
                        <a:pt x="452" y="20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chemeClr val="bg2">
                      <a:lumMod val="60000"/>
                      <a:lumOff val="40000"/>
                    </a:scheme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11" name="Freeform 21">
                  <a:extLst>
                    <a:ext uri="{FF2B5EF4-FFF2-40B4-BE49-F238E27FC236}">
                      <a16:creationId xmlns:a16="http://schemas.microsoft.com/office/drawing/2014/main" id="{3AD5B153-6AD1-4A7D-8E81-23F8E44979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488" y="2420"/>
                  <a:ext cx="77" cy="87"/>
                </a:xfrm>
                <a:custGeom>
                  <a:avLst/>
                  <a:gdLst>
                    <a:gd name="T0" fmla="*/ 17 w 232"/>
                    <a:gd name="T1" fmla="*/ 2 h 289"/>
                    <a:gd name="T2" fmla="*/ 18 w 232"/>
                    <a:gd name="T3" fmla="*/ 5 h 289"/>
                    <a:gd name="T4" fmla="*/ 19 w 232"/>
                    <a:gd name="T5" fmla="*/ 5 h 289"/>
                    <a:gd name="T6" fmla="*/ 20 w 232"/>
                    <a:gd name="T7" fmla="*/ 6 h 289"/>
                    <a:gd name="T8" fmla="*/ 21 w 232"/>
                    <a:gd name="T9" fmla="*/ 16 h 289"/>
                    <a:gd name="T10" fmla="*/ 21 w 232"/>
                    <a:gd name="T11" fmla="*/ 18 h 289"/>
                    <a:gd name="T12" fmla="*/ 21 w 232"/>
                    <a:gd name="T13" fmla="*/ 20 h 289"/>
                    <a:gd name="T14" fmla="*/ 22 w 232"/>
                    <a:gd name="T15" fmla="*/ 21 h 289"/>
                    <a:gd name="T16" fmla="*/ 26 w 232"/>
                    <a:gd name="T17" fmla="*/ 23 h 289"/>
                    <a:gd name="T18" fmla="*/ 24 w 232"/>
                    <a:gd name="T19" fmla="*/ 27 h 289"/>
                    <a:gd name="T20" fmla="*/ 21 w 232"/>
                    <a:gd name="T21" fmla="*/ 27 h 289"/>
                    <a:gd name="T22" fmla="*/ 17 w 232"/>
                    <a:gd name="T23" fmla="*/ 25 h 289"/>
                    <a:gd name="T24" fmla="*/ 13 w 232"/>
                    <a:gd name="T25" fmla="*/ 22 h 289"/>
                    <a:gd name="T26" fmla="*/ 9 w 232"/>
                    <a:gd name="T27" fmla="*/ 20 h 289"/>
                    <a:gd name="T28" fmla="*/ 6 w 232"/>
                    <a:gd name="T29" fmla="*/ 17 h 289"/>
                    <a:gd name="T30" fmla="*/ 3 w 232"/>
                    <a:gd name="T31" fmla="*/ 14 h 289"/>
                    <a:gd name="T32" fmla="*/ 1 w 232"/>
                    <a:gd name="T33" fmla="*/ 12 h 289"/>
                    <a:gd name="T34" fmla="*/ 0 w 232"/>
                    <a:gd name="T35" fmla="*/ 11 h 289"/>
                    <a:gd name="T36" fmla="*/ 0 w 232"/>
                    <a:gd name="T37" fmla="*/ 10 h 289"/>
                    <a:gd name="T38" fmla="*/ 0 w 232"/>
                    <a:gd name="T39" fmla="*/ 10 h 289"/>
                    <a:gd name="T40" fmla="*/ 0 w 232"/>
                    <a:gd name="T41" fmla="*/ 9 h 289"/>
                    <a:gd name="T42" fmla="*/ 1 w 232"/>
                    <a:gd name="T43" fmla="*/ 7 h 289"/>
                    <a:gd name="T44" fmla="*/ 1 w 232"/>
                    <a:gd name="T45" fmla="*/ 5 h 289"/>
                    <a:gd name="T46" fmla="*/ 1 w 232"/>
                    <a:gd name="T47" fmla="*/ 2 h 289"/>
                    <a:gd name="T48" fmla="*/ 1 w 232"/>
                    <a:gd name="T49" fmla="*/ 0 h 289"/>
                    <a:gd name="T50" fmla="*/ 3 w 232"/>
                    <a:gd name="T51" fmla="*/ 0 h 289"/>
                    <a:gd name="T52" fmla="*/ 5 w 232"/>
                    <a:gd name="T53" fmla="*/ 1 h 289"/>
                    <a:gd name="T54" fmla="*/ 7 w 232"/>
                    <a:gd name="T55" fmla="*/ 2 h 289"/>
                    <a:gd name="T56" fmla="*/ 8 w 232"/>
                    <a:gd name="T57" fmla="*/ 3 h 289"/>
                    <a:gd name="T58" fmla="*/ 9 w 232"/>
                    <a:gd name="T59" fmla="*/ 3 h 289"/>
                    <a:gd name="T60" fmla="*/ 10 w 232"/>
                    <a:gd name="T61" fmla="*/ 3 h 289"/>
                    <a:gd name="T62" fmla="*/ 12 w 232"/>
                    <a:gd name="T63" fmla="*/ 2 h 289"/>
                    <a:gd name="T64" fmla="*/ 13 w 232"/>
                    <a:gd name="T65" fmla="*/ 2 h 289"/>
                    <a:gd name="T66" fmla="*/ 15 w 232"/>
                    <a:gd name="T67" fmla="*/ 1 h 289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</a:gdLst>
                  <a:ahLst/>
                  <a:cxnLst>
                    <a:cxn ang="T68">
                      <a:pos x="T0" y="T1"/>
                    </a:cxn>
                    <a:cxn ang="T69">
                      <a:pos x="T2" y="T3"/>
                    </a:cxn>
                    <a:cxn ang="T70">
                      <a:pos x="T4" y="T5"/>
                    </a:cxn>
                    <a:cxn ang="T71">
                      <a:pos x="T6" y="T7"/>
                    </a:cxn>
                    <a:cxn ang="T72">
                      <a:pos x="T8" y="T9"/>
                    </a:cxn>
                    <a:cxn ang="T73">
                      <a:pos x="T10" y="T11"/>
                    </a:cxn>
                    <a:cxn ang="T74">
                      <a:pos x="T12" y="T13"/>
                    </a:cxn>
                    <a:cxn ang="T75">
                      <a:pos x="T14" y="T15"/>
                    </a:cxn>
                    <a:cxn ang="T76">
                      <a:pos x="T16" y="T17"/>
                    </a:cxn>
                    <a:cxn ang="T77">
                      <a:pos x="T18" y="T19"/>
                    </a:cxn>
                    <a:cxn ang="T78">
                      <a:pos x="T20" y="T21"/>
                    </a:cxn>
                    <a:cxn ang="T79">
                      <a:pos x="T22" y="T23"/>
                    </a:cxn>
                    <a:cxn ang="T80">
                      <a:pos x="T24" y="T25"/>
                    </a:cxn>
                    <a:cxn ang="T81">
                      <a:pos x="T26" y="T27"/>
                    </a:cxn>
                    <a:cxn ang="T82">
                      <a:pos x="T28" y="T29"/>
                    </a:cxn>
                    <a:cxn ang="T83">
                      <a:pos x="T30" y="T31"/>
                    </a:cxn>
                    <a:cxn ang="T84">
                      <a:pos x="T32" y="T33"/>
                    </a:cxn>
                    <a:cxn ang="T85">
                      <a:pos x="T34" y="T35"/>
                    </a:cxn>
                    <a:cxn ang="T86">
                      <a:pos x="T36" y="T37"/>
                    </a:cxn>
                    <a:cxn ang="T87">
                      <a:pos x="T38" y="T39"/>
                    </a:cxn>
                    <a:cxn ang="T88">
                      <a:pos x="T40" y="T41"/>
                    </a:cxn>
                    <a:cxn ang="T89">
                      <a:pos x="T42" y="T43"/>
                    </a:cxn>
                    <a:cxn ang="T90">
                      <a:pos x="T44" y="T45"/>
                    </a:cxn>
                    <a:cxn ang="T91">
                      <a:pos x="T46" y="T47"/>
                    </a:cxn>
                    <a:cxn ang="T92">
                      <a:pos x="T48" y="T49"/>
                    </a:cxn>
                    <a:cxn ang="T93">
                      <a:pos x="T50" y="T51"/>
                    </a:cxn>
                    <a:cxn ang="T94">
                      <a:pos x="T52" y="T53"/>
                    </a:cxn>
                    <a:cxn ang="T95">
                      <a:pos x="T54" y="T55"/>
                    </a:cxn>
                    <a:cxn ang="T96">
                      <a:pos x="T56" y="T57"/>
                    </a:cxn>
                    <a:cxn ang="T97">
                      <a:pos x="T58" y="T59"/>
                    </a:cxn>
                    <a:cxn ang="T98">
                      <a:pos x="T60" y="T61"/>
                    </a:cxn>
                    <a:cxn ang="T99">
                      <a:pos x="T62" y="T63"/>
                    </a:cxn>
                    <a:cxn ang="T100">
                      <a:pos x="T64" y="T65"/>
                    </a:cxn>
                    <a:cxn ang="T101">
                      <a:pos x="T66" y="T67"/>
                    </a:cxn>
                  </a:cxnLst>
                  <a:rect l="0" t="0" r="r" b="b"/>
                  <a:pathLst>
                    <a:path w="232" h="289">
                      <a:moveTo>
                        <a:pt x="140" y="6"/>
                      </a:moveTo>
                      <a:lnTo>
                        <a:pt x="151" y="24"/>
                      </a:lnTo>
                      <a:lnTo>
                        <a:pt x="159" y="41"/>
                      </a:lnTo>
                      <a:lnTo>
                        <a:pt x="165" y="48"/>
                      </a:lnTo>
                      <a:lnTo>
                        <a:pt x="170" y="54"/>
                      </a:lnTo>
                      <a:lnTo>
                        <a:pt x="174" y="56"/>
                      </a:lnTo>
                      <a:lnTo>
                        <a:pt x="177" y="59"/>
                      </a:lnTo>
                      <a:lnTo>
                        <a:pt x="181" y="60"/>
                      </a:lnTo>
                      <a:lnTo>
                        <a:pt x="186" y="62"/>
                      </a:lnTo>
                      <a:lnTo>
                        <a:pt x="186" y="166"/>
                      </a:lnTo>
                      <a:lnTo>
                        <a:pt x="187" y="183"/>
                      </a:lnTo>
                      <a:lnTo>
                        <a:pt x="189" y="196"/>
                      </a:lnTo>
                      <a:lnTo>
                        <a:pt x="191" y="202"/>
                      </a:lnTo>
                      <a:lnTo>
                        <a:pt x="193" y="207"/>
                      </a:lnTo>
                      <a:lnTo>
                        <a:pt x="196" y="212"/>
                      </a:lnTo>
                      <a:lnTo>
                        <a:pt x="199" y="216"/>
                      </a:lnTo>
                      <a:lnTo>
                        <a:pt x="213" y="230"/>
                      </a:lnTo>
                      <a:lnTo>
                        <a:pt x="232" y="246"/>
                      </a:lnTo>
                      <a:lnTo>
                        <a:pt x="232" y="289"/>
                      </a:lnTo>
                      <a:lnTo>
                        <a:pt x="219" y="288"/>
                      </a:lnTo>
                      <a:lnTo>
                        <a:pt x="202" y="286"/>
                      </a:lnTo>
                      <a:lnTo>
                        <a:pt x="186" y="282"/>
                      </a:lnTo>
                      <a:lnTo>
                        <a:pt x="172" y="277"/>
                      </a:lnTo>
                      <a:lnTo>
                        <a:pt x="151" y="264"/>
                      </a:lnTo>
                      <a:lnTo>
                        <a:pt x="131" y="249"/>
                      </a:lnTo>
                      <a:lnTo>
                        <a:pt x="113" y="235"/>
                      </a:lnTo>
                      <a:lnTo>
                        <a:pt x="97" y="221"/>
                      </a:lnTo>
                      <a:lnTo>
                        <a:pt x="81" y="207"/>
                      </a:lnTo>
                      <a:lnTo>
                        <a:pt x="68" y="191"/>
                      </a:lnTo>
                      <a:lnTo>
                        <a:pt x="56" y="176"/>
                      </a:lnTo>
                      <a:lnTo>
                        <a:pt x="46" y="160"/>
                      </a:lnTo>
                      <a:lnTo>
                        <a:pt x="31" y="145"/>
                      </a:lnTo>
                      <a:lnTo>
                        <a:pt x="15" y="132"/>
                      </a:lnTo>
                      <a:lnTo>
                        <a:pt x="9" y="126"/>
                      </a:lnTo>
                      <a:lnTo>
                        <a:pt x="4" y="120"/>
                      </a:lnTo>
                      <a:lnTo>
                        <a:pt x="2" y="117"/>
                      </a:lnTo>
                      <a:lnTo>
                        <a:pt x="1" y="113"/>
                      </a:lnTo>
                      <a:lnTo>
                        <a:pt x="0" y="109"/>
                      </a:lnTo>
                      <a:lnTo>
                        <a:pt x="0" y="105"/>
                      </a:lnTo>
                      <a:lnTo>
                        <a:pt x="0" y="100"/>
                      </a:lnTo>
                      <a:lnTo>
                        <a:pt x="1" y="96"/>
                      </a:lnTo>
                      <a:lnTo>
                        <a:pt x="3" y="92"/>
                      </a:lnTo>
                      <a:lnTo>
                        <a:pt x="7" y="88"/>
                      </a:lnTo>
                      <a:lnTo>
                        <a:pt x="11" y="79"/>
                      </a:lnTo>
                      <a:lnTo>
                        <a:pt x="13" y="74"/>
                      </a:lnTo>
                      <a:lnTo>
                        <a:pt x="12" y="52"/>
                      </a:lnTo>
                      <a:lnTo>
                        <a:pt x="10" y="33"/>
                      </a:lnTo>
                      <a:lnTo>
                        <a:pt x="7" y="15"/>
                      </a:lnTo>
                      <a:lnTo>
                        <a:pt x="7" y="0"/>
                      </a:lnTo>
                      <a:lnTo>
                        <a:pt x="13" y="0"/>
                      </a:lnTo>
                      <a:lnTo>
                        <a:pt x="20" y="1"/>
                      </a:lnTo>
                      <a:lnTo>
                        <a:pt x="26" y="3"/>
                      </a:lnTo>
                      <a:lnTo>
                        <a:pt x="32" y="5"/>
                      </a:lnTo>
                      <a:lnTo>
                        <a:pt x="42" y="10"/>
                      </a:lnTo>
                      <a:lnTo>
                        <a:pt x="51" y="15"/>
                      </a:lnTo>
                      <a:lnTo>
                        <a:pt x="59" y="21"/>
                      </a:lnTo>
                      <a:lnTo>
                        <a:pt x="68" y="26"/>
                      </a:lnTo>
                      <a:lnTo>
                        <a:pt x="73" y="28"/>
                      </a:lnTo>
                      <a:lnTo>
                        <a:pt x="77" y="29"/>
                      </a:lnTo>
                      <a:lnTo>
                        <a:pt x="81" y="31"/>
                      </a:lnTo>
                      <a:lnTo>
                        <a:pt x="86" y="31"/>
                      </a:lnTo>
                      <a:lnTo>
                        <a:pt x="91" y="31"/>
                      </a:lnTo>
                      <a:lnTo>
                        <a:pt x="98" y="28"/>
                      </a:lnTo>
                      <a:lnTo>
                        <a:pt x="105" y="26"/>
                      </a:lnTo>
                      <a:lnTo>
                        <a:pt x="112" y="23"/>
                      </a:lnTo>
                      <a:lnTo>
                        <a:pt x="120" y="19"/>
                      </a:lnTo>
                      <a:lnTo>
                        <a:pt x="127" y="15"/>
                      </a:lnTo>
                      <a:lnTo>
                        <a:pt x="133" y="11"/>
                      </a:lnTo>
                      <a:lnTo>
                        <a:pt x="140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579" name="Freeform 582">
                <a:extLst>
                  <a:ext uri="{FF2B5EF4-FFF2-40B4-BE49-F238E27FC236}">
                    <a16:creationId xmlns:a16="http://schemas.microsoft.com/office/drawing/2014/main" id="{816E65EA-ECB4-4651-80C7-972F2BCDDB82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639524" y="1836738"/>
                <a:ext cx="3695665" cy="1207727"/>
              </a:xfrm>
              <a:custGeom>
                <a:avLst/>
                <a:gdLst>
                  <a:gd name="T0" fmla="*/ 137111692 w 7049"/>
                  <a:gd name="T1" fmla="*/ 477246726 h 2048"/>
                  <a:gd name="T2" fmla="*/ 202358326 w 7049"/>
                  <a:gd name="T3" fmla="*/ 533425873 h 2048"/>
                  <a:gd name="T4" fmla="*/ 229212974 w 7049"/>
                  <a:gd name="T5" fmla="*/ 499553291 h 2048"/>
                  <a:gd name="T6" fmla="*/ 316586251 w 7049"/>
                  <a:gd name="T7" fmla="*/ 404544546 h 2048"/>
                  <a:gd name="T8" fmla="*/ 495115383 w 7049"/>
                  <a:gd name="T9" fmla="*/ 362134941 h 2048"/>
                  <a:gd name="T10" fmla="*/ 633551282 w 7049"/>
                  <a:gd name="T11" fmla="*/ 411429055 h 2048"/>
                  <a:gd name="T12" fmla="*/ 695204076 w 7049"/>
                  <a:gd name="T13" fmla="*/ 396007524 h 2048"/>
                  <a:gd name="T14" fmla="*/ 782199444 w 7049"/>
                  <a:gd name="T15" fmla="*/ 410878567 h 2048"/>
                  <a:gd name="T16" fmla="*/ 865600972 w 7049"/>
                  <a:gd name="T17" fmla="*/ 415560075 h 2048"/>
                  <a:gd name="T18" fmla="*/ 900020774 w 7049"/>
                  <a:gd name="T19" fmla="*/ 377831979 h 2048"/>
                  <a:gd name="T20" fmla="*/ 975101327 w 7049"/>
                  <a:gd name="T21" fmla="*/ 406472041 h 2048"/>
                  <a:gd name="T22" fmla="*/ 1061718350 w 7049"/>
                  <a:gd name="T23" fmla="*/ 440069642 h 2048"/>
                  <a:gd name="T24" fmla="*/ 1059827061 w 7049"/>
                  <a:gd name="T25" fmla="*/ 507814807 h 2048"/>
                  <a:gd name="T26" fmla="*/ 1106917932 w 7049"/>
                  <a:gd name="T27" fmla="*/ 443925156 h 2048"/>
                  <a:gd name="T28" fmla="*/ 1053396940 w 7049"/>
                  <a:gd name="T29" fmla="*/ 345886891 h 2048"/>
                  <a:gd name="T30" fmla="*/ 1008197358 w 7049"/>
                  <a:gd name="T31" fmla="*/ 315869822 h 2048"/>
                  <a:gd name="T32" fmla="*/ 1107674187 w 7049"/>
                  <a:gd name="T33" fmla="*/ 270430698 h 2048"/>
                  <a:gd name="T34" fmla="*/ 1129801265 w 7049"/>
                  <a:gd name="T35" fmla="*/ 226368580 h 2048"/>
                  <a:gd name="T36" fmla="*/ 1159682235 w 7049"/>
                  <a:gd name="T37" fmla="*/ 209570042 h 2048"/>
                  <a:gd name="T38" fmla="*/ 1171596615 w 7049"/>
                  <a:gd name="T39" fmla="*/ 268227697 h 2048"/>
                  <a:gd name="T40" fmla="*/ 1201288413 w 7049"/>
                  <a:gd name="T41" fmla="*/ 344509884 h 2048"/>
                  <a:gd name="T42" fmla="*/ 1243462107 w 7049"/>
                  <a:gd name="T43" fmla="*/ 388296496 h 2048"/>
                  <a:gd name="T44" fmla="*/ 1241759991 w 7049"/>
                  <a:gd name="T45" fmla="*/ 334320874 h 2048"/>
                  <a:gd name="T46" fmla="*/ 1205260163 w 7049"/>
                  <a:gd name="T47" fmla="*/ 285577247 h 2048"/>
                  <a:gd name="T48" fmla="*/ 1238167021 w 7049"/>
                  <a:gd name="T49" fmla="*/ 243718130 h 2048"/>
                  <a:gd name="T50" fmla="*/ 1286203319 w 7049"/>
                  <a:gd name="T51" fmla="*/ 215904063 h 2048"/>
                  <a:gd name="T52" fmla="*/ 1253485633 w 7049"/>
                  <a:gd name="T53" fmla="*/ 170189432 h 2048"/>
                  <a:gd name="T54" fmla="*/ 1285824974 w 7049"/>
                  <a:gd name="T55" fmla="*/ 175146446 h 2048"/>
                  <a:gd name="T56" fmla="*/ 1297550617 w 7049"/>
                  <a:gd name="T57" fmla="*/ 149535380 h 2048"/>
                  <a:gd name="T58" fmla="*/ 1229278094 w 7049"/>
                  <a:gd name="T59" fmla="*/ 127229339 h 2048"/>
                  <a:gd name="T60" fmla="*/ 1105026644 w 7049"/>
                  <a:gd name="T61" fmla="*/ 112908784 h 2048"/>
                  <a:gd name="T62" fmla="*/ 1076658617 w 7049"/>
                  <a:gd name="T63" fmla="*/ 114285790 h 2048"/>
                  <a:gd name="T64" fmla="*/ 943896585 w 7049"/>
                  <a:gd name="T65" fmla="*/ 96661258 h 2048"/>
                  <a:gd name="T66" fmla="*/ 894158170 w 7049"/>
                  <a:gd name="T67" fmla="*/ 79862195 h 2048"/>
                  <a:gd name="T68" fmla="*/ 834396230 w 7049"/>
                  <a:gd name="T69" fmla="*/ 79862195 h 2048"/>
                  <a:gd name="T70" fmla="*/ 758181077 w 7049"/>
                  <a:gd name="T71" fmla="*/ 87573223 h 2048"/>
                  <a:gd name="T72" fmla="*/ 675914149 w 7049"/>
                  <a:gd name="T73" fmla="*/ 71876186 h 2048"/>
                  <a:gd name="T74" fmla="*/ 622203985 w 7049"/>
                  <a:gd name="T75" fmla="*/ 67194677 h 2048"/>
                  <a:gd name="T76" fmla="*/ 568872165 w 7049"/>
                  <a:gd name="T77" fmla="*/ 64716170 h 2048"/>
                  <a:gd name="T78" fmla="*/ 515162000 w 7049"/>
                  <a:gd name="T79" fmla="*/ 15972544 h 2048"/>
                  <a:gd name="T80" fmla="*/ 494926211 w 7049"/>
                  <a:gd name="T81" fmla="*/ 38554091 h 2048"/>
                  <a:gd name="T82" fmla="*/ 403581619 w 7049"/>
                  <a:gd name="T83" fmla="*/ 45989613 h 2048"/>
                  <a:gd name="T84" fmla="*/ 408309623 w 7049"/>
                  <a:gd name="T85" fmla="*/ 55077647 h 2048"/>
                  <a:gd name="T86" fmla="*/ 415685171 w 7049"/>
                  <a:gd name="T87" fmla="*/ 94182751 h 2048"/>
                  <a:gd name="T88" fmla="*/ 365568411 w 7049"/>
                  <a:gd name="T89" fmla="*/ 70499179 h 2048"/>
                  <a:gd name="T90" fmla="*/ 337957075 w 7049"/>
                  <a:gd name="T91" fmla="*/ 75180687 h 2048"/>
                  <a:gd name="T92" fmla="*/ 362542523 w 7049"/>
                  <a:gd name="T93" fmla="*/ 122822813 h 2048"/>
                  <a:gd name="T94" fmla="*/ 392612666 w 7049"/>
                  <a:gd name="T95" fmla="*/ 145679866 h 2048"/>
                  <a:gd name="T96" fmla="*/ 356112403 w 7049"/>
                  <a:gd name="T97" fmla="*/ 163304923 h 2048"/>
                  <a:gd name="T98" fmla="*/ 346467222 w 7049"/>
                  <a:gd name="T99" fmla="*/ 127779827 h 2048"/>
                  <a:gd name="T100" fmla="*/ 306563160 w 7049"/>
                  <a:gd name="T101" fmla="*/ 63614670 h 2048"/>
                  <a:gd name="T102" fmla="*/ 306941505 w 7049"/>
                  <a:gd name="T103" fmla="*/ 124199819 h 2048"/>
                  <a:gd name="T104" fmla="*/ 234130151 w 7049"/>
                  <a:gd name="T105" fmla="*/ 109328776 h 2048"/>
                  <a:gd name="T106" fmla="*/ 226565431 w 7049"/>
                  <a:gd name="T107" fmla="*/ 131359835 h 2048"/>
                  <a:gd name="T108" fmla="*/ 171720667 w 7049"/>
                  <a:gd name="T109" fmla="*/ 137693856 h 2048"/>
                  <a:gd name="T110" fmla="*/ 130870744 w 7049"/>
                  <a:gd name="T111" fmla="*/ 133012348 h 2048"/>
                  <a:gd name="T112" fmla="*/ 113850015 w 7049"/>
                  <a:gd name="T113" fmla="*/ 161101922 h 2048"/>
                  <a:gd name="T114" fmla="*/ 76971842 w 7049"/>
                  <a:gd name="T115" fmla="*/ 203511527 h 2048"/>
                  <a:gd name="T116" fmla="*/ 73756781 w 7049"/>
                  <a:gd name="T117" fmla="*/ 168537444 h 2048"/>
                  <a:gd name="T118" fmla="*/ 28368026 w 7049"/>
                  <a:gd name="T119" fmla="*/ 121170824 h 2048"/>
                  <a:gd name="T120" fmla="*/ 13427324 w 7049"/>
                  <a:gd name="T121" fmla="*/ 166609424 h 2048"/>
                  <a:gd name="T122" fmla="*/ 21181216 w 7049"/>
                  <a:gd name="T123" fmla="*/ 263821170 h 204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7049" h="2048">
                    <a:moveTo>
                      <a:pt x="365" y="1401"/>
                    </a:moveTo>
                    <a:lnTo>
                      <a:pt x="373" y="1401"/>
                    </a:lnTo>
                    <a:lnTo>
                      <a:pt x="405" y="1401"/>
                    </a:lnTo>
                    <a:lnTo>
                      <a:pt x="425" y="1388"/>
                    </a:lnTo>
                    <a:lnTo>
                      <a:pt x="471" y="1388"/>
                    </a:lnTo>
                    <a:lnTo>
                      <a:pt x="491" y="1401"/>
                    </a:lnTo>
                    <a:lnTo>
                      <a:pt x="519" y="1426"/>
                    </a:lnTo>
                    <a:lnTo>
                      <a:pt x="505" y="1451"/>
                    </a:lnTo>
                    <a:lnTo>
                      <a:pt x="558" y="1451"/>
                    </a:lnTo>
                    <a:lnTo>
                      <a:pt x="578" y="1499"/>
                    </a:lnTo>
                    <a:lnTo>
                      <a:pt x="604" y="1493"/>
                    </a:lnTo>
                    <a:lnTo>
                      <a:pt x="632" y="1512"/>
                    </a:lnTo>
                    <a:lnTo>
                      <a:pt x="665" y="1499"/>
                    </a:lnTo>
                    <a:lnTo>
                      <a:pt x="698" y="1524"/>
                    </a:lnTo>
                    <a:lnTo>
                      <a:pt x="737" y="1524"/>
                    </a:lnTo>
                    <a:lnTo>
                      <a:pt x="778" y="1543"/>
                    </a:lnTo>
                    <a:lnTo>
                      <a:pt x="817" y="1555"/>
                    </a:lnTo>
                    <a:lnTo>
                      <a:pt x="811" y="1586"/>
                    </a:lnTo>
                    <a:lnTo>
                      <a:pt x="804" y="1623"/>
                    </a:lnTo>
                    <a:lnTo>
                      <a:pt x="817" y="1647"/>
                    </a:lnTo>
                    <a:lnTo>
                      <a:pt x="784" y="1647"/>
                    </a:lnTo>
                    <a:lnTo>
                      <a:pt x="744" y="1660"/>
                    </a:lnTo>
                    <a:lnTo>
                      <a:pt x="737" y="1691"/>
                    </a:lnTo>
                    <a:lnTo>
                      <a:pt x="743" y="1690"/>
                    </a:lnTo>
                    <a:lnTo>
                      <a:pt x="757" y="1685"/>
                    </a:lnTo>
                    <a:lnTo>
                      <a:pt x="752" y="1691"/>
                    </a:lnTo>
                    <a:lnTo>
                      <a:pt x="747" y="1696"/>
                    </a:lnTo>
                    <a:lnTo>
                      <a:pt x="743" y="1701"/>
                    </a:lnTo>
                    <a:lnTo>
                      <a:pt x="737" y="1705"/>
                    </a:lnTo>
                    <a:lnTo>
                      <a:pt x="725" y="1713"/>
                    </a:lnTo>
                    <a:lnTo>
                      <a:pt x="711" y="1721"/>
                    </a:lnTo>
                    <a:lnTo>
                      <a:pt x="712" y="1724"/>
                    </a:lnTo>
                    <a:lnTo>
                      <a:pt x="715" y="1728"/>
                    </a:lnTo>
                    <a:lnTo>
                      <a:pt x="719" y="1731"/>
                    </a:lnTo>
                    <a:lnTo>
                      <a:pt x="725" y="1733"/>
                    </a:lnTo>
                    <a:lnTo>
                      <a:pt x="736" y="1738"/>
                    </a:lnTo>
                    <a:lnTo>
                      <a:pt x="744" y="1740"/>
                    </a:lnTo>
                    <a:lnTo>
                      <a:pt x="741" y="1749"/>
                    </a:lnTo>
                    <a:lnTo>
                      <a:pt x="738" y="1756"/>
                    </a:lnTo>
                    <a:lnTo>
                      <a:pt x="734" y="1763"/>
                    </a:lnTo>
                    <a:lnTo>
                      <a:pt x="728" y="1769"/>
                    </a:lnTo>
                    <a:lnTo>
                      <a:pt x="722" y="1774"/>
                    </a:lnTo>
                    <a:lnTo>
                      <a:pt x="715" y="1779"/>
                    </a:lnTo>
                    <a:lnTo>
                      <a:pt x="707" y="1785"/>
                    </a:lnTo>
                    <a:lnTo>
                      <a:pt x="698" y="1790"/>
                    </a:lnTo>
                    <a:lnTo>
                      <a:pt x="696" y="1796"/>
                    </a:lnTo>
                    <a:lnTo>
                      <a:pt x="698" y="1801"/>
                    </a:lnTo>
                    <a:lnTo>
                      <a:pt x="700" y="1806"/>
                    </a:lnTo>
                    <a:lnTo>
                      <a:pt x="702" y="1809"/>
                    </a:lnTo>
                    <a:lnTo>
                      <a:pt x="706" y="1812"/>
                    </a:lnTo>
                    <a:lnTo>
                      <a:pt x="711" y="1815"/>
                    </a:lnTo>
                    <a:lnTo>
                      <a:pt x="716" y="1817"/>
                    </a:lnTo>
                    <a:lnTo>
                      <a:pt x="722" y="1819"/>
                    </a:lnTo>
                    <a:lnTo>
                      <a:pt x="734" y="1823"/>
                    </a:lnTo>
                    <a:lnTo>
                      <a:pt x="747" y="1828"/>
                    </a:lnTo>
                    <a:lnTo>
                      <a:pt x="754" y="1831"/>
                    </a:lnTo>
                    <a:lnTo>
                      <a:pt x="759" y="1835"/>
                    </a:lnTo>
                    <a:lnTo>
                      <a:pt x="766" y="1840"/>
                    </a:lnTo>
                    <a:lnTo>
                      <a:pt x="771" y="1845"/>
                    </a:lnTo>
                    <a:lnTo>
                      <a:pt x="781" y="1854"/>
                    </a:lnTo>
                    <a:lnTo>
                      <a:pt x="794" y="1861"/>
                    </a:lnTo>
                    <a:lnTo>
                      <a:pt x="807" y="1868"/>
                    </a:lnTo>
                    <a:lnTo>
                      <a:pt x="823" y="1875"/>
                    </a:lnTo>
                    <a:lnTo>
                      <a:pt x="856" y="1887"/>
                    </a:lnTo>
                    <a:lnTo>
                      <a:pt x="890" y="1901"/>
                    </a:lnTo>
                    <a:lnTo>
                      <a:pt x="897" y="1901"/>
                    </a:lnTo>
                    <a:lnTo>
                      <a:pt x="950" y="1919"/>
                    </a:lnTo>
                    <a:lnTo>
                      <a:pt x="996" y="1931"/>
                    </a:lnTo>
                    <a:lnTo>
                      <a:pt x="1024" y="1919"/>
                    </a:lnTo>
                    <a:lnTo>
                      <a:pt x="1070" y="1937"/>
                    </a:lnTo>
                    <a:lnTo>
                      <a:pt x="1096" y="1956"/>
                    </a:lnTo>
                    <a:lnTo>
                      <a:pt x="1136" y="1950"/>
                    </a:lnTo>
                    <a:lnTo>
                      <a:pt x="1176" y="1962"/>
                    </a:lnTo>
                    <a:lnTo>
                      <a:pt x="1203" y="1980"/>
                    </a:lnTo>
                    <a:lnTo>
                      <a:pt x="1249" y="2005"/>
                    </a:lnTo>
                    <a:lnTo>
                      <a:pt x="1282" y="2030"/>
                    </a:lnTo>
                    <a:lnTo>
                      <a:pt x="1316" y="2048"/>
                    </a:lnTo>
                    <a:lnTo>
                      <a:pt x="1342" y="2011"/>
                    </a:lnTo>
                    <a:lnTo>
                      <a:pt x="1355" y="2011"/>
                    </a:lnTo>
                    <a:lnTo>
                      <a:pt x="1350" y="2009"/>
                    </a:lnTo>
                    <a:lnTo>
                      <a:pt x="1345" y="2006"/>
                    </a:lnTo>
                    <a:lnTo>
                      <a:pt x="1341" y="2001"/>
                    </a:lnTo>
                    <a:lnTo>
                      <a:pt x="1337" y="1998"/>
                    </a:lnTo>
                    <a:lnTo>
                      <a:pt x="1333" y="1994"/>
                    </a:lnTo>
                    <a:lnTo>
                      <a:pt x="1331" y="1989"/>
                    </a:lnTo>
                    <a:lnTo>
                      <a:pt x="1329" y="1985"/>
                    </a:lnTo>
                    <a:lnTo>
                      <a:pt x="1329" y="1980"/>
                    </a:lnTo>
                    <a:lnTo>
                      <a:pt x="1318" y="1972"/>
                    </a:lnTo>
                    <a:lnTo>
                      <a:pt x="1296" y="1952"/>
                    </a:lnTo>
                    <a:lnTo>
                      <a:pt x="1283" y="1941"/>
                    </a:lnTo>
                    <a:lnTo>
                      <a:pt x="1273" y="1931"/>
                    </a:lnTo>
                    <a:lnTo>
                      <a:pt x="1265" y="1923"/>
                    </a:lnTo>
                    <a:lnTo>
                      <a:pt x="1262" y="1919"/>
                    </a:lnTo>
                    <a:lnTo>
                      <a:pt x="1255" y="1887"/>
                    </a:lnTo>
                    <a:lnTo>
                      <a:pt x="1255" y="1869"/>
                    </a:lnTo>
                    <a:lnTo>
                      <a:pt x="1245" y="1869"/>
                    </a:lnTo>
                    <a:lnTo>
                      <a:pt x="1237" y="1866"/>
                    </a:lnTo>
                    <a:lnTo>
                      <a:pt x="1229" y="1862"/>
                    </a:lnTo>
                    <a:lnTo>
                      <a:pt x="1222" y="1857"/>
                    </a:lnTo>
                    <a:lnTo>
                      <a:pt x="1217" y="1851"/>
                    </a:lnTo>
                    <a:lnTo>
                      <a:pt x="1212" y="1844"/>
                    </a:lnTo>
                    <a:lnTo>
                      <a:pt x="1210" y="1835"/>
                    </a:lnTo>
                    <a:lnTo>
                      <a:pt x="1209" y="1826"/>
                    </a:lnTo>
                    <a:lnTo>
                      <a:pt x="1210" y="1821"/>
                    </a:lnTo>
                    <a:lnTo>
                      <a:pt x="1212" y="1814"/>
                    </a:lnTo>
                    <a:lnTo>
                      <a:pt x="1216" y="1807"/>
                    </a:lnTo>
                    <a:lnTo>
                      <a:pt x="1220" y="1799"/>
                    </a:lnTo>
                    <a:lnTo>
                      <a:pt x="1229" y="1786"/>
                    </a:lnTo>
                    <a:lnTo>
                      <a:pt x="1236" y="1777"/>
                    </a:lnTo>
                    <a:lnTo>
                      <a:pt x="1254" y="1767"/>
                    </a:lnTo>
                    <a:lnTo>
                      <a:pt x="1272" y="1758"/>
                    </a:lnTo>
                    <a:lnTo>
                      <a:pt x="1287" y="1749"/>
                    </a:lnTo>
                    <a:lnTo>
                      <a:pt x="1303" y="1740"/>
                    </a:lnTo>
                    <a:lnTo>
                      <a:pt x="1309" y="1728"/>
                    </a:lnTo>
                    <a:lnTo>
                      <a:pt x="1282" y="1721"/>
                    </a:lnTo>
                    <a:lnTo>
                      <a:pt x="1309" y="1703"/>
                    </a:lnTo>
                    <a:lnTo>
                      <a:pt x="1282" y="1679"/>
                    </a:lnTo>
                    <a:lnTo>
                      <a:pt x="1255" y="1654"/>
                    </a:lnTo>
                    <a:lnTo>
                      <a:pt x="1216" y="1654"/>
                    </a:lnTo>
                    <a:lnTo>
                      <a:pt x="1203" y="1629"/>
                    </a:lnTo>
                    <a:lnTo>
                      <a:pt x="1183" y="1617"/>
                    </a:lnTo>
                    <a:lnTo>
                      <a:pt x="1176" y="1586"/>
                    </a:lnTo>
                    <a:lnTo>
                      <a:pt x="1176" y="1549"/>
                    </a:lnTo>
                    <a:lnTo>
                      <a:pt x="1189" y="1524"/>
                    </a:lnTo>
                    <a:lnTo>
                      <a:pt x="1196" y="1499"/>
                    </a:lnTo>
                    <a:lnTo>
                      <a:pt x="1229" y="1518"/>
                    </a:lnTo>
                    <a:lnTo>
                      <a:pt x="1262" y="1530"/>
                    </a:lnTo>
                    <a:lnTo>
                      <a:pt x="1282" y="1524"/>
                    </a:lnTo>
                    <a:lnTo>
                      <a:pt x="1255" y="1493"/>
                    </a:lnTo>
                    <a:lnTo>
                      <a:pt x="1289" y="1475"/>
                    </a:lnTo>
                    <a:lnTo>
                      <a:pt x="1322" y="1444"/>
                    </a:lnTo>
                    <a:lnTo>
                      <a:pt x="1355" y="1438"/>
                    </a:lnTo>
                    <a:lnTo>
                      <a:pt x="1395" y="1438"/>
                    </a:lnTo>
                    <a:lnTo>
                      <a:pt x="1422" y="1426"/>
                    </a:lnTo>
                    <a:lnTo>
                      <a:pt x="1468" y="1438"/>
                    </a:lnTo>
                    <a:lnTo>
                      <a:pt x="1514" y="1457"/>
                    </a:lnTo>
                    <a:lnTo>
                      <a:pt x="1555" y="1493"/>
                    </a:lnTo>
                    <a:lnTo>
                      <a:pt x="1601" y="1487"/>
                    </a:lnTo>
                    <a:lnTo>
                      <a:pt x="1641" y="1469"/>
                    </a:lnTo>
                    <a:lnTo>
                      <a:pt x="1674" y="1469"/>
                    </a:lnTo>
                    <a:lnTo>
                      <a:pt x="1714" y="1463"/>
                    </a:lnTo>
                    <a:lnTo>
                      <a:pt x="1754" y="1481"/>
                    </a:lnTo>
                    <a:lnTo>
                      <a:pt x="1800" y="1493"/>
                    </a:lnTo>
                    <a:lnTo>
                      <a:pt x="1847" y="1487"/>
                    </a:lnTo>
                    <a:lnTo>
                      <a:pt x="1893" y="1469"/>
                    </a:lnTo>
                    <a:lnTo>
                      <a:pt x="1893" y="1444"/>
                    </a:lnTo>
                    <a:lnTo>
                      <a:pt x="1860" y="1438"/>
                    </a:lnTo>
                    <a:lnTo>
                      <a:pt x="1821" y="1426"/>
                    </a:lnTo>
                    <a:lnTo>
                      <a:pt x="1793" y="1414"/>
                    </a:lnTo>
                    <a:lnTo>
                      <a:pt x="1834" y="1401"/>
                    </a:lnTo>
                    <a:lnTo>
                      <a:pt x="1827" y="1364"/>
                    </a:lnTo>
                    <a:lnTo>
                      <a:pt x="1880" y="1358"/>
                    </a:lnTo>
                    <a:lnTo>
                      <a:pt x="1814" y="1309"/>
                    </a:lnTo>
                    <a:lnTo>
                      <a:pt x="1920" y="1291"/>
                    </a:lnTo>
                    <a:lnTo>
                      <a:pt x="2006" y="1284"/>
                    </a:lnTo>
                    <a:lnTo>
                      <a:pt x="2020" y="1259"/>
                    </a:lnTo>
                    <a:lnTo>
                      <a:pt x="2080" y="1253"/>
                    </a:lnTo>
                    <a:lnTo>
                      <a:pt x="2139" y="1241"/>
                    </a:lnTo>
                    <a:lnTo>
                      <a:pt x="2159" y="1216"/>
                    </a:lnTo>
                    <a:lnTo>
                      <a:pt x="2226" y="1229"/>
                    </a:lnTo>
                    <a:lnTo>
                      <a:pt x="2265" y="1222"/>
                    </a:lnTo>
                    <a:lnTo>
                      <a:pt x="2292" y="1241"/>
                    </a:lnTo>
                    <a:lnTo>
                      <a:pt x="2298" y="1291"/>
                    </a:lnTo>
                    <a:lnTo>
                      <a:pt x="2339" y="1291"/>
                    </a:lnTo>
                    <a:lnTo>
                      <a:pt x="2352" y="1277"/>
                    </a:lnTo>
                    <a:lnTo>
                      <a:pt x="2372" y="1291"/>
                    </a:lnTo>
                    <a:lnTo>
                      <a:pt x="2411" y="1297"/>
                    </a:lnTo>
                    <a:lnTo>
                      <a:pt x="2431" y="1297"/>
                    </a:lnTo>
                    <a:lnTo>
                      <a:pt x="2431" y="1333"/>
                    </a:lnTo>
                    <a:lnTo>
                      <a:pt x="2472" y="1327"/>
                    </a:lnTo>
                    <a:lnTo>
                      <a:pt x="2511" y="1309"/>
                    </a:lnTo>
                    <a:lnTo>
                      <a:pt x="2551" y="1277"/>
                    </a:lnTo>
                    <a:lnTo>
                      <a:pt x="2577" y="1265"/>
                    </a:lnTo>
                    <a:lnTo>
                      <a:pt x="2577" y="1297"/>
                    </a:lnTo>
                    <a:lnTo>
                      <a:pt x="2618" y="1315"/>
                    </a:lnTo>
                    <a:lnTo>
                      <a:pt x="2664" y="1333"/>
                    </a:lnTo>
                    <a:lnTo>
                      <a:pt x="2704" y="1376"/>
                    </a:lnTo>
                    <a:lnTo>
                      <a:pt x="2757" y="1420"/>
                    </a:lnTo>
                    <a:lnTo>
                      <a:pt x="2803" y="1457"/>
                    </a:lnTo>
                    <a:lnTo>
                      <a:pt x="2823" y="1487"/>
                    </a:lnTo>
                    <a:lnTo>
                      <a:pt x="2836" y="1457"/>
                    </a:lnTo>
                    <a:lnTo>
                      <a:pt x="2864" y="1451"/>
                    </a:lnTo>
                    <a:lnTo>
                      <a:pt x="2884" y="1475"/>
                    </a:lnTo>
                    <a:lnTo>
                      <a:pt x="2923" y="1487"/>
                    </a:lnTo>
                    <a:lnTo>
                      <a:pt x="2969" y="1481"/>
                    </a:lnTo>
                    <a:lnTo>
                      <a:pt x="2997" y="1469"/>
                    </a:lnTo>
                    <a:lnTo>
                      <a:pt x="3036" y="1499"/>
                    </a:lnTo>
                    <a:lnTo>
                      <a:pt x="3082" y="1524"/>
                    </a:lnTo>
                    <a:lnTo>
                      <a:pt x="3123" y="1549"/>
                    </a:lnTo>
                    <a:lnTo>
                      <a:pt x="3176" y="1555"/>
                    </a:lnTo>
                    <a:lnTo>
                      <a:pt x="3182" y="1562"/>
                    </a:lnTo>
                    <a:lnTo>
                      <a:pt x="3186" y="1560"/>
                    </a:lnTo>
                    <a:lnTo>
                      <a:pt x="3189" y="1557"/>
                    </a:lnTo>
                    <a:lnTo>
                      <a:pt x="3193" y="1556"/>
                    </a:lnTo>
                    <a:lnTo>
                      <a:pt x="3198" y="1555"/>
                    </a:lnTo>
                    <a:lnTo>
                      <a:pt x="3211" y="1555"/>
                    </a:lnTo>
                    <a:lnTo>
                      <a:pt x="3228" y="1555"/>
                    </a:lnTo>
                    <a:lnTo>
                      <a:pt x="3234" y="1554"/>
                    </a:lnTo>
                    <a:lnTo>
                      <a:pt x="3239" y="1552"/>
                    </a:lnTo>
                    <a:lnTo>
                      <a:pt x="3246" y="1549"/>
                    </a:lnTo>
                    <a:lnTo>
                      <a:pt x="3251" y="1546"/>
                    </a:lnTo>
                    <a:lnTo>
                      <a:pt x="3261" y="1539"/>
                    </a:lnTo>
                    <a:lnTo>
                      <a:pt x="3269" y="1537"/>
                    </a:lnTo>
                    <a:lnTo>
                      <a:pt x="3278" y="1536"/>
                    </a:lnTo>
                    <a:lnTo>
                      <a:pt x="3288" y="1534"/>
                    </a:lnTo>
                    <a:lnTo>
                      <a:pt x="3296" y="1531"/>
                    </a:lnTo>
                    <a:lnTo>
                      <a:pt x="3304" y="1527"/>
                    </a:lnTo>
                    <a:lnTo>
                      <a:pt x="3320" y="1517"/>
                    </a:lnTo>
                    <a:lnTo>
                      <a:pt x="3335" y="1506"/>
                    </a:lnTo>
                    <a:lnTo>
                      <a:pt x="3350" y="1494"/>
                    </a:lnTo>
                    <a:lnTo>
                      <a:pt x="3366" y="1485"/>
                    </a:lnTo>
                    <a:lnTo>
                      <a:pt x="3374" y="1481"/>
                    </a:lnTo>
                    <a:lnTo>
                      <a:pt x="3383" y="1478"/>
                    </a:lnTo>
                    <a:lnTo>
                      <a:pt x="3392" y="1476"/>
                    </a:lnTo>
                    <a:lnTo>
                      <a:pt x="3402" y="1475"/>
                    </a:lnTo>
                    <a:lnTo>
                      <a:pt x="3413" y="1476"/>
                    </a:lnTo>
                    <a:lnTo>
                      <a:pt x="3423" y="1477"/>
                    </a:lnTo>
                    <a:lnTo>
                      <a:pt x="3432" y="1479"/>
                    </a:lnTo>
                    <a:lnTo>
                      <a:pt x="3439" y="1481"/>
                    </a:lnTo>
                    <a:lnTo>
                      <a:pt x="3447" y="1483"/>
                    </a:lnTo>
                    <a:lnTo>
                      <a:pt x="3453" y="1485"/>
                    </a:lnTo>
                    <a:lnTo>
                      <a:pt x="3461" y="1487"/>
                    </a:lnTo>
                    <a:lnTo>
                      <a:pt x="3468" y="1487"/>
                    </a:lnTo>
                    <a:lnTo>
                      <a:pt x="3494" y="1475"/>
                    </a:lnTo>
                    <a:lnTo>
                      <a:pt x="3507" y="1475"/>
                    </a:lnTo>
                    <a:lnTo>
                      <a:pt x="3522" y="1475"/>
                    </a:lnTo>
                    <a:lnTo>
                      <a:pt x="3522" y="1483"/>
                    </a:lnTo>
                    <a:lnTo>
                      <a:pt x="3524" y="1490"/>
                    </a:lnTo>
                    <a:lnTo>
                      <a:pt x="3526" y="1496"/>
                    </a:lnTo>
                    <a:lnTo>
                      <a:pt x="3528" y="1501"/>
                    </a:lnTo>
                    <a:lnTo>
                      <a:pt x="3535" y="1510"/>
                    </a:lnTo>
                    <a:lnTo>
                      <a:pt x="3541" y="1518"/>
                    </a:lnTo>
                    <a:lnTo>
                      <a:pt x="3720" y="1518"/>
                    </a:lnTo>
                    <a:lnTo>
                      <a:pt x="3721" y="1510"/>
                    </a:lnTo>
                    <a:lnTo>
                      <a:pt x="3720" y="1501"/>
                    </a:lnTo>
                    <a:lnTo>
                      <a:pt x="3718" y="1494"/>
                    </a:lnTo>
                    <a:lnTo>
                      <a:pt x="3716" y="1488"/>
                    </a:lnTo>
                    <a:lnTo>
                      <a:pt x="3713" y="1482"/>
                    </a:lnTo>
                    <a:lnTo>
                      <a:pt x="3708" y="1477"/>
                    </a:lnTo>
                    <a:lnTo>
                      <a:pt x="3704" y="1472"/>
                    </a:lnTo>
                    <a:lnTo>
                      <a:pt x="3699" y="1467"/>
                    </a:lnTo>
                    <a:lnTo>
                      <a:pt x="3691" y="1459"/>
                    </a:lnTo>
                    <a:lnTo>
                      <a:pt x="3682" y="1449"/>
                    </a:lnTo>
                    <a:lnTo>
                      <a:pt x="3679" y="1443"/>
                    </a:lnTo>
                    <a:lnTo>
                      <a:pt x="3676" y="1438"/>
                    </a:lnTo>
                    <a:lnTo>
                      <a:pt x="3674" y="1432"/>
                    </a:lnTo>
                    <a:lnTo>
                      <a:pt x="3674" y="1426"/>
                    </a:lnTo>
                    <a:lnTo>
                      <a:pt x="3674" y="1418"/>
                    </a:lnTo>
                    <a:lnTo>
                      <a:pt x="3674" y="1411"/>
                    </a:lnTo>
                    <a:lnTo>
                      <a:pt x="3674" y="1404"/>
                    </a:lnTo>
                    <a:lnTo>
                      <a:pt x="3674" y="1395"/>
                    </a:lnTo>
                    <a:lnTo>
                      <a:pt x="3687" y="1388"/>
                    </a:lnTo>
                    <a:lnTo>
                      <a:pt x="3880" y="1426"/>
                    </a:lnTo>
                    <a:lnTo>
                      <a:pt x="3883" y="1437"/>
                    </a:lnTo>
                    <a:lnTo>
                      <a:pt x="3886" y="1446"/>
                    </a:lnTo>
                    <a:lnTo>
                      <a:pt x="3890" y="1456"/>
                    </a:lnTo>
                    <a:lnTo>
                      <a:pt x="3895" y="1464"/>
                    </a:lnTo>
                    <a:lnTo>
                      <a:pt x="3900" y="1472"/>
                    </a:lnTo>
                    <a:lnTo>
                      <a:pt x="3906" y="1478"/>
                    </a:lnTo>
                    <a:lnTo>
                      <a:pt x="3914" y="1484"/>
                    </a:lnTo>
                    <a:lnTo>
                      <a:pt x="3920" y="1489"/>
                    </a:lnTo>
                    <a:lnTo>
                      <a:pt x="3929" y="1493"/>
                    </a:lnTo>
                    <a:lnTo>
                      <a:pt x="3938" y="1496"/>
                    </a:lnTo>
                    <a:lnTo>
                      <a:pt x="3948" y="1499"/>
                    </a:lnTo>
                    <a:lnTo>
                      <a:pt x="3957" y="1502"/>
                    </a:lnTo>
                    <a:lnTo>
                      <a:pt x="3968" y="1504"/>
                    </a:lnTo>
                    <a:lnTo>
                      <a:pt x="3981" y="1505"/>
                    </a:lnTo>
                    <a:lnTo>
                      <a:pt x="3993" y="1506"/>
                    </a:lnTo>
                    <a:lnTo>
                      <a:pt x="4006" y="1506"/>
                    </a:lnTo>
                    <a:lnTo>
                      <a:pt x="4018" y="1506"/>
                    </a:lnTo>
                    <a:lnTo>
                      <a:pt x="4029" y="1502"/>
                    </a:lnTo>
                    <a:lnTo>
                      <a:pt x="4039" y="1500"/>
                    </a:lnTo>
                    <a:lnTo>
                      <a:pt x="4050" y="1496"/>
                    </a:lnTo>
                    <a:lnTo>
                      <a:pt x="4060" y="1493"/>
                    </a:lnTo>
                    <a:lnTo>
                      <a:pt x="4069" y="1490"/>
                    </a:lnTo>
                    <a:lnTo>
                      <a:pt x="4080" y="1488"/>
                    </a:lnTo>
                    <a:lnTo>
                      <a:pt x="4093" y="1487"/>
                    </a:lnTo>
                    <a:lnTo>
                      <a:pt x="4108" y="1488"/>
                    </a:lnTo>
                    <a:lnTo>
                      <a:pt x="4123" y="1490"/>
                    </a:lnTo>
                    <a:lnTo>
                      <a:pt x="4136" y="1492"/>
                    </a:lnTo>
                    <a:lnTo>
                      <a:pt x="4150" y="1496"/>
                    </a:lnTo>
                    <a:lnTo>
                      <a:pt x="4162" y="1500"/>
                    </a:lnTo>
                    <a:lnTo>
                      <a:pt x="4173" y="1506"/>
                    </a:lnTo>
                    <a:lnTo>
                      <a:pt x="4184" y="1511"/>
                    </a:lnTo>
                    <a:lnTo>
                      <a:pt x="4195" y="1517"/>
                    </a:lnTo>
                    <a:lnTo>
                      <a:pt x="4214" y="1528"/>
                    </a:lnTo>
                    <a:lnTo>
                      <a:pt x="4233" y="1539"/>
                    </a:lnTo>
                    <a:lnTo>
                      <a:pt x="4243" y="1544"/>
                    </a:lnTo>
                    <a:lnTo>
                      <a:pt x="4253" y="1548"/>
                    </a:lnTo>
                    <a:lnTo>
                      <a:pt x="4262" y="1552"/>
                    </a:lnTo>
                    <a:lnTo>
                      <a:pt x="4272" y="1555"/>
                    </a:lnTo>
                    <a:lnTo>
                      <a:pt x="4306" y="1555"/>
                    </a:lnTo>
                    <a:lnTo>
                      <a:pt x="4334" y="1555"/>
                    </a:lnTo>
                    <a:lnTo>
                      <a:pt x="4358" y="1555"/>
                    </a:lnTo>
                    <a:lnTo>
                      <a:pt x="4378" y="1555"/>
                    </a:lnTo>
                    <a:lnTo>
                      <a:pt x="4396" y="1555"/>
                    </a:lnTo>
                    <a:lnTo>
                      <a:pt x="4412" y="1555"/>
                    </a:lnTo>
                    <a:lnTo>
                      <a:pt x="4427" y="1555"/>
                    </a:lnTo>
                    <a:lnTo>
                      <a:pt x="4445" y="1555"/>
                    </a:lnTo>
                    <a:lnTo>
                      <a:pt x="4455" y="1554"/>
                    </a:lnTo>
                    <a:lnTo>
                      <a:pt x="4464" y="1553"/>
                    </a:lnTo>
                    <a:lnTo>
                      <a:pt x="4470" y="1550"/>
                    </a:lnTo>
                    <a:lnTo>
                      <a:pt x="4476" y="1547"/>
                    </a:lnTo>
                    <a:lnTo>
                      <a:pt x="4480" y="1544"/>
                    </a:lnTo>
                    <a:lnTo>
                      <a:pt x="4485" y="1539"/>
                    </a:lnTo>
                    <a:lnTo>
                      <a:pt x="4488" y="1535"/>
                    </a:lnTo>
                    <a:lnTo>
                      <a:pt x="4490" y="1530"/>
                    </a:lnTo>
                    <a:lnTo>
                      <a:pt x="4495" y="1522"/>
                    </a:lnTo>
                    <a:lnTo>
                      <a:pt x="4503" y="1514"/>
                    </a:lnTo>
                    <a:lnTo>
                      <a:pt x="4509" y="1511"/>
                    </a:lnTo>
                    <a:lnTo>
                      <a:pt x="4514" y="1508"/>
                    </a:lnTo>
                    <a:lnTo>
                      <a:pt x="4522" y="1507"/>
                    </a:lnTo>
                    <a:lnTo>
                      <a:pt x="4531" y="1506"/>
                    </a:lnTo>
                    <a:lnTo>
                      <a:pt x="4554" y="1507"/>
                    </a:lnTo>
                    <a:lnTo>
                      <a:pt x="4577" y="1509"/>
                    </a:lnTo>
                    <a:lnTo>
                      <a:pt x="4599" y="1512"/>
                    </a:lnTo>
                    <a:lnTo>
                      <a:pt x="4620" y="1515"/>
                    </a:lnTo>
                    <a:lnTo>
                      <a:pt x="4651" y="1522"/>
                    </a:lnTo>
                    <a:lnTo>
                      <a:pt x="4663" y="1524"/>
                    </a:lnTo>
                    <a:lnTo>
                      <a:pt x="4678" y="1524"/>
                    </a:lnTo>
                    <a:lnTo>
                      <a:pt x="4690" y="1524"/>
                    </a:lnTo>
                    <a:lnTo>
                      <a:pt x="4700" y="1524"/>
                    </a:lnTo>
                    <a:lnTo>
                      <a:pt x="4711" y="1524"/>
                    </a:lnTo>
                    <a:lnTo>
                      <a:pt x="4718" y="1524"/>
                    </a:lnTo>
                    <a:lnTo>
                      <a:pt x="4727" y="1521"/>
                    </a:lnTo>
                    <a:lnTo>
                      <a:pt x="4737" y="1518"/>
                    </a:lnTo>
                    <a:lnTo>
                      <a:pt x="4746" y="1513"/>
                    </a:lnTo>
                    <a:lnTo>
                      <a:pt x="4755" y="1508"/>
                    </a:lnTo>
                    <a:lnTo>
                      <a:pt x="4763" y="1501"/>
                    </a:lnTo>
                    <a:lnTo>
                      <a:pt x="4771" y="1494"/>
                    </a:lnTo>
                    <a:lnTo>
                      <a:pt x="4777" y="1487"/>
                    </a:lnTo>
                    <a:lnTo>
                      <a:pt x="4771" y="1484"/>
                    </a:lnTo>
                    <a:lnTo>
                      <a:pt x="4766" y="1481"/>
                    </a:lnTo>
                    <a:lnTo>
                      <a:pt x="4760" y="1476"/>
                    </a:lnTo>
                    <a:lnTo>
                      <a:pt x="4756" y="1471"/>
                    </a:lnTo>
                    <a:lnTo>
                      <a:pt x="4750" y="1465"/>
                    </a:lnTo>
                    <a:lnTo>
                      <a:pt x="4747" y="1458"/>
                    </a:lnTo>
                    <a:lnTo>
                      <a:pt x="4745" y="1452"/>
                    </a:lnTo>
                    <a:lnTo>
                      <a:pt x="4744" y="1444"/>
                    </a:lnTo>
                    <a:lnTo>
                      <a:pt x="4745" y="1435"/>
                    </a:lnTo>
                    <a:lnTo>
                      <a:pt x="4747" y="1428"/>
                    </a:lnTo>
                    <a:lnTo>
                      <a:pt x="4750" y="1422"/>
                    </a:lnTo>
                    <a:lnTo>
                      <a:pt x="4754" y="1417"/>
                    </a:lnTo>
                    <a:lnTo>
                      <a:pt x="4757" y="1411"/>
                    </a:lnTo>
                    <a:lnTo>
                      <a:pt x="4760" y="1405"/>
                    </a:lnTo>
                    <a:lnTo>
                      <a:pt x="4762" y="1398"/>
                    </a:lnTo>
                    <a:lnTo>
                      <a:pt x="4763" y="1388"/>
                    </a:lnTo>
                    <a:lnTo>
                      <a:pt x="4763" y="1382"/>
                    </a:lnTo>
                    <a:lnTo>
                      <a:pt x="4761" y="1377"/>
                    </a:lnTo>
                    <a:lnTo>
                      <a:pt x="4759" y="1372"/>
                    </a:lnTo>
                    <a:lnTo>
                      <a:pt x="4756" y="1369"/>
                    </a:lnTo>
                    <a:lnTo>
                      <a:pt x="4747" y="1363"/>
                    </a:lnTo>
                    <a:lnTo>
                      <a:pt x="4737" y="1359"/>
                    </a:lnTo>
                    <a:lnTo>
                      <a:pt x="4727" y="1355"/>
                    </a:lnTo>
                    <a:lnTo>
                      <a:pt x="4718" y="1350"/>
                    </a:lnTo>
                    <a:lnTo>
                      <a:pt x="4715" y="1347"/>
                    </a:lnTo>
                    <a:lnTo>
                      <a:pt x="4713" y="1343"/>
                    </a:lnTo>
                    <a:lnTo>
                      <a:pt x="4711" y="1339"/>
                    </a:lnTo>
                    <a:lnTo>
                      <a:pt x="4711" y="1333"/>
                    </a:lnTo>
                    <a:lnTo>
                      <a:pt x="4711" y="1324"/>
                    </a:lnTo>
                    <a:lnTo>
                      <a:pt x="4711" y="1315"/>
                    </a:lnTo>
                    <a:lnTo>
                      <a:pt x="4830" y="1297"/>
                    </a:lnTo>
                    <a:lnTo>
                      <a:pt x="4869" y="1307"/>
                    </a:lnTo>
                    <a:lnTo>
                      <a:pt x="4898" y="1315"/>
                    </a:lnTo>
                    <a:lnTo>
                      <a:pt x="4928" y="1322"/>
                    </a:lnTo>
                    <a:lnTo>
                      <a:pt x="4963" y="1333"/>
                    </a:lnTo>
                    <a:lnTo>
                      <a:pt x="4974" y="1338"/>
                    </a:lnTo>
                    <a:lnTo>
                      <a:pt x="4985" y="1343"/>
                    </a:lnTo>
                    <a:lnTo>
                      <a:pt x="4995" y="1349"/>
                    </a:lnTo>
                    <a:lnTo>
                      <a:pt x="5005" y="1356"/>
                    </a:lnTo>
                    <a:lnTo>
                      <a:pt x="5021" y="1371"/>
                    </a:lnTo>
                    <a:lnTo>
                      <a:pt x="5038" y="1386"/>
                    </a:lnTo>
                    <a:lnTo>
                      <a:pt x="5046" y="1395"/>
                    </a:lnTo>
                    <a:lnTo>
                      <a:pt x="5054" y="1402"/>
                    </a:lnTo>
                    <a:lnTo>
                      <a:pt x="5063" y="1408"/>
                    </a:lnTo>
                    <a:lnTo>
                      <a:pt x="5073" y="1414"/>
                    </a:lnTo>
                    <a:lnTo>
                      <a:pt x="5084" y="1419"/>
                    </a:lnTo>
                    <a:lnTo>
                      <a:pt x="5095" y="1423"/>
                    </a:lnTo>
                    <a:lnTo>
                      <a:pt x="5108" y="1425"/>
                    </a:lnTo>
                    <a:lnTo>
                      <a:pt x="5122" y="1426"/>
                    </a:lnTo>
                    <a:lnTo>
                      <a:pt x="5127" y="1438"/>
                    </a:lnTo>
                    <a:lnTo>
                      <a:pt x="5132" y="1449"/>
                    </a:lnTo>
                    <a:lnTo>
                      <a:pt x="5139" y="1459"/>
                    </a:lnTo>
                    <a:lnTo>
                      <a:pt x="5148" y="1468"/>
                    </a:lnTo>
                    <a:lnTo>
                      <a:pt x="5156" y="1476"/>
                    </a:lnTo>
                    <a:lnTo>
                      <a:pt x="5166" y="1484"/>
                    </a:lnTo>
                    <a:lnTo>
                      <a:pt x="5176" y="1490"/>
                    </a:lnTo>
                    <a:lnTo>
                      <a:pt x="5188" y="1496"/>
                    </a:lnTo>
                    <a:lnTo>
                      <a:pt x="5199" y="1502"/>
                    </a:lnTo>
                    <a:lnTo>
                      <a:pt x="5211" y="1508"/>
                    </a:lnTo>
                    <a:lnTo>
                      <a:pt x="5225" y="1512"/>
                    </a:lnTo>
                    <a:lnTo>
                      <a:pt x="5237" y="1516"/>
                    </a:lnTo>
                    <a:lnTo>
                      <a:pt x="5263" y="1524"/>
                    </a:lnTo>
                    <a:lnTo>
                      <a:pt x="5288" y="1530"/>
                    </a:lnTo>
                    <a:lnTo>
                      <a:pt x="5303" y="1536"/>
                    </a:lnTo>
                    <a:lnTo>
                      <a:pt x="5317" y="1542"/>
                    </a:lnTo>
                    <a:lnTo>
                      <a:pt x="5330" y="1550"/>
                    </a:lnTo>
                    <a:lnTo>
                      <a:pt x="5342" y="1558"/>
                    </a:lnTo>
                    <a:lnTo>
                      <a:pt x="5365" y="1577"/>
                    </a:lnTo>
                    <a:lnTo>
                      <a:pt x="5388" y="1595"/>
                    </a:lnTo>
                    <a:lnTo>
                      <a:pt x="5399" y="1604"/>
                    </a:lnTo>
                    <a:lnTo>
                      <a:pt x="5410" y="1612"/>
                    </a:lnTo>
                    <a:lnTo>
                      <a:pt x="5422" y="1621"/>
                    </a:lnTo>
                    <a:lnTo>
                      <a:pt x="5434" y="1628"/>
                    </a:lnTo>
                    <a:lnTo>
                      <a:pt x="5446" y="1633"/>
                    </a:lnTo>
                    <a:lnTo>
                      <a:pt x="5460" y="1638"/>
                    </a:lnTo>
                    <a:lnTo>
                      <a:pt x="5473" y="1640"/>
                    </a:lnTo>
                    <a:lnTo>
                      <a:pt x="5488" y="1641"/>
                    </a:lnTo>
                    <a:lnTo>
                      <a:pt x="5497" y="1641"/>
                    </a:lnTo>
                    <a:lnTo>
                      <a:pt x="5506" y="1640"/>
                    </a:lnTo>
                    <a:lnTo>
                      <a:pt x="5514" y="1638"/>
                    </a:lnTo>
                    <a:lnTo>
                      <a:pt x="5522" y="1635"/>
                    </a:lnTo>
                    <a:lnTo>
                      <a:pt x="5536" y="1628"/>
                    </a:lnTo>
                    <a:lnTo>
                      <a:pt x="5551" y="1620"/>
                    </a:lnTo>
                    <a:lnTo>
                      <a:pt x="5565" y="1611"/>
                    </a:lnTo>
                    <a:lnTo>
                      <a:pt x="5579" y="1605"/>
                    </a:lnTo>
                    <a:lnTo>
                      <a:pt x="5587" y="1602"/>
                    </a:lnTo>
                    <a:lnTo>
                      <a:pt x="5596" y="1600"/>
                    </a:lnTo>
                    <a:lnTo>
                      <a:pt x="5604" y="1599"/>
                    </a:lnTo>
                    <a:lnTo>
                      <a:pt x="5614" y="1598"/>
                    </a:lnTo>
                    <a:lnTo>
                      <a:pt x="5621" y="1599"/>
                    </a:lnTo>
                    <a:lnTo>
                      <a:pt x="5626" y="1601"/>
                    </a:lnTo>
                    <a:lnTo>
                      <a:pt x="5631" y="1604"/>
                    </a:lnTo>
                    <a:lnTo>
                      <a:pt x="5635" y="1607"/>
                    </a:lnTo>
                    <a:lnTo>
                      <a:pt x="5642" y="1613"/>
                    </a:lnTo>
                    <a:lnTo>
                      <a:pt x="5647" y="1617"/>
                    </a:lnTo>
                    <a:lnTo>
                      <a:pt x="5647" y="1629"/>
                    </a:lnTo>
                    <a:lnTo>
                      <a:pt x="5647" y="1638"/>
                    </a:lnTo>
                    <a:lnTo>
                      <a:pt x="5647" y="1645"/>
                    </a:lnTo>
                    <a:lnTo>
                      <a:pt x="5647" y="1654"/>
                    </a:lnTo>
                    <a:lnTo>
                      <a:pt x="5647" y="1662"/>
                    </a:lnTo>
                    <a:lnTo>
                      <a:pt x="5649" y="1672"/>
                    </a:lnTo>
                    <a:lnTo>
                      <a:pt x="5652" y="1679"/>
                    </a:lnTo>
                    <a:lnTo>
                      <a:pt x="5655" y="1686"/>
                    </a:lnTo>
                    <a:lnTo>
                      <a:pt x="5659" y="1693"/>
                    </a:lnTo>
                    <a:lnTo>
                      <a:pt x="5664" y="1699"/>
                    </a:lnTo>
                    <a:lnTo>
                      <a:pt x="5668" y="1704"/>
                    </a:lnTo>
                    <a:lnTo>
                      <a:pt x="5674" y="1709"/>
                    </a:lnTo>
                    <a:lnTo>
                      <a:pt x="5674" y="1790"/>
                    </a:lnTo>
                    <a:lnTo>
                      <a:pt x="5666" y="1791"/>
                    </a:lnTo>
                    <a:lnTo>
                      <a:pt x="5657" y="1792"/>
                    </a:lnTo>
                    <a:lnTo>
                      <a:pt x="5649" y="1792"/>
                    </a:lnTo>
                    <a:lnTo>
                      <a:pt x="5641" y="1792"/>
                    </a:lnTo>
                    <a:lnTo>
                      <a:pt x="5623" y="1790"/>
                    </a:lnTo>
                    <a:lnTo>
                      <a:pt x="5608" y="1790"/>
                    </a:lnTo>
                    <a:lnTo>
                      <a:pt x="5604" y="1790"/>
                    </a:lnTo>
                    <a:lnTo>
                      <a:pt x="5602" y="1792"/>
                    </a:lnTo>
                    <a:lnTo>
                      <a:pt x="5600" y="1794"/>
                    </a:lnTo>
                    <a:lnTo>
                      <a:pt x="5598" y="1796"/>
                    </a:lnTo>
                    <a:lnTo>
                      <a:pt x="5595" y="1802"/>
                    </a:lnTo>
                    <a:lnTo>
                      <a:pt x="5593" y="1808"/>
                    </a:lnTo>
                    <a:lnTo>
                      <a:pt x="5595" y="1818"/>
                    </a:lnTo>
                    <a:lnTo>
                      <a:pt x="5597" y="1827"/>
                    </a:lnTo>
                    <a:lnTo>
                      <a:pt x="5600" y="1835"/>
                    </a:lnTo>
                    <a:lnTo>
                      <a:pt x="5604" y="1844"/>
                    </a:lnTo>
                    <a:lnTo>
                      <a:pt x="5609" y="1852"/>
                    </a:lnTo>
                    <a:lnTo>
                      <a:pt x="5614" y="1859"/>
                    </a:lnTo>
                    <a:lnTo>
                      <a:pt x="5620" y="1865"/>
                    </a:lnTo>
                    <a:lnTo>
                      <a:pt x="5626" y="1871"/>
                    </a:lnTo>
                    <a:lnTo>
                      <a:pt x="5637" y="1881"/>
                    </a:lnTo>
                    <a:lnTo>
                      <a:pt x="5647" y="1890"/>
                    </a:lnTo>
                    <a:lnTo>
                      <a:pt x="5651" y="1896"/>
                    </a:lnTo>
                    <a:lnTo>
                      <a:pt x="5653" y="1899"/>
                    </a:lnTo>
                    <a:lnTo>
                      <a:pt x="5654" y="1903"/>
                    </a:lnTo>
                    <a:lnTo>
                      <a:pt x="5654" y="1907"/>
                    </a:lnTo>
                    <a:lnTo>
                      <a:pt x="5747" y="1919"/>
                    </a:lnTo>
                    <a:lnTo>
                      <a:pt x="5754" y="1918"/>
                    </a:lnTo>
                    <a:lnTo>
                      <a:pt x="5761" y="1917"/>
                    </a:lnTo>
                    <a:lnTo>
                      <a:pt x="5768" y="1915"/>
                    </a:lnTo>
                    <a:lnTo>
                      <a:pt x="5775" y="1912"/>
                    </a:lnTo>
                    <a:lnTo>
                      <a:pt x="5780" y="1908"/>
                    </a:lnTo>
                    <a:lnTo>
                      <a:pt x="5786" y="1904"/>
                    </a:lnTo>
                    <a:lnTo>
                      <a:pt x="5792" y="1899"/>
                    </a:lnTo>
                    <a:lnTo>
                      <a:pt x="5797" y="1892"/>
                    </a:lnTo>
                    <a:lnTo>
                      <a:pt x="5807" y="1880"/>
                    </a:lnTo>
                    <a:lnTo>
                      <a:pt x="5815" y="1865"/>
                    </a:lnTo>
                    <a:lnTo>
                      <a:pt x="5823" y="1850"/>
                    </a:lnTo>
                    <a:lnTo>
                      <a:pt x="5830" y="1832"/>
                    </a:lnTo>
                    <a:lnTo>
                      <a:pt x="5835" y="1815"/>
                    </a:lnTo>
                    <a:lnTo>
                      <a:pt x="5841" y="1797"/>
                    </a:lnTo>
                    <a:lnTo>
                      <a:pt x="5845" y="1779"/>
                    </a:lnTo>
                    <a:lnTo>
                      <a:pt x="5847" y="1763"/>
                    </a:lnTo>
                    <a:lnTo>
                      <a:pt x="5852" y="1733"/>
                    </a:lnTo>
                    <a:lnTo>
                      <a:pt x="5853" y="1709"/>
                    </a:lnTo>
                    <a:lnTo>
                      <a:pt x="5853" y="1694"/>
                    </a:lnTo>
                    <a:lnTo>
                      <a:pt x="5853" y="1677"/>
                    </a:lnTo>
                    <a:lnTo>
                      <a:pt x="5853" y="1657"/>
                    </a:lnTo>
                    <a:lnTo>
                      <a:pt x="5853" y="1635"/>
                    </a:lnTo>
                    <a:lnTo>
                      <a:pt x="5853" y="1623"/>
                    </a:lnTo>
                    <a:lnTo>
                      <a:pt x="5853" y="1612"/>
                    </a:lnTo>
                    <a:lnTo>
                      <a:pt x="5855" y="1607"/>
                    </a:lnTo>
                    <a:lnTo>
                      <a:pt x="5858" y="1604"/>
                    </a:lnTo>
                    <a:lnTo>
                      <a:pt x="5865" y="1601"/>
                    </a:lnTo>
                    <a:lnTo>
                      <a:pt x="5873" y="1598"/>
                    </a:lnTo>
                    <a:lnTo>
                      <a:pt x="5873" y="1568"/>
                    </a:lnTo>
                    <a:lnTo>
                      <a:pt x="5867" y="1564"/>
                    </a:lnTo>
                    <a:lnTo>
                      <a:pt x="5859" y="1558"/>
                    </a:lnTo>
                    <a:lnTo>
                      <a:pt x="5850" y="1551"/>
                    </a:lnTo>
                    <a:lnTo>
                      <a:pt x="5843" y="1543"/>
                    </a:lnTo>
                    <a:lnTo>
                      <a:pt x="5835" y="1534"/>
                    </a:lnTo>
                    <a:lnTo>
                      <a:pt x="5830" y="1525"/>
                    </a:lnTo>
                    <a:lnTo>
                      <a:pt x="5827" y="1520"/>
                    </a:lnTo>
                    <a:lnTo>
                      <a:pt x="5826" y="1516"/>
                    </a:lnTo>
                    <a:lnTo>
                      <a:pt x="5826" y="1511"/>
                    </a:lnTo>
                    <a:lnTo>
                      <a:pt x="5826" y="1506"/>
                    </a:lnTo>
                    <a:lnTo>
                      <a:pt x="5816" y="1498"/>
                    </a:lnTo>
                    <a:lnTo>
                      <a:pt x="5808" y="1490"/>
                    </a:lnTo>
                    <a:lnTo>
                      <a:pt x="5799" y="1481"/>
                    </a:lnTo>
                    <a:lnTo>
                      <a:pt x="5791" y="1472"/>
                    </a:lnTo>
                    <a:lnTo>
                      <a:pt x="5776" y="1451"/>
                    </a:lnTo>
                    <a:lnTo>
                      <a:pt x="5761" y="1428"/>
                    </a:lnTo>
                    <a:lnTo>
                      <a:pt x="5748" y="1404"/>
                    </a:lnTo>
                    <a:lnTo>
                      <a:pt x="5735" y="1378"/>
                    </a:lnTo>
                    <a:lnTo>
                      <a:pt x="5721" y="1353"/>
                    </a:lnTo>
                    <a:lnTo>
                      <a:pt x="5707" y="1327"/>
                    </a:lnTo>
                    <a:lnTo>
                      <a:pt x="5700" y="1316"/>
                    </a:lnTo>
                    <a:lnTo>
                      <a:pt x="5692" y="1307"/>
                    </a:lnTo>
                    <a:lnTo>
                      <a:pt x="5684" y="1299"/>
                    </a:lnTo>
                    <a:lnTo>
                      <a:pt x="5674" y="1291"/>
                    </a:lnTo>
                    <a:lnTo>
                      <a:pt x="5664" y="1285"/>
                    </a:lnTo>
                    <a:lnTo>
                      <a:pt x="5652" y="1279"/>
                    </a:lnTo>
                    <a:lnTo>
                      <a:pt x="5640" y="1274"/>
                    </a:lnTo>
                    <a:lnTo>
                      <a:pt x="5628" y="1270"/>
                    </a:lnTo>
                    <a:lnTo>
                      <a:pt x="5600" y="1263"/>
                    </a:lnTo>
                    <a:lnTo>
                      <a:pt x="5570" y="1256"/>
                    </a:lnTo>
                    <a:lnTo>
                      <a:pt x="5540" y="1249"/>
                    </a:lnTo>
                    <a:lnTo>
                      <a:pt x="5508" y="1241"/>
                    </a:lnTo>
                    <a:lnTo>
                      <a:pt x="5503" y="1252"/>
                    </a:lnTo>
                    <a:lnTo>
                      <a:pt x="5500" y="1265"/>
                    </a:lnTo>
                    <a:lnTo>
                      <a:pt x="5498" y="1272"/>
                    </a:lnTo>
                    <a:lnTo>
                      <a:pt x="5496" y="1279"/>
                    </a:lnTo>
                    <a:lnTo>
                      <a:pt x="5492" y="1285"/>
                    </a:lnTo>
                    <a:lnTo>
                      <a:pt x="5488" y="1291"/>
                    </a:lnTo>
                    <a:lnTo>
                      <a:pt x="5483" y="1284"/>
                    </a:lnTo>
                    <a:lnTo>
                      <a:pt x="5476" y="1278"/>
                    </a:lnTo>
                    <a:lnTo>
                      <a:pt x="5469" y="1275"/>
                    </a:lnTo>
                    <a:lnTo>
                      <a:pt x="5462" y="1272"/>
                    </a:lnTo>
                    <a:lnTo>
                      <a:pt x="5446" y="1267"/>
                    </a:lnTo>
                    <a:lnTo>
                      <a:pt x="5431" y="1264"/>
                    </a:lnTo>
                    <a:lnTo>
                      <a:pt x="5423" y="1262"/>
                    </a:lnTo>
                    <a:lnTo>
                      <a:pt x="5417" y="1260"/>
                    </a:lnTo>
                    <a:lnTo>
                      <a:pt x="5411" y="1257"/>
                    </a:lnTo>
                    <a:lnTo>
                      <a:pt x="5406" y="1254"/>
                    </a:lnTo>
                    <a:lnTo>
                      <a:pt x="5401" y="1249"/>
                    </a:lnTo>
                    <a:lnTo>
                      <a:pt x="5398" y="1244"/>
                    </a:lnTo>
                    <a:lnTo>
                      <a:pt x="5396" y="1237"/>
                    </a:lnTo>
                    <a:lnTo>
                      <a:pt x="5395" y="1229"/>
                    </a:lnTo>
                    <a:lnTo>
                      <a:pt x="5378" y="1226"/>
                    </a:lnTo>
                    <a:lnTo>
                      <a:pt x="5341" y="1218"/>
                    </a:lnTo>
                    <a:lnTo>
                      <a:pt x="5322" y="1214"/>
                    </a:lnTo>
                    <a:lnTo>
                      <a:pt x="5305" y="1210"/>
                    </a:lnTo>
                    <a:lnTo>
                      <a:pt x="5293" y="1207"/>
                    </a:lnTo>
                    <a:lnTo>
                      <a:pt x="5288" y="1204"/>
                    </a:lnTo>
                    <a:lnTo>
                      <a:pt x="5289" y="1197"/>
                    </a:lnTo>
                    <a:lnTo>
                      <a:pt x="5293" y="1191"/>
                    </a:lnTo>
                    <a:lnTo>
                      <a:pt x="5298" y="1185"/>
                    </a:lnTo>
                    <a:lnTo>
                      <a:pt x="5304" y="1180"/>
                    </a:lnTo>
                    <a:lnTo>
                      <a:pt x="5319" y="1167"/>
                    </a:lnTo>
                    <a:lnTo>
                      <a:pt x="5334" y="1154"/>
                    </a:lnTo>
                    <a:lnTo>
                      <a:pt x="5331" y="1147"/>
                    </a:lnTo>
                    <a:lnTo>
                      <a:pt x="5329" y="1140"/>
                    </a:lnTo>
                    <a:lnTo>
                      <a:pt x="5328" y="1132"/>
                    </a:lnTo>
                    <a:lnTo>
                      <a:pt x="5329" y="1125"/>
                    </a:lnTo>
                    <a:lnTo>
                      <a:pt x="5331" y="1117"/>
                    </a:lnTo>
                    <a:lnTo>
                      <a:pt x="5334" y="1108"/>
                    </a:lnTo>
                    <a:lnTo>
                      <a:pt x="5339" y="1100"/>
                    </a:lnTo>
                    <a:lnTo>
                      <a:pt x="5343" y="1092"/>
                    </a:lnTo>
                    <a:lnTo>
                      <a:pt x="5365" y="1064"/>
                    </a:lnTo>
                    <a:lnTo>
                      <a:pt x="5382" y="1043"/>
                    </a:lnTo>
                    <a:lnTo>
                      <a:pt x="5382" y="964"/>
                    </a:lnTo>
                    <a:lnTo>
                      <a:pt x="5388" y="962"/>
                    </a:lnTo>
                    <a:lnTo>
                      <a:pt x="5396" y="961"/>
                    </a:lnTo>
                    <a:lnTo>
                      <a:pt x="5402" y="961"/>
                    </a:lnTo>
                    <a:lnTo>
                      <a:pt x="5409" y="962"/>
                    </a:lnTo>
                    <a:lnTo>
                      <a:pt x="5423" y="963"/>
                    </a:lnTo>
                    <a:lnTo>
                      <a:pt x="5441" y="964"/>
                    </a:lnTo>
                    <a:lnTo>
                      <a:pt x="5465" y="964"/>
                    </a:lnTo>
                    <a:lnTo>
                      <a:pt x="5492" y="966"/>
                    </a:lnTo>
                    <a:lnTo>
                      <a:pt x="5521" y="968"/>
                    </a:lnTo>
                    <a:lnTo>
                      <a:pt x="5552" y="970"/>
                    </a:lnTo>
                    <a:lnTo>
                      <a:pt x="5583" y="972"/>
                    </a:lnTo>
                    <a:lnTo>
                      <a:pt x="5612" y="974"/>
                    </a:lnTo>
                    <a:lnTo>
                      <a:pt x="5641" y="975"/>
                    </a:lnTo>
                    <a:lnTo>
                      <a:pt x="5667" y="976"/>
                    </a:lnTo>
                    <a:lnTo>
                      <a:pt x="5671" y="975"/>
                    </a:lnTo>
                    <a:lnTo>
                      <a:pt x="5677" y="972"/>
                    </a:lnTo>
                    <a:lnTo>
                      <a:pt x="5682" y="968"/>
                    </a:lnTo>
                    <a:lnTo>
                      <a:pt x="5687" y="964"/>
                    </a:lnTo>
                    <a:lnTo>
                      <a:pt x="5674" y="945"/>
                    </a:lnTo>
                    <a:lnTo>
                      <a:pt x="5807" y="945"/>
                    </a:lnTo>
                    <a:lnTo>
                      <a:pt x="5809" y="949"/>
                    </a:lnTo>
                    <a:lnTo>
                      <a:pt x="5816" y="955"/>
                    </a:lnTo>
                    <a:lnTo>
                      <a:pt x="5825" y="962"/>
                    </a:lnTo>
                    <a:lnTo>
                      <a:pt x="5836" y="969"/>
                    </a:lnTo>
                    <a:lnTo>
                      <a:pt x="5857" y="982"/>
                    </a:lnTo>
                    <a:lnTo>
                      <a:pt x="5867" y="988"/>
                    </a:lnTo>
                    <a:lnTo>
                      <a:pt x="5871" y="988"/>
                    </a:lnTo>
                    <a:lnTo>
                      <a:pt x="5875" y="987"/>
                    </a:lnTo>
                    <a:lnTo>
                      <a:pt x="5878" y="985"/>
                    </a:lnTo>
                    <a:lnTo>
                      <a:pt x="5880" y="983"/>
                    </a:lnTo>
                    <a:lnTo>
                      <a:pt x="5884" y="979"/>
                    </a:lnTo>
                    <a:lnTo>
                      <a:pt x="5888" y="973"/>
                    </a:lnTo>
                    <a:lnTo>
                      <a:pt x="5892" y="967"/>
                    </a:lnTo>
                    <a:lnTo>
                      <a:pt x="5898" y="963"/>
                    </a:lnTo>
                    <a:lnTo>
                      <a:pt x="5902" y="961"/>
                    </a:lnTo>
                    <a:lnTo>
                      <a:pt x="5906" y="959"/>
                    </a:lnTo>
                    <a:lnTo>
                      <a:pt x="5913" y="958"/>
                    </a:lnTo>
                    <a:lnTo>
                      <a:pt x="5920" y="958"/>
                    </a:lnTo>
                    <a:lnTo>
                      <a:pt x="5911" y="954"/>
                    </a:lnTo>
                    <a:lnTo>
                      <a:pt x="5904" y="950"/>
                    </a:lnTo>
                    <a:lnTo>
                      <a:pt x="5900" y="945"/>
                    </a:lnTo>
                    <a:lnTo>
                      <a:pt x="5897" y="941"/>
                    </a:lnTo>
                    <a:lnTo>
                      <a:pt x="5894" y="935"/>
                    </a:lnTo>
                    <a:lnTo>
                      <a:pt x="5893" y="927"/>
                    </a:lnTo>
                    <a:lnTo>
                      <a:pt x="5893" y="916"/>
                    </a:lnTo>
                    <a:lnTo>
                      <a:pt x="5893" y="902"/>
                    </a:lnTo>
                    <a:lnTo>
                      <a:pt x="5893" y="886"/>
                    </a:lnTo>
                    <a:lnTo>
                      <a:pt x="5894" y="871"/>
                    </a:lnTo>
                    <a:lnTo>
                      <a:pt x="5897" y="858"/>
                    </a:lnTo>
                    <a:lnTo>
                      <a:pt x="5900" y="846"/>
                    </a:lnTo>
                    <a:lnTo>
                      <a:pt x="5902" y="841"/>
                    </a:lnTo>
                    <a:lnTo>
                      <a:pt x="5904" y="835"/>
                    </a:lnTo>
                    <a:lnTo>
                      <a:pt x="5906" y="831"/>
                    </a:lnTo>
                    <a:lnTo>
                      <a:pt x="5910" y="828"/>
                    </a:lnTo>
                    <a:lnTo>
                      <a:pt x="5913" y="825"/>
                    </a:lnTo>
                    <a:lnTo>
                      <a:pt x="5917" y="823"/>
                    </a:lnTo>
                    <a:lnTo>
                      <a:pt x="5922" y="822"/>
                    </a:lnTo>
                    <a:lnTo>
                      <a:pt x="5926" y="822"/>
                    </a:lnTo>
                    <a:lnTo>
                      <a:pt x="5945" y="822"/>
                    </a:lnTo>
                    <a:lnTo>
                      <a:pt x="5974" y="822"/>
                    </a:lnTo>
                    <a:lnTo>
                      <a:pt x="6006" y="822"/>
                    </a:lnTo>
                    <a:lnTo>
                      <a:pt x="6033" y="822"/>
                    </a:lnTo>
                    <a:lnTo>
                      <a:pt x="6037" y="828"/>
                    </a:lnTo>
                    <a:lnTo>
                      <a:pt x="6045" y="838"/>
                    </a:lnTo>
                    <a:lnTo>
                      <a:pt x="6055" y="849"/>
                    </a:lnTo>
                    <a:lnTo>
                      <a:pt x="6066" y="860"/>
                    </a:lnTo>
                    <a:lnTo>
                      <a:pt x="6077" y="871"/>
                    </a:lnTo>
                    <a:lnTo>
                      <a:pt x="6086" y="881"/>
                    </a:lnTo>
                    <a:lnTo>
                      <a:pt x="6094" y="887"/>
                    </a:lnTo>
                    <a:lnTo>
                      <a:pt x="6099" y="889"/>
                    </a:lnTo>
                    <a:lnTo>
                      <a:pt x="6102" y="881"/>
                    </a:lnTo>
                    <a:lnTo>
                      <a:pt x="6105" y="874"/>
                    </a:lnTo>
                    <a:lnTo>
                      <a:pt x="6108" y="867"/>
                    </a:lnTo>
                    <a:lnTo>
                      <a:pt x="6112" y="861"/>
                    </a:lnTo>
                    <a:lnTo>
                      <a:pt x="6116" y="855"/>
                    </a:lnTo>
                    <a:lnTo>
                      <a:pt x="6119" y="848"/>
                    </a:lnTo>
                    <a:lnTo>
                      <a:pt x="6123" y="839"/>
                    </a:lnTo>
                    <a:lnTo>
                      <a:pt x="6125" y="828"/>
                    </a:lnTo>
                    <a:lnTo>
                      <a:pt x="6128" y="830"/>
                    </a:lnTo>
                    <a:lnTo>
                      <a:pt x="6132" y="831"/>
                    </a:lnTo>
                    <a:lnTo>
                      <a:pt x="6135" y="832"/>
                    </a:lnTo>
                    <a:lnTo>
                      <a:pt x="6139" y="832"/>
                    </a:lnTo>
                    <a:lnTo>
                      <a:pt x="6144" y="832"/>
                    </a:lnTo>
                    <a:lnTo>
                      <a:pt x="6149" y="831"/>
                    </a:lnTo>
                    <a:lnTo>
                      <a:pt x="6153" y="830"/>
                    </a:lnTo>
                    <a:lnTo>
                      <a:pt x="6159" y="828"/>
                    </a:lnTo>
                    <a:lnTo>
                      <a:pt x="6148" y="815"/>
                    </a:lnTo>
                    <a:lnTo>
                      <a:pt x="6137" y="803"/>
                    </a:lnTo>
                    <a:lnTo>
                      <a:pt x="6133" y="796"/>
                    </a:lnTo>
                    <a:lnTo>
                      <a:pt x="6128" y="789"/>
                    </a:lnTo>
                    <a:lnTo>
                      <a:pt x="6126" y="782"/>
                    </a:lnTo>
                    <a:lnTo>
                      <a:pt x="6125" y="772"/>
                    </a:lnTo>
                    <a:lnTo>
                      <a:pt x="6126" y="767"/>
                    </a:lnTo>
                    <a:lnTo>
                      <a:pt x="6128" y="764"/>
                    </a:lnTo>
                    <a:lnTo>
                      <a:pt x="6132" y="761"/>
                    </a:lnTo>
                    <a:lnTo>
                      <a:pt x="6135" y="760"/>
                    </a:lnTo>
                    <a:lnTo>
                      <a:pt x="6140" y="759"/>
                    </a:lnTo>
                    <a:lnTo>
                      <a:pt x="6146" y="759"/>
                    </a:lnTo>
                    <a:lnTo>
                      <a:pt x="6152" y="760"/>
                    </a:lnTo>
                    <a:lnTo>
                      <a:pt x="6159" y="762"/>
                    </a:lnTo>
                    <a:lnTo>
                      <a:pt x="6188" y="771"/>
                    </a:lnTo>
                    <a:lnTo>
                      <a:pt x="6212" y="778"/>
                    </a:lnTo>
                    <a:lnTo>
                      <a:pt x="6202" y="779"/>
                    </a:lnTo>
                    <a:lnTo>
                      <a:pt x="6193" y="782"/>
                    </a:lnTo>
                    <a:lnTo>
                      <a:pt x="6184" y="784"/>
                    </a:lnTo>
                    <a:lnTo>
                      <a:pt x="6179" y="785"/>
                    </a:lnTo>
                    <a:lnTo>
                      <a:pt x="6180" y="792"/>
                    </a:lnTo>
                    <a:lnTo>
                      <a:pt x="6183" y="797"/>
                    </a:lnTo>
                    <a:lnTo>
                      <a:pt x="6186" y="802"/>
                    </a:lnTo>
                    <a:lnTo>
                      <a:pt x="6191" y="807"/>
                    </a:lnTo>
                    <a:lnTo>
                      <a:pt x="6201" y="815"/>
                    </a:lnTo>
                    <a:lnTo>
                      <a:pt x="6211" y="822"/>
                    </a:lnTo>
                    <a:lnTo>
                      <a:pt x="6222" y="829"/>
                    </a:lnTo>
                    <a:lnTo>
                      <a:pt x="6230" y="837"/>
                    </a:lnTo>
                    <a:lnTo>
                      <a:pt x="6234" y="842"/>
                    </a:lnTo>
                    <a:lnTo>
                      <a:pt x="6236" y="847"/>
                    </a:lnTo>
                    <a:lnTo>
                      <a:pt x="6238" y="853"/>
                    </a:lnTo>
                    <a:lnTo>
                      <a:pt x="6238" y="859"/>
                    </a:lnTo>
                    <a:lnTo>
                      <a:pt x="6237" y="867"/>
                    </a:lnTo>
                    <a:lnTo>
                      <a:pt x="6231" y="878"/>
                    </a:lnTo>
                    <a:lnTo>
                      <a:pt x="6224" y="893"/>
                    </a:lnTo>
                    <a:lnTo>
                      <a:pt x="6215" y="907"/>
                    </a:lnTo>
                    <a:lnTo>
                      <a:pt x="6206" y="922"/>
                    </a:lnTo>
                    <a:lnTo>
                      <a:pt x="6200" y="937"/>
                    </a:lnTo>
                    <a:lnTo>
                      <a:pt x="6196" y="944"/>
                    </a:lnTo>
                    <a:lnTo>
                      <a:pt x="6194" y="952"/>
                    </a:lnTo>
                    <a:lnTo>
                      <a:pt x="6192" y="958"/>
                    </a:lnTo>
                    <a:lnTo>
                      <a:pt x="6192" y="964"/>
                    </a:lnTo>
                    <a:lnTo>
                      <a:pt x="6193" y="970"/>
                    </a:lnTo>
                    <a:lnTo>
                      <a:pt x="6195" y="974"/>
                    </a:lnTo>
                    <a:lnTo>
                      <a:pt x="6198" y="977"/>
                    </a:lnTo>
                    <a:lnTo>
                      <a:pt x="6202" y="979"/>
                    </a:lnTo>
                    <a:lnTo>
                      <a:pt x="6205" y="981"/>
                    </a:lnTo>
                    <a:lnTo>
                      <a:pt x="6208" y="984"/>
                    </a:lnTo>
                    <a:lnTo>
                      <a:pt x="6211" y="988"/>
                    </a:lnTo>
                    <a:lnTo>
                      <a:pt x="6212" y="994"/>
                    </a:lnTo>
                    <a:lnTo>
                      <a:pt x="6212" y="1001"/>
                    </a:lnTo>
                    <a:lnTo>
                      <a:pt x="6211" y="1010"/>
                    </a:lnTo>
                    <a:lnTo>
                      <a:pt x="6208" y="1018"/>
                    </a:lnTo>
                    <a:lnTo>
                      <a:pt x="6204" y="1026"/>
                    </a:lnTo>
                    <a:lnTo>
                      <a:pt x="6202" y="1030"/>
                    </a:lnTo>
                    <a:lnTo>
                      <a:pt x="6200" y="1033"/>
                    </a:lnTo>
                    <a:lnTo>
                      <a:pt x="6196" y="1036"/>
                    </a:lnTo>
                    <a:lnTo>
                      <a:pt x="6192" y="1039"/>
                    </a:lnTo>
                    <a:lnTo>
                      <a:pt x="6188" y="1041"/>
                    </a:lnTo>
                    <a:lnTo>
                      <a:pt x="6183" y="1042"/>
                    </a:lnTo>
                    <a:lnTo>
                      <a:pt x="6178" y="1043"/>
                    </a:lnTo>
                    <a:lnTo>
                      <a:pt x="6172" y="1043"/>
                    </a:lnTo>
                    <a:lnTo>
                      <a:pt x="6173" y="1062"/>
                    </a:lnTo>
                    <a:lnTo>
                      <a:pt x="6175" y="1079"/>
                    </a:lnTo>
                    <a:lnTo>
                      <a:pt x="6181" y="1095"/>
                    </a:lnTo>
                    <a:lnTo>
                      <a:pt x="6186" y="1111"/>
                    </a:lnTo>
                    <a:lnTo>
                      <a:pt x="6194" y="1126"/>
                    </a:lnTo>
                    <a:lnTo>
                      <a:pt x="6204" y="1140"/>
                    </a:lnTo>
                    <a:lnTo>
                      <a:pt x="6214" y="1153"/>
                    </a:lnTo>
                    <a:lnTo>
                      <a:pt x="6226" y="1166"/>
                    </a:lnTo>
                    <a:lnTo>
                      <a:pt x="6238" y="1179"/>
                    </a:lnTo>
                    <a:lnTo>
                      <a:pt x="6252" y="1190"/>
                    </a:lnTo>
                    <a:lnTo>
                      <a:pt x="6267" y="1201"/>
                    </a:lnTo>
                    <a:lnTo>
                      <a:pt x="6281" y="1211"/>
                    </a:lnTo>
                    <a:lnTo>
                      <a:pt x="6296" y="1220"/>
                    </a:lnTo>
                    <a:lnTo>
                      <a:pt x="6313" y="1230"/>
                    </a:lnTo>
                    <a:lnTo>
                      <a:pt x="6328" y="1239"/>
                    </a:lnTo>
                    <a:lnTo>
                      <a:pt x="6345" y="1247"/>
                    </a:lnTo>
                    <a:lnTo>
                      <a:pt x="6352" y="1251"/>
                    </a:lnTo>
                    <a:lnTo>
                      <a:pt x="6360" y="1256"/>
                    </a:lnTo>
                    <a:lnTo>
                      <a:pt x="6365" y="1261"/>
                    </a:lnTo>
                    <a:lnTo>
                      <a:pt x="6371" y="1267"/>
                    </a:lnTo>
                    <a:lnTo>
                      <a:pt x="6379" y="1282"/>
                    </a:lnTo>
                    <a:lnTo>
                      <a:pt x="6387" y="1297"/>
                    </a:lnTo>
                    <a:lnTo>
                      <a:pt x="6392" y="1304"/>
                    </a:lnTo>
                    <a:lnTo>
                      <a:pt x="6396" y="1311"/>
                    </a:lnTo>
                    <a:lnTo>
                      <a:pt x="6402" y="1318"/>
                    </a:lnTo>
                    <a:lnTo>
                      <a:pt x="6407" y="1325"/>
                    </a:lnTo>
                    <a:lnTo>
                      <a:pt x="6415" y="1331"/>
                    </a:lnTo>
                    <a:lnTo>
                      <a:pt x="6422" y="1337"/>
                    </a:lnTo>
                    <a:lnTo>
                      <a:pt x="6432" y="1342"/>
                    </a:lnTo>
                    <a:lnTo>
                      <a:pt x="6444" y="1346"/>
                    </a:lnTo>
                    <a:lnTo>
                      <a:pt x="6452" y="1347"/>
                    </a:lnTo>
                    <a:lnTo>
                      <a:pt x="6464" y="1351"/>
                    </a:lnTo>
                    <a:lnTo>
                      <a:pt x="6471" y="1353"/>
                    </a:lnTo>
                    <a:lnTo>
                      <a:pt x="6476" y="1356"/>
                    </a:lnTo>
                    <a:lnTo>
                      <a:pt x="6481" y="1360"/>
                    </a:lnTo>
                    <a:lnTo>
                      <a:pt x="6484" y="1364"/>
                    </a:lnTo>
                    <a:lnTo>
                      <a:pt x="6491" y="1374"/>
                    </a:lnTo>
                    <a:lnTo>
                      <a:pt x="6497" y="1384"/>
                    </a:lnTo>
                    <a:lnTo>
                      <a:pt x="6506" y="1395"/>
                    </a:lnTo>
                    <a:lnTo>
                      <a:pt x="6515" y="1404"/>
                    </a:lnTo>
                    <a:lnTo>
                      <a:pt x="6525" y="1413"/>
                    </a:lnTo>
                    <a:lnTo>
                      <a:pt x="6533" y="1420"/>
                    </a:lnTo>
                    <a:lnTo>
                      <a:pt x="6538" y="1422"/>
                    </a:lnTo>
                    <a:lnTo>
                      <a:pt x="6542" y="1424"/>
                    </a:lnTo>
                    <a:lnTo>
                      <a:pt x="6547" y="1425"/>
                    </a:lnTo>
                    <a:lnTo>
                      <a:pt x="6551" y="1426"/>
                    </a:lnTo>
                    <a:lnTo>
                      <a:pt x="6554" y="1425"/>
                    </a:lnTo>
                    <a:lnTo>
                      <a:pt x="6558" y="1425"/>
                    </a:lnTo>
                    <a:lnTo>
                      <a:pt x="6561" y="1423"/>
                    </a:lnTo>
                    <a:lnTo>
                      <a:pt x="6564" y="1421"/>
                    </a:lnTo>
                    <a:lnTo>
                      <a:pt x="6570" y="1416"/>
                    </a:lnTo>
                    <a:lnTo>
                      <a:pt x="6575" y="1410"/>
                    </a:lnTo>
                    <a:lnTo>
                      <a:pt x="6578" y="1402"/>
                    </a:lnTo>
                    <a:lnTo>
                      <a:pt x="6582" y="1391"/>
                    </a:lnTo>
                    <a:lnTo>
                      <a:pt x="6583" y="1381"/>
                    </a:lnTo>
                    <a:lnTo>
                      <a:pt x="6584" y="1370"/>
                    </a:lnTo>
                    <a:lnTo>
                      <a:pt x="6583" y="1366"/>
                    </a:lnTo>
                    <a:lnTo>
                      <a:pt x="6582" y="1362"/>
                    </a:lnTo>
                    <a:lnTo>
                      <a:pt x="6579" y="1359"/>
                    </a:lnTo>
                    <a:lnTo>
                      <a:pt x="6576" y="1356"/>
                    </a:lnTo>
                    <a:lnTo>
                      <a:pt x="6570" y="1350"/>
                    </a:lnTo>
                    <a:lnTo>
                      <a:pt x="6561" y="1345"/>
                    </a:lnTo>
                    <a:lnTo>
                      <a:pt x="6552" y="1340"/>
                    </a:lnTo>
                    <a:lnTo>
                      <a:pt x="6544" y="1333"/>
                    </a:lnTo>
                    <a:lnTo>
                      <a:pt x="6542" y="1329"/>
                    </a:lnTo>
                    <a:lnTo>
                      <a:pt x="6539" y="1325"/>
                    </a:lnTo>
                    <a:lnTo>
                      <a:pt x="6538" y="1320"/>
                    </a:lnTo>
                    <a:lnTo>
                      <a:pt x="6538" y="1315"/>
                    </a:lnTo>
                    <a:lnTo>
                      <a:pt x="6539" y="1313"/>
                    </a:lnTo>
                    <a:lnTo>
                      <a:pt x="6542" y="1310"/>
                    </a:lnTo>
                    <a:lnTo>
                      <a:pt x="6547" y="1308"/>
                    </a:lnTo>
                    <a:lnTo>
                      <a:pt x="6552" y="1306"/>
                    </a:lnTo>
                    <a:lnTo>
                      <a:pt x="6565" y="1301"/>
                    </a:lnTo>
                    <a:lnTo>
                      <a:pt x="6577" y="1297"/>
                    </a:lnTo>
                    <a:lnTo>
                      <a:pt x="6569" y="1280"/>
                    </a:lnTo>
                    <a:lnTo>
                      <a:pt x="6560" y="1268"/>
                    </a:lnTo>
                    <a:lnTo>
                      <a:pt x="6550" y="1256"/>
                    </a:lnTo>
                    <a:lnTo>
                      <a:pt x="6538" y="1241"/>
                    </a:lnTo>
                    <a:lnTo>
                      <a:pt x="6540" y="1239"/>
                    </a:lnTo>
                    <a:lnTo>
                      <a:pt x="6544" y="1238"/>
                    </a:lnTo>
                    <a:lnTo>
                      <a:pt x="6550" y="1237"/>
                    </a:lnTo>
                    <a:lnTo>
                      <a:pt x="6556" y="1236"/>
                    </a:lnTo>
                    <a:lnTo>
                      <a:pt x="6572" y="1235"/>
                    </a:lnTo>
                    <a:lnTo>
                      <a:pt x="6590" y="1235"/>
                    </a:lnTo>
                    <a:lnTo>
                      <a:pt x="6583" y="1229"/>
                    </a:lnTo>
                    <a:lnTo>
                      <a:pt x="6572" y="1219"/>
                    </a:lnTo>
                    <a:lnTo>
                      <a:pt x="6566" y="1214"/>
                    </a:lnTo>
                    <a:lnTo>
                      <a:pt x="6562" y="1210"/>
                    </a:lnTo>
                    <a:lnTo>
                      <a:pt x="6559" y="1207"/>
                    </a:lnTo>
                    <a:lnTo>
                      <a:pt x="6558" y="1204"/>
                    </a:lnTo>
                    <a:lnTo>
                      <a:pt x="6550" y="1199"/>
                    </a:lnTo>
                    <a:lnTo>
                      <a:pt x="6544" y="1194"/>
                    </a:lnTo>
                    <a:lnTo>
                      <a:pt x="6540" y="1187"/>
                    </a:lnTo>
                    <a:lnTo>
                      <a:pt x="6537" y="1180"/>
                    </a:lnTo>
                    <a:lnTo>
                      <a:pt x="6533" y="1173"/>
                    </a:lnTo>
                    <a:lnTo>
                      <a:pt x="6532" y="1163"/>
                    </a:lnTo>
                    <a:lnTo>
                      <a:pt x="6531" y="1153"/>
                    </a:lnTo>
                    <a:lnTo>
                      <a:pt x="6531" y="1142"/>
                    </a:lnTo>
                    <a:lnTo>
                      <a:pt x="6536" y="1142"/>
                    </a:lnTo>
                    <a:lnTo>
                      <a:pt x="6540" y="1140"/>
                    </a:lnTo>
                    <a:lnTo>
                      <a:pt x="6545" y="1138"/>
                    </a:lnTo>
                    <a:lnTo>
                      <a:pt x="6549" y="1136"/>
                    </a:lnTo>
                    <a:lnTo>
                      <a:pt x="6552" y="1133"/>
                    </a:lnTo>
                    <a:lnTo>
                      <a:pt x="6555" y="1130"/>
                    </a:lnTo>
                    <a:lnTo>
                      <a:pt x="6556" y="1127"/>
                    </a:lnTo>
                    <a:lnTo>
                      <a:pt x="6558" y="1124"/>
                    </a:lnTo>
                    <a:lnTo>
                      <a:pt x="6539" y="1118"/>
                    </a:lnTo>
                    <a:lnTo>
                      <a:pt x="6522" y="1110"/>
                    </a:lnTo>
                    <a:lnTo>
                      <a:pt x="6508" y="1103"/>
                    </a:lnTo>
                    <a:lnTo>
                      <a:pt x="6496" y="1095"/>
                    </a:lnTo>
                    <a:lnTo>
                      <a:pt x="6476" y="1078"/>
                    </a:lnTo>
                    <a:lnTo>
                      <a:pt x="6460" y="1063"/>
                    </a:lnTo>
                    <a:lnTo>
                      <a:pt x="6452" y="1055"/>
                    </a:lnTo>
                    <a:lnTo>
                      <a:pt x="6444" y="1048"/>
                    </a:lnTo>
                    <a:lnTo>
                      <a:pt x="6437" y="1043"/>
                    </a:lnTo>
                    <a:lnTo>
                      <a:pt x="6427" y="1039"/>
                    </a:lnTo>
                    <a:lnTo>
                      <a:pt x="6417" y="1036"/>
                    </a:lnTo>
                    <a:lnTo>
                      <a:pt x="6406" y="1035"/>
                    </a:lnTo>
                    <a:lnTo>
                      <a:pt x="6393" y="1035"/>
                    </a:lnTo>
                    <a:lnTo>
                      <a:pt x="6377" y="1037"/>
                    </a:lnTo>
                    <a:lnTo>
                      <a:pt x="6375" y="1038"/>
                    </a:lnTo>
                    <a:lnTo>
                      <a:pt x="6373" y="1037"/>
                    </a:lnTo>
                    <a:lnTo>
                      <a:pt x="6372" y="1036"/>
                    </a:lnTo>
                    <a:lnTo>
                      <a:pt x="6370" y="1035"/>
                    </a:lnTo>
                    <a:lnTo>
                      <a:pt x="6368" y="1031"/>
                    </a:lnTo>
                    <a:lnTo>
                      <a:pt x="6365" y="1025"/>
                    </a:lnTo>
                    <a:lnTo>
                      <a:pt x="6363" y="1009"/>
                    </a:lnTo>
                    <a:lnTo>
                      <a:pt x="6360" y="990"/>
                    </a:lnTo>
                    <a:lnTo>
                      <a:pt x="6358" y="981"/>
                    </a:lnTo>
                    <a:lnTo>
                      <a:pt x="6354" y="972"/>
                    </a:lnTo>
                    <a:lnTo>
                      <a:pt x="6351" y="963"/>
                    </a:lnTo>
                    <a:lnTo>
                      <a:pt x="6346" y="956"/>
                    </a:lnTo>
                    <a:lnTo>
                      <a:pt x="6340" y="949"/>
                    </a:lnTo>
                    <a:lnTo>
                      <a:pt x="6332" y="943"/>
                    </a:lnTo>
                    <a:lnTo>
                      <a:pt x="6328" y="941"/>
                    </a:lnTo>
                    <a:lnTo>
                      <a:pt x="6323" y="940"/>
                    </a:lnTo>
                    <a:lnTo>
                      <a:pt x="6317" y="939"/>
                    </a:lnTo>
                    <a:lnTo>
                      <a:pt x="6312" y="939"/>
                    </a:lnTo>
                    <a:lnTo>
                      <a:pt x="6392" y="889"/>
                    </a:lnTo>
                    <a:lnTo>
                      <a:pt x="6396" y="890"/>
                    </a:lnTo>
                    <a:lnTo>
                      <a:pt x="6399" y="894"/>
                    </a:lnTo>
                    <a:lnTo>
                      <a:pt x="6403" y="898"/>
                    </a:lnTo>
                    <a:lnTo>
                      <a:pt x="6405" y="902"/>
                    </a:lnTo>
                    <a:lnTo>
                      <a:pt x="6408" y="907"/>
                    </a:lnTo>
                    <a:lnTo>
                      <a:pt x="6413" y="911"/>
                    </a:lnTo>
                    <a:lnTo>
                      <a:pt x="6415" y="912"/>
                    </a:lnTo>
                    <a:lnTo>
                      <a:pt x="6418" y="913"/>
                    </a:lnTo>
                    <a:lnTo>
                      <a:pt x="6421" y="914"/>
                    </a:lnTo>
                    <a:lnTo>
                      <a:pt x="6425" y="914"/>
                    </a:lnTo>
                    <a:lnTo>
                      <a:pt x="6435" y="913"/>
                    </a:lnTo>
                    <a:lnTo>
                      <a:pt x="6446" y="910"/>
                    </a:lnTo>
                    <a:lnTo>
                      <a:pt x="6458" y="906"/>
                    </a:lnTo>
                    <a:lnTo>
                      <a:pt x="6470" y="901"/>
                    </a:lnTo>
                    <a:lnTo>
                      <a:pt x="6495" y="888"/>
                    </a:lnTo>
                    <a:lnTo>
                      <a:pt x="6525" y="877"/>
                    </a:lnTo>
                    <a:lnTo>
                      <a:pt x="6544" y="877"/>
                    </a:lnTo>
                    <a:lnTo>
                      <a:pt x="6547" y="885"/>
                    </a:lnTo>
                    <a:lnTo>
                      <a:pt x="6551" y="893"/>
                    </a:lnTo>
                    <a:lnTo>
                      <a:pt x="6556" y="899"/>
                    </a:lnTo>
                    <a:lnTo>
                      <a:pt x="6562" y="905"/>
                    </a:lnTo>
                    <a:lnTo>
                      <a:pt x="6576" y="915"/>
                    </a:lnTo>
                    <a:lnTo>
                      <a:pt x="6590" y="927"/>
                    </a:lnTo>
                    <a:lnTo>
                      <a:pt x="6596" y="906"/>
                    </a:lnTo>
                    <a:lnTo>
                      <a:pt x="6601" y="884"/>
                    </a:lnTo>
                    <a:lnTo>
                      <a:pt x="6605" y="873"/>
                    </a:lnTo>
                    <a:lnTo>
                      <a:pt x="6609" y="863"/>
                    </a:lnTo>
                    <a:lnTo>
                      <a:pt x="6614" y="854"/>
                    </a:lnTo>
                    <a:lnTo>
                      <a:pt x="6619" y="845"/>
                    </a:lnTo>
                    <a:lnTo>
                      <a:pt x="6626" y="835"/>
                    </a:lnTo>
                    <a:lnTo>
                      <a:pt x="6633" y="827"/>
                    </a:lnTo>
                    <a:lnTo>
                      <a:pt x="6642" y="821"/>
                    </a:lnTo>
                    <a:lnTo>
                      <a:pt x="6651" y="815"/>
                    </a:lnTo>
                    <a:lnTo>
                      <a:pt x="6662" y="810"/>
                    </a:lnTo>
                    <a:lnTo>
                      <a:pt x="6674" y="806"/>
                    </a:lnTo>
                    <a:lnTo>
                      <a:pt x="6688" y="804"/>
                    </a:lnTo>
                    <a:lnTo>
                      <a:pt x="6704" y="803"/>
                    </a:lnTo>
                    <a:lnTo>
                      <a:pt x="6701" y="799"/>
                    </a:lnTo>
                    <a:lnTo>
                      <a:pt x="6700" y="794"/>
                    </a:lnTo>
                    <a:lnTo>
                      <a:pt x="6700" y="790"/>
                    </a:lnTo>
                    <a:lnTo>
                      <a:pt x="6701" y="785"/>
                    </a:lnTo>
                    <a:lnTo>
                      <a:pt x="6702" y="775"/>
                    </a:lnTo>
                    <a:lnTo>
                      <a:pt x="6704" y="766"/>
                    </a:lnTo>
                    <a:lnTo>
                      <a:pt x="6709" y="770"/>
                    </a:lnTo>
                    <a:lnTo>
                      <a:pt x="6715" y="773"/>
                    </a:lnTo>
                    <a:lnTo>
                      <a:pt x="6721" y="775"/>
                    </a:lnTo>
                    <a:lnTo>
                      <a:pt x="6729" y="777"/>
                    </a:lnTo>
                    <a:lnTo>
                      <a:pt x="6744" y="778"/>
                    </a:lnTo>
                    <a:lnTo>
                      <a:pt x="6763" y="778"/>
                    </a:lnTo>
                    <a:lnTo>
                      <a:pt x="6774" y="781"/>
                    </a:lnTo>
                    <a:lnTo>
                      <a:pt x="6787" y="784"/>
                    </a:lnTo>
                    <a:lnTo>
                      <a:pt x="6795" y="785"/>
                    </a:lnTo>
                    <a:lnTo>
                      <a:pt x="6801" y="784"/>
                    </a:lnTo>
                    <a:lnTo>
                      <a:pt x="6809" y="783"/>
                    </a:lnTo>
                    <a:lnTo>
                      <a:pt x="6817" y="778"/>
                    </a:lnTo>
                    <a:lnTo>
                      <a:pt x="6813" y="767"/>
                    </a:lnTo>
                    <a:lnTo>
                      <a:pt x="6813" y="762"/>
                    </a:lnTo>
                    <a:lnTo>
                      <a:pt x="6816" y="757"/>
                    </a:lnTo>
                    <a:lnTo>
                      <a:pt x="6817" y="742"/>
                    </a:lnTo>
                    <a:lnTo>
                      <a:pt x="6790" y="738"/>
                    </a:lnTo>
                    <a:lnTo>
                      <a:pt x="6766" y="733"/>
                    </a:lnTo>
                    <a:lnTo>
                      <a:pt x="6743" y="727"/>
                    </a:lnTo>
                    <a:lnTo>
                      <a:pt x="6722" y="720"/>
                    </a:lnTo>
                    <a:lnTo>
                      <a:pt x="6685" y="706"/>
                    </a:lnTo>
                    <a:lnTo>
                      <a:pt x="6650" y="692"/>
                    </a:lnTo>
                    <a:lnTo>
                      <a:pt x="6632" y="685"/>
                    </a:lnTo>
                    <a:lnTo>
                      <a:pt x="6616" y="678"/>
                    </a:lnTo>
                    <a:lnTo>
                      <a:pt x="6598" y="672"/>
                    </a:lnTo>
                    <a:lnTo>
                      <a:pt x="6579" y="666"/>
                    </a:lnTo>
                    <a:lnTo>
                      <a:pt x="6561" y="662"/>
                    </a:lnTo>
                    <a:lnTo>
                      <a:pt x="6541" y="658"/>
                    </a:lnTo>
                    <a:lnTo>
                      <a:pt x="6520" y="656"/>
                    </a:lnTo>
                    <a:lnTo>
                      <a:pt x="6497" y="655"/>
                    </a:lnTo>
                    <a:lnTo>
                      <a:pt x="6543" y="659"/>
                    </a:lnTo>
                    <a:lnTo>
                      <a:pt x="6582" y="663"/>
                    </a:lnTo>
                    <a:lnTo>
                      <a:pt x="6592" y="663"/>
                    </a:lnTo>
                    <a:lnTo>
                      <a:pt x="6600" y="663"/>
                    </a:lnTo>
                    <a:lnTo>
                      <a:pt x="6610" y="662"/>
                    </a:lnTo>
                    <a:lnTo>
                      <a:pt x="6619" y="660"/>
                    </a:lnTo>
                    <a:lnTo>
                      <a:pt x="6628" y="658"/>
                    </a:lnTo>
                    <a:lnTo>
                      <a:pt x="6638" y="654"/>
                    </a:lnTo>
                    <a:lnTo>
                      <a:pt x="6648" y="649"/>
                    </a:lnTo>
                    <a:lnTo>
                      <a:pt x="6657" y="643"/>
                    </a:lnTo>
                    <a:lnTo>
                      <a:pt x="6653" y="637"/>
                    </a:lnTo>
                    <a:lnTo>
                      <a:pt x="6649" y="632"/>
                    </a:lnTo>
                    <a:lnTo>
                      <a:pt x="6644" y="627"/>
                    </a:lnTo>
                    <a:lnTo>
                      <a:pt x="6639" y="624"/>
                    </a:lnTo>
                    <a:lnTo>
                      <a:pt x="6628" y="618"/>
                    </a:lnTo>
                    <a:lnTo>
                      <a:pt x="6616" y="612"/>
                    </a:lnTo>
                    <a:lnTo>
                      <a:pt x="6605" y="607"/>
                    </a:lnTo>
                    <a:lnTo>
                      <a:pt x="6593" y="601"/>
                    </a:lnTo>
                    <a:lnTo>
                      <a:pt x="6587" y="598"/>
                    </a:lnTo>
                    <a:lnTo>
                      <a:pt x="6581" y="593"/>
                    </a:lnTo>
                    <a:lnTo>
                      <a:pt x="6576" y="588"/>
                    </a:lnTo>
                    <a:lnTo>
                      <a:pt x="6571" y="582"/>
                    </a:lnTo>
                    <a:lnTo>
                      <a:pt x="6597" y="582"/>
                    </a:lnTo>
                    <a:lnTo>
                      <a:pt x="6600" y="587"/>
                    </a:lnTo>
                    <a:lnTo>
                      <a:pt x="6605" y="592"/>
                    </a:lnTo>
                    <a:lnTo>
                      <a:pt x="6610" y="599"/>
                    </a:lnTo>
                    <a:lnTo>
                      <a:pt x="6617" y="604"/>
                    </a:lnTo>
                    <a:lnTo>
                      <a:pt x="6626" y="610"/>
                    </a:lnTo>
                    <a:lnTo>
                      <a:pt x="6634" y="615"/>
                    </a:lnTo>
                    <a:lnTo>
                      <a:pt x="6640" y="617"/>
                    </a:lnTo>
                    <a:lnTo>
                      <a:pt x="6645" y="618"/>
                    </a:lnTo>
                    <a:lnTo>
                      <a:pt x="6651" y="619"/>
                    </a:lnTo>
                    <a:lnTo>
                      <a:pt x="6657" y="619"/>
                    </a:lnTo>
                    <a:lnTo>
                      <a:pt x="6665" y="618"/>
                    </a:lnTo>
                    <a:lnTo>
                      <a:pt x="6670" y="617"/>
                    </a:lnTo>
                    <a:lnTo>
                      <a:pt x="6673" y="615"/>
                    </a:lnTo>
                    <a:lnTo>
                      <a:pt x="6675" y="612"/>
                    </a:lnTo>
                    <a:lnTo>
                      <a:pt x="6678" y="610"/>
                    </a:lnTo>
                    <a:lnTo>
                      <a:pt x="6683" y="608"/>
                    </a:lnTo>
                    <a:lnTo>
                      <a:pt x="6691" y="606"/>
                    </a:lnTo>
                    <a:lnTo>
                      <a:pt x="6704" y="606"/>
                    </a:lnTo>
                    <a:lnTo>
                      <a:pt x="6718" y="606"/>
                    </a:lnTo>
                    <a:lnTo>
                      <a:pt x="6730" y="607"/>
                    </a:lnTo>
                    <a:lnTo>
                      <a:pt x="6742" y="609"/>
                    </a:lnTo>
                    <a:lnTo>
                      <a:pt x="6752" y="612"/>
                    </a:lnTo>
                    <a:lnTo>
                      <a:pt x="6762" y="616"/>
                    </a:lnTo>
                    <a:lnTo>
                      <a:pt x="6771" y="619"/>
                    </a:lnTo>
                    <a:lnTo>
                      <a:pt x="6778" y="623"/>
                    </a:lnTo>
                    <a:lnTo>
                      <a:pt x="6786" y="627"/>
                    </a:lnTo>
                    <a:lnTo>
                      <a:pt x="6799" y="636"/>
                    </a:lnTo>
                    <a:lnTo>
                      <a:pt x="6812" y="645"/>
                    </a:lnTo>
                    <a:lnTo>
                      <a:pt x="6827" y="654"/>
                    </a:lnTo>
                    <a:lnTo>
                      <a:pt x="6843" y="661"/>
                    </a:lnTo>
                    <a:lnTo>
                      <a:pt x="6943" y="661"/>
                    </a:lnTo>
                    <a:lnTo>
                      <a:pt x="6945" y="667"/>
                    </a:lnTo>
                    <a:lnTo>
                      <a:pt x="6950" y="673"/>
                    </a:lnTo>
                    <a:lnTo>
                      <a:pt x="6955" y="676"/>
                    </a:lnTo>
                    <a:lnTo>
                      <a:pt x="6961" y="678"/>
                    </a:lnTo>
                    <a:lnTo>
                      <a:pt x="6971" y="680"/>
                    </a:lnTo>
                    <a:lnTo>
                      <a:pt x="6982" y="680"/>
                    </a:lnTo>
                    <a:lnTo>
                      <a:pt x="6989" y="680"/>
                    </a:lnTo>
                    <a:lnTo>
                      <a:pt x="7006" y="680"/>
                    </a:lnTo>
                    <a:lnTo>
                      <a:pt x="7027" y="678"/>
                    </a:lnTo>
                    <a:lnTo>
                      <a:pt x="7049" y="674"/>
                    </a:lnTo>
                    <a:lnTo>
                      <a:pt x="7031" y="668"/>
                    </a:lnTo>
                    <a:lnTo>
                      <a:pt x="7011" y="659"/>
                    </a:lnTo>
                    <a:lnTo>
                      <a:pt x="7002" y="654"/>
                    </a:lnTo>
                    <a:lnTo>
                      <a:pt x="6996" y="647"/>
                    </a:lnTo>
                    <a:lnTo>
                      <a:pt x="6993" y="644"/>
                    </a:lnTo>
                    <a:lnTo>
                      <a:pt x="6991" y="640"/>
                    </a:lnTo>
                    <a:lnTo>
                      <a:pt x="6989" y="636"/>
                    </a:lnTo>
                    <a:lnTo>
                      <a:pt x="6989" y="631"/>
                    </a:lnTo>
                    <a:lnTo>
                      <a:pt x="6990" y="621"/>
                    </a:lnTo>
                    <a:lnTo>
                      <a:pt x="6991" y="614"/>
                    </a:lnTo>
                    <a:lnTo>
                      <a:pt x="6992" y="608"/>
                    </a:lnTo>
                    <a:lnTo>
                      <a:pt x="6992" y="602"/>
                    </a:lnTo>
                    <a:lnTo>
                      <a:pt x="6991" y="593"/>
                    </a:lnTo>
                    <a:lnTo>
                      <a:pt x="6989" y="582"/>
                    </a:lnTo>
                    <a:lnTo>
                      <a:pt x="6975" y="581"/>
                    </a:lnTo>
                    <a:lnTo>
                      <a:pt x="6961" y="579"/>
                    </a:lnTo>
                    <a:lnTo>
                      <a:pt x="6947" y="577"/>
                    </a:lnTo>
                    <a:lnTo>
                      <a:pt x="6934" y="573"/>
                    </a:lnTo>
                    <a:lnTo>
                      <a:pt x="6910" y="564"/>
                    </a:lnTo>
                    <a:lnTo>
                      <a:pt x="6886" y="553"/>
                    </a:lnTo>
                    <a:lnTo>
                      <a:pt x="6861" y="543"/>
                    </a:lnTo>
                    <a:lnTo>
                      <a:pt x="6835" y="535"/>
                    </a:lnTo>
                    <a:lnTo>
                      <a:pt x="6821" y="531"/>
                    </a:lnTo>
                    <a:lnTo>
                      <a:pt x="6807" y="529"/>
                    </a:lnTo>
                    <a:lnTo>
                      <a:pt x="6793" y="527"/>
                    </a:lnTo>
                    <a:lnTo>
                      <a:pt x="6776" y="526"/>
                    </a:lnTo>
                    <a:lnTo>
                      <a:pt x="6769" y="527"/>
                    </a:lnTo>
                    <a:lnTo>
                      <a:pt x="6761" y="531"/>
                    </a:lnTo>
                    <a:lnTo>
                      <a:pt x="6756" y="533"/>
                    </a:lnTo>
                    <a:lnTo>
                      <a:pt x="6753" y="536"/>
                    </a:lnTo>
                    <a:lnTo>
                      <a:pt x="6751" y="540"/>
                    </a:lnTo>
                    <a:lnTo>
                      <a:pt x="6750" y="544"/>
                    </a:lnTo>
                    <a:lnTo>
                      <a:pt x="6751" y="547"/>
                    </a:lnTo>
                    <a:lnTo>
                      <a:pt x="6752" y="548"/>
                    </a:lnTo>
                    <a:lnTo>
                      <a:pt x="6754" y="550"/>
                    </a:lnTo>
                    <a:lnTo>
                      <a:pt x="6757" y="552"/>
                    </a:lnTo>
                    <a:lnTo>
                      <a:pt x="6765" y="555"/>
                    </a:lnTo>
                    <a:lnTo>
                      <a:pt x="6775" y="559"/>
                    </a:lnTo>
                    <a:lnTo>
                      <a:pt x="6785" y="563"/>
                    </a:lnTo>
                    <a:lnTo>
                      <a:pt x="6795" y="567"/>
                    </a:lnTo>
                    <a:lnTo>
                      <a:pt x="6799" y="570"/>
                    </a:lnTo>
                    <a:lnTo>
                      <a:pt x="6803" y="574"/>
                    </a:lnTo>
                    <a:lnTo>
                      <a:pt x="6807" y="577"/>
                    </a:lnTo>
                    <a:lnTo>
                      <a:pt x="6810" y="582"/>
                    </a:lnTo>
                    <a:lnTo>
                      <a:pt x="6778" y="567"/>
                    </a:lnTo>
                    <a:lnTo>
                      <a:pt x="6751" y="552"/>
                    </a:lnTo>
                    <a:lnTo>
                      <a:pt x="6728" y="539"/>
                    </a:lnTo>
                    <a:lnTo>
                      <a:pt x="6706" y="528"/>
                    </a:lnTo>
                    <a:lnTo>
                      <a:pt x="6684" y="517"/>
                    </a:lnTo>
                    <a:lnTo>
                      <a:pt x="6660" y="506"/>
                    </a:lnTo>
                    <a:lnTo>
                      <a:pt x="6631" y="494"/>
                    </a:lnTo>
                    <a:lnTo>
                      <a:pt x="6597" y="483"/>
                    </a:lnTo>
                    <a:lnTo>
                      <a:pt x="6573" y="477"/>
                    </a:lnTo>
                    <a:lnTo>
                      <a:pt x="6548" y="471"/>
                    </a:lnTo>
                    <a:lnTo>
                      <a:pt x="6525" y="466"/>
                    </a:lnTo>
                    <a:lnTo>
                      <a:pt x="6500" y="462"/>
                    </a:lnTo>
                    <a:lnTo>
                      <a:pt x="6454" y="455"/>
                    </a:lnTo>
                    <a:lnTo>
                      <a:pt x="6408" y="450"/>
                    </a:lnTo>
                    <a:lnTo>
                      <a:pt x="6363" y="443"/>
                    </a:lnTo>
                    <a:lnTo>
                      <a:pt x="6318" y="436"/>
                    </a:lnTo>
                    <a:lnTo>
                      <a:pt x="6295" y="432"/>
                    </a:lnTo>
                    <a:lnTo>
                      <a:pt x="6272" y="427"/>
                    </a:lnTo>
                    <a:lnTo>
                      <a:pt x="6249" y="422"/>
                    </a:lnTo>
                    <a:lnTo>
                      <a:pt x="6225" y="415"/>
                    </a:lnTo>
                    <a:lnTo>
                      <a:pt x="6146" y="415"/>
                    </a:lnTo>
                    <a:lnTo>
                      <a:pt x="6133" y="407"/>
                    </a:lnTo>
                    <a:lnTo>
                      <a:pt x="6121" y="402"/>
                    </a:lnTo>
                    <a:lnTo>
                      <a:pt x="6114" y="400"/>
                    </a:lnTo>
                    <a:lnTo>
                      <a:pt x="6106" y="398"/>
                    </a:lnTo>
                    <a:lnTo>
                      <a:pt x="6096" y="397"/>
                    </a:lnTo>
                    <a:lnTo>
                      <a:pt x="6085" y="397"/>
                    </a:lnTo>
                    <a:lnTo>
                      <a:pt x="6071" y="398"/>
                    </a:lnTo>
                    <a:lnTo>
                      <a:pt x="6058" y="400"/>
                    </a:lnTo>
                    <a:lnTo>
                      <a:pt x="6045" y="403"/>
                    </a:lnTo>
                    <a:lnTo>
                      <a:pt x="6033" y="406"/>
                    </a:lnTo>
                    <a:lnTo>
                      <a:pt x="6020" y="410"/>
                    </a:lnTo>
                    <a:lnTo>
                      <a:pt x="6007" y="412"/>
                    </a:lnTo>
                    <a:lnTo>
                      <a:pt x="5993" y="415"/>
                    </a:lnTo>
                    <a:lnTo>
                      <a:pt x="5979" y="415"/>
                    </a:lnTo>
                    <a:lnTo>
                      <a:pt x="5971" y="415"/>
                    </a:lnTo>
                    <a:lnTo>
                      <a:pt x="5960" y="412"/>
                    </a:lnTo>
                    <a:lnTo>
                      <a:pt x="5945" y="409"/>
                    </a:lnTo>
                    <a:lnTo>
                      <a:pt x="5929" y="405"/>
                    </a:lnTo>
                    <a:lnTo>
                      <a:pt x="5913" y="400"/>
                    </a:lnTo>
                    <a:lnTo>
                      <a:pt x="5899" y="395"/>
                    </a:lnTo>
                    <a:lnTo>
                      <a:pt x="5887" y="389"/>
                    </a:lnTo>
                    <a:lnTo>
                      <a:pt x="5880" y="384"/>
                    </a:lnTo>
                    <a:lnTo>
                      <a:pt x="5833" y="384"/>
                    </a:lnTo>
                    <a:lnTo>
                      <a:pt x="5835" y="394"/>
                    </a:lnTo>
                    <a:lnTo>
                      <a:pt x="5838" y="402"/>
                    </a:lnTo>
                    <a:lnTo>
                      <a:pt x="5843" y="410"/>
                    </a:lnTo>
                    <a:lnTo>
                      <a:pt x="5847" y="417"/>
                    </a:lnTo>
                    <a:lnTo>
                      <a:pt x="5853" y="423"/>
                    </a:lnTo>
                    <a:lnTo>
                      <a:pt x="5859" y="429"/>
                    </a:lnTo>
                    <a:lnTo>
                      <a:pt x="5866" y="435"/>
                    </a:lnTo>
                    <a:lnTo>
                      <a:pt x="5872" y="439"/>
                    </a:lnTo>
                    <a:lnTo>
                      <a:pt x="5895" y="454"/>
                    </a:lnTo>
                    <a:lnTo>
                      <a:pt x="5906" y="459"/>
                    </a:lnTo>
                    <a:lnTo>
                      <a:pt x="5883" y="448"/>
                    </a:lnTo>
                    <a:lnTo>
                      <a:pt x="5860" y="435"/>
                    </a:lnTo>
                    <a:lnTo>
                      <a:pt x="5848" y="430"/>
                    </a:lnTo>
                    <a:lnTo>
                      <a:pt x="5834" y="425"/>
                    </a:lnTo>
                    <a:lnTo>
                      <a:pt x="5826" y="424"/>
                    </a:lnTo>
                    <a:lnTo>
                      <a:pt x="5819" y="422"/>
                    </a:lnTo>
                    <a:lnTo>
                      <a:pt x="5810" y="422"/>
                    </a:lnTo>
                    <a:lnTo>
                      <a:pt x="5800" y="421"/>
                    </a:lnTo>
                    <a:lnTo>
                      <a:pt x="5804" y="417"/>
                    </a:lnTo>
                    <a:lnTo>
                      <a:pt x="5807" y="412"/>
                    </a:lnTo>
                    <a:lnTo>
                      <a:pt x="5809" y="405"/>
                    </a:lnTo>
                    <a:lnTo>
                      <a:pt x="5813" y="397"/>
                    </a:lnTo>
                    <a:lnTo>
                      <a:pt x="5796" y="397"/>
                    </a:lnTo>
                    <a:lnTo>
                      <a:pt x="5781" y="396"/>
                    </a:lnTo>
                    <a:lnTo>
                      <a:pt x="5767" y="395"/>
                    </a:lnTo>
                    <a:lnTo>
                      <a:pt x="5754" y="390"/>
                    </a:lnTo>
                    <a:lnTo>
                      <a:pt x="5753" y="395"/>
                    </a:lnTo>
                    <a:lnTo>
                      <a:pt x="5752" y="399"/>
                    </a:lnTo>
                    <a:lnTo>
                      <a:pt x="5751" y="402"/>
                    </a:lnTo>
                    <a:lnTo>
                      <a:pt x="5748" y="405"/>
                    </a:lnTo>
                    <a:lnTo>
                      <a:pt x="5745" y="407"/>
                    </a:lnTo>
                    <a:lnTo>
                      <a:pt x="5742" y="409"/>
                    </a:lnTo>
                    <a:lnTo>
                      <a:pt x="5737" y="411"/>
                    </a:lnTo>
                    <a:lnTo>
                      <a:pt x="5733" y="412"/>
                    </a:lnTo>
                    <a:lnTo>
                      <a:pt x="5724" y="414"/>
                    </a:lnTo>
                    <a:lnTo>
                      <a:pt x="5714" y="415"/>
                    </a:lnTo>
                    <a:lnTo>
                      <a:pt x="5703" y="415"/>
                    </a:lnTo>
                    <a:lnTo>
                      <a:pt x="5693" y="415"/>
                    </a:lnTo>
                    <a:lnTo>
                      <a:pt x="5667" y="415"/>
                    </a:lnTo>
                    <a:lnTo>
                      <a:pt x="5643" y="413"/>
                    </a:lnTo>
                    <a:lnTo>
                      <a:pt x="5621" y="411"/>
                    </a:lnTo>
                    <a:lnTo>
                      <a:pt x="5599" y="409"/>
                    </a:lnTo>
                    <a:lnTo>
                      <a:pt x="5578" y="407"/>
                    </a:lnTo>
                    <a:lnTo>
                      <a:pt x="5557" y="408"/>
                    </a:lnTo>
                    <a:lnTo>
                      <a:pt x="5546" y="409"/>
                    </a:lnTo>
                    <a:lnTo>
                      <a:pt x="5536" y="410"/>
                    </a:lnTo>
                    <a:lnTo>
                      <a:pt x="5525" y="412"/>
                    </a:lnTo>
                    <a:lnTo>
                      <a:pt x="5514" y="415"/>
                    </a:lnTo>
                    <a:lnTo>
                      <a:pt x="5528" y="430"/>
                    </a:lnTo>
                    <a:lnTo>
                      <a:pt x="5539" y="439"/>
                    </a:lnTo>
                    <a:lnTo>
                      <a:pt x="5551" y="450"/>
                    </a:lnTo>
                    <a:lnTo>
                      <a:pt x="5567" y="465"/>
                    </a:lnTo>
                    <a:lnTo>
                      <a:pt x="5531" y="450"/>
                    </a:lnTo>
                    <a:lnTo>
                      <a:pt x="5497" y="437"/>
                    </a:lnTo>
                    <a:lnTo>
                      <a:pt x="5465" y="426"/>
                    </a:lnTo>
                    <a:lnTo>
                      <a:pt x="5433" y="414"/>
                    </a:lnTo>
                    <a:lnTo>
                      <a:pt x="5419" y="407"/>
                    </a:lnTo>
                    <a:lnTo>
                      <a:pt x="5404" y="400"/>
                    </a:lnTo>
                    <a:lnTo>
                      <a:pt x="5388" y="392"/>
                    </a:lnTo>
                    <a:lnTo>
                      <a:pt x="5374" y="383"/>
                    </a:lnTo>
                    <a:lnTo>
                      <a:pt x="5360" y="373"/>
                    </a:lnTo>
                    <a:lnTo>
                      <a:pt x="5344" y="362"/>
                    </a:lnTo>
                    <a:lnTo>
                      <a:pt x="5330" y="350"/>
                    </a:lnTo>
                    <a:lnTo>
                      <a:pt x="5315" y="336"/>
                    </a:lnTo>
                    <a:lnTo>
                      <a:pt x="5109" y="336"/>
                    </a:lnTo>
                    <a:lnTo>
                      <a:pt x="5104" y="337"/>
                    </a:lnTo>
                    <a:lnTo>
                      <a:pt x="5099" y="339"/>
                    </a:lnTo>
                    <a:lnTo>
                      <a:pt x="5094" y="343"/>
                    </a:lnTo>
                    <a:lnTo>
                      <a:pt x="5090" y="348"/>
                    </a:lnTo>
                    <a:lnTo>
                      <a:pt x="5009" y="354"/>
                    </a:lnTo>
                    <a:lnTo>
                      <a:pt x="5003" y="353"/>
                    </a:lnTo>
                    <a:lnTo>
                      <a:pt x="4996" y="353"/>
                    </a:lnTo>
                    <a:lnTo>
                      <a:pt x="4991" y="351"/>
                    </a:lnTo>
                    <a:lnTo>
                      <a:pt x="4986" y="349"/>
                    </a:lnTo>
                    <a:lnTo>
                      <a:pt x="4979" y="344"/>
                    </a:lnTo>
                    <a:lnTo>
                      <a:pt x="4972" y="339"/>
                    </a:lnTo>
                    <a:lnTo>
                      <a:pt x="4964" y="332"/>
                    </a:lnTo>
                    <a:lnTo>
                      <a:pt x="4956" y="327"/>
                    </a:lnTo>
                    <a:lnTo>
                      <a:pt x="4951" y="325"/>
                    </a:lnTo>
                    <a:lnTo>
                      <a:pt x="4945" y="324"/>
                    </a:lnTo>
                    <a:lnTo>
                      <a:pt x="4938" y="323"/>
                    </a:lnTo>
                    <a:lnTo>
                      <a:pt x="4929" y="323"/>
                    </a:lnTo>
                    <a:lnTo>
                      <a:pt x="4924" y="323"/>
                    </a:lnTo>
                    <a:lnTo>
                      <a:pt x="4918" y="324"/>
                    </a:lnTo>
                    <a:lnTo>
                      <a:pt x="4916" y="326"/>
                    </a:lnTo>
                    <a:lnTo>
                      <a:pt x="4913" y="329"/>
                    </a:lnTo>
                    <a:lnTo>
                      <a:pt x="4911" y="331"/>
                    </a:lnTo>
                    <a:lnTo>
                      <a:pt x="4907" y="333"/>
                    </a:lnTo>
                    <a:lnTo>
                      <a:pt x="4903" y="334"/>
                    </a:lnTo>
                    <a:lnTo>
                      <a:pt x="4896" y="336"/>
                    </a:lnTo>
                    <a:lnTo>
                      <a:pt x="4884" y="334"/>
                    </a:lnTo>
                    <a:lnTo>
                      <a:pt x="4873" y="332"/>
                    </a:lnTo>
                    <a:lnTo>
                      <a:pt x="4863" y="328"/>
                    </a:lnTo>
                    <a:lnTo>
                      <a:pt x="4853" y="324"/>
                    </a:lnTo>
                    <a:lnTo>
                      <a:pt x="4836" y="314"/>
                    </a:lnTo>
                    <a:lnTo>
                      <a:pt x="4816" y="304"/>
                    </a:lnTo>
                    <a:lnTo>
                      <a:pt x="4830" y="292"/>
                    </a:lnTo>
                    <a:lnTo>
                      <a:pt x="4826" y="290"/>
                    </a:lnTo>
                    <a:lnTo>
                      <a:pt x="4816" y="286"/>
                    </a:lnTo>
                    <a:lnTo>
                      <a:pt x="4808" y="284"/>
                    </a:lnTo>
                    <a:lnTo>
                      <a:pt x="4799" y="282"/>
                    </a:lnTo>
                    <a:lnTo>
                      <a:pt x="4789" y="281"/>
                    </a:lnTo>
                    <a:lnTo>
                      <a:pt x="4777" y="279"/>
                    </a:lnTo>
                    <a:lnTo>
                      <a:pt x="4766" y="281"/>
                    </a:lnTo>
                    <a:lnTo>
                      <a:pt x="4757" y="281"/>
                    </a:lnTo>
                    <a:lnTo>
                      <a:pt x="4748" y="283"/>
                    </a:lnTo>
                    <a:lnTo>
                      <a:pt x="4740" y="285"/>
                    </a:lnTo>
                    <a:lnTo>
                      <a:pt x="4728" y="290"/>
                    </a:lnTo>
                    <a:lnTo>
                      <a:pt x="4717" y="295"/>
                    </a:lnTo>
                    <a:lnTo>
                      <a:pt x="4710" y="301"/>
                    </a:lnTo>
                    <a:lnTo>
                      <a:pt x="4701" y="306"/>
                    </a:lnTo>
                    <a:lnTo>
                      <a:pt x="4698" y="308"/>
                    </a:lnTo>
                    <a:lnTo>
                      <a:pt x="4693" y="309"/>
                    </a:lnTo>
                    <a:lnTo>
                      <a:pt x="4689" y="310"/>
                    </a:lnTo>
                    <a:lnTo>
                      <a:pt x="4683" y="310"/>
                    </a:lnTo>
                    <a:lnTo>
                      <a:pt x="4670" y="310"/>
                    </a:lnTo>
                    <a:lnTo>
                      <a:pt x="4657" y="310"/>
                    </a:lnTo>
                    <a:lnTo>
                      <a:pt x="4657" y="279"/>
                    </a:lnTo>
                    <a:lnTo>
                      <a:pt x="4650" y="275"/>
                    </a:lnTo>
                    <a:lnTo>
                      <a:pt x="4644" y="272"/>
                    </a:lnTo>
                    <a:lnTo>
                      <a:pt x="4638" y="271"/>
                    </a:lnTo>
                    <a:lnTo>
                      <a:pt x="4633" y="270"/>
                    </a:lnTo>
                    <a:lnTo>
                      <a:pt x="4627" y="271"/>
                    </a:lnTo>
                    <a:lnTo>
                      <a:pt x="4621" y="272"/>
                    </a:lnTo>
                    <a:lnTo>
                      <a:pt x="4613" y="275"/>
                    </a:lnTo>
                    <a:lnTo>
                      <a:pt x="4604" y="279"/>
                    </a:lnTo>
                    <a:lnTo>
                      <a:pt x="4603" y="277"/>
                    </a:lnTo>
                    <a:lnTo>
                      <a:pt x="4601" y="275"/>
                    </a:lnTo>
                    <a:lnTo>
                      <a:pt x="4599" y="273"/>
                    </a:lnTo>
                    <a:lnTo>
                      <a:pt x="4597" y="272"/>
                    </a:lnTo>
                    <a:lnTo>
                      <a:pt x="4589" y="270"/>
                    </a:lnTo>
                    <a:lnTo>
                      <a:pt x="4579" y="268"/>
                    </a:lnTo>
                    <a:lnTo>
                      <a:pt x="4557" y="267"/>
                    </a:lnTo>
                    <a:lnTo>
                      <a:pt x="4532" y="267"/>
                    </a:lnTo>
                    <a:lnTo>
                      <a:pt x="4486" y="271"/>
                    </a:lnTo>
                    <a:lnTo>
                      <a:pt x="4465" y="273"/>
                    </a:lnTo>
                    <a:lnTo>
                      <a:pt x="4398" y="273"/>
                    </a:lnTo>
                    <a:lnTo>
                      <a:pt x="4399" y="276"/>
                    </a:lnTo>
                    <a:lnTo>
                      <a:pt x="4400" y="279"/>
                    </a:lnTo>
                    <a:lnTo>
                      <a:pt x="4402" y="283"/>
                    </a:lnTo>
                    <a:lnTo>
                      <a:pt x="4405" y="285"/>
                    </a:lnTo>
                    <a:lnTo>
                      <a:pt x="4409" y="288"/>
                    </a:lnTo>
                    <a:lnTo>
                      <a:pt x="4412" y="290"/>
                    </a:lnTo>
                    <a:lnTo>
                      <a:pt x="4415" y="292"/>
                    </a:lnTo>
                    <a:lnTo>
                      <a:pt x="4418" y="292"/>
                    </a:lnTo>
                    <a:lnTo>
                      <a:pt x="4420" y="299"/>
                    </a:lnTo>
                    <a:lnTo>
                      <a:pt x="4425" y="307"/>
                    </a:lnTo>
                    <a:lnTo>
                      <a:pt x="4432" y="316"/>
                    </a:lnTo>
                    <a:lnTo>
                      <a:pt x="4438" y="323"/>
                    </a:lnTo>
                    <a:lnTo>
                      <a:pt x="4429" y="323"/>
                    </a:lnTo>
                    <a:lnTo>
                      <a:pt x="4420" y="324"/>
                    </a:lnTo>
                    <a:lnTo>
                      <a:pt x="4412" y="326"/>
                    </a:lnTo>
                    <a:lnTo>
                      <a:pt x="4403" y="329"/>
                    </a:lnTo>
                    <a:lnTo>
                      <a:pt x="4394" y="331"/>
                    </a:lnTo>
                    <a:lnTo>
                      <a:pt x="4383" y="333"/>
                    </a:lnTo>
                    <a:lnTo>
                      <a:pt x="4373" y="334"/>
                    </a:lnTo>
                    <a:lnTo>
                      <a:pt x="4358" y="336"/>
                    </a:lnTo>
                    <a:lnTo>
                      <a:pt x="4337" y="334"/>
                    </a:lnTo>
                    <a:lnTo>
                      <a:pt x="4317" y="331"/>
                    </a:lnTo>
                    <a:lnTo>
                      <a:pt x="4295" y="327"/>
                    </a:lnTo>
                    <a:lnTo>
                      <a:pt x="4272" y="323"/>
                    </a:lnTo>
                    <a:lnTo>
                      <a:pt x="4250" y="318"/>
                    </a:lnTo>
                    <a:lnTo>
                      <a:pt x="4228" y="314"/>
                    </a:lnTo>
                    <a:lnTo>
                      <a:pt x="4206" y="311"/>
                    </a:lnTo>
                    <a:lnTo>
                      <a:pt x="4186" y="310"/>
                    </a:lnTo>
                    <a:lnTo>
                      <a:pt x="4176" y="310"/>
                    </a:lnTo>
                    <a:lnTo>
                      <a:pt x="4166" y="310"/>
                    </a:lnTo>
                    <a:lnTo>
                      <a:pt x="4166" y="348"/>
                    </a:lnTo>
                    <a:lnTo>
                      <a:pt x="4139" y="348"/>
                    </a:lnTo>
                    <a:lnTo>
                      <a:pt x="4131" y="345"/>
                    </a:lnTo>
                    <a:lnTo>
                      <a:pt x="4122" y="342"/>
                    </a:lnTo>
                    <a:lnTo>
                      <a:pt x="4113" y="340"/>
                    </a:lnTo>
                    <a:lnTo>
                      <a:pt x="4102" y="338"/>
                    </a:lnTo>
                    <a:lnTo>
                      <a:pt x="4082" y="333"/>
                    </a:lnTo>
                    <a:lnTo>
                      <a:pt x="4060" y="330"/>
                    </a:lnTo>
                    <a:lnTo>
                      <a:pt x="4039" y="326"/>
                    </a:lnTo>
                    <a:lnTo>
                      <a:pt x="4019" y="321"/>
                    </a:lnTo>
                    <a:lnTo>
                      <a:pt x="4009" y="318"/>
                    </a:lnTo>
                    <a:lnTo>
                      <a:pt x="4000" y="314"/>
                    </a:lnTo>
                    <a:lnTo>
                      <a:pt x="3993" y="310"/>
                    </a:lnTo>
                    <a:lnTo>
                      <a:pt x="3986" y="304"/>
                    </a:lnTo>
                    <a:lnTo>
                      <a:pt x="3946" y="304"/>
                    </a:lnTo>
                    <a:lnTo>
                      <a:pt x="3953" y="317"/>
                    </a:lnTo>
                    <a:lnTo>
                      <a:pt x="3960" y="329"/>
                    </a:lnTo>
                    <a:lnTo>
                      <a:pt x="3941" y="318"/>
                    </a:lnTo>
                    <a:lnTo>
                      <a:pt x="3920" y="305"/>
                    </a:lnTo>
                    <a:lnTo>
                      <a:pt x="3898" y="294"/>
                    </a:lnTo>
                    <a:lnTo>
                      <a:pt x="3880" y="286"/>
                    </a:lnTo>
                    <a:lnTo>
                      <a:pt x="3820" y="286"/>
                    </a:lnTo>
                    <a:lnTo>
                      <a:pt x="3820" y="287"/>
                    </a:lnTo>
                    <a:lnTo>
                      <a:pt x="3819" y="288"/>
                    </a:lnTo>
                    <a:lnTo>
                      <a:pt x="3818" y="288"/>
                    </a:lnTo>
                    <a:lnTo>
                      <a:pt x="3816" y="287"/>
                    </a:lnTo>
                    <a:lnTo>
                      <a:pt x="3809" y="286"/>
                    </a:lnTo>
                    <a:lnTo>
                      <a:pt x="3800" y="283"/>
                    </a:lnTo>
                    <a:lnTo>
                      <a:pt x="3777" y="274"/>
                    </a:lnTo>
                    <a:lnTo>
                      <a:pt x="3752" y="265"/>
                    </a:lnTo>
                    <a:lnTo>
                      <a:pt x="3727" y="256"/>
                    </a:lnTo>
                    <a:lnTo>
                      <a:pt x="3706" y="249"/>
                    </a:lnTo>
                    <a:lnTo>
                      <a:pt x="3698" y="247"/>
                    </a:lnTo>
                    <a:lnTo>
                      <a:pt x="3694" y="246"/>
                    </a:lnTo>
                    <a:lnTo>
                      <a:pt x="3693" y="246"/>
                    </a:lnTo>
                    <a:lnTo>
                      <a:pt x="3692" y="247"/>
                    </a:lnTo>
                    <a:lnTo>
                      <a:pt x="3693" y="248"/>
                    </a:lnTo>
                    <a:lnTo>
                      <a:pt x="3694" y="249"/>
                    </a:lnTo>
                    <a:lnTo>
                      <a:pt x="3677" y="249"/>
                    </a:lnTo>
                    <a:lnTo>
                      <a:pt x="3663" y="251"/>
                    </a:lnTo>
                    <a:lnTo>
                      <a:pt x="3650" y="253"/>
                    </a:lnTo>
                    <a:lnTo>
                      <a:pt x="3637" y="255"/>
                    </a:lnTo>
                    <a:lnTo>
                      <a:pt x="3624" y="257"/>
                    </a:lnTo>
                    <a:lnTo>
                      <a:pt x="3608" y="259"/>
                    </a:lnTo>
                    <a:lnTo>
                      <a:pt x="3593" y="261"/>
                    </a:lnTo>
                    <a:lnTo>
                      <a:pt x="3574" y="261"/>
                    </a:lnTo>
                    <a:lnTo>
                      <a:pt x="3559" y="261"/>
                    </a:lnTo>
                    <a:lnTo>
                      <a:pt x="3544" y="260"/>
                    </a:lnTo>
                    <a:lnTo>
                      <a:pt x="3528" y="258"/>
                    </a:lnTo>
                    <a:lnTo>
                      <a:pt x="3515" y="256"/>
                    </a:lnTo>
                    <a:lnTo>
                      <a:pt x="3488" y="252"/>
                    </a:lnTo>
                    <a:lnTo>
                      <a:pt x="3461" y="246"/>
                    </a:lnTo>
                    <a:lnTo>
                      <a:pt x="3435" y="240"/>
                    </a:lnTo>
                    <a:lnTo>
                      <a:pt x="3408" y="236"/>
                    </a:lnTo>
                    <a:lnTo>
                      <a:pt x="3394" y="234"/>
                    </a:lnTo>
                    <a:lnTo>
                      <a:pt x="3379" y="232"/>
                    </a:lnTo>
                    <a:lnTo>
                      <a:pt x="3365" y="231"/>
                    </a:lnTo>
                    <a:lnTo>
                      <a:pt x="3348" y="231"/>
                    </a:lnTo>
                    <a:lnTo>
                      <a:pt x="3334" y="227"/>
                    </a:lnTo>
                    <a:lnTo>
                      <a:pt x="3313" y="219"/>
                    </a:lnTo>
                    <a:lnTo>
                      <a:pt x="3304" y="216"/>
                    </a:lnTo>
                    <a:lnTo>
                      <a:pt x="3296" y="214"/>
                    </a:lnTo>
                    <a:lnTo>
                      <a:pt x="3293" y="214"/>
                    </a:lnTo>
                    <a:lnTo>
                      <a:pt x="3291" y="215"/>
                    </a:lnTo>
                    <a:lnTo>
                      <a:pt x="3289" y="216"/>
                    </a:lnTo>
                    <a:lnTo>
                      <a:pt x="3289" y="218"/>
                    </a:lnTo>
                    <a:lnTo>
                      <a:pt x="3289" y="221"/>
                    </a:lnTo>
                    <a:lnTo>
                      <a:pt x="3290" y="226"/>
                    </a:lnTo>
                    <a:lnTo>
                      <a:pt x="3292" y="229"/>
                    </a:lnTo>
                    <a:lnTo>
                      <a:pt x="3295" y="233"/>
                    </a:lnTo>
                    <a:lnTo>
                      <a:pt x="3302" y="240"/>
                    </a:lnTo>
                    <a:lnTo>
                      <a:pt x="3310" y="247"/>
                    </a:lnTo>
                    <a:lnTo>
                      <a:pt x="3320" y="252"/>
                    </a:lnTo>
                    <a:lnTo>
                      <a:pt x="3328" y="257"/>
                    </a:lnTo>
                    <a:lnTo>
                      <a:pt x="3336" y="260"/>
                    </a:lnTo>
                    <a:lnTo>
                      <a:pt x="3341" y="261"/>
                    </a:lnTo>
                    <a:lnTo>
                      <a:pt x="3332" y="260"/>
                    </a:lnTo>
                    <a:lnTo>
                      <a:pt x="3323" y="257"/>
                    </a:lnTo>
                    <a:lnTo>
                      <a:pt x="3314" y="255"/>
                    </a:lnTo>
                    <a:lnTo>
                      <a:pt x="3305" y="251"/>
                    </a:lnTo>
                    <a:lnTo>
                      <a:pt x="3290" y="244"/>
                    </a:lnTo>
                    <a:lnTo>
                      <a:pt x="3273" y="235"/>
                    </a:lnTo>
                    <a:lnTo>
                      <a:pt x="3257" y="225"/>
                    </a:lnTo>
                    <a:lnTo>
                      <a:pt x="3239" y="213"/>
                    </a:lnTo>
                    <a:lnTo>
                      <a:pt x="3219" y="203"/>
                    </a:lnTo>
                    <a:lnTo>
                      <a:pt x="3195" y="193"/>
                    </a:lnTo>
                    <a:lnTo>
                      <a:pt x="3198" y="192"/>
                    </a:lnTo>
                    <a:lnTo>
                      <a:pt x="3200" y="190"/>
                    </a:lnTo>
                    <a:lnTo>
                      <a:pt x="3201" y="186"/>
                    </a:lnTo>
                    <a:lnTo>
                      <a:pt x="3201" y="181"/>
                    </a:lnTo>
                    <a:lnTo>
                      <a:pt x="3202" y="173"/>
                    </a:lnTo>
                    <a:lnTo>
                      <a:pt x="3202" y="169"/>
                    </a:lnTo>
                    <a:lnTo>
                      <a:pt x="3169" y="169"/>
                    </a:lnTo>
                    <a:lnTo>
                      <a:pt x="3164" y="170"/>
                    </a:lnTo>
                    <a:lnTo>
                      <a:pt x="3159" y="173"/>
                    </a:lnTo>
                    <a:lnTo>
                      <a:pt x="3154" y="177"/>
                    </a:lnTo>
                    <a:lnTo>
                      <a:pt x="3149" y="181"/>
                    </a:lnTo>
                    <a:lnTo>
                      <a:pt x="3153" y="187"/>
                    </a:lnTo>
                    <a:lnTo>
                      <a:pt x="3156" y="193"/>
                    </a:lnTo>
                    <a:lnTo>
                      <a:pt x="3144" y="196"/>
                    </a:lnTo>
                    <a:lnTo>
                      <a:pt x="3133" y="199"/>
                    </a:lnTo>
                    <a:lnTo>
                      <a:pt x="3122" y="203"/>
                    </a:lnTo>
                    <a:lnTo>
                      <a:pt x="3112" y="206"/>
                    </a:lnTo>
                    <a:lnTo>
                      <a:pt x="3093" y="215"/>
                    </a:lnTo>
                    <a:lnTo>
                      <a:pt x="3076" y="225"/>
                    </a:lnTo>
                    <a:lnTo>
                      <a:pt x="3058" y="235"/>
                    </a:lnTo>
                    <a:lnTo>
                      <a:pt x="3040" y="245"/>
                    </a:lnTo>
                    <a:lnTo>
                      <a:pt x="3030" y="249"/>
                    </a:lnTo>
                    <a:lnTo>
                      <a:pt x="3020" y="253"/>
                    </a:lnTo>
                    <a:lnTo>
                      <a:pt x="3008" y="257"/>
                    </a:lnTo>
                    <a:lnTo>
                      <a:pt x="2997" y="261"/>
                    </a:lnTo>
                    <a:lnTo>
                      <a:pt x="2997" y="257"/>
                    </a:lnTo>
                    <a:lnTo>
                      <a:pt x="2998" y="252"/>
                    </a:lnTo>
                    <a:lnTo>
                      <a:pt x="2999" y="248"/>
                    </a:lnTo>
                    <a:lnTo>
                      <a:pt x="3002" y="243"/>
                    </a:lnTo>
                    <a:lnTo>
                      <a:pt x="3008" y="235"/>
                    </a:lnTo>
                    <a:lnTo>
                      <a:pt x="3016" y="226"/>
                    </a:lnTo>
                    <a:lnTo>
                      <a:pt x="3026" y="217"/>
                    </a:lnTo>
                    <a:lnTo>
                      <a:pt x="3038" y="209"/>
                    </a:lnTo>
                    <a:lnTo>
                      <a:pt x="3052" y="201"/>
                    </a:lnTo>
                    <a:lnTo>
                      <a:pt x="3065" y="193"/>
                    </a:lnTo>
                    <a:lnTo>
                      <a:pt x="3093" y="179"/>
                    </a:lnTo>
                    <a:lnTo>
                      <a:pt x="3122" y="165"/>
                    </a:lnTo>
                    <a:lnTo>
                      <a:pt x="3148" y="154"/>
                    </a:lnTo>
                    <a:lnTo>
                      <a:pt x="3169" y="144"/>
                    </a:lnTo>
                    <a:lnTo>
                      <a:pt x="3157" y="136"/>
                    </a:lnTo>
                    <a:lnTo>
                      <a:pt x="3144" y="129"/>
                    </a:lnTo>
                    <a:lnTo>
                      <a:pt x="3130" y="122"/>
                    </a:lnTo>
                    <a:lnTo>
                      <a:pt x="3114" y="115"/>
                    </a:lnTo>
                    <a:lnTo>
                      <a:pt x="3098" y="107"/>
                    </a:lnTo>
                    <a:lnTo>
                      <a:pt x="3080" y="102"/>
                    </a:lnTo>
                    <a:lnTo>
                      <a:pt x="3063" y="96"/>
                    </a:lnTo>
                    <a:lnTo>
                      <a:pt x="3044" y="91"/>
                    </a:lnTo>
                    <a:lnTo>
                      <a:pt x="3024" y="86"/>
                    </a:lnTo>
                    <a:lnTo>
                      <a:pt x="3004" y="82"/>
                    </a:lnTo>
                    <a:lnTo>
                      <a:pt x="2985" y="79"/>
                    </a:lnTo>
                    <a:lnTo>
                      <a:pt x="2965" y="76"/>
                    </a:lnTo>
                    <a:lnTo>
                      <a:pt x="2944" y="74"/>
                    </a:lnTo>
                    <a:lnTo>
                      <a:pt x="2923" y="72"/>
                    </a:lnTo>
                    <a:lnTo>
                      <a:pt x="2903" y="71"/>
                    </a:lnTo>
                    <a:lnTo>
                      <a:pt x="2884" y="70"/>
                    </a:lnTo>
                    <a:lnTo>
                      <a:pt x="2875" y="71"/>
                    </a:lnTo>
                    <a:lnTo>
                      <a:pt x="2867" y="72"/>
                    </a:lnTo>
                    <a:lnTo>
                      <a:pt x="2862" y="74"/>
                    </a:lnTo>
                    <a:lnTo>
                      <a:pt x="2856" y="76"/>
                    </a:lnTo>
                    <a:lnTo>
                      <a:pt x="2850" y="79"/>
                    </a:lnTo>
                    <a:lnTo>
                      <a:pt x="2843" y="81"/>
                    </a:lnTo>
                    <a:lnTo>
                      <a:pt x="2834" y="82"/>
                    </a:lnTo>
                    <a:lnTo>
                      <a:pt x="2823" y="83"/>
                    </a:lnTo>
                    <a:lnTo>
                      <a:pt x="2723" y="64"/>
                    </a:lnTo>
                    <a:lnTo>
                      <a:pt x="2724" y="58"/>
                    </a:lnTo>
                    <a:lnTo>
                      <a:pt x="2726" y="52"/>
                    </a:lnTo>
                    <a:lnTo>
                      <a:pt x="2729" y="47"/>
                    </a:lnTo>
                    <a:lnTo>
                      <a:pt x="2731" y="42"/>
                    </a:lnTo>
                    <a:lnTo>
                      <a:pt x="2738" y="33"/>
                    </a:lnTo>
                    <a:lnTo>
                      <a:pt x="2744" y="21"/>
                    </a:lnTo>
                    <a:lnTo>
                      <a:pt x="2743" y="19"/>
                    </a:lnTo>
                    <a:lnTo>
                      <a:pt x="2742" y="17"/>
                    </a:lnTo>
                    <a:lnTo>
                      <a:pt x="2739" y="15"/>
                    </a:lnTo>
                    <a:lnTo>
                      <a:pt x="2735" y="13"/>
                    </a:lnTo>
                    <a:lnTo>
                      <a:pt x="2727" y="10"/>
                    </a:lnTo>
                    <a:lnTo>
                      <a:pt x="2717" y="9"/>
                    </a:lnTo>
                    <a:lnTo>
                      <a:pt x="2712" y="5"/>
                    </a:lnTo>
                    <a:lnTo>
                      <a:pt x="2707" y="1"/>
                    </a:lnTo>
                    <a:lnTo>
                      <a:pt x="2701" y="0"/>
                    </a:lnTo>
                    <a:lnTo>
                      <a:pt x="2696" y="0"/>
                    </a:lnTo>
                    <a:lnTo>
                      <a:pt x="2691" y="3"/>
                    </a:lnTo>
                    <a:lnTo>
                      <a:pt x="2687" y="7"/>
                    </a:lnTo>
                    <a:lnTo>
                      <a:pt x="2685" y="13"/>
                    </a:lnTo>
                    <a:lnTo>
                      <a:pt x="2684" y="21"/>
                    </a:lnTo>
                    <a:lnTo>
                      <a:pt x="2667" y="24"/>
                    </a:lnTo>
                    <a:lnTo>
                      <a:pt x="2653" y="29"/>
                    </a:lnTo>
                    <a:lnTo>
                      <a:pt x="2641" y="34"/>
                    </a:lnTo>
                    <a:lnTo>
                      <a:pt x="2630" y="40"/>
                    </a:lnTo>
                    <a:lnTo>
                      <a:pt x="2610" y="53"/>
                    </a:lnTo>
                    <a:lnTo>
                      <a:pt x="2590" y="64"/>
                    </a:lnTo>
                    <a:lnTo>
                      <a:pt x="2618" y="83"/>
                    </a:lnTo>
                    <a:lnTo>
                      <a:pt x="2611" y="83"/>
                    </a:lnTo>
                    <a:lnTo>
                      <a:pt x="2597" y="83"/>
                    </a:lnTo>
                    <a:lnTo>
                      <a:pt x="2575" y="83"/>
                    </a:lnTo>
                    <a:lnTo>
                      <a:pt x="2551" y="83"/>
                    </a:lnTo>
                    <a:lnTo>
                      <a:pt x="2567" y="97"/>
                    </a:lnTo>
                    <a:lnTo>
                      <a:pt x="2587" y="118"/>
                    </a:lnTo>
                    <a:lnTo>
                      <a:pt x="2598" y="128"/>
                    </a:lnTo>
                    <a:lnTo>
                      <a:pt x="2610" y="136"/>
                    </a:lnTo>
                    <a:lnTo>
                      <a:pt x="2617" y="140"/>
                    </a:lnTo>
                    <a:lnTo>
                      <a:pt x="2623" y="142"/>
                    </a:lnTo>
                    <a:lnTo>
                      <a:pt x="2630" y="144"/>
                    </a:lnTo>
                    <a:lnTo>
                      <a:pt x="2638" y="144"/>
                    </a:lnTo>
                    <a:lnTo>
                      <a:pt x="2630" y="144"/>
                    </a:lnTo>
                    <a:lnTo>
                      <a:pt x="2623" y="142"/>
                    </a:lnTo>
                    <a:lnTo>
                      <a:pt x="2618" y="140"/>
                    </a:lnTo>
                    <a:lnTo>
                      <a:pt x="2611" y="137"/>
                    </a:lnTo>
                    <a:lnTo>
                      <a:pt x="2600" y="130"/>
                    </a:lnTo>
                    <a:lnTo>
                      <a:pt x="2590" y="121"/>
                    </a:lnTo>
                    <a:lnTo>
                      <a:pt x="2579" y="110"/>
                    </a:lnTo>
                    <a:lnTo>
                      <a:pt x="2567" y="100"/>
                    </a:lnTo>
                    <a:lnTo>
                      <a:pt x="2561" y="95"/>
                    </a:lnTo>
                    <a:lnTo>
                      <a:pt x="2554" y="90"/>
                    </a:lnTo>
                    <a:lnTo>
                      <a:pt x="2547" y="86"/>
                    </a:lnTo>
                    <a:lnTo>
                      <a:pt x="2538" y="83"/>
                    </a:lnTo>
                    <a:lnTo>
                      <a:pt x="2465" y="114"/>
                    </a:lnTo>
                    <a:lnTo>
                      <a:pt x="2462" y="110"/>
                    </a:lnTo>
                    <a:lnTo>
                      <a:pt x="2455" y="104"/>
                    </a:lnTo>
                    <a:lnTo>
                      <a:pt x="2451" y="100"/>
                    </a:lnTo>
                    <a:lnTo>
                      <a:pt x="2446" y="98"/>
                    </a:lnTo>
                    <a:lnTo>
                      <a:pt x="2439" y="95"/>
                    </a:lnTo>
                    <a:lnTo>
                      <a:pt x="2431" y="95"/>
                    </a:lnTo>
                    <a:lnTo>
                      <a:pt x="2410" y="95"/>
                    </a:lnTo>
                    <a:lnTo>
                      <a:pt x="2391" y="98"/>
                    </a:lnTo>
                    <a:lnTo>
                      <a:pt x="2372" y="101"/>
                    </a:lnTo>
                    <a:lnTo>
                      <a:pt x="2354" y="105"/>
                    </a:lnTo>
                    <a:lnTo>
                      <a:pt x="2319" y="117"/>
                    </a:lnTo>
                    <a:lnTo>
                      <a:pt x="2284" y="129"/>
                    </a:lnTo>
                    <a:lnTo>
                      <a:pt x="2250" y="141"/>
                    </a:lnTo>
                    <a:lnTo>
                      <a:pt x="2214" y="152"/>
                    </a:lnTo>
                    <a:lnTo>
                      <a:pt x="2195" y="156"/>
                    </a:lnTo>
                    <a:lnTo>
                      <a:pt x="2175" y="159"/>
                    </a:lnTo>
                    <a:lnTo>
                      <a:pt x="2155" y="161"/>
                    </a:lnTo>
                    <a:lnTo>
                      <a:pt x="2133" y="162"/>
                    </a:lnTo>
                    <a:lnTo>
                      <a:pt x="2134" y="167"/>
                    </a:lnTo>
                    <a:lnTo>
                      <a:pt x="2137" y="173"/>
                    </a:lnTo>
                    <a:lnTo>
                      <a:pt x="2142" y="178"/>
                    </a:lnTo>
                    <a:lnTo>
                      <a:pt x="2149" y="183"/>
                    </a:lnTo>
                    <a:lnTo>
                      <a:pt x="2157" y="187"/>
                    </a:lnTo>
                    <a:lnTo>
                      <a:pt x="2167" y="190"/>
                    </a:lnTo>
                    <a:lnTo>
                      <a:pt x="2175" y="193"/>
                    </a:lnTo>
                    <a:lnTo>
                      <a:pt x="2185" y="193"/>
                    </a:lnTo>
                    <a:lnTo>
                      <a:pt x="2186" y="198"/>
                    </a:lnTo>
                    <a:lnTo>
                      <a:pt x="2187" y="203"/>
                    </a:lnTo>
                    <a:lnTo>
                      <a:pt x="2190" y="208"/>
                    </a:lnTo>
                    <a:lnTo>
                      <a:pt x="2192" y="213"/>
                    </a:lnTo>
                    <a:lnTo>
                      <a:pt x="2198" y="225"/>
                    </a:lnTo>
                    <a:lnTo>
                      <a:pt x="2207" y="235"/>
                    </a:lnTo>
                    <a:lnTo>
                      <a:pt x="2216" y="244"/>
                    </a:lnTo>
                    <a:lnTo>
                      <a:pt x="2225" y="251"/>
                    </a:lnTo>
                    <a:lnTo>
                      <a:pt x="2233" y="257"/>
                    </a:lnTo>
                    <a:lnTo>
                      <a:pt x="2239" y="261"/>
                    </a:lnTo>
                    <a:lnTo>
                      <a:pt x="2233" y="261"/>
                    </a:lnTo>
                    <a:lnTo>
                      <a:pt x="2227" y="260"/>
                    </a:lnTo>
                    <a:lnTo>
                      <a:pt x="2223" y="259"/>
                    </a:lnTo>
                    <a:lnTo>
                      <a:pt x="2217" y="257"/>
                    </a:lnTo>
                    <a:lnTo>
                      <a:pt x="2214" y="254"/>
                    </a:lnTo>
                    <a:lnTo>
                      <a:pt x="2209" y="251"/>
                    </a:lnTo>
                    <a:lnTo>
                      <a:pt x="2206" y="248"/>
                    </a:lnTo>
                    <a:lnTo>
                      <a:pt x="2203" y="244"/>
                    </a:lnTo>
                    <a:lnTo>
                      <a:pt x="2198" y="236"/>
                    </a:lnTo>
                    <a:lnTo>
                      <a:pt x="2195" y="225"/>
                    </a:lnTo>
                    <a:lnTo>
                      <a:pt x="2193" y="213"/>
                    </a:lnTo>
                    <a:lnTo>
                      <a:pt x="2192" y="200"/>
                    </a:lnTo>
                    <a:lnTo>
                      <a:pt x="2190" y="201"/>
                    </a:lnTo>
                    <a:lnTo>
                      <a:pt x="2186" y="202"/>
                    </a:lnTo>
                    <a:lnTo>
                      <a:pt x="2182" y="202"/>
                    </a:lnTo>
                    <a:lnTo>
                      <a:pt x="2179" y="202"/>
                    </a:lnTo>
                    <a:lnTo>
                      <a:pt x="2169" y="200"/>
                    </a:lnTo>
                    <a:lnTo>
                      <a:pt x="2159" y="200"/>
                    </a:lnTo>
                    <a:lnTo>
                      <a:pt x="2150" y="200"/>
                    </a:lnTo>
                    <a:lnTo>
                      <a:pt x="2141" y="202"/>
                    </a:lnTo>
                    <a:lnTo>
                      <a:pt x="2134" y="205"/>
                    </a:lnTo>
                    <a:lnTo>
                      <a:pt x="2126" y="209"/>
                    </a:lnTo>
                    <a:lnTo>
                      <a:pt x="2118" y="212"/>
                    </a:lnTo>
                    <a:lnTo>
                      <a:pt x="2111" y="215"/>
                    </a:lnTo>
                    <a:lnTo>
                      <a:pt x="2102" y="217"/>
                    </a:lnTo>
                    <a:lnTo>
                      <a:pt x="2093" y="218"/>
                    </a:lnTo>
                    <a:lnTo>
                      <a:pt x="2083" y="217"/>
                    </a:lnTo>
                    <a:lnTo>
                      <a:pt x="2073" y="214"/>
                    </a:lnTo>
                    <a:lnTo>
                      <a:pt x="2066" y="210"/>
                    </a:lnTo>
                    <a:lnTo>
                      <a:pt x="2059" y="206"/>
                    </a:lnTo>
                    <a:lnTo>
                      <a:pt x="2020" y="218"/>
                    </a:lnTo>
                    <a:lnTo>
                      <a:pt x="2013" y="218"/>
                    </a:lnTo>
                    <a:lnTo>
                      <a:pt x="2000" y="219"/>
                    </a:lnTo>
                    <a:lnTo>
                      <a:pt x="1992" y="221"/>
                    </a:lnTo>
                    <a:lnTo>
                      <a:pt x="1985" y="223"/>
                    </a:lnTo>
                    <a:lnTo>
                      <a:pt x="1983" y="225"/>
                    </a:lnTo>
                    <a:lnTo>
                      <a:pt x="1981" y="227"/>
                    </a:lnTo>
                    <a:lnTo>
                      <a:pt x="1980" y="229"/>
                    </a:lnTo>
                    <a:lnTo>
                      <a:pt x="1980" y="231"/>
                    </a:lnTo>
                    <a:lnTo>
                      <a:pt x="1980" y="234"/>
                    </a:lnTo>
                    <a:lnTo>
                      <a:pt x="1982" y="238"/>
                    </a:lnTo>
                    <a:lnTo>
                      <a:pt x="1984" y="242"/>
                    </a:lnTo>
                    <a:lnTo>
                      <a:pt x="1988" y="245"/>
                    </a:lnTo>
                    <a:lnTo>
                      <a:pt x="1996" y="253"/>
                    </a:lnTo>
                    <a:lnTo>
                      <a:pt x="2009" y="261"/>
                    </a:lnTo>
                    <a:lnTo>
                      <a:pt x="2023" y="270"/>
                    </a:lnTo>
                    <a:lnTo>
                      <a:pt x="2038" y="278"/>
                    </a:lnTo>
                    <a:lnTo>
                      <a:pt x="2056" y="287"/>
                    </a:lnTo>
                    <a:lnTo>
                      <a:pt x="2074" y="295"/>
                    </a:lnTo>
                    <a:lnTo>
                      <a:pt x="2112" y="311"/>
                    </a:lnTo>
                    <a:lnTo>
                      <a:pt x="2148" y="324"/>
                    </a:lnTo>
                    <a:lnTo>
                      <a:pt x="2178" y="334"/>
                    </a:lnTo>
                    <a:lnTo>
                      <a:pt x="2198" y="342"/>
                    </a:lnTo>
                    <a:lnTo>
                      <a:pt x="2200" y="352"/>
                    </a:lnTo>
                    <a:lnTo>
                      <a:pt x="2202" y="361"/>
                    </a:lnTo>
                    <a:lnTo>
                      <a:pt x="2204" y="369"/>
                    </a:lnTo>
                    <a:lnTo>
                      <a:pt x="2207" y="376"/>
                    </a:lnTo>
                    <a:lnTo>
                      <a:pt x="2216" y="389"/>
                    </a:lnTo>
                    <a:lnTo>
                      <a:pt x="2226" y="403"/>
                    </a:lnTo>
                    <a:lnTo>
                      <a:pt x="2214" y="405"/>
                    </a:lnTo>
                    <a:lnTo>
                      <a:pt x="2203" y="404"/>
                    </a:lnTo>
                    <a:lnTo>
                      <a:pt x="2193" y="402"/>
                    </a:lnTo>
                    <a:lnTo>
                      <a:pt x="2184" y="399"/>
                    </a:lnTo>
                    <a:lnTo>
                      <a:pt x="2177" y="394"/>
                    </a:lnTo>
                    <a:lnTo>
                      <a:pt x="2169" y="387"/>
                    </a:lnTo>
                    <a:lnTo>
                      <a:pt x="2161" y="381"/>
                    </a:lnTo>
                    <a:lnTo>
                      <a:pt x="2155" y="374"/>
                    </a:lnTo>
                    <a:lnTo>
                      <a:pt x="2142" y="360"/>
                    </a:lnTo>
                    <a:lnTo>
                      <a:pt x="2129" y="345"/>
                    </a:lnTo>
                    <a:lnTo>
                      <a:pt x="2123" y="339"/>
                    </a:lnTo>
                    <a:lnTo>
                      <a:pt x="2115" y="332"/>
                    </a:lnTo>
                    <a:lnTo>
                      <a:pt x="2107" y="327"/>
                    </a:lnTo>
                    <a:lnTo>
                      <a:pt x="2100" y="323"/>
                    </a:lnTo>
                    <a:lnTo>
                      <a:pt x="2065" y="315"/>
                    </a:lnTo>
                    <a:lnTo>
                      <a:pt x="2020" y="305"/>
                    </a:lnTo>
                    <a:lnTo>
                      <a:pt x="2009" y="302"/>
                    </a:lnTo>
                    <a:lnTo>
                      <a:pt x="1999" y="298"/>
                    </a:lnTo>
                    <a:lnTo>
                      <a:pt x="1989" y="293"/>
                    </a:lnTo>
                    <a:lnTo>
                      <a:pt x="1980" y="288"/>
                    </a:lnTo>
                    <a:lnTo>
                      <a:pt x="1972" y="281"/>
                    </a:lnTo>
                    <a:lnTo>
                      <a:pt x="1967" y="273"/>
                    </a:lnTo>
                    <a:lnTo>
                      <a:pt x="1964" y="269"/>
                    </a:lnTo>
                    <a:lnTo>
                      <a:pt x="1962" y="265"/>
                    </a:lnTo>
                    <a:lnTo>
                      <a:pt x="1960" y="260"/>
                    </a:lnTo>
                    <a:lnTo>
                      <a:pt x="1960" y="255"/>
                    </a:lnTo>
                    <a:lnTo>
                      <a:pt x="1947" y="255"/>
                    </a:lnTo>
                    <a:lnTo>
                      <a:pt x="1940" y="255"/>
                    </a:lnTo>
                    <a:lnTo>
                      <a:pt x="1933" y="256"/>
                    </a:lnTo>
                    <a:lnTo>
                      <a:pt x="1927" y="258"/>
                    </a:lnTo>
                    <a:lnTo>
                      <a:pt x="1922" y="261"/>
                    </a:lnTo>
                    <a:lnTo>
                      <a:pt x="1916" y="264"/>
                    </a:lnTo>
                    <a:lnTo>
                      <a:pt x="1910" y="267"/>
                    </a:lnTo>
                    <a:lnTo>
                      <a:pt x="1903" y="270"/>
                    </a:lnTo>
                    <a:lnTo>
                      <a:pt x="1895" y="272"/>
                    </a:lnTo>
                    <a:lnTo>
                      <a:pt x="1887" y="273"/>
                    </a:lnTo>
                    <a:lnTo>
                      <a:pt x="1882" y="287"/>
                    </a:lnTo>
                    <a:lnTo>
                      <a:pt x="1879" y="297"/>
                    </a:lnTo>
                    <a:lnTo>
                      <a:pt x="1877" y="301"/>
                    </a:lnTo>
                    <a:lnTo>
                      <a:pt x="1875" y="305"/>
                    </a:lnTo>
                    <a:lnTo>
                      <a:pt x="1871" y="308"/>
                    </a:lnTo>
                    <a:lnTo>
                      <a:pt x="1867" y="310"/>
                    </a:lnTo>
                    <a:lnTo>
                      <a:pt x="1871" y="316"/>
                    </a:lnTo>
                    <a:lnTo>
                      <a:pt x="1876" y="320"/>
                    </a:lnTo>
                    <a:lnTo>
                      <a:pt x="1882" y="325"/>
                    </a:lnTo>
                    <a:lnTo>
                      <a:pt x="1889" y="328"/>
                    </a:lnTo>
                    <a:lnTo>
                      <a:pt x="1903" y="334"/>
                    </a:lnTo>
                    <a:lnTo>
                      <a:pt x="1921" y="340"/>
                    </a:lnTo>
                    <a:lnTo>
                      <a:pt x="1959" y="349"/>
                    </a:lnTo>
                    <a:lnTo>
                      <a:pt x="2000" y="360"/>
                    </a:lnTo>
                    <a:lnTo>
                      <a:pt x="1954" y="360"/>
                    </a:lnTo>
                    <a:lnTo>
                      <a:pt x="1929" y="354"/>
                    </a:lnTo>
                    <a:lnTo>
                      <a:pt x="1906" y="349"/>
                    </a:lnTo>
                    <a:lnTo>
                      <a:pt x="1886" y="344"/>
                    </a:lnTo>
                    <a:lnTo>
                      <a:pt x="1866" y="338"/>
                    </a:lnTo>
                    <a:lnTo>
                      <a:pt x="1857" y="333"/>
                    </a:lnTo>
                    <a:lnTo>
                      <a:pt x="1849" y="328"/>
                    </a:lnTo>
                    <a:lnTo>
                      <a:pt x="1842" y="322"/>
                    </a:lnTo>
                    <a:lnTo>
                      <a:pt x="1835" y="315"/>
                    </a:lnTo>
                    <a:lnTo>
                      <a:pt x="1828" y="307"/>
                    </a:lnTo>
                    <a:lnTo>
                      <a:pt x="1823" y="298"/>
                    </a:lnTo>
                    <a:lnTo>
                      <a:pt x="1817" y="287"/>
                    </a:lnTo>
                    <a:lnTo>
                      <a:pt x="1814" y="273"/>
                    </a:lnTo>
                    <a:lnTo>
                      <a:pt x="1787" y="273"/>
                    </a:lnTo>
                    <a:lnTo>
                      <a:pt x="1787" y="282"/>
                    </a:lnTo>
                    <a:lnTo>
                      <a:pt x="1786" y="288"/>
                    </a:lnTo>
                    <a:lnTo>
                      <a:pt x="1785" y="293"/>
                    </a:lnTo>
                    <a:lnTo>
                      <a:pt x="1782" y="298"/>
                    </a:lnTo>
                    <a:lnTo>
                      <a:pt x="1776" y="306"/>
                    </a:lnTo>
                    <a:lnTo>
                      <a:pt x="1767" y="316"/>
                    </a:lnTo>
                    <a:lnTo>
                      <a:pt x="1771" y="323"/>
                    </a:lnTo>
                    <a:lnTo>
                      <a:pt x="1775" y="328"/>
                    </a:lnTo>
                    <a:lnTo>
                      <a:pt x="1779" y="332"/>
                    </a:lnTo>
                    <a:lnTo>
                      <a:pt x="1785" y="336"/>
                    </a:lnTo>
                    <a:lnTo>
                      <a:pt x="1793" y="342"/>
                    </a:lnTo>
                    <a:lnTo>
                      <a:pt x="1803" y="346"/>
                    </a:lnTo>
                    <a:lnTo>
                      <a:pt x="1813" y="351"/>
                    </a:lnTo>
                    <a:lnTo>
                      <a:pt x="1823" y="358"/>
                    </a:lnTo>
                    <a:lnTo>
                      <a:pt x="1827" y="363"/>
                    </a:lnTo>
                    <a:lnTo>
                      <a:pt x="1832" y="369"/>
                    </a:lnTo>
                    <a:lnTo>
                      <a:pt x="1836" y="376"/>
                    </a:lnTo>
                    <a:lnTo>
                      <a:pt x="1841" y="384"/>
                    </a:lnTo>
                    <a:lnTo>
                      <a:pt x="1842" y="389"/>
                    </a:lnTo>
                    <a:lnTo>
                      <a:pt x="1843" y="396"/>
                    </a:lnTo>
                    <a:lnTo>
                      <a:pt x="1844" y="402"/>
                    </a:lnTo>
                    <a:lnTo>
                      <a:pt x="1844" y="409"/>
                    </a:lnTo>
                    <a:lnTo>
                      <a:pt x="1844" y="415"/>
                    </a:lnTo>
                    <a:lnTo>
                      <a:pt x="1844" y="420"/>
                    </a:lnTo>
                    <a:lnTo>
                      <a:pt x="1845" y="424"/>
                    </a:lnTo>
                    <a:lnTo>
                      <a:pt x="1847" y="427"/>
                    </a:lnTo>
                    <a:lnTo>
                      <a:pt x="1859" y="436"/>
                    </a:lnTo>
                    <a:lnTo>
                      <a:pt x="1868" y="444"/>
                    </a:lnTo>
                    <a:lnTo>
                      <a:pt x="1872" y="448"/>
                    </a:lnTo>
                    <a:lnTo>
                      <a:pt x="1878" y="451"/>
                    </a:lnTo>
                    <a:lnTo>
                      <a:pt x="1884" y="452"/>
                    </a:lnTo>
                    <a:lnTo>
                      <a:pt x="1893" y="453"/>
                    </a:lnTo>
                    <a:lnTo>
                      <a:pt x="1902" y="452"/>
                    </a:lnTo>
                    <a:lnTo>
                      <a:pt x="1910" y="450"/>
                    </a:lnTo>
                    <a:lnTo>
                      <a:pt x="1917" y="446"/>
                    </a:lnTo>
                    <a:lnTo>
                      <a:pt x="1923" y="443"/>
                    </a:lnTo>
                    <a:lnTo>
                      <a:pt x="1929" y="439"/>
                    </a:lnTo>
                    <a:lnTo>
                      <a:pt x="1936" y="436"/>
                    </a:lnTo>
                    <a:lnTo>
                      <a:pt x="1944" y="434"/>
                    </a:lnTo>
                    <a:lnTo>
                      <a:pt x="1954" y="433"/>
                    </a:lnTo>
                    <a:lnTo>
                      <a:pt x="1961" y="434"/>
                    </a:lnTo>
                    <a:lnTo>
                      <a:pt x="1970" y="435"/>
                    </a:lnTo>
                    <a:lnTo>
                      <a:pt x="1978" y="437"/>
                    </a:lnTo>
                    <a:lnTo>
                      <a:pt x="1985" y="439"/>
                    </a:lnTo>
                    <a:lnTo>
                      <a:pt x="1999" y="445"/>
                    </a:lnTo>
                    <a:lnTo>
                      <a:pt x="2013" y="453"/>
                    </a:lnTo>
                    <a:lnTo>
                      <a:pt x="2027" y="459"/>
                    </a:lnTo>
                    <a:lnTo>
                      <a:pt x="2041" y="465"/>
                    </a:lnTo>
                    <a:lnTo>
                      <a:pt x="2048" y="467"/>
                    </a:lnTo>
                    <a:lnTo>
                      <a:pt x="2056" y="469"/>
                    </a:lnTo>
                    <a:lnTo>
                      <a:pt x="2065" y="470"/>
                    </a:lnTo>
                    <a:lnTo>
                      <a:pt x="2073" y="471"/>
                    </a:lnTo>
                    <a:lnTo>
                      <a:pt x="2076" y="482"/>
                    </a:lnTo>
                    <a:lnTo>
                      <a:pt x="2078" y="492"/>
                    </a:lnTo>
                    <a:lnTo>
                      <a:pt x="2082" y="503"/>
                    </a:lnTo>
                    <a:lnTo>
                      <a:pt x="2086" y="511"/>
                    </a:lnTo>
                    <a:lnTo>
                      <a:pt x="2090" y="515"/>
                    </a:lnTo>
                    <a:lnTo>
                      <a:pt x="2093" y="518"/>
                    </a:lnTo>
                    <a:lnTo>
                      <a:pt x="2097" y="522"/>
                    </a:lnTo>
                    <a:lnTo>
                      <a:pt x="2102" y="525"/>
                    </a:lnTo>
                    <a:lnTo>
                      <a:pt x="2106" y="527"/>
                    </a:lnTo>
                    <a:lnTo>
                      <a:pt x="2113" y="529"/>
                    </a:lnTo>
                    <a:lnTo>
                      <a:pt x="2118" y="531"/>
                    </a:lnTo>
                    <a:lnTo>
                      <a:pt x="2126" y="532"/>
                    </a:lnTo>
                    <a:lnTo>
                      <a:pt x="2111" y="532"/>
                    </a:lnTo>
                    <a:lnTo>
                      <a:pt x="2100" y="532"/>
                    </a:lnTo>
                    <a:lnTo>
                      <a:pt x="2093" y="532"/>
                    </a:lnTo>
                    <a:lnTo>
                      <a:pt x="2086" y="531"/>
                    </a:lnTo>
                    <a:lnTo>
                      <a:pt x="2081" y="530"/>
                    </a:lnTo>
                    <a:lnTo>
                      <a:pt x="2076" y="529"/>
                    </a:lnTo>
                    <a:lnTo>
                      <a:pt x="2067" y="524"/>
                    </a:lnTo>
                    <a:lnTo>
                      <a:pt x="2059" y="519"/>
                    </a:lnTo>
                    <a:lnTo>
                      <a:pt x="2052" y="513"/>
                    </a:lnTo>
                    <a:lnTo>
                      <a:pt x="2046" y="506"/>
                    </a:lnTo>
                    <a:lnTo>
                      <a:pt x="2040" y="497"/>
                    </a:lnTo>
                    <a:lnTo>
                      <a:pt x="2035" y="489"/>
                    </a:lnTo>
                    <a:lnTo>
                      <a:pt x="2030" y="481"/>
                    </a:lnTo>
                    <a:lnTo>
                      <a:pt x="2024" y="473"/>
                    </a:lnTo>
                    <a:lnTo>
                      <a:pt x="2017" y="466"/>
                    </a:lnTo>
                    <a:lnTo>
                      <a:pt x="2011" y="460"/>
                    </a:lnTo>
                    <a:lnTo>
                      <a:pt x="2002" y="454"/>
                    </a:lnTo>
                    <a:lnTo>
                      <a:pt x="1992" y="450"/>
                    </a:lnTo>
                    <a:lnTo>
                      <a:pt x="1980" y="448"/>
                    </a:lnTo>
                    <a:lnTo>
                      <a:pt x="1967" y="446"/>
                    </a:lnTo>
                    <a:lnTo>
                      <a:pt x="1959" y="446"/>
                    </a:lnTo>
                    <a:lnTo>
                      <a:pt x="1953" y="449"/>
                    </a:lnTo>
                    <a:lnTo>
                      <a:pt x="1946" y="451"/>
                    </a:lnTo>
                    <a:lnTo>
                      <a:pt x="1939" y="453"/>
                    </a:lnTo>
                    <a:lnTo>
                      <a:pt x="1927" y="459"/>
                    </a:lnTo>
                    <a:lnTo>
                      <a:pt x="1913" y="465"/>
                    </a:lnTo>
                    <a:lnTo>
                      <a:pt x="1918" y="477"/>
                    </a:lnTo>
                    <a:lnTo>
                      <a:pt x="1932" y="499"/>
                    </a:lnTo>
                    <a:lnTo>
                      <a:pt x="1939" y="512"/>
                    </a:lnTo>
                    <a:lnTo>
                      <a:pt x="1947" y="523"/>
                    </a:lnTo>
                    <a:lnTo>
                      <a:pt x="1954" y="532"/>
                    </a:lnTo>
                    <a:lnTo>
                      <a:pt x="1960" y="538"/>
                    </a:lnTo>
                    <a:lnTo>
                      <a:pt x="1945" y="554"/>
                    </a:lnTo>
                    <a:lnTo>
                      <a:pt x="1929" y="573"/>
                    </a:lnTo>
                    <a:lnTo>
                      <a:pt x="1924" y="578"/>
                    </a:lnTo>
                    <a:lnTo>
                      <a:pt x="1918" y="581"/>
                    </a:lnTo>
                    <a:lnTo>
                      <a:pt x="1913" y="585"/>
                    </a:lnTo>
                    <a:lnTo>
                      <a:pt x="1906" y="588"/>
                    </a:lnTo>
                    <a:lnTo>
                      <a:pt x="1900" y="590"/>
                    </a:lnTo>
                    <a:lnTo>
                      <a:pt x="1892" y="592"/>
                    </a:lnTo>
                    <a:lnTo>
                      <a:pt x="1883" y="593"/>
                    </a:lnTo>
                    <a:lnTo>
                      <a:pt x="1873" y="594"/>
                    </a:lnTo>
                    <a:lnTo>
                      <a:pt x="1855" y="595"/>
                    </a:lnTo>
                    <a:lnTo>
                      <a:pt x="1838" y="597"/>
                    </a:lnTo>
                    <a:lnTo>
                      <a:pt x="1823" y="600"/>
                    </a:lnTo>
                    <a:lnTo>
                      <a:pt x="1810" y="603"/>
                    </a:lnTo>
                    <a:lnTo>
                      <a:pt x="1797" y="604"/>
                    </a:lnTo>
                    <a:lnTo>
                      <a:pt x="1785" y="604"/>
                    </a:lnTo>
                    <a:lnTo>
                      <a:pt x="1779" y="603"/>
                    </a:lnTo>
                    <a:lnTo>
                      <a:pt x="1772" y="601"/>
                    </a:lnTo>
                    <a:lnTo>
                      <a:pt x="1767" y="598"/>
                    </a:lnTo>
                    <a:lnTo>
                      <a:pt x="1760" y="594"/>
                    </a:lnTo>
                    <a:lnTo>
                      <a:pt x="1778" y="593"/>
                    </a:lnTo>
                    <a:lnTo>
                      <a:pt x="1793" y="591"/>
                    </a:lnTo>
                    <a:lnTo>
                      <a:pt x="1806" y="589"/>
                    </a:lnTo>
                    <a:lnTo>
                      <a:pt x="1821" y="588"/>
                    </a:lnTo>
                    <a:lnTo>
                      <a:pt x="1826" y="587"/>
                    </a:lnTo>
                    <a:lnTo>
                      <a:pt x="1832" y="586"/>
                    </a:lnTo>
                    <a:lnTo>
                      <a:pt x="1837" y="585"/>
                    </a:lnTo>
                    <a:lnTo>
                      <a:pt x="1843" y="583"/>
                    </a:lnTo>
                    <a:lnTo>
                      <a:pt x="1847" y="580"/>
                    </a:lnTo>
                    <a:lnTo>
                      <a:pt x="1852" y="577"/>
                    </a:lnTo>
                    <a:lnTo>
                      <a:pt x="1856" y="573"/>
                    </a:lnTo>
                    <a:lnTo>
                      <a:pt x="1859" y="569"/>
                    </a:lnTo>
                    <a:lnTo>
                      <a:pt x="1866" y="560"/>
                    </a:lnTo>
                    <a:lnTo>
                      <a:pt x="1870" y="548"/>
                    </a:lnTo>
                    <a:lnTo>
                      <a:pt x="1872" y="538"/>
                    </a:lnTo>
                    <a:lnTo>
                      <a:pt x="1873" y="526"/>
                    </a:lnTo>
                    <a:lnTo>
                      <a:pt x="1873" y="520"/>
                    </a:lnTo>
                    <a:lnTo>
                      <a:pt x="1873" y="512"/>
                    </a:lnTo>
                    <a:lnTo>
                      <a:pt x="1873" y="499"/>
                    </a:lnTo>
                    <a:lnTo>
                      <a:pt x="1873" y="483"/>
                    </a:lnTo>
                    <a:lnTo>
                      <a:pt x="1860" y="480"/>
                    </a:lnTo>
                    <a:lnTo>
                      <a:pt x="1849" y="476"/>
                    </a:lnTo>
                    <a:lnTo>
                      <a:pt x="1839" y="470"/>
                    </a:lnTo>
                    <a:lnTo>
                      <a:pt x="1832" y="464"/>
                    </a:lnTo>
                    <a:lnTo>
                      <a:pt x="1824" y="457"/>
                    </a:lnTo>
                    <a:lnTo>
                      <a:pt x="1817" y="449"/>
                    </a:lnTo>
                    <a:lnTo>
                      <a:pt x="1812" y="440"/>
                    </a:lnTo>
                    <a:lnTo>
                      <a:pt x="1806" y="431"/>
                    </a:lnTo>
                    <a:lnTo>
                      <a:pt x="1796" y="413"/>
                    </a:lnTo>
                    <a:lnTo>
                      <a:pt x="1785" y="396"/>
                    </a:lnTo>
                    <a:lnTo>
                      <a:pt x="1778" y="387"/>
                    </a:lnTo>
                    <a:lnTo>
                      <a:pt x="1771" y="379"/>
                    </a:lnTo>
                    <a:lnTo>
                      <a:pt x="1764" y="372"/>
                    </a:lnTo>
                    <a:lnTo>
                      <a:pt x="1754" y="366"/>
                    </a:lnTo>
                    <a:lnTo>
                      <a:pt x="1708" y="348"/>
                    </a:lnTo>
                    <a:lnTo>
                      <a:pt x="1705" y="342"/>
                    </a:lnTo>
                    <a:lnTo>
                      <a:pt x="1707" y="333"/>
                    </a:lnTo>
                    <a:lnTo>
                      <a:pt x="1708" y="324"/>
                    </a:lnTo>
                    <a:lnTo>
                      <a:pt x="1709" y="313"/>
                    </a:lnTo>
                    <a:lnTo>
                      <a:pt x="1710" y="303"/>
                    </a:lnTo>
                    <a:lnTo>
                      <a:pt x="1709" y="294"/>
                    </a:lnTo>
                    <a:lnTo>
                      <a:pt x="1708" y="290"/>
                    </a:lnTo>
                    <a:lnTo>
                      <a:pt x="1707" y="286"/>
                    </a:lnTo>
                    <a:lnTo>
                      <a:pt x="1704" y="283"/>
                    </a:lnTo>
                    <a:lnTo>
                      <a:pt x="1701" y="279"/>
                    </a:lnTo>
                    <a:lnTo>
                      <a:pt x="1698" y="276"/>
                    </a:lnTo>
                    <a:lnTo>
                      <a:pt x="1693" y="273"/>
                    </a:lnTo>
                    <a:lnTo>
                      <a:pt x="1689" y="271"/>
                    </a:lnTo>
                    <a:lnTo>
                      <a:pt x="1682" y="269"/>
                    </a:lnTo>
                    <a:lnTo>
                      <a:pt x="1669" y="266"/>
                    </a:lnTo>
                    <a:lnTo>
                      <a:pt x="1654" y="263"/>
                    </a:lnTo>
                    <a:lnTo>
                      <a:pt x="1618" y="261"/>
                    </a:lnTo>
                    <a:lnTo>
                      <a:pt x="1581" y="261"/>
                    </a:lnTo>
                    <a:lnTo>
                      <a:pt x="1596" y="257"/>
                    </a:lnTo>
                    <a:lnTo>
                      <a:pt x="1609" y="253"/>
                    </a:lnTo>
                    <a:lnTo>
                      <a:pt x="1613" y="249"/>
                    </a:lnTo>
                    <a:lnTo>
                      <a:pt x="1618" y="245"/>
                    </a:lnTo>
                    <a:lnTo>
                      <a:pt x="1620" y="239"/>
                    </a:lnTo>
                    <a:lnTo>
                      <a:pt x="1621" y="231"/>
                    </a:lnTo>
                    <a:lnTo>
                      <a:pt x="1608" y="231"/>
                    </a:lnTo>
                    <a:lnTo>
                      <a:pt x="1596" y="231"/>
                    </a:lnTo>
                    <a:lnTo>
                      <a:pt x="1581" y="231"/>
                    </a:lnTo>
                    <a:lnTo>
                      <a:pt x="1562" y="231"/>
                    </a:lnTo>
                    <a:lnTo>
                      <a:pt x="1559" y="246"/>
                    </a:lnTo>
                    <a:lnTo>
                      <a:pt x="1555" y="263"/>
                    </a:lnTo>
                    <a:lnTo>
                      <a:pt x="1550" y="279"/>
                    </a:lnTo>
                    <a:lnTo>
                      <a:pt x="1548" y="292"/>
                    </a:lnTo>
                    <a:lnTo>
                      <a:pt x="1548" y="294"/>
                    </a:lnTo>
                    <a:lnTo>
                      <a:pt x="1550" y="295"/>
                    </a:lnTo>
                    <a:lnTo>
                      <a:pt x="1552" y="295"/>
                    </a:lnTo>
                    <a:lnTo>
                      <a:pt x="1555" y="295"/>
                    </a:lnTo>
                    <a:lnTo>
                      <a:pt x="1559" y="293"/>
                    </a:lnTo>
                    <a:lnTo>
                      <a:pt x="1562" y="292"/>
                    </a:lnTo>
                    <a:lnTo>
                      <a:pt x="1562" y="323"/>
                    </a:lnTo>
                    <a:lnTo>
                      <a:pt x="1552" y="327"/>
                    </a:lnTo>
                    <a:lnTo>
                      <a:pt x="1543" y="331"/>
                    </a:lnTo>
                    <a:lnTo>
                      <a:pt x="1537" y="332"/>
                    </a:lnTo>
                    <a:lnTo>
                      <a:pt x="1531" y="334"/>
                    </a:lnTo>
                    <a:lnTo>
                      <a:pt x="1524" y="334"/>
                    </a:lnTo>
                    <a:lnTo>
                      <a:pt x="1514" y="336"/>
                    </a:lnTo>
                    <a:lnTo>
                      <a:pt x="1514" y="345"/>
                    </a:lnTo>
                    <a:lnTo>
                      <a:pt x="1514" y="354"/>
                    </a:lnTo>
                    <a:lnTo>
                      <a:pt x="1532" y="375"/>
                    </a:lnTo>
                    <a:lnTo>
                      <a:pt x="1555" y="404"/>
                    </a:lnTo>
                    <a:lnTo>
                      <a:pt x="1562" y="411"/>
                    </a:lnTo>
                    <a:lnTo>
                      <a:pt x="1569" y="418"/>
                    </a:lnTo>
                    <a:lnTo>
                      <a:pt x="1577" y="424"/>
                    </a:lnTo>
                    <a:lnTo>
                      <a:pt x="1585" y="429"/>
                    </a:lnTo>
                    <a:lnTo>
                      <a:pt x="1593" y="433"/>
                    </a:lnTo>
                    <a:lnTo>
                      <a:pt x="1602" y="437"/>
                    </a:lnTo>
                    <a:lnTo>
                      <a:pt x="1611" y="439"/>
                    </a:lnTo>
                    <a:lnTo>
                      <a:pt x="1621" y="439"/>
                    </a:lnTo>
                    <a:lnTo>
                      <a:pt x="1622" y="445"/>
                    </a:lnTo>
                    <a:lnTo>
                      <a:pt x="1623" y="451"/>
                    </a:lnTo>
                    <a:lnTo>
                      <a:pt x="1625" y="455"/>
                    </a:lnTo>
                    <a:lnTo>
                      <a:pt x="1629" y="458"/>
                    </a:lnTo>
                    <a:lnTo>
                      <a:pt x="1636" y="465"/>
                    </a:lnTo>
                    <a:lnTo>
                      <a:pt x="1645" y="471"/>
                    </a:lnTo>
                    <a:lnTo>
                      <a:pt x="1654" y="477"/>
                    </a:lnTo>
                    <a:lnTo>
                      <a:pt x="1663" y="483"/>
                    </a:lnTo>
                    <a:lnTo>
                      <a:pt x="1667" y="487"/>
                    </a:lnTo>
                    <a:lnTo>
                      <a:pt x="1670" y="491"/>
                    </a:lnTo>
                    <a:lnTo>
                      <a:pt x="1673" y="496"/>
                    </a:lnTo>
                    <a:lnTo>
                      <a:pt x="1674" y="501"/>
                    </a:lnTo>
                    <a:lnTo>
                      <a:pt x="1667" y="501"/>
                    </a:lnTo>
                    <a:lnTo>
                      <a:pt x="1654" y="501"/>
                    </a:lnTo>
                    <a:lnTo>
                      <a:pt x="1645" y="499"/>
                    </a:lnTo>
                    <a:lnTo>
                      <a:pt x="1625" y="494"/>
                    </a:lnTo>
                    <a:lnTo>
                      <a:pt x="1599" y="487"/>
                    </a:lnTo>
                    <a:lnTo>
                      <a:pt x="1568" y="478"/>
                    </a:lnTo>
                    <a:lnTo>
                      <a:pt x="1539" y="468"/>
                    </a:lnTo>
                    <a:lnTo>
                      <a:pt x="1513" y="458"/>
                    </a:lnTo>
                    <a:lnTo>
                      <a:pt x="1502" y="453"/>
                    </a:lnTo>
                    <a:lnTo>
                      <a:pt x="1495" y="448"/>
                    </a:lnTo>
                    <a:lnTo>
                      <a:pt x="1492" y="445"/>
                    </a:lnTo>
                    <a:lnTo>
                      <a:pt x="1490" y="443"/>
                    </a:lnTo>
                    <a:lnTo>
                      <a:pt x="1488" y="441"/>
                    </a:lnTo>
                    <a:lnTo>
                      <a:pt x="1488" y="439"/>
                    </a:lnTo>
                    <a:lnTo>
                      <a:pt x="1467" y="439"/>
                    </a:lnTo>
                    <a:lnTo>
                      <a:pt x="1432" y="436"/>
                    </a:lnTo>
                    <a:lnTo>
                      <a:pt x="1389" y="432"/>
                    </a:lnTo>
                    <a:lnTo>
                      <a:pt x="1343" y="425"/>
                    </a:lnTo>
                    <a:lnTo>
                      <a:pt x="1320" y="421"/>
                    </a:lnTo>
                    <a:lnTo>
                      <a:pt x="1298" y="417"/>
                    </a:lnTo>
                    <a:lnTo>
                      <a:pt x="1277" y="412"/>
                    </a:lnTo>
                    <a:lnTo>
                      <a:pt x="1260" y="406"/>
                    </a:lnTo>
                    <a:lnTo>
                      <a:pt x="1251" y="403"/>
                    </a:lnTo>
                    <a:lnTo>
                      <a:pt x="1244" y="400"/>
                    </a:lnTo>
                    <a:lnTo>
                      <a:pt x="1238" y="397"/>
                    </a:lnTo>
                    <a:lnTo>
                      <a:pt x="1232" y="394"/>
                    </a:lnTo>
                    <a:lnTo>
                      <a:pt x="1228" y="389"/>
                    </a:lnTo>
                    <a:lnTo>
                      <a:pt x="1225" y="386"/>
                    </a:lnTo>
                    <a:lnTo>
                      <a:pt x="1223" y="382"/>
                    </a:lnTo>
                    <a:lnTo>
                      <a:pt x="1222" y="378"/>
                    </a:lnTo>
                    <a:lnTo>
                      <a:pt x="1210" y="381"/>
                    </a:lnTo>
                    <a:lnTo>
                      <a:pt x="1203" y="384"/>
                    </a:lnTo>
                    <a:lnTo>
                      <a:pt x="1203" y="389"/>
                    </a:lnTo>
                    <a:lnTo>
                      <a:pt x="1204" y="395"/>
                    </a:lnTo>
                    <a:lnTo>
                      <a:pt x="1205" y="399"/>
                    </a:lnTo>
                    <a:lnTo>
                      <a:pt x="1207" y="403"/>
                    </a:lnTo>
                    <a:lnTo>
                      <a:pt x="1211" y="410"/>
                    </a:lnTo>
                    <a:lnTo>
                      <a:pt x="1218" y="416"/>
                    </a:lnTo>
                    <a:lnTo>
                      <a:pt x="1225" y="421"/>
                    </a:lnTo>
                    <a:lnTo>
                      <a:pt x="1233" y="425"/>
                    </a:lnTo>
                    <a:lnTo>
                      <a:pt x="1243" y="429"/>
                    </a:lnTo>
                    <a:lnTo>
                      <a:pt x="1253" y="433"/>
                    </a:lnTo>
                    <a:lnTo>
                      <a:pt x="1274" y="442"/>
                    </a:lnTo>
                    <a:lnTo>
                      <a:pt x="1295" y="452"/>
                    </a:lnTo>
                    <a:lnTo>
                      <a:pt x="1305" y="458"/>
                    </a:lnTo>
                    <a:lnTo>
                      <a:pt x="1313" y="465"/>
                    </a:lnTo>
                    <a:lnTo>
                      <a:pt x="1322" y="473"/>
                    </a:lnTo>
                    <a:lnTo>
                      <a:pt x="1329" y="483"/>
                    </a:lnTo>
                    <a:lnTo>
                      <a:pt x="1319" y="483"/>
                    </a:lnTo>
                    <a:lnTo>
                      <a:pt x="1309" y="483"/>
                    </a:lnTo>
                    <a:lnTo>
                      <a:pt x="1297" y="481"/>
                    </a:lnTo>
                    <a:lnTo>
                      <a:pt x="1281" y="477"/>
                    </a:lnTo>
                    <a:lnTo>
                      <a:pt x="1272" y="475"/>
                    </a:lnTo>
                    <a:lnTo>
                      <a:pt x="1262" y="473"/>
                    </a:lnTo>
                    <a:lnTo>
                      <a:pt x="1252" y="471"/>
                    </a:lnTo>
                    <a:lnTo>
                      <a:pt x="1242" y="471"/>
                    </a:lnTo>
                    <a:lnTo>
                      <a:pt x="1232" y="471"/>
                    </a:lnTo>
                    <a:lnTo>
                      <a:pt x="1221" y="473"/>
                    </a:lnTo>
                    <a:lnTo>
                      <a:pt x="1210" y="475"/>
                    </a:lnTo>
                    <a:lnTo>
                      <a:pt x="1198" y="477"/>
                    </a:lnTo>
                    <a:lnTo>
                      <a:pt x="1174" y="484"/>
                    </a:lnTo>
                    <a:lnTo>
                      <a:pt x="1149" y="492"/>
                    </a:lnTo>
                    <a:lnTo>
                      <a:pt x="1122" y="500"/>
                    </a:lnTo>
                    <a:lnTo>
                      <a:pt x="1097" y="508"/>
                    </a:lnTo>
                    <a:lnTo>
                      <a:pt x="1085" y="510"/>
                    </a:lnTo>
                    <a:lnTo>
                      <a:pt x="1073" y="512"/>
                    </a:lnTo>
                    <a:lnTo>
                      <a:pt x="1061" y="514"/>
                    </a:lnTo>
                    <a:lnTo>
                      <a:pt x="1050" y="514"/>
                    </a:lnTo>
                    <a:lnTo>
                      <a:pt x="1046" y="513"/>
                    </a:lnTo>
                    <a:lnTo>
                      <a:pt x="1042" y="511"/>
                    </a:lnTo>
                    <a:lnTo>
                      <a:pt x="1040" y="507"/>
                    </a:lnTo>
                    <a:lnTo>
                      <a:pt x="1040" y="503"/>
                    </a:lnTo>
                    <a:lnTo>
                      <a:pt x="1040" y="496"/>
                    </a:lnTo>
                    <a:lnTo>
                      <a:pt x="1042" y="490"/>
                    </a:lnTo>
                    <a:lnTo>
                      <a:pt x="1046" y="484"/>
                    </a:lnTo>
                    <a:lnTo>
                      <a:pt x="1050" y="477"/>
                    </a:lnTo>
                    <a:lnTo>
                      <a:pt x="1040" y="473"/>
                    </a:lnTo>
                    <a:lnTo>
                      <a:pt x="1030" y="472"/>
                    </a:lnTo>
                    <a:lnTo>
                      <a:pt x="1019" y="471"/>
                    </a:lnTo>
                    <a:lnTo>
                      <a:pt x="1009" y="471"/>
                    </a:lnTo>
                    <a:lnTo>
                      <a:pt x="1007" y="475"/>
                    </a:lnTo>
                    <a:lnTo>
                      <a:pt x="1004" y="477"/>
                    </a:lnTo>
                    <a:lnTo>
                      <a:pt x="999" y="479"/>
                    </a:lnTo>
                    <a:lnTo>
                      <a:pt x="994" y="480"/>
                    </a:lnTo>
                    <a:lnTo>
                      <a:pt x="984" y="480"/>
                    </a:lnTo>
                    <a:lnTo>
                      <a:pt x="972" y="479"/>
                    </a:lnTo>
                    <a:lnTo>
                      <a:pt x="961" y="477"/>
                    </a:lnTo>
                    <a:lnTo>
                      <a:pt x="949" y="477"/>
                    </a:lnTo>
                    <a:lnTo>
                      <a:pt x="943" y="477"/>
                    </a:lnTo>
                    <a:lnTo>
                      <a:pt x="939" y="478"/>
                    </a:lnTo>
                    <a:lnTo>
                      <a:pt x="934" y="480"/>
                    </a:lnTo>
                    <a:lnTo>
                      <a:pt x="930" y="483"/>
                    </a:lnTo>
                    <a:lnTo>
                      <a:pt x="924" y="489"/>
                    </a:lnTo>
                    <a:lnTo>
                      <a:pt x="916" y="495"/>
                    </a:lnTo>
                    <a:lnTo>
                      <a:pt x="908" y="500"/>
                    </a:lnTo>
                    <a:lnTo>
                      <a:pt x="900" y="505"/>
                    </a:lnTo>
                    <a:lnTo>
                      <a:pt x="882" y="513"/>
                    </a:lnTo>
                    <a:lnTo>
                      <a:pt x="864" y="522"/>
                    </a:lnTo>
                    <a:lnTo>
                      <a:pt x="857" y="526"/>
                    </a:lnTo>
                    <a:lnTo>
                      <a:pt x="849" y="532"/>
                    </a:lnTo>
                    <a:lnTo>
                      <a:pt x="841" y="538"/>
                    </a:lnTo>
                    <a:lnTo>
                      <a:pt x="836" y="545"/>
                    </a:lnTo>
                    <a:lnTo>
                      <a:pt x="830" y="553"/>
                    </a:lnTo>
                    <a:lnTo>
                      <a:pt x="827" y="564"/>
                    </a:lnTo>
                    <a:lnTo>
                      <a:pt x="825" y="575"/>
                    </a:lnTo>
                    <a:lnTo>
                      <a:pt x="824" y="588"/>
                    </a:lnTo>
                    <a:lnTo>
                      <a:pt x="810" y="584"/>
                    </a:lnTo>
                    <a:lnTo>
                      <a:pt x="797" y="581"/>
                    </a:lnTo>
                    <a:lnTo>
                      <a:pt x="791" y="581"/>
                    </a:lnTo>
                    <a:lnTo>
                      <a:pt x="784" y="582"/>
                    </a:lnTo>
                    <a:lnTo>
                      <a:pt x="778" y="584"/>
                    </a:lnTo>
                    <a:lnTo>
                      <a:pt x="771" y="588"/>
                    </a:lnTo>
                    <a:lnTo>
                      <a:pt x="758" y="582"/>
                    </a:lnTo>
                    <a:lnTo>
                      <a:pt x="740" y="575"/>
                    </a:lnTo>
                    <a:lnTo>
                      <a:pt x="732" y="571"/>
                    </a:lnTo>
                    <a:lnTo>
                      <a:pt x="724" y="566"/>
                    </a:lnTo>
                    <a:lnTo>
                      <a:pt x="716" y="562"/>
                    </a:lnTo>
                    <a:lnTo>
                      <a:pt x="711" y="556"/>
                    </a:lnTo>
                    <a:lnTo>
                      <a:pt x="711" y="526"/>
                    </a:lnTo>
                    <a:lnTo>
                      <a:pt x="721" y="526"/>
                    </a:lnTo>
                    <a:lnTo>
                      <a:pt x="730" y="526"/>
                    </a:lnTo>
                    <a:lnTo>
                      <a:pt x="738" y="526"/>
                    </a:lnTo>
                    <a:lnTo>
                      <a:pt x="744" y="526"/>
                    </a:lnTo>
                    <a:lnTo>
                      <a:pt x="740" y="516"/>
                    </a:lnTo>
                    <a:lnTo>
                      <a:pt x="736" y="507"/>
                    </a:lnTo>
                    <a:lnTo>
                      <a:pt x="730" y="499"/>
                    </a:lnTo>
                    <a:lnTo>
                      <a:pt x="723" y="493"/>
                    </a:lnTo>
                    <a:lnTo>
                      <a:pt x="714" y="488"/>
                    </a:lnTo>
                    <a:lnTo>
                      <a:pt x="704" y="485"/>
                    </a:lnTo>
                    <a:lnTo>
                      <a:pt x="692" y="483"/>
                    </a:lnTo>
                    <a:lnTo>
                      <a:pt x="678" y="483"/>
                    </a:lnTo>
                    <a:lnTo>
                      <a:pt x="668" y="483"/>
                    </a:lnTo>
                    <a:lnTo>
                      <a:pt x="656" y="483"/>
                    </a:lnTo>
                    <a:lnTo>
                      <a:pt x="643" y="483"/>
                    </a:lnTo>
                    <a:lnTo>
                      <a:pt x="624" y="483"/>
                    </a:lnTo>
                    <a:lnTo>
                      <a:pt x="627" y="487"/>
                    </a:lnTo>
                    <a:lnTo>
                      <a:pt x="632" y="491"/>
                    </a:lnTo>
                    <a:lnTo>
                      <a:pt x="636" y="495"/>
                    </a:lnTo>
                    <a:lnTo>
                      <a:pt x="640" y="498"/>
                    </a:lnTo>
                    <a:lnTo>
                      <a:pt x="645" y="501"/>
                    </a:lnTo>
                    <a:lnTo>
                      <a:pt x="648" y="506"/>
                    </a:lnTo>
                    <a:lnTo>
                      <a:pt x="650" y="510"/>
                    </a:lnTo>
                    <a:lnTo>
                      <a:pt x="651" y="514"/>
                    </a:lnTo>
                    <a:lnTo>
                      <a:pt x="650" y="519"/>
                    </a:lnTo>
                    <a:lnTo>
                      <a:pt x="649" y="523"/>
                    </a:lnTo>
                    <a:lnTo>
                      <a:pt x="648" y="525"/>
                    </a:lnTo>
                    <a:lnTo>
                      <a:pt x="646" y="528"/>
                    </a:lnTo>
                    <a:lnTo>
                      <a:pt x="643" y="530"/>
                    </a:lnTo>
                    <a:lnTo>
                      <a:pt x="638" y="532"/>
                    </a:lnTo>
                    <a:lnTo>
                      <a:pt x="647" y="541"/>
                    </a:lnTo>
                    <a:lnTo>
                      <a:pt x="656" y="550"/>
                    </a:lnTo>
                    <a:lnTo>
                      <a:pt x="661" y="554"/>
                    </a:lnTo>
                    <a:lnTo>
                      <a:pt x="668" y="557"/>
                    </a:lnTo>
                    <a:lnTo>
                      <a:pt x="676" y="561"/>
                    </a:lnTo>
                    <a:lnTo>
                      <a:pt x="684" y="564"/>
                    </a:lnTo>
                    <a:lnTo>
                      <a:pt x="684" y="619"/>
                    </a:lnTo>
                    <a:lnTo>
                      <a:pt x="677" y="619"/>
                    </a:lnTo>
                    <a:lnTo>
                      <a:pt x="665" y="619"/>
                    </a:lnTo>
                    <a:lnTo>
                      <a:pt x="659" y="610"/>
                    </a:lnTo>
                    <a:lnTo>
                      <a:pt x="654" y="604"/>
                    </a:lnTo>
                    <a:lnTo>
                      <a:pt x="647" y="599"/>
                    </a:lnTo>
                    <a:lnTo>
                      <a:pt x="639" y="595"/>
                    </a:lnTo>
                    <a:lnTo>
                      <a:pt x="623" y="589"/>
                    </a:lnTo>
                    <a:lnTo>
                      <a:pt x="604" y="582"/>
                    </a:lnTo>
                    <a:lnTo>
                      <a:pt x="602" y="585"/>
                    </a:lnTo>
                    <a:lnTo>
                      <a:pt x="599" y="589"/>
                    </a:lnTo>
                    <a:lnTo>
                      <a:pt x="594" y="593"/>
                    </a:lnTo>
                    <a:lnTo>
                      <a:pt x="588" y="597"/>
                    </a:lnTo>
                    <a:lnTo>
                      <a:pt x="575" y="606"/>
                    </a:lnTo>
                    <a:lnTo>
                      <a:pt x="559" y="615"/>
                    </a:lnTo>
                    <a:lnTo>
                      <a:pt x="544" y="624"/>
                    </a:lnTo>
                    <a:lnTo>
                      <a:pt x="531" y="631"/>
                    </a:lnTo>
                    <a:lnTo>
                      <a:pt x="525" y="635"/>
                    </a:lnTo>
                    <a:lnTo>
                      <a:pt x="522" y="638"/>
                    </a:lnTo>
                    <a:lnTo>
                      <a:pt x="519" y="641"/>
                    </a:lnTo>
                    <a:lnTo>
                      <a:pt x="519" y="643"/>
                    </a:lnTo>
                    <a:lnTo>
                      <a:pt x="519" y="647"/>
                    </a:lnTo>
                    <a:lnTo>
                      <a:pt x="520" y="651"/>
                    </a:lnTo>
                    <a:lnTo>
                      <a:pt x="521" y="655"/>
                    </a:lnTo>
                    <a:lnTo>
                      <a:pt x="523" y="658"/>
                    </a:lnTo>
                    <a:lnTo>
                      <a:pt x="528" y="663"/>
                    </a:lnTo>
                    <a:lnTo>
                      <a:pt x="536" y="667"/>
                    </a:lnTo>
                    <a:lnTo>
                      <a:pt x="543" y="673"/>
                    </a:lnTo>
                    <a:lnTo>
                      <a:pt x="549" y="678"/>
                    </a:lnTo>
                    <a:lnTo>
                      <a:pt x="551" y="681"/>
                    </a:lnTo>
                    <a:lnTo>
                      <a:pt x="555" y="685"/>
                    </a:lnTo>
                    <a:lnTo>
                      <a:pt x="557" y="688"/>
                    </a:lnTo>
                    <a:lnTo>
                      <a:pt x="558" y="693"/>
                    </a:lnTo>
                    <a:lnTo>
                      <a:pt x="471" y="693"/>
                    </a:lnTo>
                    <a:lnTo>
                      <a:pt x="467" y="705"/>
                    </a:lnTo>
                    <a:lnTo>
                      <a:pt x="464" y="721"/>
                    </a:lnTo>
                    <a:lnTo>
                      <a:pt x="460" y="730"/>
                    </a:lnTo>
                    <a:lnTo>
                      <a:pt x="457" y="736"/>
                    </a:lnTo>
                    <a:lnTo>
                      <a:pt x="454" y="739"/>
                    </a:lnTo>
                    <a:lnTo>
                      <a:pt x="452" y="740"/>
                    </a:lnTo>
                    <a:lnTo>
                      <a:pt x="448" y="742"/>
                    </a:lnTo>
                    <a:lnTo>
                      <a:pt x="445" y="742"/>
                    </a:lnTo>
                    <a:lnTo>
                      <a:pt x="433" y="742"/>
                    </a:lnTo>
                    <a:lnTo>
                      <a:pt x="420" y="741"/>
                    </a:lnTo>
                    <a:lnTo>
                      <a:pt x="407" y="739"/>
                    </a:lnTo>
                    <a:lnTo>
                      <a:pt x="393" y="736"/>
                    </a:lnTo>
                    <a:lnTo>
                      <a:pt x="380" y="733"/>
                    </a:lnTo>
                    <a:lnTo>
                      <a:pt x="367" y="729"/>
                    </a:lnTo>
                    <a:lnTo>
                      <a:pt x="355" y="723"/>
                    </a:lnTo>
                    <a:lnTo>
                      <a:pt x="344" y="718"/>
                    </a:lnTo>
                    <a:lnTo>
                      <a:pt x="333" y="711"/>
                    </a:lnTo>
                    <a:lnTo>
                      <a:pt x="323" y="704"/>
                    </a:lnTo>
                    <a:lnTo>
                      <a:pt x="314" y="696"/>
                    </a:lnTo>
                    <a:lnTo>
                      <a:pt x="307" y="687"/>
                    </a:lnTo>
                    <a:lnTo>
                      <a:pt x="301" y="678"/>
                    </a:lnTo>
                    <a:lnTo>
                      <a:pt x="296" y="666"/>
                    </a:lnTo>
                    <a:lnTo>
                      <a:pt x="293" y="655"/>
                    </a:lnTo>
                    <a:lnTo>
                      <a:pt x="292" y="643"/>
                    </a:lnTo>
                    <a:lnTo>
                      <a:pt x="289" y="636"/>
                    </a:lnTo>
                    <a:lnTo>
                      <a:pt x="286" y="625"/>
                    </a:lnTo>
                    <a:lnTo>
                      <a:pt x="273" y="622"/>
                    </a:lnTo>
                    <a:lnTo>
                      <a:pt x="254" y="616"/>
                    </a:lnTo>
                    <a:lnTo>
                      <a:pt x="232" y="609"/>
                    </a:lnTo>
                    <a:lnTo>
                      <a:pt x="209" y="601"/>
                    </a:lnTo>
                    <a:lnTo>
                      <a:pt x="188" y="592"/>
                    </a:lnTo>
                    <a:lnTo>
                      <a:pt x="169" y="582"/>
                    </a:lnTo>
                    <a:lnTo>
                      <a:pt x="163" y="578"/>
                    </a:lnTo>
                    <a:lnTo>
                      <a:pt x="157" y="573"/>
                    </a:lnTo>
                    <a:lnTo>
                      <a:pt x="154" y="568"/>
                    </a:lnTo>
                    <a:lnTo>
                      <a:pt x="153" y="564"/>
                    </a:lnTo>
                    <a:lnTo>
                      <a:pt x="162" y="567"/>
                    </a:lnTo>
                    <a:lnTo>
                      <a:pt x="183" y="574"/>
                    </a:lnTo>
                    <a:lnTo>
                      <a:pt x="211" y="582"/>
                    </a:lnTo>
                    <a:lnTo>
                      <a:pt x="244" y="590"/>
                    </a:lnTo>
                    <a:lnTo>
                      <a:pt x="277" y="598"/>
                    </a:lnTo>
                    <a:lnTo>
                      <a:pt x="308" y="605"/>
                    </a:lnTo>
                    <a:lnTo>
                      <a:pt x="332" y="610"/>
                    </a:lnTo>
                    <a:lnTo>
                      <a:pt x="345" y="612"/>
                    </a:lnTo>
                    <a:lnTo>
                      <a:pt x="368" y="612"/>
                    </a:lnTo>
                    <a:lnTo>
                      <a:pt x="390" y="612"/>
                    </a:lnTo>
                    <a:lnTo>
                      <a:pt x="414" y="612"/>
                    </a:lnTo>
                    <a:lnTo>
                      <a:pt x="445" y="612"/>
                    </a:lnTo>
                    <a:lnTo>
                      <a:pt x="454" y="612"/>
                    </a:lnTo>
                    <a:lnTo>
                      <a:pt x="461" y="611"/>
                    </a:lnTo>
                    <a:lnTo>
                      <a:pt x="469" y="609"/>
                    </a:lnTo>
                    <a:lnTo>
                      <a:pt x="477" y="607"/>
                    </a:lnTo>
                    <a:lnTo>
                      <a:pt x="490" y="601"/>
                    </a:lnTo>
                    <a:lnTo>
                      <a:pt x="502" y="594"/>
                    </a:lnTo>
                    <a:lnTo>
                      <a:pt x="514" y="585"/>
                    </a:lnTo>
                    <a:lnTo>
                      <a:pt x="524" y="576"/>
                    </a:lnTo>
                    <a:lnTo>
                      <a:pt x="535" y="567"/>
                    </a:lnTo>
                    <a:lnTo>
                      <a:pt x="545" y="556"/>
                    </a:lnTo>
                    <a:lnTo>
                      <a:pt x="536" y="547"/>
                    </a:lnTo>
                    <a:lnTo>
                      <a:pt x="527" y="536"/>
                    </a:lnTo>
                    <a:lnTo>
                      <a:pt x="523" y="531"/>
                    </a:lnTo>
                    <a:lnTo>
                      <a:pt x="517" y="527"/>
                    </a:lnTo>
                    <a:lnTo>
                      <a:pt x="512" y="523"/>
                    </a:lnTo>
                    <a:lnTo>
                      <a:pt x="505" y="520"/>
                    </a:lnTo>
                    <a:lnTo>
                      <a:pt x="500" y="518"/>
                    </a:lnTo>
                    <a:lnTo>
                      <a:pt x="484" y="511"/>
                    </a:lnTo>
                    <a:lnTo>
                      <a:pt x="459" y="499"/>
                    </a:lnTo>
                    <a:lnTo>
                      <a:pt x="424" y="487"/>
                    </a:lnTo>
                    <a:lnTo>
                      <a:pt x="403" y="481"/>
                    </a:lnTo>
                    <a:lnTo>
                      <a:pt x="379" y="475"/>
                    </a:lnTo>
                    <a:lnTo>
                      <a:pt x="352" y="469"/>
                    </a:lnTo>
                    <a:lnTo>
                      <a:pt x="323" y="463"/>
                    </a:lnTo>
                    <a:lnTo>
                      <a:pt x="291" y="458"/>
                    </a:lnTo>
                    <a:lnTo>
                      <a:pt x="256" y="453"/>
                    </a:lnTo>
                    <a:lnTo>
                      <a:pt x="219" y="449"/>
                    </a:lnTo>
                    <a:lnTo>
                      <a:pt x="179" y="446"/>
                    </a:lnTo>
                    <a:lnTo>
                      <a:pt x="172" y="446"/>
                    </a:lnTo>
                    <a:lnTo>
                      <a:pt x="165" y="445"/>
                    </a:lnTo>
                    <a:lnTo>
                      <a:pt x="158" y="444"/>
                    </a:lnTo>
                    <a:lnTo>
                      <a:pt x="152" y="442"/>
                    </a:lnTo>
                    <a:lnTo>
                      <a:pt x="150" y="440"/>
                    </a:lnTo>
                    <a:lnTo>
                      <a:pt x="146" y="438"/>
                    </a:lnTo>
                    <a:lnTo>
                      <a:pt x="144" y="436"/>
                    </a:lnTo>
                    <a:lnTo>
                      <a:pt x="143" y="433"/>
                    </a:lnTo>
                    <a:lnTo>
                      <a:pt x="141" y="425"/>
                    </a:lnTo>
                    <a:lnTo>
                      <a:pt x="140" y="415"/>
                    </a:lnTo>
                    <a:lnTo>
                      <a:pt x="120" y="420"/>
                    </a:lnTo>
                    <a:lnTo>
                      <a:pt x="99" y="425"/>
                    </a:lnTo>
                    <a:lnTo>
                      <a:pt x="77" y="431"/>
                    </a:lnTo>
                    <a:lnTo>
                      <a:pt x="53" y="439"/>
                    </a:lnTo>
                    <a:lnTo>
                      <a:pt x="50" y="441"/>
                    </a:lnTo>
                    <a:lnTo>
                      <a:pt x="43" y="445"/>
                    </a:lnTo>
                    <a:lnTo>
                      <a:pt x="40" y="446"/>
                    </a:lnTo>
                    <a:lnTo>
                      <a:pt x="37" y="448"/>
                    </a:lnTo>
                    <a:lnTo>
                      <a:pt x="34" y="448"/>
                    </a:lnTo>
                    <a:lnTo>
                      <a:pt x="33" y="446"/>
                    </a:lnTo>
                    <a:lnTo>
                      <a:pt x="0" y="483"/>
                    </a:lnTo>
                    <a:lnTo>
                      <a:pt x="4" y="488"/>
                    </a:lnTo>
                    <a:lnTo>
                      <a:pt x="8" y="493"/>
                    </a:lnTo>
                    <a:lnTo>
                      <a:pt x="13" y="498"/>
                    </a:lnTo>
                    <a:lnTo>
                      <a:pt x="18" y="503"/>
                    </a:lnTo>
                    <a:lnTo>
                      <a:pt x="29" y="509"/>
                    </a:lnTo>
                    <a:lnTo>
                      <a:pt x="40" y="515"/>
                    </a:lnTo>
                    <a:lnTo>
                      <a:pt x="62" y="524"/>
                    </a:lnTo>
                    <a:lnTo>
                      <a:pt x="79" y="532"/>
                    </a:lnTo>
                    <a:lnTo>
                      <a:pt x="77" y="540"/>
                    </a:lnTo>
                    <a:lnTo>
                      <a:pt x="74" y="547"/>
                    </a:lnTo>
                    <a:lnTo>
                      <a:pt x="71" y="552"/>
                    </a:lnTo>
                    <a:lnTo>
                      <a:pt x="67" y="556"/>
                    </a:lnTo>
                    <a:lnTo>
                      <a:pt x="64" y="562"/>
                    </a:lnTo>
                    <a:lnTo>
                      <a:pt x="62" y="567"/>
                    </a:lnTo>
                    <a:lnTo>
                      <a:pt x="61" y="574"/>
                    </a:lnTo>
                    <a:lnTo>
                      <a:pt x="60" y="582"/>
                    </a:lnTo>
                    <a:lnTo>
                      <a:pt x="61" y="589"/>
                    </a:lnTo>
                    <a:lnTo>
                      <a:pt x="65" y="597"/>
                    </a:lnTo>
                    <a:lnTo>
                      <a:pt x="71" y="605"/>
                    </a:lnTo>
                    <a:lnTo>
                      <a:pt x="77" y="614"/>
                    </a:lnTo>
                    <a:lnTo>
                      <a:pt x="84" y="621"/>
                    </a:lnTo>
                    <a:lnTo>
                      <a:pt x="90" y="626"/>
                    </a:lnTo>
                    <a:lnTo>
                      <a:pt x="96" y="630"/>
                    </a:lnTo>
                    <a:lnTo>
                      <a:pt x="99" y="631"/>
                    </a:lnTo>
                    <a:lnTo>
                      <a:pt x="100" y="647"/>
                    </a:lnTo>
                    <a:lnTo>
                      <a:pt x="102" y="662"/>
                    </a:lnTo>
                    <a:lnTo>
                      <a:pt x="106" y="677"/>
                    </a:lnTo>
                    <a:lnTo>
                      <a:pt x="111" y="689"/>
                    </a:lnTo>
                    <a:lnTo>
                      <a:pt x="117" y="700"/>
                    </a:lnTo>
                    <a:lnTo>
                      <a:pt x="123" y="710"/>
                    </a:lnTo>
                    <a:lnTo>
                      <a:pt x="131" y="719"/>
                    </a:lnTo>
                    <a:lnTo>
                      <a:pt x="140" y="728"/>
                    </a:lnTo>
                    <a:lnTo>
                      <a:pt x="149" y="736"/>
                    </a:lnTo>
                    <a:lnTo>
                      <a:pt x="158" y="743"/>
                    </a:lnTo>
                    <a:lnTo>
                      <a:pt x="168" y="750"/>
                    </a:lnTo>
                    <a:lnTo>
                      <a:pt x="178" y="756"/>
                    </a:lnTo>
                    <a:lnTo>
                      <a:pt x="199" y="767"/>
                    </a:lnTo>
                    <a:lnTo>
                      <a:pt x="219" y="778"/>
                    </a:lnTo>
                    <a:lnTo>
                      <a:pt x="184" y="815"/>
                    </a:lnTo>
                    <a:lnTo>
                      <a:pt x="146" y="856"/>
                    </a:lnTo>
                    <a:lnTo>
                      <a:pt x="128" y="875"/>
                    </a:lnTo>
                    <a:lnTo>
                      <a:pt x="109" y="892"/>
                    </a:lnTo>
                    <a:lnTo>
                      <a:pt x="100" y="899"/>
                    </a:lnTo>
                    <a:lnTo>
                      <a:pt x="90" y="905"/>
                    </a:lnTo>
                    <a:lnTo>
                      <a:pt x="82" y="910"/>
                    </a:lnTo>
                    <a:lnTo>
                      <a:pt x="73" y="914"/>
                    </a:lnTo>
                    <a:lnTo>
                      <a:pt x="74" y="917"/>
                    </a:lnTo>
                    <a:lnTo>
                      <a:pt x="75" y="920"/>
                    </a:lnTo>
                    <a:lnTo>
                      <a:pt x="77" y="923"/>
                    </a:lnTo>
                    <a:lnTo>
                      <a:pt x="80" y="926"/>
                    </a:lnTo>
                    <a:lnTo>
                      <a:pt x="88" y="934"/>
                    </a:lnTo>
                    <a:lnTo>
                      <a:pt x="96" y="942"/>
                    </a:lnTo>
                    <a:lnTo>
                      <a:pt x="105" y="951"/>
                    </a:lnTo>
                    <a:lnTo>
                      <a:pt x="112" y="958"/>
                    </a:lnTo>
                    <a:lnTo>
                      <a:pt x="118" y="965"/>
                    </a:lnTo>
                    <a:lnTo>
                      <a:pt x="120" y="970"/>
                    </a:lnTo>
                    <a:lnTo>
                      <a:pt x="116" y="976"/>
                    </a:lnTo>
                    <a:lnTo>
                      <a:pt x="112" y="981"/>
                    </a:lnTo>
                    <a:lnTo>
                      <a:pt x="110" y="987"/>
                    </a:lnTo>
                    <a:lnTo>
                      <a:pt x="109" y="993"/>
                    </a:lnTo>
                    <a:lnTo>
                      <a:pt x="109" y="1005"/>
                    </a:lnTo>
                    <a:lnTo>
                      <a:pt x="111" y="1017"/>
                    </a:lnTo>
                    <a:lnTo>
                      <a:pt x="113" y="1029"/>
                    </a:lnTo>
                    <a:lnTo>
                      <a:pt x="116" y="1042"/>
                    </a:lnTo>
                    <a:lnTo>
                      <a:pt x="117" y="1048"/>
                    </a:lnTo>
                    <a:lnTo>
                      <a:pt x="116" y="1054"/>
                    </a:lnTo>
                    <a:lnTo>
                      <a:pt x="114" y="1062"/>
                    </a:lnTo>
                    <a:lnTo>
                      <a:pt x="113" y="1069"/>
                    </a:lnTo>
                    <a:lnTo>
                      <a:pt x="120" y="1090"/>
                    </a:lnTo>
                    <a:lnTo>
                      <a:pt x="130" y="1115"/>
                    </a:lnTo>
                    <a:lnTo>
                      <a:pt x="142" y="1139"/>
                    </a:lnTo>
                    <a:lnTo>
                      <a:pt x="153" y="1160"/>
                    </a:lnTo>
                    <a:lnTo>
                      <a:pt x="192" y="1180"/>
                    </a:lnTo>
                    <a:lnTo>
                      <a:pt x="232" y="1180"/>
                    </a:lnTo>
                    <a:lnTo>
                      <a:pt x="240" y="1204"/>
                    </a:lnTo>
                    <a:lnTo>
                      <a:pt x="279" y="1192"/>
                    </a:lnTo>
                    <a:lnTo>
                      <a:pt x="312" y="1204"/>
                    </a:lnTo>
                    <a:lnTo>
                      <a:pt x="319" y="1253"/>
                    </a:lnTo>
                    <a:lnTo>
                      <a:pt x="365" y="1291"/>
                    </a:lnTo>
                    <a:lnTo>
                      <a:pt x="399" y="1309"/>
                    </a:lnTo>
                    <a:lnTo>
                      <a:pt x="425" y="1327"/>
                    </a:lnTo>
                    <a:lnTo>
                      <a:pt x="399" y="1346"/>
                    </a:lnTo>
                    <a:lnTo>
                      <a:pt x="352" y="1333"/>
                    </a:lnTo>
                    <a:lnTo>
                      <a:pt x="358" y="1358"/>
                    </a:lnTo>
                    <a:lnTo>
                      <a:pt x="373" y="1370"/>
                    </a:lnTo>
                    <a:lnTo>
                      <a:pt x="373" y="1401"/>
                    </a:lnTo>
                    <a:lnTo>
                      <a:pt x="365" y="140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0" name="Freeform 583">
                <a:extLst>
                  <a:ext uri="{FF2B5EF4-FFF2-40B4-BE49-F238E27FC236}">
                    <a16:creationId xmlns:a16="http://schemas.microsoft.com/office/drawing/2014/main" id="{A12B7D07-129E-4ABD-941D-3F0740DF2544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3750900" y="2946019"/>
                <a:ext cx="338437" cy="279518"/>
              </a:xfrm>
              <a:custGeom>
                <a:avLst/>
                <a:gdLst>
                  <a:gd name="T0" fmla="*/ 76575689 w 647"/>
                  <a:gd name="T1" fmla="*/ 7496418 h 470"/>
                  <a:gd name="T2" fmla="*/ 80724916 w 647"/>
                  <a:gd name="T3" fmla="*/ 12493679 h 470"/>
                  <a:gd name="T4" fmla="*/ 86383308 w 647"/>
                  <a:gd name="T5" fmla="*/ 16658414 h 470"/>
                  <a:gd name="T6" fmla="*/ 96568327 w 647"/>
                  <a:gd name="T7" fmla="*/ 21655675 h 470"/>
                  <a:gd name="T8" fmla="*/ 101471919 w 647"/>
                  <a:gd name="T9" fmla="*/ 22488728 h 470"/>
                  <a:gd name="T10" fmla="*/ 105998546 w 647"/>
                  <a:gd name="T11" fmla="*/ 27486515 h 470"/>
                  <a:gd name="T12" fmla="*/ 106941828 w 647"/>
                  <a:gd name="T13" fmla="*/ 26931147 h 470"/>
                  <a:gd name="T14" fmla="*/ 108450559 w 647"/>
                  <a:gd name="T15" fmla="*/ 23599464 h 470"/>
                  <a:gd name="T16" fmla="*/ 109959290 w 647"/>
                  <a:gd name="T17" fmla="*/ 21655675 h 470"/>
                  <a:gd name="T18" fmla="*/ 113731551 w 647"/>
                  <a:gd name="T19" fmla="*/ 22211044 h 470"/>
                  <a:gd name="T20" fmla="*/ 117692295 w 647"/>
                  <a:gd name="T21" fmla="*/ 21933359 h 470"/>
                  <a:gd name="T22" fmla="*/ 120710191 w 647"/>
                  <a:gd name="T23" fmla="*/ 23321780 h 470"/>
                  <a:gd name="T24" fmla="*/ 121841956 w 647"/>
                  <a:gd name="T25" fmla="*/ 28596725 h 470"/>
                  <a:gd name="T26" fmla="*/ 121841956 w 647"/>
                  <a:gd name="T27" fmla="*/ 34149881 h 470"/>
                  <a:gd name="T28" fmla="*/ 116560964 w 647"/>
                  <a:gd name="T29" fmla="*/ 36370827 h 470"/>
                  <a:gd name="T30" fmla="*/ 110525172 w 647"/>
                  <a:gd name="T31" fmla="*/ 40535563 h 470"/>
                  <a:gd name="T32" fmla="*/ 105621580 w 647"/>
                  <a:gd name="T33" fmla="*/ 45810508 h 470"/>
                  <a:gd name="T34" fmla="*/ 95059162 w 647"/>
                  <a:gd name="T35" fmla="*/ 59414923 h 470"/>
                  <a:gd name="T36" fmla="*/ 92230183 w 647"/>
                  <a:gd name="T37" fmla="*/ 63024290 h 470"/>
                  <a:gd name="T38" fmla="*/ 89400770 w 647"/>
                  <a:gd name="T39" fmla="*/ 70520182 h 470"/>
                  <a:gd name="T40" fmla="*/ 89212287 w 647"/>
                  <a:gd name="T41" fmla="*/ 78294284 h 470"/>
                  <a:gd name="T42" fmla="*/ 89212287 w 647"/>
                  <a:gd name="T43" fmla="*/ 86346071 h 470"/>
                  <a:gd name="T44" fmla="*/ 87326156 w 647"/>
                  <a:gd name="T45" fmla="*/ 94397330 h 470"/>
                  <a:gd name="T46" fmla="*/ 84874143 w 647"/>
                  <a:gd name="T47" fmla="*/ 98284381 h 470"/>
                  <a:gd name="T48" fmla="*/ 77518537 w 647"/>
                  <a:gd name="T49" fmla="*/ 106613325 h 470"/>
                  <a:gd name="T50" fmla="*/ 72237545 w 647"/>
                  <a:gd name="T51" fmla="*/ 114109743 h 470"/>
                  <a:gd name="T52" fmla="*/ 70539897 w 647"/>
                  <a:gd name="T53" fmla="*/ 117996794 h 470"/>
                  <a:gd name="T54" fmla="*/ 69597049 w 647"/>
                  <a:gd name="T55" fmla="*/ 119940056 h 470"/>
                  <a:gd name="T56" fmla="*/ 58469182 w 647"/>
                  <a:gd name="T57" fmla="*/ 119107004 h 470"/>
                  <a:gd name="T58" fmla="*/ 48472646 w 647"/>
                  <a:gd name="T59" fmla="*/ 120495425 h 470"/>
                  <a:gd name="T60" fmla="*/ 42248371 w 647"/>
                  <a:gd name="T61" fmla="*/ 123827108 h 470"/>
                  <a:gd name="T62" fmla="*/ 36401497 w 647"/>
                  <a:gd name="T63" fmla="*/ 129657421 h 470"/>
                  <a:gd name="T64" fmla="*/ 33761001 w 647"/>
                  <a:gd name="T65" fmla="*/ 130212789 h 470"/>
                  <a:gd name="T66" fmla="*/ 31874870 w 647"/>
                  <a:gd name="T67" fmla="*/ 127991843 h 470"/>
                  <a:gd name="T68" fmla="*/ 28857408 w 647"/>
                  <a:gd name="T69" fmla="*/ 119940056 h 470"/>
                  <a:gd name="T70" fmla="*/ 26405395 w 647"/>
                  <a:gd name="T71" fmla="*/ 114942796 h 470"/>
                  <a:gd name="T72" fmla="*/ 23010534 w 647"/>
                  <a:gd name="T73" fmla="*/ 111055744 h 470"/>
                  <a:gd name="T74" fmla="*/ 21501368 w 647"/>
                  <a:gd name="T75" fmla="*/ 105225431 h 470"/>
                  <a:gd name="T76" fmla="*/ 23764899 w 647"/>
                  <a:gd name="T77" fmla="*/ 93286594 h 470"/>
                  <a:gd name="T78" fmla="*/ 23953382 w 647"/>
                  <a:gd name="T79" fmla="*/ 74129549 h 470"/>
                  <a:gd name="T80" fmla="*/ 27725643 w 647"/>
                  <a:gd name="T81" fmla="*/ 57193450 h 470"/>
                  <a:gd name="T82" fmla="*/ 31686387 w 647"/>
                  <a:gd name="T83" fmla="*/ 41368088 h 470"/>
                  <a:gd name="T84" fmla="*/ 32440753 w 647"/>
                  <a:gd name="T85" fmla="*/ 36370827 h 470"/>
                  <a:gd name="T86" fmla="*/ 21878768 w 647"/>
                  <a:gd name="T87" fmla="*/ 34149881 h 470"/>
                  <a:gd name="T88" fmla="*/ 11693750 w 647"/>
                  <a:gd name="T89" fmla="*/ 30262830 h 470"/>
                  <a:gd name="T90" fmla="*/ 3206379 w 647"/>
                  <a:gd name="T91" fmla="*/ 25820411 h 470"/>
                  <a:gd name="T92" fmla="*/ 0 w 647"/>
                  <a:gd name="T93" fmla="*/ 10550417 h 470"/>
                  <a:gd name="T94" fmla="*/ 4338144 w 647"/>
                  <a:gd name="T95" fmla="*/ 9439680 h 470"/>
                  <a:gd name="T96" fmla="*/ 9619136 w 647"/>
                  <a:gd name="T97" fmla="*/ 5552629 h 470"/>
                  <a:gd name="T98" fmla="*/ 13768363 w 647"/>
                  <a:gd name="T99" fmla="*/ 1110737 h 470"/>
                  <a:gd name="T100" fmla="*/ 16220376 w 647"/>
                  <a:gd name="T101" fmla="*/ 0 h 470"/>
                  <a:gd name="T102" fmla="*/ 24896664 w 647"/>
                  <a:gd name="T103" fmla="*/ 1943262 h 470"/>
                  <a:gd name="T104" fmla="*/ 32252270 w 647"/>
                  <a:gd name="T105" fmla="*/ 4720104 h 470"/>
                  <a:gd name="T106" fmla="*/ 39419393 w 647"/>
                  <a:gd name="T107" fmla="*/ 5552629 h 470"/>
                  <a:gd name="T108" fmla="*/ 44323419 w 647"/>
                  <a:gd name="T109" fmla="*/ 8051786 h 470"/>
                  <a:gd name="T110" fmla="*/ 48661129 w 647"/>
                  <a:gd name="T111" fmla="*/ 10272733 h 470"/>
                  <a:gd name="T112" fmla="*/ 72614511 w 647"/>
                  <a:gd name="T113" fmla="*/ 7218734 h 4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647" h="470">
                    <a:moveTo>
                      <a:pt x="399" y="14"/>
                    </a:moveTo>
                    <a:lnTo>
                      <a:pt x="402" y="20"/>
                    </a:lnTo>
                    <a:lnTo>
                      <a:pt x="406" y="27"/>
                    </a:lnTo>
                    <a:lnTo>
                      <a:pt x="413" y="33"/>
                    </a:lnTo>
                    <a:lnTo>
                      <a:pt x="421" y="39"/>
                    </a:lnTo>
                    <a:lnTo>
                      <a:pt x="428" y="45"/>
                    </a:lnTo>
                    <a:lnTo>
                      <a:pt x="438" y="51"/>
                    </a:lnTo>
                    <a:lnTo>
                      <a:pt x="448" y="56"/>
                    </a:lnTo>
                    <a:lnTo>
                      <a:pt x="458" y="60"/>
                    </a:lnTo>
                    <a:lnTo>
                      <a:pt x="480" y="70"/>
                    </a:lnTo>
                    <a:lnTo>
                      <a:pt x="501" y="76"/>
                    </a:lnTo>
                    <a:lnTo>
                      <a:pt x="512" y="78"/>
                    </a:lnTo>
                    <a:lnTo>
                      <a:pt x="521" y="80"/>
                    </a:lnTo>
                    <a:lnTo>
                      <a:pt x="530" y="81"/>
                    </a:lnTo>
                    <a:lnTo>
                      <a:pt x="538" y="81"/>
                    </a:lnTo>
                    <a:lnTo>
                      <a:pt x="548" y="88"/>
                    </a:lnTo>
                    <a:lnTo>
                      <a:pt x="561" y="99"/>
                    </a:lnTo>
                    <a:lnTo>
                      <a:pt x="562" y="99"/>
                    </a:lnTo>
                    <a:lnTo>
                      <a:pt x="564" y="99"/>
                    </a:lnTo>
                    <a:lnTo>
                      <a:pt x="566" y="98"/>
                    </a:lnTo>
                    <a:lnTo>
                      <a:pt x="567" y="97"/>
                    </a:lnTo>
                    <a:lnTo>
                      <a:pt x="570" y="93"/>
                    </a:lnTo>
                    <a:lnTo>
                      <a:pt x="572" y="89"/>
                    </a:lnTo>
                    <a:lnTo>
                      <a:pt x="575" y="85"/>
                    </a:lnTo>
                    <a:lnTo>
                      <a:pt x="578" y="81"/>
                    </a:lnTo>
                    <a:lnTo>
                      <a:pt x="580" y="79"/>
                    </a:lnTo>
                    <a:lnTo>
                      <a:pt x="583" y="78"/>
                    </a:lnTo>
                    <a:lnTo>
                      <a:pt x="590" y="80"/>
                    </a:lnTo>
                    <a:lnTo>
                      <a:pt x="596" y="80"/>
                    </a:lnTo>
                    <a:lnTo>
                      <a:pt x="603" y="80"/>
                    </a:lnTo>
                    <a:lnTo>
                      <a:pt x="609" y="80"/>
                    </a:lnTo>
                    <a:lnTo>
                      <a:pt x="617" y="79"/>
                    </a:lnTo>
                    <a:lnTo>
                      <a:pt x="624" y="79"/>
                    </a:lnTo>
                    <a:lnTo>
                      <a:pt x="631" y="80"/>
                    </a:lnTo>
                    <a:lnTo>
                      <a:pt x="638" y="81"/>
                    </a:lnTo>
                    <a:lnTo>
                      <a:pt x="640" y="84"/>
                    </a:lnTo>
                    <a:lnTo>
                      <a:pt x="642" y="89"/>
                    </a:lnTo>
                    <a:lnTo>
                      <a:pt x="645" y="95"/>
                    </a:lnTo>
                    <a:lnTo>
                      <a:pt x="646" y="103"/>
                    </a:lnTo>
                    <a:lnTo>
                      <a:pt x="647" y="111"/>
                    </a:lnTo>
                    <a:lnTo>
                      <a:pt x="647" y="118"/>
                    </a:lnTo>
                    <a:lnTo>
                      <a:pt x="646" y="123"/>
                    </a:lnTo>
                    <a:lnTo>
                      <a:pt x="645" y="124"/>
                    </a:lnTo>
                    <a:lnTo>
                      <a:pt x="631" y="127"/>
                    </a:lnTo>
                    <a:lnTo>
                      <a:pt x="618" y="131"/>
                    </a:lnTo>
                    <a:lnTo>
                      <a:pt x="607" y="135"/>
                    </a:lnTo>
                    <a:lnTo>
                      <a:pt x="596" y="140"/>
                    </a:lnTo>
                    <a:lnTo>
                      <a:pt x="586" y="146"/>
                    </a:lnTo>
                    <a:lnTo>
                      <a:pt x="577" y="152"/>
                    </a:lnTo>
                    <a:lnTo>
                      <a:pt x="569" y="158"/>
                    </a:lnTo>
                    <a:lnTo>
                      <a:pt x="560" y="165"/>
                    </a:lnTo>
                    <a:lnTo>
                      <a:pt x="533" y="191"/>
                    </a:lnTo>
                    <a:lnTo>
                      <a:pt x="512" y="210"/>
                    </a:lnTo>
                    <a:lnTo>
                      <a:pt x="504" y="214"/>
                    </a:lnTo>
                    <a:lnTo>
                      <a:pt x="499" y="218"/>
                    </a:lnTo>
                    <a:lnTo>
                      <a:pt x="493" y="222"/>
                    </a:lnTo>
                    <a:lnTo>
                      <a:pt x="489" y="227"/>
                    </a:lnTo>
                    <a:lnTo>
                      <a:pt x="481" y="236"/>
                    </a:lnTo>
                    <a:lnTo>
                      <a:pt x="477" y="245"/>
                    </a:lnTo>
                    <a:lnTo>
                      <a:pt x="474" y="254"/>
                    </a:lnTo>
                    <a:lnTo>
                      <a:pt x="473" y="263"/>
                    </a:lnTo>
                    <a:lnTo>
                      <a:pt x="472" y="272"/>
                    </a:lnTo>
                    <a:lnTo>
                      <a:pt x="473" y="282"/>
                    </a:lnTo>
                    <a:lnTo>
                      <a:pt x="473" y="292"/>
                    </a:lnTo>
                    <a:lnTo>
                      <a:pt x="474" y="301"/>
                    </a:lnTo>
                    <a:lnTo>
                      <a:pt x="473" y="311"/>
                    </a:lnTo>
                    <a:lnTo>
                      <a:pt x="472" y="320"/>
                    </a:lnTo>
                    <a:lnTo>
                      <a:pt x="469" y="330"/>
                    </a:lnTo>
                    <a:lnTo>
                      <a:pt x="463" y="340"/>
                    </a:lnTo>
                    <a:lnTo>
                      <a:pt x="460" y="345"/>
                    </a:lnTo>
                    <a:lnTo>
                      <a:pt x="456" y="349"/>
                    </a:lnTo>
                    <a:lnTo>
                      <a:pt x="450" y="354"/>
                    </a:lnTo>
                    <a:lnTo>
                      <a:pt x="445" y="358"/>
                    </a:lnTo>
                    <a:lnTo>
                      <a:pt x="426" y="372"/>
                    </a:lnTo>
                    <a:lnTo>
                      <a:pt x="411" y="384"/>
                    </a:lnTo>
                    <a:lnTo>
                      <a:pt x="399" y="394"/>
                    </a:lnTo>
                    <a:lnTo>
                      <a:pt x="390" y="404"/>
                    </a:lnTo>
                    <a:lnTo>
                      <a:pt x="383" y="411"/>
                    </a:lnTo>
                    <a:lnTo>
                      <a:pt x="379" y="417"/>
                    </a:lnTo>
                    <a:lnTo>
                      <a:pt x="376" y="422"/>
                    </a:lnTo>
                    <a:lnTo>
                      <a:pt x="374" y="425"/>
                    </a:lnTo>
                    <a:lnTo>
                      <a:pt x="373" y="430"/>
                    </a:lnTo>
                    <a:lnTo>
                      <a:pt x="373" y="432"/>
                    </a:lnTo>
                    <a:lnTo>
                      <a:pt x="369" y="432"/>
                    </a:lnTo>
                    <a:lnTo>
                      <a:pt x="358" y="432"/>
                    </a:lnTo>
                    <a:lnTo>
                      <a:pt x="333" y="430"/>
                    </a:lnTo>
                    <a:lnTo>
                      <a:pt x="310" y="429"/>
                    </a:lnTo>
                    <a:lnTo>
                      <a:pt x="290" y="429"/>
                    </a:lnTo>
                    <a:lnTo>
                      <a:pt x="272" y="431"/>
                    </a:lnTo>
                    <a:lnTo>
                      <a:pt x="257" y="434"/>
                    </a:lnTo>
                    <a:lnTo>
                      <a:pt x="245" y="437"/>
                    </a:lnTo>
                    <a:lnTo>
                      <a:pt x="234" y="441"/>
                    </a:lnTo>
                    <a:lnTo>
                      <a:pt x="224" y="446"/>
                    </a:lnTo>
                    <a:lnTo>
                      <a:pt x="209" y="456"/>
                    </a:lnTo>
                    <a:lnTo>
                      <a:pt x="198" y="464"/>
                    </a:lnTo>
                    <a:lnTo>
                      <a:pt x="193" y="467"/>
                    </a:lnTo>
                    <a:lnTo>
                      <a:pt x="189" y="469"/>
                    </a:lnTo>
                    <a:lnTo>
                      <a:pt x="183" y="470"/>
                    </a:lnTo>
                    <a:lnTo>
                      <a:pt x="179" y="469"/>
                    </a:lnTo>
                    <a:lnTo>
                      <a:pt x="176" y="468"/>
                    </a:lnTo>
                    <a:lnTo>
                      <a:pt x="172" y="465"/>
                    </a:lnTo>
                    <a:lnTo>
                      <a:pt x="169" y="461"/>
                    </a:lnTo>
                    <a:lnTo>
                      <a:pt x="166" y="456"/>
                    </a:lnTo>
                    <a:lnTo>
                      <a:pt x="159" y="444"/>
                    </a:lnTo>
                    <a:lnTo>
                      <a:pt x="153" y="432"/>
                    </a:lnTo>
                    <a:lnTo>
                      <a:pt x="148" y="426"/>
                    </a:lnTo>
                    <a:lnTo>
                      <a:pt x="144" y="420"/>
                    </a:lnTo>
                    <a:lnTo>
                      <a:pt x="140" y="414"/>
                    </a:lnTo>
                    <a:lnTo>
                      <a:pt x="134" y="409"/>
                    </a:lnTo>
                    <a:lnTo>
                      <a:pt x="129" y="404"/>
                    </a:lnTo>
                    <a:lnTo>
                      <a:pt x="122" y="400"/>
                    </a:lnTo>
                    <a:lnTo>
                      <a:pt x="114" y="397"/>
                    </a:lnTo>
                    <a:lnTo>
                      <a:pt x="107" y="396"/>
                    </a:lnTo>
                    <a:lnTo>
                      <a:pt x="114" y="379"/>
                    </a:lnTo>
                    <a:lnTo>
                      <a:pt x="121" y="365"/>
                    </a:lnTo>
                    <a:lnTo>
                      <a:pt x="124" y="351"/>
                    </a:lnTo>
                    <a:lnTo>
                      <a:pt x="126" y="336"/>
                    </a:lnTo>
                    <a:lnTo>
                      <a:pt x="126" y="309"/>
                    </a:lnTo>
                    <a:lnTo>
                      <a:pt x="126" y="278"/>
                    </a:lnTo>
                    <a:lnTo>
                      <a:pt x="127" y="267"/>
                    </a:lnTo>
                    <a:lnTo>
                      <a:pt x="132" y="250"/>
                    </a:lnTo>
                    <a:lnTo>
                      <a:pt x="138" y="229"/>
                    </a:lnTo>
                    <a:lnTo>
                      <a:pt x="147" y="206"/>
                    </a:lnTo>
                    <a:lnTo>
                      <a:pt x="155" y="184"/>
                    </a:lnTo>
                    <a:lnTo>
                      <a:pt x="163" y="163"/>
                    </a:lnTo>
                    <a:lnTo>
                      <a:pt x="168" y="149"/>
                    </a:lnTo>
                    <a:lnTo>
                      <a:pt x="172" y="143"/>
                    </a:lnTo>
                    <a:lnTo>
                      <a:pt x="172" y="137"/>
                    </a:lnTo>
                    <a:lnTo>
                      <a:pt x="172" y="131"/>
                    </a:lnTo>
                    <a:lnTo>
                      <a:pt x="153" y="130"/>
                    </a:lnTo>
                    <a:lnTo>
                      <a:pt x="135" y="127"/>
                    </a:lnTo>
                    <a:lnTo>
                      <a:pt x="116" y="123"/>
                    </a:lnTo>
                    <a:lnTo>
                      <a:pt x="99" y="118"/>
                    </a:lnTo>
                    <a:lnTo>
                      <a:pt x="80" y="113"/>
                    </a:lnTo>
                    <a:lnTo>
                      <a:pt x="62" y="109"/>
                    </a:lnTo>
                    <a:lnTo>
                      <a:pt x="42" y="106"/>
                    </a:lnTo>
                    <a:lnTo>
                      <a:pt x="20" y="105"/>
                    </a:lnTo>
                    <a:lnTo>
                      <a:pt x="17" y="93"/>
                    </a:lnTo>
                    <a:lnTo>
                      <a:pt x="10" y="72"/>
                    </a:lnTo>
                    <a:lnTo>
                      <a:pt x="3" y="50"/>
                    </a:lnTo>
                    <a:lnTo>
                      <a:pt x="0" y="38"/>
                    </a:lnTo>
                    <a:lnTo>
                      <a:pt x="8" y="37"/>
                    </a:lnTo>
                    <a:lnTo>
                      <a:pt x="15" y="36"/>
                    </a:lnTo>
                    <a:lnTo>
                      <a:pt x="23" y="34"/>
                    </a:lnTo>
                    <a:lnTo>
                      <a:pt x="29" y="32"/>
                    </a:lnTo>
                    <a:lnTo>
                      <a:pt x="41" y="26"/>
                    </a:lnTo>
                    <a:lnTo>
                      <a:pt x="51" y="20"/>
                    </a:lnTo>
                    <a:lnTo>
                      <a:pt x="59" y="13"/>
                    </a:lnTo>
                    <a:lnTo>
                      <a:pt x="68" y="7"/>
                    </a:lnTo>
                    <a:lnTo>
                      <a:pt x="73" y="4"/>
                    </a:lnTo>
                    <a:lnTo>
                      <a:pt x="77" y="2"/>
                    </a:lnTo>
                    <a:lnTo>
                      <a:pt x="81" y="1"/>
                    </a:lnTo>
                    <a:lnTo>
                      <a:pt x="86" y="0"/>
                    </a:lnTo>
                    <a:lnTo>
                      <a:pt x="102" y="1"/>
                    </a:lnTo>
                    <a:lnTo>
                      <a:pt x="118" y="3"/>
                    </a:lnTo>
                    <a:lnTo>
                      <a:pt x="132" y="7"/>
                    </a:lnTo>
                    <a:lnTo>
                      <a:pt x="145" y="11"/>
                    </a:lnTo>
                    <a:lnTo>
                      <a:pt x="158" y="14"/>
                    </a:lnTo>
                    <a:lnTo>
                      <a:pt x="171" y="17"/>
                    </a:lnTo>
                    <a:lnTo>
                      <a:pt x="185" y="19"/>
                    </a:lnTo>
                    <a:lnTo>
                      <a:pt x="199" y="20"/>
                    </a:lnTo>
                    <a:lnTo>
                      <a:pt x="209" y="20"/>
                    </a:lnTo>
                    <a:lnTo>
                      <a:pt x="217" y="22"/>
                    </a:lnTo>
                    <a:lnTo>
                      <a:pt x="226" y="25"/>
                    </a:lnTo>
                    <a:lnTo>
                      <a:pt x="235" y="29"/>
                    </a:lnTo>
                    <a:lnTo>
                      <a:pt x="243" y="32"/>
                    </a:lnTo>
                    <a:lnTo>
                      <a:pt x="250" y="35"/>
                    </a:lnTo>
                    <a:lnTo>
                      <a:pt x="258" y="37"/>
                    </a:lnTo>
                    <a:lnTo>
                      <a:pt x="266" y="38"/>
                    </a:lnTo>
                    <a:lnTo>
                      <a:pt x="372" y="38"/>
                    </a:lnTo>
                    <a:lnTo>
                      <a:pt x="385" y="26"/>
                    </a:lnTo>
                    <a:lnTo>
                      <a:pt x="399" y="1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1" name="Freeform 584">
                <a:extLst>
                  <a:ext uri="{FF2B5EF4-FFF2-40B4-BE49-F238E27FC236}">
                    <a16:creationId xmlns:a16="http://schemas.microsoft.com/office/drawing/2014/main" id="{7BAFE2FE-66BE-4BFB-AFF6-2355E05D2E93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6925335" y="3775782"/>
                <a:ext cx="249756" cy="513328"/>
              </a:xfrm>
              <a:custGeom>
                <a:avLst/>
                <a:gdLst>
                  <a:gd name="T0" fmla="*/ 71439072 w 479"/>
                  <a:gd name="T1" fmla="*/ 98360443 h 868"/>
                  <a:gd name="T2" fmla="*/ 62768489 w 479"/>
                  <a:gd name="T3" fmla="*/ 101942359 h 868"/>
                  <a:gd name="T4" fmla="*/ 59187114 w 479"/>
                  <a:gd name="T5" fmla="*/ 107452757 h 868"/>
                  <a:gd name="T6" fmla="*/ 59563964 w 479"/>
                  <a:gd name="T7" fmla="*/ 117922408 h 868"/>
                  <a:gd name="T8" fmla="*/ 66349864 w 479"/>
                  <a:gd name="T9" fmla="*/ 135555890 h 868"/>
                  <a:gd name="T10" fmla="*/ 67669272 w 479"/>
                  <a:gd name="T11" fmla="*/ 146025541 h 868"/>
                  <a:gd name="T12" fmla="*/ 68988680 w 479"/>
                  <a:gd name="T13" fmla="*/ 152913276 h 868"/>
                  <a:gd name="T14" fmla="*/ 60883372 w 479"/>
                  <a:gd name="T15" fmla="*/ 144923252 h 868"/>
                  <a:gd name="T16" fmla="*/ 58244556 w 479"/>
                  <a:gd name="T17" fmla="*/ 135555890 h 868"/>
                  <a:gd name="T18" fmla="*/ 50704956 w 479"/>
                  <a:gd name="T19" fmla="*/ 128667631 h 868"/>
                  <a:gd name="T20" fmla="*/ 39583548 w 479"/>
                  <a:gd name="T21" fmla="*/ 120953179 h 868"/>
                  <a:gd name="T22" fmla="*/ 36379457 w 479"/>
                  <a:gd name="T23" fmla="*/ 111860865 h 868"/>
                  <a:gd name="T24" fmla="*/ 29405132 w 479"/>
                  <a:gd name="T25" fmla="*/ 131422830 h 868"/>
                  <a:gd name="T26" fmla="*/ 29405132 w 479"/>
                  <a:gd name="T27" fmla="*/ 144372107 h 868"/>
                  <a:gd name="T28" fmla="*/ 24881199 w 479"/>
                  <a:gd name="T29" fmla="*/ 158423674 h 868"/>
                  <a:gd name="T30" fmla="*/ 24127065 w 479"/>
                  <a:gd name="T31" fmla="*/ 171097904 h 868"/>
                  <a:gd name="T32" fmla="*/ 29027848 w 479"/>
                  <a:gd name="T33" fmla="*/ 179087928 h 868"/>
                  <a:gd name="T34" fmla="*/ 32986507 w 479"/>
                  <a:gd name="T35" fmla="*/ 188730862 h 868"/>
                  <a:gd name="T36" fmla="*/ 34871190 w 479"/>
                  <a:gd name="T37" fmla="*/ 201129519 h 868"/>
                  <a:gd name="T38" fmla="*/ 42599648 w 479"/>
                  <a:gd name="T39" fmla="*/ 214905513 h 868"/>
                  <a:gd name="T40" fmla="*/ 52966923 w 479"/>
                  <a:gd name="T41" fmla="*/ 227303646 h 868"/>
                  <a:gd name="T42" fmla="*/ 64087897 w 479"/>
                  <a:gd name="T43" fmla="*/ 234191906 h 868"/>
                  <a:gd name="T44" fmla="*/ 56171014 w 479"/>
                  <a:gd name="T45" fmla="*/ 238875586 h 868"/>
                  <a:gd name="T46" fmla="*/ 50704956 w 479"/>
                  <a:gd name="T47" fmla="*/ 238048869 h 868"/>
                  <a:gd name="T48" fmla="*/ 43164923 w 479"/>
                  <a:gd name="T49" fmla="*/ 231712279 h 868"/>
                  <a:gd name="T50" fmla="*/ 37698865 w 479"/>
                  <a:gd name="T51" fmla="*/ 226753026 h 868"/>
                  <a:gd name="T52" fmla="*/ 25823757 w 479"/>
                  <a:gd name="T53" fmla="*/ 209119543 h 868"/>
                  <a:gd name="T54" fmla="*/ 15644907 w 479"/>
                  <a:gd name="T55" fmla="*/ 201129519 h 868"/>
                  <a:gd name="T56" fmla="*/ 13948650 w 479"/>
                  <a:gd name="T57" fmla="*/ 189557579 h 868"/>
                  <a:gd name="T58" fmla="*/ 15079633 w 479"/>
                  <a:gd name="T59" fmla="*/ 179914645 h 868"/>
                  <a:gd name="T60" fmla="*/ 16587466 w 479"/>
                  <a:gd name="T61" fmla="*/ 169995614 h 868"/>
                  <a:gd name="T62" fmla="*/ 22619232 w 479"/>
                  <a:gd name="T63" fmla="*/ 137208800 h 868"/>
                  <a:gd name="T64" fmla="*/ 20357266 w 479"/>
                  <a:gd name="T65" fmla="*/ 111310245 h 868"/>
                  <a:gd name="T66" fmla="*/ 11686683 w 479"/>
                  <a:gd name="T67" fmla="*/ 87890792 h 868"/>
                  <a:gd name="T68" fmla="*/ 12063533 w 479"/>
                  <a:gd name="T69" fmla="*/ 78522906 h 868"/>
                  <a:gd name="T70" fmla="*/ 13948650 w 479"/>
                  <a:gd name="T71" fmla="*/ 73012508 h 868"/>
                  <a:gd name="T72" fmla="*/ 10555700 w 479"/>
                  <a:gd name="T73" fmla="*/ 55655123 h 868"/>
                  <a:gd name="T74" fmla="*/ 4335508 w 479"/>
                  <a:gd name="T75" fmla="*/ 43532037 h 868"/>
                  <a:gd name="T76" fmla="*/ 188425 w 479"/>
                  <a:gd name="T77" fmla="*/ 28103134 h 868"/>
                  <a:gd name="T78" fmla="*/ 2073542 w 479"/>
                  <a:gd name="T79" fmla="*/ 12123085 h 868"/>
                  <a:gd name="T80" fmla="*/ 9236291 w 479"/>
                  <a:gd name="T81" fmla="*/ 4408108 h 868"/>
                  <a:gd name="T82" fmla="*/ 22619232 w 479"/>
                  <a:gd name="T83" fmla="*/ 0 h 868"/>
                  <a:gd name="T84" fmla="*/ 29405132 w 479"/>
                  <a:gd name="T85" fmla="*/ 7714452 h 868"/>
                  <a:gd name="T86" fmla="*/ 33740206 w 479"/>
                  <a:gd name="T87" fmla="*/ 9918506 h 868"/>
                  <a:gd name="T88" fmla="*/ 37133156 w 479"/>
                  <a:gd name="T89" fmla="*/ 37470495 h 868"/>
                  <a:gd name="T90" fmla="*/ 40149257 w 479"/>
                  <a:gd name="T91" fmla="*/ 45736092 h 868"/>
                  <a:gd name="T92" fmla="*/ 43542207 w 479"/>
                  <a:gd name="T93" fmla="*/ 42705320 h 868"/>
                  <a:gd name="T94" fmla="*/ 48631414 w 479"/>
                  <a:gd name="T95" fmla="*/ 34715296 h 868"/>
                  <a:gd name="T96" fmla="*/ 52966923 w 479"/>
                  <a:gd name="T97" fmla="*/ 38848357 h 868"/>
                  <a:gd name="T98" fmla="*/ 56171014 w 479"/>
                  <a:gd name="T99" fmla="*/ 37470495 h 868"/>
                  <a:gd name="T100" fmla="*/ 59563964 w 479"/>
                  <a:gd name="T101" fmla="*/ 29756043 h 868"/>
                  <a:gd name="T102" fmla="*/ 65218880 w 479"/>
                  <a:gd name="T103" fmla="*/ 29756043 h 868"/>
                  <a:gd name="T104" fmla="*/ 72946905 w 479"/>
                  <a:gd name="T105" fmla="*/ 43256465 h 868"/>
                  <a:gd name="T106" fmla="*/ 85576146 w 479"/>
                  <a:gd name="T107" fmla="*/ 67777683 h 868"/>
                  <a:gd name="T108" fmla="*/ 90100079 w 479"/>
                  <a:gd name="T109" fmla="*/ 84584448 h 868"/>
                  <a:gd name="T110" fmla="*/ 88214962 w 479"/>
                  <a:gd name="T111" fmla="*/ 93125618 h 86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479" h="868">
                    <a:moveTo>
                      <a:pt x="445" y="357"/>
                    </a:moveTo>
                    <a:lnTo>
                      <a:pt x="425" y="357"/>
                    </a:lnTo>
                    <a:lnTo>
                      <a:pt x="408" y="357"/>
                    </a:lnTo>
                    <a:lnTo>
                      <a:pt x="391" y="357"/>
                    </a:lnTo>
                    <a:lnTo>
                      <a:pt x="379" y="357"/>
                    </a:lnTo>
                    <a:lnTo>
                      <a:pt x="370" y="358"/>
                    </a:lnTo>
                    <a:lnTo>
                      <a:pt x="360" y="359"/>
                    </a:lnTo>
                    <a:lnTo>
                      <a:pt x="349" y="362"/>
                    </a:lnTo>
                    <a:lnTo>
                      <a:pt x="338" y="367"/>
                    </a:lnTo>
                    <a:lnTo>
                      <a:pt x="333" y="370"/>
                    </a:lnTo>
                    <a:lnTo>
                      <a:pt x="329" y="374"/>
                    </a:lnTo>
                    <a:lnTo>
                      <a:pt x="324" y="377"/>
                    </a:lnTo>
                    <a:lnTo>
                      <a:pt x="320" y="381"/>
                    </a:lnTo>
                    <a:lnTo>
                      <a:pt x="316" y="385"/>
                    </a:lnTo>
                    <a:lnTo>
                      <a:pt x="314" y="390"/>
                    </a:lnTo>
                    <a:lnTo>
                      <a:pt x="313" y="395"/>
                    </a:lnTo>
                    <a:lnTo>
                      <a:pt x="312" y="400"/>
                    </a:lnTo>
                    <a:lnTo>
                      <a:pt x="313" y="410"/>
                    </a:lnTo>
                    <a:lnTo>
                      <a:pt x="314" y="419"/>
                    </a:lnTo>
                    <a:lnTo>
                      <a:pt x="316" y="428"/>
                    </a:lnTo>
                    <a:lnTo>
                      <a:pt x="320" y="436"/>
                    </a:lnTo>
                    <a:lnTo>
                      <a:pt x="327" y="451"/>
                    </a:lnTo>
                    <a:lnTo>
                      <a:pt x="336" y="464"/>
                    </a:lnTo>
                    <a:lnTo>
                      <a:pt x="344" y="477"/>
                    </a:lnTo>
                    <a:lnTo>
                      <a:pt x="352" y="492"/>
                    </a:lnTo>
                    <a:lnTo>
                      <a:pt x="355" y="499"/>
                    </a:lnTo>
                    <a:lnTo>
                      <a:pt x="357" y="507"/>
                    </a:lnTo>
                    <a:lnTo>
                      <a:pt x="358" y="515"/>
                    </a:lnTo>
                    <a:lnTo>
                      <a:pt x="359" y="523"/>
                    </a:lnTo>
                    <a:lnTo>
                      <a:pt x="359" y="530"/>
                    </a:lnTo>
                    <a:lnTo>
                      <a:pt x="359" y="539"/>
                    </a:lnTo>
                    <a:lnTo>
                      <a:pt x="360" y="544"/>
                    </a:lnTo>
                    <a:lnTo>
                      <a:pt x="361" y="548"/>
                    </a:lnTo>
                    <a:lnTo>
                      <a:pt x="364" y="552"/>
                    </a:lnTo>
                    <a:lnTo>
                      <a:pt x="366" y="555"/>
                    </a:lnTo>
                    <a:lnTo>
                      <a:pt x="354" y="552"/>
                    </a:lnTo>
                    <a:lnTo>
                      <a:pt x="344" y="547"/>
                    </a:lnTo>
                    <a:lnTo>
                      <a:pt x="336" y="541"/>
                    </a:lnTo>
                    <a:lnTo>
                      <a:pt x="329" y="533"/>
                    </a:lnTo>
                    <a:lnTo>
                      <a:pt x="323" y="526"/>
                    </a:lnTo>
                    <a:lnTo>
                      <a:pt x="319" y="517"/>
                    </a:lnTo>
                    <a:lnTo>
                      <a:pt x="315" y="508"/>
                    </a:lnTo>
                    <a:lnTo>
                      <a:pt x="312" y="499"/>
                    </a:lnTo>
                    <a:lnTo>
                      <a:pt x="311" y="495"/>
                    </a:lnTo>
                    <a:lnTo>
                      <a:pt x="309" y="492"/>
                    </a:lnTo>
                    <a:lnTo>
                      <a:pt x="307" y="489"/>
                    </a:lnTo>
                    <a:lnTo>
                      <a:pt x="303" y="486"/>
                    </a:lnTo>
                    <a:lnTo>
                      <a:pt x="297" y="479"/>
                    </a:lnTo>
                    <a:lnTo>
                      <a:pt x="288" y="475"/>
                    </a:lnTo>
                    <a:lnTo>
                      <a:pt x="269" y="467"/>
                    </a:lnTo>
                    <a:lnTo>
                      <a:pt x="247" y="459"/>
                    </a:lnTo>
                    <a:lnTo>
                      <a:pt x="237" y="455"/>
                    </a:lnTo>
                    <a:lnTo>
                      <a:pt x="228" y="450"/>
                    </a:lnTo>
                    <a:lnTo>
                      <a:pt x="218" y="445"/>
                    </a:lnTo>
                    <a:lnTo>
                      <a:pt x="210" y="439"/>
                    </a:lnTo>
                    <a:lnTo>
                      <a:pt x="202" y="431"/>
                    </a:lnTo>
                    <a:lnTo>
                      <a:pt x="198" y="422"/>
                    </a:lnTo>
                    <a:lnTo>
                      <a:pt x="196" y="417"/>
                    </a:lnTo>
                    <a:lnTo>
                      <a:pt x="195" y="412"/>
                    </a:lnTo>
                    <a:lnTo>
                      <a:pt x="193" y="406"/>
                    </a:lnTo>
                    <a:lnTo>
                      <a:pt x="192" y="400"/>
                    </a:lnTo>
                    <a:lnTo>
                      <a:pt x="153" y="394"/>
                    </a:lnTo>
                    <a:lnTo>
                      <a:pt x="153" y="450"/>
                    </a:lnTo>
                    <a:lnTo>
                      <a:pt x="154" y="463"/>
                    </a:lnTo>
                    <a:lnTo>
                      <a:pt x="156" y="477"/>
                    </a:lnTo>
                    <a:lnTo>
                      <a:pt x="158" y="492"/>
                    </a:lnTo>
                    <a:lnTo>
                      <a:pt x="159" y="505"/>
                    </a:lnTo>
                    <a:lnTo>
                      <a:pt x="159" y="512"/>
                    </a:lnTo>
                    <a:lnTo>
                      <a:pt x="158" y="518"/>
                    </a:lnTo>
                    <a:lnTo>
                      <a:pt x="156" y="524"/>
                    </a:lnTo>
                    <a:lnTo>
                      <a:pt x="154" y="529"/>
                    </a:lnTo>
                    <a:lnTo>
                      <a:pt x="150" y="539"/>
                    </a:lnTo>
                    <a:lnTo>
                      <a:pt x="143" y="551"/>
                    </a:lnTo>
                    <a:lnTo>
                      <a:pt x="136" y="562"/>
                    </a:lnTo>
                    <a:lnTo>
                      <a:pt x="132" y="575"/>
                    </a:lnTo>
                    <a:lnTo>
                      <a:pt x="130" y="583"/>
                    </a:lnTo>
                    <a:lnTo>
                      <a:pt x="128" y="591"/>
                    </a:lnTo>
                    <a:lnTo>
                      <a:pt x="127" y="600"/>
                    </a:lnTo>
                    <a:lnTo>
                      <a:pt x="127" y="610"/>
                    </a:lnTo>
                    <a:lnTo>
                      <a:pt x="128" y="621"/>
                    </a:lnTo>
                    <a:lnTo>
                      <a:pt x="130" y="630"/>
                    </a:lnTo>
                    <a:lnTo>
                      <a:pt x="134" y="637"/>
                    </a:lnTo>
                    <a:lnTo>
                      <a:pt x="140" y="643"/>
                    </a:lnTo>
                    <a:lnTo>
                      <a:pt x="146" y="647"/>
                    </a:lnTo>
                    <a:lnTo>
                      <a:pt x="154" y="650"/>
                    </a:lnTo>
                    <a:lnTo>
                      <a:pt x="163" y="653"/>
                    </a:lnTo>
                    <a:lnTo>
                      <a:pt x="173" y="653"/>
                    </a:lnTo>
                    <a:lnTo>
                      <a:pt x="173" y="667"/>
                    </a:lnTo>
                    <a:lnTo>
                      <a:pt x="174" y="679"/>
                    </a:lnTo>
                    <a:lnTo>
                      <a:pt x="175" y="685"/>
                    </a:lnTo>
                    <a:lnTo>
                      <a:pt x="176" y="689"/>
                    </a:lnTo>
                    <a:lnTo>
                      <a:pt x="177" y="693"/>
                    </a:lnTo>
                    <a:lnTo>
                      <a:pt x="179" y="696"/>
                    </a:lnTo>
                    <a:lnTo>
                      <a:pt x="179" y="721"/>
                    </a:lnTo>
                    <a:lnTo>
                      <a:pt x="185" y="730"/>
                    </a:lnTo>
                    <a:lnTo>
                      <a:pt x="191" y="740"/>
                    </a:lnTo>
                    <a:lnTo>
                      <a:pt x="199" y="750"/>
                    </a:lnTo>
                    <a:lnTo>
                      <a:pt x="208" y="760"/>
                    </a:lnTo>
                    <a:lnTo>
                      <a:pt x="217" y="771"/>
                    </a:lnTo>
                    <a:lnTo>
                      <a:pt x="226" y="780"/>
                    </a:lnTo>
                    <a:lnTo>
                      <a:pt x="236" y="790"/>
                    </a:lnTo>
                    <a:lnTo>
                      <a:pt x="247" y="799"/>
                    </a:lnTo>
                    <a:lnTo>
                      <a:pt x="258" y="808"/>
                    </a:lnTo>
                    <a:lnTo>
                      <a:pt x="269" y="816"/>
                    </a:lnTo>
                    <a:lnTo>
                      <a:pt x="281" y="825"/>
                    </a:lnTo>
                    <a:lnTo>
                      <a:pt x="292" y="832"/>
                    </a:lnTo>
                    <a:lnTo>
                      <a:pt x="304" y="838"/>
                    </a:lnTo>
                    <a:lnTo>
                      <a:pt x="316" y="843"/>
                    </a:lnTo>
                    <a:lnTo>
                      <a:pt x="327" y="847"/>
                    </a:lnTo>
                    <a:lnTo>
                      <a:pt x="340" y="850"/>
                    </a:lnTo>
                    <a:lnTo>
                      <a:pt x="333" y="854"/>
                    </a:lnTo>
                    <a:lnTo>
                      <a:pt x="327" y="858"/>
                    </a:lnTo>
                    <a:lnTo>
                      <a:pt x="320" y="861"/>
                    </a:lnTo>
                    <a:lnTo>
                      <a:pt x="312" y="864"/>
                    </a:lnTo>
                    <a:lnTo>
                      <a:pt x="298" y="867"/>
                    </a:lnTo>
                    <a:lnTo>
                      <a:pt x="286" y="868"/>
                    </a:lnTo>
                    <a:lnTo>
                      <a:pt x="281" y="868"/>
                    </a:lnTo>
                    <a:lnTo>
                      <a:pt x="277" y="867"/>
                    </a:lnTo>
                    <a:lnTo>
                      <a:pt x="273" y="866"/>
                    </a:lnTo>
                    <a:lnTo>
                      <a:pt x="269" y="864"/>
                    </a:lnTo>
                    <a:lnTo>
                      <a:pt x="262" y="859"/>
                    </a:lnTo>
                    <a:lnTo>
                      <a:pt x="254" y="853"/>
                    </a:lnTo>
                    <a:lnTo>
                      <a:pt x="245" y="848"/>
                    </a:lnTo>
                    <a:lnTo>
                      <a:pt x="234" y="843"/>
                    </a:lnTo>
                    <a:lnTo>
                      <a:pt x="229" y="841"/>
                    </a:lnTo>
                    <a:lnTo>
                      <a:pt x="222" y="839"/>
                    </a:lnTo>
                    <a:lnTo>
                      <a:pt x="214" y="838"/>
                    </a:lnTo>
                    <a:lnTo>
                      <a:pt x="207" y="838"/>
                    </a:lnTo>
                    <a:lnTo>
                      <a:pt x="203" y="830"/>
                    </a:lnTo>
                    <a:lnTo>
                      <a:pt x="200" y="823"/>
                    </a:lnTo>
                    <a:lnTo>
                      <a:pt x="196" y="815"/>
                    </a:lnTo>
                    <a:lnTo>
                      <a:pt x="191" y="809"/>
                    </a:lnTo>
                    <a:lnTo>
                      <a:pt x="180" y="797"/>
                    </a:lnTo>
                    <a:lnTo>
                      <a:pt x="168" y="785"/>
                    </a:lnTo>
                    <a:lnTo>
                      <a:pt x="137" y="759"/>
                    </a:lnTo>
                    <a:lnTo>
                      <a:pt x="100" y="727"/>
                    </a:lnTo>
                    <a:lnTo>
                      <a:pt x="95" y="728"/>
                    </a:lnTo>
                    <a:lnTo>
                      <a:pt x="89" y="729"/>
                    </a:lnTo>
                    <a:lnTo>
                      <a:pt x="86" y="730"/>
                    </a:lnTo>
                    <a:lnTo>
                      <a:pt x="83" y="730"/>
                    </a:lnTo>
                    <a:lnTo>
                      <a:pt x="78" y="729"/>
                    </a:lnTo>
                    <a:lnTo>
                      <a:pt x="74" y="727"/>
                    </a:lnTo>
                    <a:lnTo>
                      <a:pt x="74" y="714"/>
                    </a:lnTo>
                    <a:lnTo>
                      <a:pt x="74" y="700"/>
                    </a:lnTo>
                    <a:lnTo>
                      <a:pt x="74" y="688"/>
                    </a:lnTo>
                    <a:lnTo>
                      <a:pt x="74" y="678"/>
                    </a:lnTo>
                    <a:lnTo>
                      <a:pt x="74" y="671"/>
                    </a:lnTo>
                    <a:lnTo>
                      <a:pt x="75" y="665"/>
                    </a:lnTo>
                    <a:lnTo>
                      <a:pt x="77" y="659"/>
                    </a:lnTo>
                    <a:lnTo>
                      <a:pt x="80" y="653"/>
                    </a:lnTo>
                    <a:lnTo>
                      <a:pt x="83" y="645"/>
                    </a:lnTo>
                    <a:lnTo>
                      <a:pt x="85" y="638"/>
                    </a:lnTo>
                    <a:lnTo>
                      <a:pt x="86" y="631"/>
                    </a:lnTo>
                    <a:lnTo>
                      <a:pt x="87" y="622"/>
                    </a:lnTo>
                    <a:lnTo>
                      <a:pt x="88" y="617"/>
                    </a:lnTo>
                    <a:lnTo>
                      <a:pt x="92" y="604"/>
                    </a:lnTo>
                    <a:lnTo>
                      <a:pt x="99" y="583"/>
                    </a:lnTo>
                    <a:lnTo>
                      <a:pt x="107" y="558"/>
                    </a:lnTo>
                    <a:lnTo>
                      <a:pt x="113" y="528"/>
                    </a:lnTo>
                    <a:lnTo>
                      <a:pt x="120" y="498"/>
                    </a:lnTo>
                    <a:lnTo>
                      <a:pt x="123" y="481"/>
                    </a:lnTo>
                    <a:lnTo>
                      <a:pt x="124" y="466"/>
                    </a:lnTo>
                    <a:lnTo>
                      <a:pt x="127" y="452"/>
                    </a:lnTo>
                    <a:lnTo>
                      <a:pt x="127" y="438"/>
                    </a:lnTo>
                    <a:lnTo>
                      <a:pt x="108" y="404"/>
                    </a:lnTo>
                    <a:lnTo>
                      <a:pt x="86" y="369"/>
                    </a:lnTo>
                    <a:lnTo>
                      <a:pt x="76" y="352"/>
                    </a:lnTo>
                    <a:lnTo>
                      <a:pt x="67" y="335"/>
                    </a:lnTo>
                    <a:lnTo>
                      <a:pt x="64" y="327"/>
                    </a:lnTo>
                    <a:lnTo>
                      <a:pt x="62" y="319"/>
                    </a:lnTo>
                    <a:lnTo>
                      <a:pt x="61" y="310"/>
                    </a:lnTo>
                    <a:lnTo>
                      <a:pt x="60" y="302"/>
                    </a:lnTo>
                    <a:lnTo>
                      <a:pt x="61" y="295"/>
                    </a:lnTo>
                    <a:lnTo>
                      <a:pt x="62" y="290"/>
                    </a:lnTo>
                    <a:lnTo>
                      <a:pt x="64" y="285"/>
                    </a:lnTo>
                    <a:lnTo>
                      <a:pt x="66" y="281"/>
                    </a:lnTo>
                    <a:lnTo>
                      <a:pt x="69" y="277"/>
                    </a:lnTo>
                    <a:lnTo>
                      <a:pt x="72" y="274"/>
                    </a:lnTo>
                    <a:lnTo>
                      <a:pt x="73" y="270"/>
                    </a:lnTo>
                    <a:lnTo>
                      <a:pt x="74" y="265"/>
                    </a:lnTo>
                    <a:lnTo>
                      <a:pt x="73" y="249"/>
                    </a:lnTo>
                    <a:lnTo>
                      <a:pt x="71" y="236"/>
                    </a:lnTo>
                    <a:lnTo>
                      <a:pt x="66" y="224"/>
                    </a:lnTo>
                    <a:lnTo>
                      <a:pt x="62" y="213"/>
                    </a:lnTo>
                    <a:lnTo>
                      <a:pt x="56" y="202"/>
                    </a:lnTo>
                    <a:lnTo>
                      <a:pt x="50" y="193"/>
                    </a:lnTo>
                    <a:lnTo>
                      <a:pt x="43" y="184"/>
                    </a:lnTo>
                    <a:lnTo>
                      <a:pt x="36" y="176"/>
                    </a:lnTo>
                    <a:lnTo>
                      <a:pt x="30" y="167"/>
                    </a:lnTo>
                    <a:lnTo>
                      <a:pt x="23" y="158"/>
                    </a:lnTo>
                    <a:lnTo>
                      <a:pt x="17" y="148"/>
                    </a:lnTo>
                    <a:lnTo>
                      <a:pt x="11" y="138"/>
                    </a:lnTo>
                    <a:lnTo>
                      <a:pt x="7" y="127"/>
                    </a:lnTo>
                    <a:lnTo>
                      <a:pt x="4" y="115"/>
                    </a:lnTo>
                    <a:lnTo>
                      <a:pt x="1" y="102"/>
                    </a:lnTo>
                    <a:lnTo>
                      <a:pt x="0" y="86"/>
                    </a:lnTo>
                    <a:lnTo>
                      <a:pt x="1" y="73"/>
                    </a:lnTo>
                    <a:lnTo>
                      <a:pt x="4" y="62"/>
                    </a:lnTo>
                    <a:lnTo>
                      <a:pt x="7" y="52"/>
                    </a:lnTo>
                    <a:lnTo>
                      <a:pt x="11" y="44"/>
                    </a:lnTo>
                    <a:lnTo>
                      <a:pt x="17" y="35"/>
                    </a:lnTo>
                    <a:lnTo>
                      <a:pt x="24" y="29"/>
                    </a:lnTo>
                    <a:lnTo>
                      <a:pt x="32" y="24"/>
                    </a:lnTo>
                    <a:lnTo>
                      <a:pt x="40" y="20"/>
                    </a:lnTo>
                    <a:lnTo>
                      <a:pt x="49" y="16"/>
                    </a:lnTo>
                    <a:lnTo>
                      <a:pt x="58" y="13"/>
                    </a:lnTo>
                    <a:lnTo>
                      <a:pt x="68" y="11"/>
                    </a:lnTo>
                    <a:lnTo>
                      <a:pt x="78" y="8"/>
                    </a:lnTo>
                    <a:lnTo>
                      <a:pt x="99" y="4"/>
                    </a:lnTo>
                    <a:lnTo>
                      <a:pt x="120" y="0"/>
                    </a:lnTo>
                    <a:lnTo>
                      <a:pt x="129" y="5"/>
                    </a:lnTo>
                    <a:lnTo>
                      <a:pt x="136" y="11"/>
                    </a:lnTo>
                    <a:lnTo>
                      <a:pt x="143" y="17"/>
                    </a:lnTo>
                    <a:lnTo>
                      <a:pt x="150" y="23"/>
                    </a:lnTo>
                    <a:lnTo>
                      <a:pt x="156" y="28"/>
                    </a:lnTo>
                    <a:lnTo>
                      <a:pt x="163" y="32"/>
                    </a:lnTo>
                    <a:lnTo>
                      <a:pt x="166" y="34"/>
                    </a:lnTo>
                    <a:lnTo>
                      <a:pt x="170" y="35"/>
                    </a:lnTo>
                    <a:lnTo>
                      <a:pt x="175" y="36"/>
                    </a:lnTo>
                    <a:lnTo>
                      <a:pt x="179" y="36"/>
                    </a:lnTo>
                    <a:lnTo>
                      <a:pt x="184" y="55"/>
                    </a:lnTo>
                    <a:lnTo>
                      <a:pt x="188" y="75"/>
                    </a:lnTo>
                    <a:lnTo>
                      <a:pt x="190" y="97"/>
                    </a:lnTo>
                    <a:lnTo>
                      <a:pt x="193" y="118"/>
                    </a:lnTo>
                    <a:lnTo>
                      <a:pt x="197" y="136"/>
                    </a:lnTo>
                    <a:lnTo>
                      <a:pt x="201" y="153"/>
                    </a:lnTo>
                    <a:lnTo>
                      <a:pt x="203" y="158"/>
                    </a:lnTo>
                    <a:lnTo>
                      <a:pt x="207" y="163"/>
                    </a:lnTo>
                    <a:lnTo>
                      <a:pt x="209" y="166"/>
                    </a:lnTo>
                    <a:lnTo>
                      <a:pt x="213" y="166"/>
                    </a:lnTo>
                    <a:lnTo>
                      <a:pt x="217" y="166"/>
                    </a:lnTo>
                    <a:lnTo>
                      <a:pt x="220" y="165"/>
                    </a:lnTo>
                    <a:lnTo>
                      <a:pt x="223" y="163"/>
                    </a:lnTo>
                    <a:lnTo>
                      <a:pt x="225" y="161"/>
                    </a:lnTo>
                    <a:lnTo>
                      <a:pt x="231" y="155"/>
                    </a:lnTo>
                    <a:lnTo>
                      <a:pt x="234" y="147"/>
                    </a:lnTo>
                    <a:lnTo>
                      <a:pt x="241" y="132"/>
                    </a:lnTo>
                    <a:lnTo>
                      <a:pt x="246" y="123"/>
                    </a:lnTo>
                    <a:lnTo>
                      <a:pt x="253" y="124"/>
                    </a:lnTo>
                    <a:lnTo>
                      <a:pt x="258" y="126"/>
                    </a:lnTo>
                    <a:lnTo>
                      <a:pt x="264" y="129"/>
                    </a:lnTo>
                    <a:lnTo>
                      <a:pt x="268" y="132"/>
                    </a:lnTo>
                    <a:lnTo>
                      <a:pt x="273" y="136"/>
                    </a:lnTo>
                    <a:lnTo>
                      <a:pt x="277" y="138"/>
                    </a:lnTo>
                    <a:lnTo>
                      <a:pt x="281" y="141"/>
                    </a:lnTo>
                    <a:lnTo>
                      <a:pt x="286" y="141"/>
                    </a:lnTo>
                    <a:lnTo>
                      <a:pt x="289" y="141"/>
                    </a:lnTo>
                    <a:lnTo>
                      <a:pt x="292" y="140"/>
                    </a:lnTo>
                    <a:lnTo>
                      <a:pt x="296" y="138"/>
                    </a:lnTo>
                    <a:lnTo>
                      <a:pt x="298" y="136"/>
                    </a:lnTo>
                    <a:lnTo>
                      <a:pt x="302" y="130"/>
                    </a:lnTo>
                    <a:lnTo>
                      <a:pt x="305" y="123"/>
                    </a:lnTo>
                    <a:lnTo>
                      <a:pt x="310" y="116"/>
                    </a:lnTo>
                    <a:lnTo>
                      <a:pt x="314" y="111"/>
                    </a:lnTo>
                    <a:lnTo>
                      <a:pt x="316" y="108"/>
                    </a:lnTo>
                    <a:lnTo>
                      <a:pt x="319" y="107"/>
                    </a:lnTo>
                    <a:lnTo>
                      <a:pt x="322" y="105"/>
                    </a:lnTo>
                    <a:lnTo>
                      <a:pt x="325" y="105"/>
                    </a:lnTo>
                    <a:lnTo>
                      <a:pt x="337" y="106"/>
                    </a:lnTo>
                    <a:lnTo>
                      <a:pt x="346" y="108"/>
                    </a:lnTo>
                    <a:lnTo>
                      <a:pt x="354" y="111"/>
                    </a:lnTo>
                    <a:lnTo>
                      <a:pt x="359" y="116"/>
                    </a:lnTo>
                    <a:lnTo>
                      <a:pt x="367" y="125"/>
                    </a:lnTo>
                    <a:lnTo>
                      <a:pt x="372" y="135"/>
                    </a:lnTo>
                    <a:lnTo>
                      <a:pt x="387" y="157"/>
                    </a:lnTo>
                    <a:lnTo>
                      <a:pt x="403" y="178"/>
                    </a:lnTo>
                    <a:lnTo>
                      <a:pt x="421" y="200"/>
                    </a:lnTo>
                    <a:lnTo>
                      <a:pt x="438" y="223"/>
                    </a:lnTo>
                    <a:lnTo>
                      <a:pt x="446" y="235"/>
                    </a:lnTo>
                    <a:lnTo>
                      <a:pt x="454" y="246"/>
                    </a:lnTo>
                    <a:lnTo>
                      <a:pt x="460" y="258"/>
                    </a:lnTo>
                    <a:lnTo>
                      <a:pt x="467" y="271"/>
                    </a:lnTo>
                    <a:lnTo>
                      <a:pt x="471" y="283"/>
                    </a:lnTo>
                    <a:lnTo>
                      <a:pt x="476" y="295"/>
                    </a:lnTo>
                    <a:lnTo>
                      <a:pt x="478" y="307"/>
                    </a:lnTo>
                    <a:lnTo>
                      <a:pt x="479" y="321"/>
                    </a:lnTo>
                    <a:lnTo>
                      <a:pt x="478" y="325"/>
                    </a:lnTo>
                    <a:lnTo>
                      <a:pt x="476" y="330"/>
                    </a:lnTo>
                    <a:lnTo>
                      <a:pt x="472" y="334"/>
                    </a:lnTo>
                    <a:lnTo>
                      <a:pt x="468" y="338"/>
                    </a:lnTo>
                    <a:lnTo>
                      <a:pt x="459" y="345"/>
                    </a:lnTo>
                    <a:lnTo>
                      <a:pt x="452" y="351"/>
                    </a:lnTo>
                    <a:lnTo>
                      <a:pt x="445" y="357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0872A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2" name="Freeform 585">
                <a:extLst>
                  <a:ext uri="{FF2B5EF4-FFF2-40B4-BE49-F238E27FC236}">
                    <a16:creationId xmlns:a16="http://schemas.microsoft.com/office/drawing/2014/main" id="{E655A2CF-E5E0-4D37-9148-D6599FC54AF6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2232456" y="6461964"/>
                <a:ext cx="28957" cy="63287"/>
              </a:xfrm>
              <a:custGeom>
                <a:avLst/>
                <a:gdLst>
                  <a:gd name="T0" fmla="*/ 0 w 53"/>
                  <a:gd name="T1" fmla="*/ 72378971 h 19"/>
                  <a:gd name="T2" fmla="*/ 1413054 w 53"/>
                  <a:gd name="T3" fmla="*/ 117617708 h 19"/>
                  <a:gd name="T4" fmla="*/ 2826109 w 53"/>
                  <a:gd name="T5" fmla="*/ 153805689 h 19"/>
                  <a:gd name="T6" fmla="*/ 4441349 w 53"/>
                  <a:gd name="T7" fmla="*/ 171901184 h 19"/>
                  <a:gd name="T8" fmla="*/ 5854404 w 53"/>
                  <a:gd name="T9" fmla="*/ 171901184 h 19"/>
                  <a:gd name="T10" fmla="*/ 7065721 w 53"/>
                  <a:gd name="T11" fmla="*/ 162853437 h 19"/>
                  <a:gd name="T12" fmla="*/ 8478776 w 53"/>
                  <a:gd name="T13" fmla="*/ 135710195 h 19"/>
                  <a:gd name="T14" fmla="*/ 9487908 w 53"/>
                  <a:gd name="T15" fmla="*/ 108569961 h 19"/>
                  <a:gd name="T16" fmla="*/ 10699226 w 53"/>
                  <a:gd name="T17" fmla="*/ 72378971 h 19"/>
                  <a:gd name="T18" fmla="*/ 9487908 w 53"/>
                  <a:gd name="T19" fmla="*/ 45235729 h 19"/>
                  <a:gd name="T20" fmla="*/ 8478776 w 53"/>
                  <a:gd name="T21" fmla="*/ 18095495 h 19"/>
                  <a:gd name="T22" fmla="*/ 7065721 w 53"/>
                  <a:gd name="T23" fmla="*/ 9047747 h 19"/>
                  <a:gd name="T24" fmla="*/ 5854404 w 53"/>
                  <a:gd name="T25" fmla="*/ 0 h 19"/>
                  <a:gd name="T26" fmla="*/ 4441349 w 53"/>
                  <a:gd name="T27" fmla="*/ 0 h 19"/>
                  <a:gd name="T28" fmla="*/ 2826109 w 53"/>
                  <a:gd name="T29" fmla="*/ 9047747 h 19"/>
                  <a:gd name="T30" fmla="*/ 1413054 w 53"/>
                  <a:gd name="T31" fmla="*/ 27143242 h 19"/>
                  <a:gd name="T32" fmla="*/ 0 w 53"/>
                  <a:gd name="T33" fmla="*/ 72378971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3" name="Line 26" descr="Horizontal dunkel">
                <a:extLst>
                  <a:ext uri="{FF2B5EF4-FFF2-40B4-BE49-F238E27FC236}">
                    <a16:creationId xmlns:a16="http://schemas.microsoft.com/office/drawing/2014/main" id="{E1F1089B-20CB-440C-A8B8-B78DDFEBC7A6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379194" y="3000516"/>
                <a:ext cx="3620" cy="10548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4" name="Freeform 587">
                <a:extLst>
                  <a:ext uri="{FF2B5EF4-FFF2-40B4-BE49-F238E27FC236}">
                    <a16:creationId xmlns:a16="http://schemas.microsoft.com/office/drawing/2014/main" id="{E620B7E0-C9B4-46E0-9BEC-05F26B7C5A02}"/>
                  </a:ext>
                </a:extLst>
              </p:cNvPr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382814" y="2997000"/>
                <a:ext cx="3620" cy="61528"/>
              </a:xfrm>
              <a:custGeom>
                <a:avLst/>
                <a:gdLst>
                  <a:gd name="T0" fmla="*/ 0 w 6"/>
                  <a:gd name="T1" fmla="*/ 128630660 h 24"/>
                  <a:gd name="T2" fmla="*/ 0 w 6"/>
                  <a:gd name="T3" fmla="*/ 101833571 h 24"/>
                  <a:gd name="T4" fmla="*/ 279929 w 6"/>
                  <a:gd name="T5" fmla="*/ 75034166 h 24"/>
                  <a:gd name="T6" fmla="*/ 840317 w 6"/>
                  <a:gd name="T7" fmla="*/ 42877658 h 24"/>
                  <a:gd name="T8" fmla="*/ 1680104 w 6"/>
                  <a:gd name="T9" fmla="*/ 0 h 2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19"/>
                    </a:lnTo>
                    <a:lnTo>
                      <a:pt x="1" y="14"/>
                    </a:lnTo>
                    <a:lnTo>
                      <a:pt x="3" y="8"/>
                    </a:lnTo>
                    <a:lnTo>
                      <a:pt x="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5" name="Freeform 588">
                <a:extLst>
                  <a:ext uri="{FF2B5EF4-FFF2-40B4-BE49-F238E27FC236}">
                    <a16:creationId xmlns:a16="http://schemas.microsoft.com/office/drawing/2014/main" id="{CAB5E6EE-47B6-4B8E-935F-CE0DB0D63423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353856" y="3056771"/>
                <a:ext cx="28957" cy="65044"/>
              </a:xfrm>
              <a:custGeom>
                <a:avLst/>
                <a:gdLst>
                  <a:gd name="T0" fmla="*/ 0 w 47"/>
                  <a:gd name="T1" fmla="*/ 17462310 h 67"/>
                  <a:gd name="T2" fmla="*/ 0 w 47"/>
                  <a:gd name="T3" fmla="*/ 21827888 h 67"/>
                  <a:gd name="T4" fmla="*/ 513246 w 47"/>
                  <a:gd name="T5" fmla="*/ 26192613 h 67"/>
                  <a:gd name="T6" fmla="*/ 770123 w 47"/>
                  <a:gd name="T7" fmla="*/ 30558190 h 67"/>
                  <a:gd name="T8" fmla="*/ 1283369 w 47"/>
                  <a:gd name="T9" fmla="*/ 34196172 h 67"/>
                  <a:gd name="T10" fmla="*/ 2310368 w 47"/>
                  <a:gd name="T11" fmla="*/ 42199731 h 67"/>
                  <a:gd name="T12" fmla="*/ 3593736 w 47"/>
                  <a:gd name="T13" fmla="*/ 48748097 h 67"/>
                  <a:gd name="T14" fmla="*/ 12065084 w 47"/>
                  <a:gd name="T15" fmla="*/ 48748097 h 67"/>
                  <a:gd name="T16" fmla="*/ 12065084 w 47"/>
                  <a:gd name="T17" fmla="*/ 0 h 67"/>
                  <a:gd name="T18" fmla="*/ 9241471 w 47"/>
                  <a:gd name="T19" fmla="*/ 1455193 h 67"/>
                  <a:gd name="T20" fmla="*/ 6674227 w 47"/>
                  <a:gd name="T21" fmla="*/ 2910385 h 67"/>
                  <a:gd name="T22" fmla="*/ 4620735 w 47"/>
                  <a:gd name="T23" fmla="*/ 5093174 h 67"/>
                  <a:gd name="T24" fmla="*/ 2823614 w 47"/>
                  <a:gd name="T25" fmla="*/ 6548366 h 67"/>
                  <a:gd name="T26" fmla="*/ 1540245 w 47"/>
                  <a:gd name="T27" fmla="*/ 8731155 h 67"/>
                  <a:gd name="T28" fmla="*/ 770123 w 47"/>
                  <a:gd name="T29" fmla="*/ 11641540 h 67"/>
                  <a:gd name="T30" fmla="*/ 0 w 47"/>
                  <a:gd name="T31" fmla="*/ 14551925 h 67"/>
                  <a:gd name="T32" fmla="*/ 0 w 47"/>
                  <a:gd name="T33" fmla="*/ 17462310 h 6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7" h="67">
                    <a:moveTo>
                      <a:pt x="0" y="24"/>
                    </a:moveTo>
                    <a:lnTo>
                      <a:pt x="0" y="30"/>
                    </a:lnTo>
                    <a:lnTo>
                      <a:pt x="2" y="36"/>
                    </a:lnTo>
                    <a:lnTo>
                      <a:pt x="3" y="42"/>
                    </a:lnTo>
                    <a:lnTo>
                      <a:pt x="5" y="47"/>
                    </a:lnTo>
                    <a:lnTo>
                      <a:pt x="9" y="58"/>
                    </a:lnTo>
                    <a:lnTo>
                      <a:pt x="14" y="67"/>
                    </a:lnTo>
                    <a:lnTo>
                      <a:pt x="47" y="67"/>
                    </a:lnTo>
                    <a:lnTo>
                      <a:pt x="47" y="0"/>
                    </a:lnTo>
                    <a:lnTo>
                      <a:pt x="36" y="2"/>
                    </a:lnTo>
                    <a:lnTo>
                      <a:pt x="26" y="4"/>
                    </a:lnTo>
                    <a:lnTo>
                      <a:pt x="18" y="7"/>
                    </a:lnTo>
                    <a:lnTo>
                      <a:pt x="11" y="9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0" y="2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6" name="Freeform 589">
                <a:extLst>
                  <a:ext uri="{FF2B5EF4-FFF2-40B4-BE49-F238E27FC236}">
                    <a16:creationId xmlns:a16="http://schemas.microsoft.com/office/drawing/2014/main" id="{A850C2F1-6EF7-4775-BD75-EA9342EE651C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951933" y="3051497"/>
                <a:ext cx="59724" cy="65046"/>
              </a:xfrm>
              <a:custGeom>
                <a:avLst/>
                <a:gdLst>
                  <a:gd name="T0" fmla="*/ 0 w 112"/>
                  <a:gd name="T1" fmla="*/ 90725625 h 36"/>
                  <a:gd name="T2" fmla="*/ 11390820 w 112"/>
                  <a:gd name="T3" fmla="*/ 90725625 h 36"/>
                  <a:gd name="T4" fmla="*/ 12935286 w 112"/>
                  <a:gd name="T5" fmla="*/ 75604688 h 36"/>
                  <a:gd name="T6" fmla="*/ 14479752 w 112"/>
                  <a:gd name="T7" fmla="*/ 65524063 h 36"/>
                  <a:gd name="T8" fmla="*/ 16217551 w 112"/>
                  <a:gd name="T9" fmla="*/ 57964388 h 36"/>
                  <a:gd name="T10" fmla="*/ 17569123 w 112"/>
                  <a:gd name="T11" fmla="*/ 50403125 h 36"/>
                  <a:gd name="T12" fmla="*/ 18920696 w 112"/>
                  <a:gd name="T13" fmla="*/ 42843450 h 36"/>
                  <a:gd name="T14" fmla="*/ 20078935 w 112"/>
                  <a:gd name="T15" fmla="*/ 32762825 h 36"/>
                  <a:gd name="T16" fmla="*/ 20658055 w 112"/>
                  <a:gd name="T17" fmla="*/ 27722513 h 36"/>
                  <a:gd name="T18" fmla="*/ 21044282 w 112"/>
                  <a:gd name="T19" fmla="*/ 20161250 h 36"/>
                  <a:gd name="T20" fmla="*/ 21430508 w 112"/>
                  <a:gd name="T21" fmla="*/ 10080625 h 36"/>
                  <a:gd name="T22" fmla="*/ 21623401 w 112"/>
                  <a:gd name="T23" fmla="*/ 0 h 36"/>
                  <a:gd name="T24" fmla="*/ 19306483 w 112"/>
                  <a:gd name="T25" fmla="*/ 0 h 36"/>
                  <a:gd name="T26" fmla="*/ 16410444 w 112"/>
                  <a:gd name="T27" fmla="*/ 2520950 h 36"/>
                  <a:gd name="T28" fmla="*/ 12935286 w 112"/>
                  <a:gd name="T29" fmla="*/ 7561263 h 36"/>
                  <a:gd name="T30" fmla="*/ 9267235 w 112"/>
                  <a:gd name="T31" fmla="*/ 17641888 h 36"/>
                  <a:gd name="T32" fmla="*/ 7722769 w 112"/>
                  <a:gd name="T33" fmla="*/ 22682200 h 36"/>
                  <a:gd name="T34" fmla="*/ 5984970 w 112"/>
                  <a:gd name="T35" fmla="*/ 27722513 h 36"/>
                  <a:gd name="T36" fmla="*/ 4440504 w 112"/>
                  <a:gd name="T37" fmla="*/ 35282188 h 36"/>
                  <a:gd name="T38" fmla="*/ 3282265 w 112"/>
                  <a:gd name="T39" fmla="*/ 45362813 h 36"/>
                  <a:gd name="T40" fmla="*/ 1930692 w 112"/>
                  <a:gd name="T41" fmla="*/ 55443438 h 36"/>
                  <a:gd name="T42" fmla="*/ 1158240 w 112"/>
                  <a:gd name="T43" fmla="*/ 65524063 h 36"/>
                  <a:gd name="T44" fmla="*/ 192893 w 112"/>
                  <a:gd name="T45" fmla="*/ 78125638 h 36"/>
                  <a:gd name="T46" fmla="*/ 0 w 112"/>
                  <a:gd name="T47" fmla="*/ 90725625 h 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12" h="36">
                    <a:moveTo>
                      <a:pt x="0" y="36"/>
                    </a:moveTo>
                    <a:lnTo>
                      <a:pt x="59" y="36"/>
                    </a:lnTo>
                    <a:lnTo>
                      <a:pt x="67" y="30"/>
                    </a:lnTo>
                    <a:lnTo>
                      <a:pt x="75" y="26"/>
                    </a:lnTo>
                    <a:lnTo>
                      <a:pt x="84" y="23"/>
                    </a:lnTo>
                    <a:lnTo>
                      <a:pt x="91" y="20"/>
                    </a:lnTo>
                    <a:lnTo>
                      <a:pt x="98" y="17"/>
                    </a:lnTo>
                    <a:lnTo>
                      <a:pt x="104" y="13"/>
                    </a:lnTo>
                    <a:lnTo>
                      <a:pt x="107" y="11"/>
                    </a:lnTo>
                    <a:lnTo>
                      <a:pt x="109" y="8"/>
                    </a:lnTo>
                    <a:lnTo>
                      <a:pt x="111" y="4"/>
                    </a:lnTo>
                    <a:lnTo>
                      <a:pt x="112" y="0"/>
                    </a:lnTo>
                    <a:lnTo>
                      <a:pt x="100" y="0"/>
                    </a:lnTo>
                    <a:lnTo>
                      <a:pt x="85" y="1"/>
                    </a:lnTo>
                    <a:lnTo>
                      <a:pt x="67" y="3"/>
                    </a:lnTo>
                    <a:lnTo>
                      <a:pt x="48" y="7"/>
                    </a:lnTo>
                    <a:lnTo>
                      <a:pt x="40" y="9"/>
                    </a:lnTo>
                    <a:lnTo>
                      <a:pt x="31" y="11"/>
                    </a:lnTo>
                    <a:lnTo>
                      <a:pt x="23" y="14"/>
                    </a:lnTo>
                    <a:lnTo>
                      <a:pt x="17" y="18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1" y="31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7" name="Freeform 590">
                <a:extLst>
                  <a:ext uri="{FF2B5EF4-FFF2-40B4-BE49-F238E27FC236}">
                    <a16:creationId xmlns:a16="http://schemas.microsoft.com/office/drawing/2014/main" id="{21EAA65D-152B-4FBA-956C-6739D89128F6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5253056" y="2553991"/>
                <a:ext cx="1055128" cy="508054"/>
              </a:xfrm>
              <a:custGeom>
                <a:avLst/>
                <a:gdLst>
                  <a:gd name="T0" fmla="*/ 82329854 w 2006"/>
                  <a:gd name="T1" fmla="*/ 210259479 h 863"/>
                  <a:gd name="T2" fmla="*/ 78336959 w 2006"/>
                  <a:gd name="T3" fmla="*/ 209984767 h 863"/>
                  <a:gd name="T4" fmla="*/ 74153947 w 2006"/>
                  <a:gd name="T5" fmla="*/ 218230339 h 863"/>
                  <a:gd name="T6" fmla="*/ 71301755 w 2006"/>
                  <a:gd name="T7" fmla="*/ 217680390 h 863"/>
                  <a:gd name="T8" fmla="*/ 70351169 w 2006"/>
                  <a:gd name="T9" fmla="*/ 206411930 h 863"/>
                  <a:gd name="T10" fmla="*/ 61604912 w 2006"/>
                  <a:gd name="T11" fmla="*/ 198991020 h 863"/>
                  <a:gd name="T12" fmla="*/ 59323071 w 2006"/>
                  <a:gd name="T13" fmla="*/ 194593521 h 863"/>
                  <a:gd name="T14" fmla="*/ 54759825 w 2006"/>
                  <a:gd name="T15" fmla="*/ 190195498 h 863"/>
                  <a:gd name="T16" fmla="*/ 47724620 w 2006"/>
                  <a:gd name="T17" fmla="*/ 176178339 h 863"/>
                  <a:gd name="T18" fmla="*/ 44111960 w 2006"/>
                  <a:gd name="T19" fmla="*/ 167658053 h 863"/>
                  <a:gd name="T20" fmla="*/ 48104855 w 2006"/>
                  <a:gd name="T21" fmla="*/ 163260555 h 863"/>
                  <a:gd name="T22" fmla="*/ 53048335 w 2006"/>
                  <a:gd name="T23" fmla="*/ 157488444 h 863"/>
                  <a:gd name="T24" fmla="*/ 64266551 w 2006"/>
                  <a:gd name="T25" fmla="*/ 149518108 h 863"/>
                  <a:gd name="T26" fmla="*/ 60653890 w 2006"/>
                  <a:gd name="T27" fmla="*/ 133851625 h 863"/>
                  <a:gd name="T28" fmla="*/ 49055440 w 2006"/>
                  <a:gd name="T29" fmla="*/ 130553501 h 863"/>
                  <a:gd name="T30" fmla="*/ 39738831 w 2006"/>
                  <a:gd name="T31" fmla="*/ 129179414 h 863"/>
                  <a:gd name="T32" fmla="*/ 29851870 w 2006"/>
                  <a:gd name="T33" fmla="*/ 136050375 h 863"/>
                  <a:gd name="T34" fmla="*/ 20154591 w 2006"/>
                  <a:gd name="T35" fmla="*/ 138799074 h 863"/>
                  <a:gd name="T36" fmla="*/ 5133597 w 2006"/>
                  <a:gd name="T37" fmla="*/ 113512931 h 863"/>
                  <a:gd name="T38" fmla="*/ 3802778 w 2006"/>
                  <a:gd name="T39" fmla="*/ 77782466 h 863"/>
                  <a:gd name="T40" fmla="*/ 21485411 w 2006"/>
                  <a:gd name="T41" fmla="*/ 71186217 h 863"/>
                  <a:gd name="T42" fmla="*/ 55520293 w 2006"/>
                  <a:gd name="T43" fmla="*/ 61016608 h 863"/>
                  <a:gd name="T44" fmla="*/ 94688772 w 2006"/>
                  <a:gd name="T45" fmla="*/ 69536893 h 863"/>
                  <a:gd name="T46" fmla="*/ 136329210 w 2006"/>
                  <a:gd name="T47" fmla="*/ 69536893 h 863"/>
                  <a:gd name="T48" fmla="*/ 125110994 w 2006"/>
                  <a:gd name="T49" fmla="*/ 50846999 h 863"/>
                  <a:gd name="T50" fmla="*/ 157814621 w 2006"/>
                  <a:gd name="T51" fmla="*/ 18689895 h 863"/>
                  <a:gd name="T52" fmla="*/ 199645175 w 2006"/>
                  <a:gd name="T53" fmla="*/ 3572837 h 863"/>
                  <a:gd name="T54" fmla="*/ 223602544 w 2006"/>
                  <a:gd name="T55" fmla="*/ 16765858 h 863"/>
                  <a:gd name="T56" fmla="*/ 246419210 w 2006"/>
                  <a:gd name="T57" fmla="*/ 30508304 h 863"/>
                  <a:gd name="T58" fmla="*/ 274179357 w 2006"/>
                  <a:gd name="T59" fmla="*/ 27210180 h 863"/>
                  <a:gd name="T60" fmla="*/ 313157719 w 2006"/>
                  <a:gd name="T61" fmla="*/ 74484342 h 863"/>
                  <a:gd name="T62" fmla="*/ 340917866 w 2006"/>
                  <a:gd name="T63" fmla="*/ 72835017 h 863"/>
                  <a:gd name="T64" fmla="*/ 380276462 w 2006"/>
                  <a:gd name="T65" fmla="*/ 93173712 h 863"/>
                  <a:gd name="T66" fmla="*/ 380656696 w 2006"/>
                  <a:gd name="T67" fmla="*/ 104717409 h 863"/>
                  <a:gd name="T68" fmla="*/ 376663802 w 2006"/>
                  <a:gd name="T69" fmla="*/ 109664857 h 863"/>
                  <a:gd name="T70" fmla="*/ 372670907 w 2006"/>
                  <a:gd name="T71" fmla="*/ 111038944 h 863"/>
                  <a:gd name="T72" fmla="*/ 373241258 w 2006"/>
                  <a:gd name="T73" fmla="*/ 116811055 h 863"/>
                  <a:gd name="T74" fmla="*/ 377424270 w 2006"/>
                  <a:gd name="T75" fmla="*/ 128079515 h 863"/>
                  <a:gd name="T76" fmla="*/ 376283567 w 2006"/>
                  <a:gd name="T77" fmla="*/ 131378163 h 863"/>
                  <a:gd name="T78" fmla="*/ 368678012 w 2006"/>
                  <a:gd name="T79" fmla="*/ 132202301 h 863"/>
                  <a:gd name="T80" fmla="*/ 359931754 w 2006"/>
                  <a:gd name="T81" fmla="*/ 130278789 h 863"/>
                  <a:gd name="T82" fmla="*/ 354417487 w 2006"/>
                  <a:gd name="T83" fmla="*/ 130278789 h 863"/>
                  <a:gd name="T84" fmla="*/ 357079562 w 2006"/>
                  <a:gd name="T85" fmla="*/ 150617483 h 863"/>
                  <a:gd name="T86" fmla="*/ 357459796 w 2006"/>
                  <a:gd name="T87" fmla="*/ 161061805 h 863"/>
                  <a:gd name="T88" fmla="*/ 340157397 w 2006"/>
                  <a:gd name="T89" fmla="*/ 161611230 h 863"/>
                  <a:gd name="T90" fmla="*/ 336164066 w 2006"/>
                  <a:gd name="T91" fmla="*/ 166008729 h 863"/>
                  <a:gd name="T92" fmla="*/ 341298100 w 2006"/>
                  <a:gd name="T93" fmla="*/ 170131516 h 863"/>
                  <a:gd name="T94" fmla="*/ 344910760 w 2006"/>
                  <a:gd name="T95" fmla="*/ 178651801 h 863"/>
                  <a:gd name="T96" fmla="*/ 348713538 w 2006"/>
                  <a:gd name="T97" fmla="*/ 189371360 h 863"/>
                  <a:gd name="T98" fmla="*/ 349283889 w 2006"/>
                  <a:gd name="T99" fmla="*/ 194043571 h 863"/>
                  <a:gd name="T100" fmla="*/ 349283889 w 2006"/>
                  <a:gd name="T101" fmla="*/ 207236592 h 863"/>
                  <a:gd name="T102" fmla="*/ 331030469 w 2006"/>
                  <a:gd name="T103" fmla="*/ 203388518 h 863"/>
                  <a:gd name="T104" fmla="*/ 280453656 w 2006"/>
                  <a:gd name="T105" fmla="*/ 209984767 h 863"/>
                  <a:gd name="T106" fmla="*/ 250221988 w 2006"/>
                  <a:gd name="T107" fmla="*/ 218505052 h 863"/>
                  <a:gd name="T108" fmla="*/ 217137691 w 2006"/>
                  <a:gd name="T109" fmla="*/ 230323461 h 863"/>
                  <a:gd name="T110" fmla="*/ 183103245 w 2006"/>
                  <a:gd name="T111" fmla="*/ 191570109 h 863"/>
                  <a:gd name="T112" fmla="*/ 130054474 w 2006"/>
                  <a:gd name="T113" fmla="*/ 161061805 h 863"/>
                  <a:gd name="T114" fmla="*/ 111040586 w 2006"/>
                  <a:gd name="T115" fmla="*/ 228674661 h 86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2006" h="863">
                    <a:moveTo>
                      <a:pt x="571" y="826"/>
                    </a:moveTo>
                    <a:lnTo>
                      <a:pt x="538" y="826"/>
                    </a:lnTo>
                    <a:lnTo>
                      <a:pt x="512" y="789"/>
                    </a:lnTo>
                    <a:lnTo>
                      <a:pt x="438" y="764"/>
                    </a:lnTo>
                    <a:lnTo>
                      <a:pt x="433" y="765"/>
                    </a:lnTo>
                    <a:lnTo>
                      <a:pt x="427" y="766"/>
                    </a:lnTo>
                    <a:lnTo>
                      <a:pt x="424" y="767"/>
                    </a:lnTo>
                    <a:lnTo>
                      <a:pt x="421" y="767"/>
                    </a:lnTo>
                    <a:lnTo>
                      <a:pt x="416" y="766"/>
                    </a:lnTo>
                    <a:lnTo>
                      <a:pt x="412" y="764"/>
                    </a:lnTo>
                    <a:lnTo>
                      <a:pt x="405" y="772"/>
                    </a:lnTo>
                    <a:lnTo>
                      <a:pt x="397" y="778"/>
                    </a:lnTo>
                    <a:lnTo>
                      <a:pt x="393" y="782"/>
                    </a:lnTo>
                    <a:lnTo>
                      <a:pt x="391" y="786"/>
                    </a:lnTo>
                    <a:lnTo>
                      <a:pt x="390" y="794"/>
                    </a:lnTo>
                    <a:lnTo>
                      <a:pt x="392" y="802"/>
                    </a:lnTo>
                    <a:lnTo>
                      <a:pt x="386" y="800"/>
                    </a:lnTo>
                    <a:lnTo>
                      <a:pt x="381" y="798"/>
                    </a:lnTo>
                    <a:lnTo>
                      <a:pt x="378" y="795"/>
                    </a:lnTo>
                    <a:lnTo>
                      <a:pt x="375" y="792"/>
                    </a:lnTo>
                    <a:lnTo>
                      <a:pt x="372" y="787"/>
                    </a:lnTo>
                    <a:lnTo>
                      <a:pt x="371" y="783"/>
                    </a:lnTo>
                    <a:lnTo>
                      <a:pt x="370" y="778"/>
                    </a:lnTo>
                    <a:lnTo>
                      <a:pt x="369" y="773"/>
                    </a:lnTo>
                    <a:lnTo>
                      <a:pt x="370" y="751"/>
                    </a:lnTo>
                    <a:lnTo>
                      <a:pt x="372" y="727"/>
                    </a:lnTo>
                    <a:lnTo>
                      <a:pt x="352" y="727"/>
                    </a:lnTo>
                    <a:lnTo>
                      <a:pt x="332" y="726"/>
                    </a:lnTo>
                    <a:lnTo>
                      <a:pt x="327" y="725"/>
                    </a:lnTo>
                    <a:lnTo>
                      <a:pt x="324" y="724"/>
                    </a:lnTo>
                    <a:lnTo>
                      <a:pt x="321" y="722"/>
                    </a:lnTo>
                    <a:lnTo>
                      <a:pt x="318" y="719"/>
                    </a:lnTo>
                    <a:lnTo>
                      <a:pt x="315" y="716"/>
                    </a:lnTo>
                    <a:lnTo>
                      <a:pt x="313" y="712"/>
                    </a:lnTo>
                    <a:lnTo>
                      <a:pt x="312" y="708"/>
                    </a:lnTo>
                    <a:lnTo>
                      <a:pt x="312" y="703"/>
                    </a:lnTo>
                    <a:lnTo>
                      <a:pt x="305" y="702"/>
                    </a:lnTo>
                    <a:lnTo>
                      <a:pt x="299" y="700"/>
                    </a:lnTo>
                    <a:lnTo>
                      <a:pt x="293" y="697"/>
                    </a:lnTo>
                    <a:lnTo>
                      <a:pt x="288" y="692"/>
                    </a:lnTo>
                    <a:lnTo>
                      <a:pt x="280" y="682"/>
                    </a:lnTo>
                    <a:lnTo>
                      <a:pt x="273" y="668"/>
                    </a:lnTo>
                    <a:lnTo>
                      <a:pt x="265" y="656"/>
                    </a:lnTo>
                    <a:lnTo>
                      <a:pt x="256" y="646"/>
                    </a:lnTo>
                    <a:lnTo>
                      <a:pt x="251" y="641"/>
                    </a:lnTo>
                    <a:lnTo>
                      <a:pt x="245" y="638"/>
                    </a:lnTo>
                    <a:lnTo>
                      <a:pt x="240" y="636"/>
                    </a:lnTo>
                    <a:lnTo>
                      <a:pt x="232" y="635"/>
                    </a:lnTo>
                    <a:lnTo>
                      <a:pt x="232" y="623"/>
                    </a:lnTo>
                    <a:lnTo>
                      <a:pt x="232" y="610"/>
                    </a:lnTo>
                    <a:lnTo>
                      <a:pt x="239" y="608"/>
                    </a:lnTo>
                    <a:lnTo>
                      <a:pt x="245" y="604"/>
                    </a:lnTo>
                    <a:lnTo>
                      <a:pt x="251" y="600"/>
                    </a:lnTo>
                    <a:lnTo>
                      <a:pt x="253" y="598"/>
                    </a:lnTo>
                    <a:lnTo>
                      <a:pt x="253" y="594"/>
                    </a:lnTo>
                    <a:lnTo>
                      <a:pt x="254" y="591"/>
                    </a:lnTo>
                    <a:lnTo>
                      <a:pt x="256" y="588"/>
                    </a:lnTo>
                    <a:lnTo>
                      <a:pt x="259" y="585"/>
                    </a:lnTo>
                    <a:lnTo>
                      <a:pt x="268" y="578"/>
                    </a:lnTo>
                    <a:lnTo>
                      <a:pt x="279" y="573"/>
                    </a:lnTo>
                    <a:lnTo>
                      <a:pt x="292" y="568"/>
                    </a:lnTo>
                    <a:lnTo>
                      <a:pt x="309" y="564"/>
                    </a:lnTo>
                    <a:lnTo>
                      <a:pt x="326" y="561"/>
                    </a:lnTo>
                    <a:lnTo>
                      <a:pt x="345" y="561"/>
                    </a:lnTo>
                    <a:lnTo>
                      <a:pt x="338" y="544"/>
                    </a:lnTo>
                    <a:lnTo>
                      <a:pt x="330" y="529"/>
                    </a:lnTo>
                    <a:lnTo>
                      <a:pt x="325" y="520"/>
                    </a:lnTo>
                    <a:lnTo>
                      <a:pt x="322" y="511"/>
                    </a:lnTo>
                    <a:lnTo>
                      <a:pt x="320" y="499"/>
                    </a:lnTo>
                    <a:lnTo>
                      <a:pt x="319" y="487"/>
                    </a:lnTo>
                    <a:lnTo>
                      <a:pt x="307" y="486"/>
                    </a:lnTo>
                    <a:lnTo>
                      <a:pt x="293" y="484"/>
                    </a:lnTo>
                    <a:lnTo>
                      <a:pt x="281" y="481"/>
                    </a:lnTo>
                    <a:lnTo>
                      <a:pt x="269" y="478"/>
                    </a:lnTo>
                    <a:lnTo>
                      <a:pt x="258" y="475"/>
                    </a:lnTo>
                    <a:lnTo>
                      <a:pt x="247" y="472"/>
                    </a:lnTo>
                    <a:lnTo>
                      <a:pt x="236" y="470"/>
                    </a:lnTo>
                    <a:lnTo>
                      <a:pt x="225" y="469"/>
                    </a:lnTo>
                    <a:lnTo>
                      <a:pt x="218" y="469"/>
                    </a:lnTo>
                    <a:lnTo>
                      <a:pt x="209" y="470"/>
                    </a:lnTo>
                    <a:lnTo>
                      <a:pt x="201" y="472"/>
                    </a:lnTo>
                    <a:lnTo>
                      <a:pt x="195" y="474"/>
                    </a:lnTo>
                    <a:lnTo>
                      <a:pt x="180" y="480"/>
                    </a:lnTo>
                    <a:lnTo>
                      <a:pt x="168" y="487"/>
                    </a:lnTo>
                    <a:lnTo>
                      <a:pt x="157" y="495"/>
                    </a:lnTo>
                    <a:lnTo>
                      <a:pt x="146" y="505"/>
                    </a:lnTo>
                    <a:lnTo>
                      <a:pt x="136" y="515"/>
                    </a:lnTo>
                    <a:lnTo>
                      <a:pt x="127" y="524"/>
                    </a:lnTo>
                    <a:lnTo>
                      <a:pt x="133" y="512"/>
                    </a:lnTo>
                    <a:lnTo>
                      <a:pt x="106" y="505"/>
                    </a:lnTo>
                    <a:lnTo>
                      <a:pt x="133" y="487"/>
                    </a:lnTo>
                    <a:lnTo>
                      <a:pt x="106" y="463"/>
                    </a:lnTo>
                    <a:lnTo>
                      <a:pt x="79" y="438"/>
                    </a:lnTo>
                    <a:lnTo>
                      <a:pt x="40" y="438"/>
                    </a:lnTo>
                    <a:lnTo>
                      <a:pt x="27" y="413"/>
                    </a:lnTo>
                    <a:lnTo>
                      <a:pt x="7" y="401"/>
                    </a:lnTo>
                    <a:lnTo>
                      <a:pt x="0" y="370"/>
                    </a:lnTo>
                    <a:lnTo>
                      <a:pt x="0" y="333"/>
                    </a:lnTo>
                    <a:lnTo>
                      <a:pt x="13" y="308"/>
                    </a:lnTo>
                    <a:lnTo>
                      <a:pt x="20" y="283"/>
                    </a:lnTo>
                    <a:lnTo>
                      <a:pt x="53" y="302"/>
                    </a:lnTo>
                    <a:lnTo>
                      <a:pt x="86" y="314"/>
                    </a:lnTo>
                    <a:lnTo>
                      <a:pt x="106" y="308"/>
                    </a:lnTo>
                    <a:lnTo>
                      <a:pt x="79" y="277"/>
                    </a:lnTo>
                    <a:lnTo>
                      <a:pt x="113" y="259"/>
                    </a:lnTo>
                    <a:lnTo>
                      <a:pt x="146" y="228"/>
                    </a:lnTo>
                    <a:lnTo>
                      <a:pt x="179" y="222"/>
                    </a:lnTo>
                    <a:lnTo>
                      <a:pt x="219" y="222"/>
                    </a:lnTo>
                    <a:lnTo>
                      <a:pt x="246" y="210"/>
                    </a:lnTo>
                    <a:lnTo>
                      <a:pt x="292" y="222"/>
                    </a:lnTo>
                    <a:lnTo>
                      <a:pt x="338" y="241"/>
                    </a:lnTo>
                    <a:lnTo>
                      <a:pt x="379" y="277"/>
                    </a:lnTo>
                    <a:lnTo>
                      <a:pt x="425" y="271"/>
                    </a:lnTo>
                    <a:lnTo>
                      <a:pt x="465" y="253"/>
                    </a:lnTo>
                    <a:lnTo>
                      <a:pt x="498" y="253"/>
                    </a:lnTo>
                    <a:lnTo>
                      <a:pt x="538" y="247"/>
                    </a:lnTo>
                    <a:lnTo>
                      <a:pt x="578" y="265"/>
                    </a:lnTo>
                    <a:lnTo>
                      <a:pt x="624" y="277"/>
                    </a:lnTo>
                    <a:lnTo>
                      <a:pt x="671" y="271"/>
                    </a:lnTo>
                    <a:lnTo>
                      <a:pt x="717" y="253"/>
                    </a:lnTo>
                    <a:lnTo>
                      <a:pt x="717" y="228"/>
                    </a:lnTo>
                    <a:lnTo>
                      <a:pt x="684" y="222"/>
                    </a:lnTo>
                    <a:lnTo>
                      <a:pt x="645" y="210"/>
                    </a:lnTo>
                    <a:lnTo>
                      <a:pt x="617" y="198"/>
                    </a:lnTo>
                    <a:lnTo>
                      <a:pt x="658" y="185"/>
                    </a:lnTo>
                    <a:lnTo>
                      <a:pt x="651" y="148"/>
                    </a:lnTo>
                    <a:lnTo>
                      <a:pt x="704" y="142"/>
                    </a:lnTo>
                    <a:lnTo>
                      <a:pt x="638" y="93"/>
                    </a:lnTo>
                    <a:lnTo>
                      <a:pt x="744" y="75"/>
                    </a:lnTo>
                    <a:lnTo>
                      <a:pt x="830" y="68"/>
                    </a:lnTo>
                    <a:lnTo>
                      <a:pt x="844" y="43"/>
                    </a:lnTo>
                    <a:lnTo>
                      <a:pt x="904" y="37"/>
                    </a:lnTo>
                    <a:lnTo>
                      <a:pt x="963" y="25"/>
                    </a:lnTo>
                    <a:lnTo>
                      <a:pt x="983" y="0"/>
                    </a:lnTo>
                    <a:lnTo>
                      <a:pt x="1050" y="13"/>
                    </a:lnTo>
                    <a:lnTo>
                      <a:pt x="1089" y="6"/>
                    </a:lnTo>
                    <a:lnTo>
                      <a:pt x="1116" y="25"/>
                    </a:lnTo>
                    <a:lnTo>
                      <a:pt x="1122" y="75"/>
                    </a:lnTo>
                    <a:lnTo>
                      <a:pt x="1163" y="75"/>
                    </a:lnTo>
                    <a:lnTo>
                      <a:pt x="1176" y="61"/>
                    </a:lnTo>
                    <a:lnTo>
                      <a:pt x="1196" y="75"/>
                    </a:lnTo>
                    <a:lnTo>
                      <a:pt x="1235" y="81"/>
                    </a:lnTo>
                    <a:lnTo>
                      <a:pt x="1255" y="81"/>
                    </a:lnTo>
                    <a:lnTo>
                      <a:pt x="1255" y="117"/>
                    </a:lnTo>
                    <a:lnTo>
                      <a:pt x="1296" y="111"/>
                    </a:lnTo>
                    <a:lnTo>
                      <a:pt x="1335" y="93"/>
                    </a:lnTo>
                    <a:lnTo>
                      <a:pt x="1375" y="61"/>
                    </a:lnTo>
                    <a:lnTo>
                      <a:pt x="1401" y="49"/>
                    </a:lnTo>
                    <a:lnTo>
                      <a:pt x="1401" y="81"/>
                    </a:lnTo>
                    <a:lnTo>
                      <a:pt x="1442" y="99"/>
                    </a:lnTo>
                    <a:lnTo>
                      <a:pt x="1488" y="117"/>
                    </a:lnTo>
                    <a:lnTo>
                      <a:pt x="1528" y="160"/>
                    </a:lnTo>
                    <a:lnTo>
                      <a:pt x="1581" y="204"/>
                    </a:lnTo>
                    <a:lnTo>
                      <a:pt x="1627" y="241"/>
                    </a:lnTo>
                    <a:lnTo>
                      <a:pt x="1647" y="271"/>
                    </a:lnTo>
                    <a:lnTo>
                      <a:pt x="1660" y="241"/>
                    </a:lnTo>
                    <a:lnTo>
                      <a:pt x="1688" y="235"/>
                    </a:lnTo>
                    <a:lnTo>
                      <a:pt x="1708" y="259"/>
                    </a:lnTo>
                    <a:lnTo>
                      <a:pt x="1747" y="271"/>
                    </a:lnTo>
                    <a:lnTo>
                      <a:pt x="1793" y="265"/>
                    </a:lnTo>
                    <a:lnTo>
                      <a:pt x="1821" y="253"/>
                    </a:lnTo>
                    <a:lnTo>
                      <a:pt x="1860" y="283"/>
                    </a:lnTo>
                    <a:lnTo>
                      <a:pt x="1906" y="308"/>
                    </a:lnTo>
                    <a:lnTo>
                      <a:pt x="1947" y="333"/>
                    </a:lnTo>
                    <a:lnTo>
                      <a:pt x="2000" y="339"/>
                    </a:lnTo>
                    <a:lnTo>
                      <a:pt x="2006" y="346"/>
                    </a:lnTo>
                    <a:lnTo>
                      <a:pt x="2005" y="358"/>
                    </a:lnTo>
                    <a:lnTo>
                      <a:pt x="2004" y="373"/>
                    </a:lnTo>
                    <a:lnTo>
                      <a:pt x="2004" y="377"/>
                    </a:lnTo>
                    <a:lnTo>
                      <a:pt x="2002" y="381"/>
                    </a:lnTo>
                    <a:lnTo>
                      <a:pt x="2000" y="385"/>
                    </a:lnTo>
                    <a:lnTo>
                      <a:pt x="1996" y="388"/>
                    </a:lnTo>
                    <a:lnTo>
                      <a:pt x="1993" y="392"/>
                    </a:lnTo>
                    <a:lnTo>
                      <a:pt x="1988" y="395"/>
                    </a:lnTo>
                    <a:lnTo>
                      <a:pt x="1981" y="399"/>
                    </a:lnTo>
                    <a:lnTo>
                      <a:pt x="1973" y="401"/>
                    </a:lnTo>
                    <a:lnTo>
                      <a:pt x="1969" y="401"/>
                    </a:lnTo>
                    <a:lnTo>
                      <a:pt x="1965" y="402"/>
                    </a:lnTo>
                    <a:lnTo>
                      <a:pt x="1962" y="403"/>
                    </a:lnTo>
                    <a:lnTo>
                      <a:pt x="1960" y="404"/>
                    </a:lnTo>
                    <a:lnTo>
                      <a:pt x="1959" y="406"/>
                    </a:lnTo>
                    <a:lnTo>
                      <a:pt x="1958" y="408"/>
                    </a:lnTo>
                    <a:lnTo>
                      <a:pt x="1958" y="410"/>
                    </a:lnTo>
                    <a:lnTo>
                      <a:pt x="1958" y="413"/>
                    </a:lnTo>
                    <a:lnTo>
                      <a:pt x="1963" y="425"/>
                    </a:lnTo>
                    <a:lnTo>
                      <a:pt x="1972" y="438"/>
                    </a:lnTo>
                    <a:lnTo>
                      <a:pt x="1977" y="445"/>
                    </a:lnTo>
                    <a:lnTo>
                      <a:pt x="1981" y="452"/>
                    </a:lnTo>
                    <a:lnTo>
                      <a:pt x="1983" y="460"/>
                    </a:lnTo>
                    <a:lnTo>
                      <a:pt x="1985" y="466"/>
                    </a:lnTo>
                    <a:lnTo>
                      <a:pt x="1985" y="469"/>
                    </a:lnTo>
                    <a:lnTo>
                      <a:pt x="1984" y="471"/>
                    </a:lnTo>
                    <a:lnTo>
                      <a:pt x="1983" y="474"/>
                    </a:lnTo>
                    <a:lnTo>
                      <a:pt x="1982" y="476"/>
                    </a:lnTo>
                    <a:lnTo>
                      <a:pt x="1979" y="478"/>
                    </a:lnTo>
                    <a:lnTo>
                      <a:pt x="1976" y="479"/>
                    </a:lnTo>
                    <a:lnTo>
                      <a:pt x="1971" y="480"/>
                    </a:lnTo>
                    <a:lnTo>
                      <a:pt x="1967" y="481"/>
                    </a:lnTo>
                    <a:lnTo>
                      <a:pt x="1954" y="481"/>
                    </a:lnTo>
                    <a:lnTo>
                      <a:pt x="1939" y="481"/>
                    </a:lnTo>
                    <a:lnTo>
                      <a:pt x="1932" y="481"/>
                    </a:lnTo>
                    <a:lnTo>
                      <a:pt x="1923" y="480"/>
                    </a:lnTo>
                    <a:lnTo>
                      <a:pt x="1913" y="478"/>
                    </a:lnTo>
                    <a:lnTo>
                      <a:pt x="1903" y="476"/>
                    </a:lnTo>
                    <a:lnTo>
                      <a:pt x="1893" y="474"/>
                    </a:lnTo>
                    <a:lnTo>
                      <a:pt x="1883" y="471"/>
                    </a:lnTo>
                    <a:lnTo>
                      <a:pt x="1875" y="467"/>
                    </a:lnTo>
                    <a:lnTo>
                      <a:pt x="1867" y="463"/>
                    </a:lnTo>
                    <a:lnTo>
                      <a:pt x="1865" y="468"/>
                    </a:lnTo>
                    <a:lnTo>
                      <a:pt x="1864" y="474"/>
                    </a:lnTo>
                    <a:lnTo>
                      <a:pt x="1865" y="482"/>
                    </a:lnTo>
                    <a:lnTo>
                      <a:pt x="1865" y="490"/>
                    </a:lnTo>
                    <a:lnTo>
                      <a:pt x="1869" y="508"/>
                    </a:lnTo>
                    <a:lnTo>
                      <a:pt x="1873" y="529"/>
                    </a:lnTo>
                    <a:lnTo>
                      <a:pt x="1878" y="548"/>
                    </a:lnTo>
                    <a:lnTo>
                      <a:pt x="1882" y="564"/>
                    </a:lnTo>
                    <a:lnTo>
                      <a:pt x="1882" y="572"/>
                    </a:lnTo>
                    <a:lnTo>
                      <a:pt x="1882" y="578"/>
                    </a:lnTo>
                    <a:lnTo>
                      <a:pt x="1882" y="583"/>
                    </a:lnTo>
                    <a:lnTo>
                      <a:pt x="1880" y="586"/>
                    </a:lnTo>
                    <a:lnTo>
                      <a:pt x="1854" y="584"/>
                    </a:lnTo>
                    <a:lnTo>
                      <a:pt x="1816" y="584"/>
                    </a:lnTo>
                    <a:lnTo>
                      <a:pt x="1806" y="585"/>
                    </a:lnTo>
                    <a:lnTo>
                      <a:pt x="1798" y="586"/>
                    </a:lnTo>
                    <a:lnTo>
                      <a:pt x="1789" y="588"/>
                    </a:lnTo>
                    <a:lnTo>
                      <a:pt x="1782" y="591"/>
                    </a:lnTo>
                    <a:lnTo>
                      <a:pt x="1776" y="594"/>
                    </a:lnTo>
                    <a:lnTo>
                      <a:pt x="1771" y="598"/>
                    </a:lnTo>
                    <a:lnTo>
                      <a:pt x="1769" y="601"/>
                    </a:lnTo>
                    <a:lnTo>
                      <a:pt x="1768" y="604"/>
                    </a:lnTo>
                    <a:lnTo>
                      <a:pt x="1767" y="607"/>
                    </a:lnTo>
                    <a:lnTo>
                      <a:pt x="1767" y="610"/>
                    </a:lnTo>
                    <a:lnTo>
                      <a:pt x="1778" y="612"/>
                    </a:lnTo>
                    <a:lnTo>
                      <a:pt x="1788" y="615"/>
                    </a:lnTo>
                    <a:lnTo>
                      <a:pt x="1795" y="619"/>
                    </a:lnTo>
                    <a:lnTo>
                      <a:pt x="1801" y="625"/>
                    </a:lnTo>
                    <a:lnTo>
                      <a:pt x="1805" y="631"/>
                    </a:lnTo>
                    <a:lnTo>
                      <a:pt x="1809" y="637"/>
                    </a:lnTo>
                    <a:lnTo>
                      <a:pt x="1812" y="644"/>
                    </a:lnTo>
                    <a:lnTo>
                      <a:pt x="1814" y="650"/>
                    </a:lnTo>
                    <a:lnTo>
                      <a:pt x="1817" y="664"/>
                    </a:lnTo>
                    <a:lnTo>
                      <a:pt x="1822" y="676"/>
                    </a:lnTo>
                    <a:lnTo>
                      <a:pt x="1824" y="682"/>
                    </a:lnTo>
                    <a:lnTo>
                      <a:pt x="1828" y="686"/>
                    </a:lnTo>
                    <a:lnTo>
                      <a:pt x="1834" y="689"/>
                    </a:lnTo>
                    <a:lnTo>
                      <a:pt x="1840" y="691"/>
                    </a:lnTo>
                    <a:lnTo>
                      <a:pt x="1838" y="695"/>
                    </a:lnTo>
                    <a:lnTo>
                      <a:pt x="1837" y="699"/>
                    </a:lnTo>
                    <a:lnTo>
                      <a:pt x="1837" y="702"/>
                    </a:lnTo>
                    <a:lnTo>
                      <a:pt x="1837" y="706"/>
                    </a:lnTo>
                    <a:lnTo>
                      <a:pt x="1839" y="713"/>
                    </a:lnTo>
                    <a:lnTo>
                      <a:pt x="1840" y="721"/>
                    </a:lnTo>
                    <a:lnTo>
                      <a:pt x="1840" y="735"/>
                    </a:lnTo>
                    <a:lnTo>
                      <a:pt x="1838" y="748"/>
                    </a:lnTo>
                    <a:lnTo>
                      <a:pt x="1837" y="754"/>
                    </a:lnTo>
                    <a:lnTo>
                      <a:pt x="1835" y="760"/>
                    </a:lnTo>
                    <a:lnTo>
                      <a:pt x="1832" y="765"/>
                    </a:lnTo>
                    <a:lnTo>
                      <a:pt x="1827" y="770"/>
                    </a:lnTo>
                    <a:lnTo>
                      <a:pt x="1814" y="764"/>
                    </a:lnTo>
                    <a:lnTo>
                      <a:pt x="1741" y="740"/>
                    </a:lnTo>
                    <a:lnTo>
                      <a:pt x="1674" y="740"/>
                    </a:lnTo>
                    <a:lnTo>
                      <a:pt x="1614" y="734"/>
                    </a:lnTo>
                    <a:lnTo>
                      <a:pt x="1534" y="727"/>
                    </a:lnTo>
                    <a:lnTo>
                      <a:pt x="1488" y="715"/>
                    </a:lnTo>
                    <a:lnTo>
                      <a:pt x="1475" y="764"/>
                    </a:lnTo>
                    <a:lnTo>
                      <a:pt x="1414" y="740"/>
                    </a:lnTo>
                    <a:lnTo>
                      <a:pt x="1368" y="734"/>
                    </a:lnTo>
                    <a:lnTo>
                      <a:pt x="1342" y="758"/>
                    </a:lnTo>
                    <a:lnTo>
                      <a:pt x="1342" y="770"/>
                    </a:lnTo>
                    <a:lnTo>
                      <a:pt x="1316" y="795"/>
                    </a:lnTo>
                    <a:lnTo>
                      <a:pt x="1282" y="808"/>
                    </a:lnTo>
                    <a:lnTo>
                      <a:pt x="1255" y="838"/>
                    </a:lnTo>
                    <a:lnTo>
                      <a:pt x="1235" y="863"/>
                    </a:lnTo>
                    <a:lnTo>
                      <a:pt x="1196" y="832"/>
                    </a:lnTo>
                    <a:lnTo>
                      <a:pt x="1142" y="838"/>
                    </a:lnTo>
                    <a:lnTo>
                      <a:pt x="1122" y="808"/>
                    </a:lnTo>
                    <a:lnTo>
                      <a:pt x="1083" y="746"/>
                    </a:lnTo>
                    <a:lnTo>
                      <a:pt x="1050" y="715"/>
                    </a:lnTo>
                    <a:lnTo>
                      <a:pt x="1003" y="685"/>
                    </a:lnTo>
                    <a:lnTo>
                      <a:pt x="963" y="697"/>
                    </a:lnTo>
                    <a:lnTo>
                      <a:pt x="917" y="691"/>
                    </a:lnTo>
                    <a:lnTo>
                      <a:pt x="857" y="697"/>
                    </a:lnTo>
                    <a:lnTo>
                      <a:pt x="730" y="616"/>
                    </a:lnTo>
                    <a:lnTo>
                      <a:pt x="682" y="595"/>
                    </a:lnTo>
                    <a:lnTo>
                      <a:pt x="684" y="586"/>
                    </a:lnTo>
                    <a:lnTo>
                      <a:pt x="638" y="548"/>
                    </a:lnTo>
                    <a:lnTo>
                      <a:pt x="610" y="580"/>
                    </a:lnTo>
                    <a:lnTo>
                      <a:pt x="525" y="604"/>
                    </a:lnTo>
                    <a:lnTo>
                      <a:pt x="565" y="826"/>
                    </a:lnTo>
                    <a:lnTo>
                      <a:pt x="584" y="832"/>
                    </a:lnTo>
                    <a:lnTo>
                      <a:pt x="571" y="826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8" name="Freeform 591">
                <a:extLst>
                  <a:ext uri="{FF2B5EF4-FFF2-40B4-BE49-F238E27FC236}">
                    <a16:creationId xmlns:a16="http://schemas.microsoft.com/office/drawing/2014/main" id="{4034B4BF-9197-4527-B69E-FB3C2505B340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531769" y="2895038"/>
                <a:ext cx="494082" cy="279517"/>
              </a:xfrm>
              <a:custGeom>
                <a:avLst/>
                <a:gdLst>
                  <a:gd name="T0" fmla="*/ 118587914 w 950"/>
                  <a:gd name="T1" fmla="*/ 125643645 h 468"/>
                  <a:gd name="T2" fmla="*/ 103717755 w 950"/>
                  <a:gd name="T3" fmla="*/ 118553144 h 468"/>
                  <a:gd name="T4" fmla="*/ 87546872 w 950"/>
                  <a:gd name="T5" fmla="*/ 106640845 h 468"/>
                  <a:gd name="T6" fmla="*/ 72862961 w 950"/>
                  <a:gd name="T7" fmla="*/ 87071402 h 468"/>
                  <a:gd name="T8" fmla="*/ 56691647 w 950"/>
                  <a:gd name="T9" fmla="*/ 73173721 h 468"/>
                  <a:gd name="T10" fmla="*/ 47026108 w 950"/>
                  <a:gd name="T11" fmla="*/ 59276572 h 468"/>
                  <a:gd name="T12" fmla="*/ 34572441 w 950"/>
                  <a:gd name="T13" fmla="*/ 48782480 h 468"/>
                  <a:gd name="T14" fmla="*/ 24721516 w 950"/>
                  <a:gd name="T15" fmla="*/ 53887599 h 468"/>
                  <a:gd name="T16" fmla="*/ 18401558 w 950"/>
                  <a:gd name="T17" fmla="*/ 68068602 h 468"/>
                  <a:gd name="T18" fmla="*/ 7434864 w 950"/>
                  <a:gd name="T19" fmla="*/ 69770663 h 468"/>
                  <a:gd name="T20" fmla="*/ 0 w 950"/>
                  <a:gd name="T21" fmla="*/ 6806647 h 468"/>
                  <a:gd name="T22" fmla="*/ 14683910 w 950"/>
                  <a:gd name="T23" fmla="*/ 1701529 h 468"/>
                  <a:gd name="T24" fmla="*/ 24721516 w 950"/>
                  <a:gd name="T25" fmla="*/ 15599210 h 468"/>
                  <a:gd name="T26" fmla="*/ 29182434 w 950"/>
                  <a:gd name="T27" fmla="*/ 4254088 h 468"/>
                  <a:gd name="T28" fmla="*/ 61710450 w 950"/>
                  <a:gd name="T29" fmla="*/ 33183803 h 468"/>
                  <a:gd name="T30" fmla="*/ 81413163 w 950"/>
                  <a:gd name="T31" fmla="*/ 33183803 h 468"/>
                  <a:gd name="T32" fmla="*/ 97584046 w 950"/>
                  <a:gd name="T33" fmla="*/ 38288921 h 468"/>
                  <a:gd name="T34" fmla="*/ 110967233 w 950"/>
                  <a:gd name="T35" fmla="*/ 64665545 h 468"/>
                  <a:gd name="T36" fmla="*/ 124721623 w 950"/>
                  <a:gd name="T37" fmla="*/ 71472192 h 468"/>
                  <a:gd name="T38" fmla="*/ 135688317 w 950"/>
                  <a:gd name="T39" fmla="*/ 73173721 h 468"/>
                  <a:gd name="T40" fmla="*/ 147026647 w 950"/>
                  <a:gd name="T41" fmla="*/ 60978100 h 468"/>
                  <a:gd name="T42" fmla="*/ 156692186 w 950"/>
                  <a:gd name="T43" fmla="*/ 55589660 h 468"/>
                  <a:gd name="T44" fmla="*/ 153160356 w 950"/>
                  <a:gd name="T45" fmla="*/ 71472192 h 468"/>
                  <a:gd name="T46" fmla="*/ 161710557 w 950"/>
                  <a:gd name="T47" fmla="*/ 68068602 h 468"/>
                  <a:gd name="T48" fmla="*/ 176580716 w 950"/>
                  <a:gd name="T49" fmla="*/ 80264222 h 468"/>
                  <a:gd name="T50" fmla="*/ 164127050 w 950"/>
                  <a:gd name="T51" fmla="*/ 90758314 h 468"/>
                  <a:gd name="T52" fmla="*/ 153160356 w 950"/>
                  <a:gd name="T53" fmla="*/ 80264222 h 468"/>
                  <a:gd name="T54" fmla="*/ 142008275 w 950"/>
                  <a:gd name="T55" fmla="*/ 78562693 h 468"/>
                  <a:gd name="T56" fmla="*/ 136989472 w 950"/>
                  <a:gd name="T57" fmla="*/ 90758314 h 468"/>
                  <a:gd name="T58" fmla="*/ 127138116 w 950"/>
                  <a:gd name="T59" fmla="*/ 101252405 h 468"/>
                  <a:gd name="T60" fmla="*/ 131970670 w 950"/>
                  <a:gd name="T61" fmla="*/ 110044435 h 468"/>
                  <a:gd name="T62" fmla="*/ 138104810 w 950"/>
                  <a:gd name="T63" fmla="*/ 123942116 h 468"/>
                  <a:gd name="T64" fmla="*/ 133271825 w 950"/>
                  <a:gd name="T65" fmla="*/ 132734147 h 468"/>
                  <a:gd name="T66" fmla="*/ 130669946 w 950"/>
                  <a:gd name="T67" fmla="*/ 131883116 h 468"/>
                  <a:gd name="T68" fmla="*/ 127138116 w 950"/>
                  <a:gd name="T69" fmla="*/ 130748764 h 468"/>
                  <a:gd name="T70" fmla="*/ 122305562 w 950"/>
                  <a:gd name="T71" fmla="*/ 130748764 h 46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950" h="468">
                    <a:moveTo>
                      <a:pt x="664" y="455"/>
                    </a:moveTo>
                    <a:lnTo>
                      <a:pt x="638" y="443"/>
                    </a:lnTo>
                    <a:lnTo>
                      <a:pt x="604" y="431"/>
                    </a:lnTo>
                    <a:lnTo>
                      <a:pt x="558" y="418"/>
                    </a:lnTo>
                    <a:lnTo>
                      <a:pt x="512" y="388"/>
                    </a:lnTo>
                    <a:lnTo>
                      <a:pt x="471" y="376"/>
                    </a:lnTo>
                    <a:lnTo>
                      <a:pt x="425" y="345"/>
                    </a:lnTo>
                    <a:lnTo>
                      <a:pt x="392" y="307"/>
                    </a:lnTo>
                    <a:lnTo>
                      <a:pt x="345" y="258"/>
                    </a:lnTo>
                    <a:lnTo>
                      <a:pt x="305" y="258"/>
                    </a:lnTo>
                    <a:lnTo>
                      <a:pt x="266" y="246"/>
                    </a:lnTo>
                    <a:lnTo>
                      <a:pt x="253" y="209"/>
                    </a:lnTo>
                    <a:lnTo>
                      <a:pt x="219" y="190"/>
                    </a:lnTo>
                    <a:lnTo>
                      <a:pt x="186" y="172"/>
                    </a:lnTo>
                    <a:lnTo>
                      <a:pt x="153" y="166"/>
                    </a:lnTo>
                    <a:lnTo>
                      <a:pt x="133" y="190"/>
                    </a:lnTo>
                    <a:lnTo>
                      <a:pt x="92" y="209"/>
                    </a:lnTo>
                    <a:lnTo>
                      <a:pt x="99" y="240"/>
                    </a:lnTo>
                    <a:lnTo>
                      <a:pt x="59" y="252"/>
                    </a:lnTo>
                    <a:lnTo>
                      <a:pt x="40" y="246"/>
                    </a:lnTo>
                    <a:lnTo>
                      <a:pt x="46" y="240"/>
                    </a:lnTo>
                    <a:lnTo>
                      <a:pt x="0" y="24"/>
                    </a:lnTo>
                    <a:lnTo>
                      <a:pt x="85" y="0"/>
                    </a:lnTo>
                    <a:lnTo>
                      <a:pt x="79" y="6"/>
                    </a:lnTo>
                    <a:lnTo>
                      <a:pt x="86" y="55"/>
                    </a:lnTo>
                    <a:lnTo>
                      <a:pt x="133" y="55"/>
                    </a:lnTo>
                    <a:lnTo>
                      <a:pt x="153" y="30"/>
                    </a:lnTo>
                    <a:lnTo>
                      <a:pt x="157" y="15"/>
                    </a:lnTo>
                    <a:lnTo>
                      <a:pt x="205" y="36"/>
                    </a:lnTo>
                    <a:lnTo>
                      <a:pt x="332" y="117"/>
                    </a:lnTo>
                    <a:lnTo>
                      <a:pt x="392" y="111"/>
                    </a:lnTo>
                    <a:lnTo>
                      <a:pt x="438" y="117"/>
                    </a:lnTo>
                    <a:lnTo>
                      <a:pt x="478" y="105"/>
                    </a:lnTo>
                    <a:lnTo>
                      <a:pt x="525" y="135"/>
                    </a:lnTo>
                    <a:lnTo>
                      <a:pt x="558" y="166"/>
                    </a:lnTo>
                    <a:lnTo>
                      <a:pt x="597" y="228"/>
                    </a:lnTo>
                    <a:lnTo>
                      <a:pt x="617" y="258"/>
                    </a:lnTo>
                    <a:lnTo>
                      <a:pt x="671" y="252"/>
                    </a:lnTo>
                    <a:lnTo>
                      <a:pt x="710" y="283"/>
                    </a:lnTo>
                    <a:lnTo>
                      <a:pt x="730" y="258"/>
                    </a:lnTo>
                    <a:lnTo>
                      <a:pt x="757" y="228"/>
                    </a:lnTo>
                    <a:lnTo>
                      <a:pt x="791" y="215"/>
                    </a:lnTo>
                    <a:lnTo>
                      <a:pt x="817" y="190"/>
                    </a:lnTo>
                    <a:lnTo>
                      <a:pt x="843" y="196"/>
                    </a:lnTo>
                    <a:lnTo>
                      <a:pt x="810" y="228"/>
                    </a:lnTo>
                    <a:lnTo>
                      <a:pt x="824" y="252"/>
                    </a:lnTo>
                    <a:lnTo>
                      <a:pt x="850" y="258"/>
                    </a:lnTo>
                    <a:lnTo>
                      <a:pt x="870" y="240"/>
                    </a:lnTo>
                    <a:lnTo>
                      <a:pt x="910" y="258"/>
                    </a:lnTo>
                    <a:lnTo>
                      <a:pt x="950" y="283"/>
                    </a:lnTo>
                    <a:lnTo>
                      <a:pt x="917" y="313"/>
                    </a:lnTo>
                    <a:lnTo>
                      <a:pt x="883" y="320"/>
                    </a:lnTo>
                    <a:lnTo>
                      <a:pt x="837" y="313"/>
                    </a:lnTo>
                    <a:lnTo>
                      <a:pt x="824" y="283"/>
                    </a:lnTo>
                    <a:lnTo>
                      <a:pt x="804" y="271"/>
                    </a:lnTo>
                    <a:lnTo>
                      <a:pt x="764" y="277"/>
                    </a:lnTo>
                    <a:lnTo>
                      <a:pt x="757" y="301"/>
                    </a:lnTo>
                    <a:lnTo>
                      <a:pt x="737" y="320"/>
                    </a:lnTo>
                    <a:lnTo>
                      <a:pt x="724" y="351"/>
                    </a:lnTo>
                    <a:lnTo>
                      <a:pt x="684" y="357"/>
                    </a:lnTo>
                    <a:lnTo>
                      <a:pt x="671" y="369"/>
                    </a:lnTo>
                    <a:lnTo>
                      <a:pt x="710" y="388"/>
                    </a:lnTo>
                    <a:lnTo>
                      <a:pt x="730" y="406"/>
                    </a:lnTo>
                    <a:lnTo>
                      <a:pt x="743" y="437"/>
                    </a:lnTo>
                    <a:lnTo>
                      <a:pt x="730" y="468"/>
                    </a:lnTo>
                    <a:lnTo>
                      <a:pt x="717" y="468"/>
                    </a:lnTo>
                    <a:lnTo>
                      <a:pt x="712" y="467"/>
                    </a:lnTo>
                    <a:lnTo>
                      <a:pt x="703" y="465"/>
                    </a:lnTo>
                    <a:lnTo>
                      <a:pt x="694" y="462"/>
                    </a:lnTo>
                    <a:lnTo>
                      <a:pt x="684" y="461"/>
                    </a:lnTo>
                    <a:lnTo>
                      <a:pt x="669" y="461"/>
                    </a:lnTo>
                    <a:lnTo>
                      <a:pt x="658" y="461"/>
                    </a:lnTo>
                    <a:lnTo>
                      <a:pt x="664" y="455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89" name="Freeform 592">
                <a:extLst>
                  <a:ext uri="{FF2B5EF4-FFF2-40B4-BE49-F238E27FC236}">
                    <a16:creationId xmlns:a16="http://schemas.microsoft.com/office/drawing/2014/main" id="{A10BA1BB-FFC0-478A-AA1C-DC93EAE8F706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094767" y="4023656"/>
                <a:ext cx="356535" cy="323467"/>
              </a:xfrm>
              <a:custGeom>
                <a:avLst/>
                <a:gdLst>
                  <a:gd name="T0" fmla="*/ 1174622 w 671"/>
                  <a:gd name="T1" fmla="*/ 106077577 h 549"/>
                  <a:gd name="T2" fmla="*/ 1565720 w 671"/>
                  <a:gd name="T3" fmla="*/ 87521119 h 549"/>
                  <a:gd name="T4" fmla="*/ 3327432 w 671"/>
                  <a:gd name="T5" fmla="*/ 79489109 h 549"/>
                  <a:gd name="T6" fmla="*/ 10178286 w 671"/>
                  <a:gd name="T7" fmla="*/ 65917528 h 549"/>
                  <a:gd name="T8" fmla="*/ 13897259 w 671"/>
                  <a:gd name="T9" fmla="*/ 56777710 h 549"/>
                  <a:gd name="T10" fmla="*/ 14288799 w 671"/>
                  <a:gd name="T11" fmla="*/ 46253261 h 549"/>
                  <a:gd name="T12" fmla="*/ 14288799 w 671"/>
                  <a:gd name="T13" fmla="*/ 37944431 h 549"/>
                  <a:gd name="T14" fmla="*/ 10569827 w 671"/>
                  <a:gd name="T15" fmla="*/ 29912421 h 549"/>
                  <a:gd name="T16" fmla="*/ 11939998 w 671"/>
                  <a:gd name="T17" fmla="*/ 21880411 h 549"/>
                  <a:gd name="T18" fmla="*/ 14875889 w 671"/>
                  <a:gd name="T19" fmla="*/ 13848402 h 549"/>
                  <a:gd name="T20" fmla="*/ 18790410 w 671"/>
                  <a:gd name="T21" fmla="*/ 6924201 h 549"/>
                  <a:gd name="T22" fmla="*/ 23488013 w 671"/>
                  <a:gd name="T23" fmla="*/ 1938797 h 549"/>
                  <a:gd name="T24" fmla="*/ 28577156 w 671"/>
                  <a:gd name="T25" fmla="*/ 0 h 549"/>
                  <a:gd name="T26" fmla="*/ 33861848 w 671"/>
                  <a:gd name="T27" fmla="*/ 1384630 h 549"/>
                  <a:gd name="T28" fmla="*/ 40321163 w 671"/>
                  <a:gd name="T29" fmla="*/ 7201021 h 549"/>
                  <a:gd name="T30" fmla="*/ 46193387 w 671"/>
                  <a:gd name="T31" fmla="*/ 12463246 h 549"/>
                  <a:gd name="T32" fmla="*/ 50694998 w 671"/>
                  <a:gd name="T33" fmla="*/ 13848402 h 549"/>
                  <a:gd name="T34" fmla="*/ 53239791 w 671"/>
                  <a:gd name="T35" fmla="*/ 12186425 h 549"/>
                  <a:gd name="T36" fmla="*/ 55588592 w 671"/>
                  <a:gd name="T37" fmla="*/ 9693986 h 549"/>
                  <a:gd name="T38" fmla="*/ 58720475 w 671"/>
                  <a:gd name="T39" fmla="*/ 8862998 h 549"/>
                  <a:gd name="T40" fmla="*/ 62243455 w 671"/>
                  <a:gd name="T41" fmla="*/ 10801795 h 549"/>
                  <a:gd name="T42" fmla="*/ 65962428 w 671"/>
                  <a:gd name="T43" fmla="*/ 18002817 h 549"/>
                  <a:gd name="T44" fmla="*/ 69094310 w 671"/>
                  <a:gd name="T45" fmla="*/ 21880411 h 549"/>
                  <a:gd name="T46" fmla="*/ 72421742 w 671"/>
                  <a:gd name="T47" fmla="*/ 22434053 h 549"/>
                  <a:gd name="T48" fmla="*/ 74574994 w 671"/>
                  <a:gd name="T49" fmla="*/ 20772602 h 549"/>
                  <a:gd name="T50" fmla="*/ 77706434 w 671"/>
                  <a:gd name="T51" fmla="*/ 15509852 h 549"/>
                  <a:gd name="T52" fmla="*/ 82012496 w 671"/>
                  <a:gd name="T53" fmla="*/ 10524448 h 549"/>
                  <a:gd name="T54" fmla="*/ 89646432 w 671"/>
                  <a:gd name="T55" fmla="*/ 6093212 h 549"/>
                  <a:gd name="T56" fmla="*/ 95322665 w 671"/>
                  <a:gd name="T57" fmla="*/ 6924201 h 549"/>
                  <a:gd name="T58" fmla="*/ 100020268 w 671"/>
                  <a:gd name="T59" fmla="*/ 9693986 h 549"/>
                  <a:gd name="T60" fmla="*/ 105109411 w 671"/>
                  <a:gd name="T61" fmla="*/ 11909604 h 549"/>
                  <a:gd name="T62" fmla="*/ 111764274 w 671"/>
                  <a:gd name="T63" fmla="*/ 10801795 h 549"/>
                  <a:gd name="T64" fmla="*/ 126444614 w 671"/>
                  <a:gd name="T65" fmla="*/ 18556458 h 549"/>
                  <a:gd name="T66" fmla="*/ 130163144 w 671"/>
                  <a:gd name="T67" fmla="*/ 29081433 h 549"/>
                  <a:gd name="T68" fmla="*/ 121942561 w 671"/>
                  <a:gd name="T69" fmla="*/ 50684497 h 549"/>
                  <a:gd name="T70" fmla="*/ 116070336 w 671"/>
                  <a:gd name="T71" fmla="*/ 64532899 h 549"/>
                  <a:gd name="T72" fmla="*/ 111568725 w 671"/>
                  <a:gd name="T73" fmla="*/ 80596918 h 549"/>
                  <a:gd name="T74" fmla="*/ 107653761 w 671"/>
                  <a:gd name="T75" fmla="*/ 94998961 h 549"/>
                  <a:gd name="T76" fmla="*/ 102760610 w 671"/>
                  <a:gd name="T77" fmla="*/ 112724957 h 549"/>
                  <a:gd name="T78" fmla="*/ 100998898 w 671"/>
                  <a:gd name="T79" fmla="*/ 116879372 h 549"/>
                  <a:gd name="T80" fmla="*/ 97867015 w 671"/>
                  <a:gd name="T81" fmla="*/ 121587955 h 549"/>
                  <a:gd name="T82" fmla="*/ 94344035 w 671"/>
                  <a:gd name="T83" fmla="*/ 122695764 h 549"/>
                  <a:gd name="T84" fmla="*/ 89841981 w 671"/>
                  <a:gd name="T85" fmla="*/ 119649158 h 549"/>
                  <a:gd name="T86" fmla="*/ 86123009 w 671"/>
                  <a:gd name="T87" fmla="*/ 116602552 h 549"/>
                  <a:gd name="T88" fmla="*/ 79859686 w 671"/>
                  <a:gd name="T89" fmla="*/ 117433540 h 549"/>
                  <a:gd name="T90" fmla="*/ 74574994 w 671"/>
                  <a:gd name="T91" fmla="*/ 122141596 h 549"/>
                  <a:gd name="T92" fmla="*/ 71247120 w 671"/>
                  <a:gd name="T93" fmla="*/ 129896786 h 549"/>
                  <a:gd name="T94" fmla="*/ 66941058 w 671"/>
                  <a:gd name="T95" fmla="*/ 144298828 h 549"/>
                  <a:gd name="T96" fmla="*/ 63613626 w 671"/>
                  <a:gd name="T97" fmla="*/ 152054018 h 549"/>
                  <a:gd name="T98" fmla="*/ 44823216 w 671"/>
                  <a:gd name="T99" fmla="*/ 151223029 h 549"/>
                  <a:gd name="T100" fmla="*/ 42474415 w 671"/>
                  <a:gd name="T101" fmla="*/ 151777197 h 549"/>
                  <a:gd name="T102" fmla="*/ 35036470 w 671"/>
                  <a:gd name="T103" fmla="*/ 150392041 h 549"/>
                  <a:gd name="T104" fmla="*/ 31513047 w 671"/>
                  <a:gd name="T105" fmla="*/ 149561579 h 549"/>
                  <a:gd name="T106" fmla="*/ 28185616 w 671"/>
                  <a:gd name="T107" fmla="*/ 147068614 h 549"/>
                  <a:gd name="T108" fmla="*/ 25249724 w 671"/>
                  <a:gd name="T109" fmla="*/ 142637378 h 549"/>
                  <a:gd name="T110" fmla="*/ 23292464 w 671"/>
                  <a:gd name="T111" fmla="*/ 137374628 h 549"/>
                  <a:gd name="T112" fmla="*/ 22117842 w 671"/>
                  <a:gd name="T113" fmla="*/ 130727774 h 549"/>
                  <a:gd name="T114" fmla="*/ 19573492 w 671"/>
                  <a:gd name="T115" fmla="*/ 127404347 h 549"/>
                  <a:gd name="T116" fmla="*/ 16246060 w 671"/>
                  <a:gd name="T117" fmla="*/ 123803573 h 549"/>
                  <a:gd name="T118" fmla="*/ 12331096 w 671"/>
                  <a:gd name="T119" fmla="*/ 119649158 h 549"/>
                  <a:gd name="T120" fmla="*/ 7633494 w 671"/>
                  <a:gd name="T121" fmla="*/ 118818170 h 549"/>
                  <a:gd name="T122" fmla="*/ 0 w 671"/>
                  <a:gd name="T123" fmla="*/ 121310608 h 549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71" h="549">
                    <a:moveTo>
                      <a:pt x="0" y="438"/>
                    </a:moveTo>
                    <a:lnTo>
                      <a:pt x="4" y="405"/>
                    </a:lnTo>
                    <a:lnTo>
                      <a:pt x="6" y="383"/>
                    </a:lnTo>
                    <a:lnTo>
                      <a:pt x="7" y="360"/>
                    </a:lnTo>
                    <a:lnTo>
                      <a:pt x="7" y="327"/>
                    </a:lnTo>
                    <a:lnTo>
                      <a:pt x="8" y="316"/>
                    </a:lnTo>
                    <a:lnTo>
                      <a:pt x="9" y="306"/>
                    </a:lnTo>
                    <a:lnTo>
                      <a:pt x="12" y="296"/>
                    </a:lnTo>
                    <a:lnTo>
                      <a:pt x="17" y="287"/>
                    </a:lnTo>
                    <a:lnTo>
                      <a:pt x="28" y="270"/>
                    </a:lnTo>
                    <a:lnTo>
                      <a:pt x="40" y="254"/>
                    </a:lnTo>
                    <a:lnTo>
                      <a:pt x="52" y="238"/>
                    </a:lnTo>
                    <a:lnTo>
                      <a:pt x="63" y="222"/>
                    </a:lnTo>
                    <a:lnTo>
                      <a:pt x="67" y="214"/>
                    </a:lnTo>
                    <a:lnTo>
                      <a:pt x="71" y="205"/>
                    </a:lnTo>
                    <a:lnTo>
                      <a:pt x="73" y="196"/>
                    </a:lnTo>
                    <a:lnTo>
                      <a:pt x="73" y="185"/>
                    </a:lnTo>
                    <a:lnTo>
                      <a:pt x="73" y="167"/>
                    </a:lnTo>
                    <a:lnTo>
                      <a:pt x="73" y="156"/>
                    </a:lnTo>
                    <a:lnTo>
                      <a:pt x="73" y="148"/>
                    </a:lnTo>
                    <a:lnTo>
                      <a:pt x="73" y="137"/>
                    </a:lnTo>
                    <a:lnTo>
                      <a:pt x="63" y="126"/>
                    </a:lnTo>
                    <a:lnTo>
                      <a:pt x="53" y="117"/>
                    </a:lnTo>
                    <a:lnTo>
                      <a:pt x="54" y="108"/>
                    </a:lnTo>
                    <a:lnTo>
                      <a:pt x="55" y="99"/>
                    </a:lnTo>
                    <a:lnTo>
                      <a:pt x="57" y="89"/>
                    </a:lnTo>
                    <a:lnTo>
                      <a:pt x="61" y="79"/>
                    </a:lnTo>
                    <a:lnTo>
                      <a:pt x="65" y="68"/>
                    </a:lnTo>
                    <a:lnTo>
                      <a:pt x="71" y="59"/>
                    </a:lnTo>
                    <a:lnTo>
                      <a:pt x="76" y="50"/>
                    </a:lnTo>
                    <a:lnTo>
                      <a:pt x="83" y="41"/>
                    </a:lnTo>
                    <a:lnTo>
                      <a:pt x="89" y="33"/>
                    </a:lnTo>
                    <a:lnTo>
                      <a:pt x="96" y="25"/>
                    </a:lnTo>
                    <a:lnTo>
                      <a:pt x="104" y="17"/>
                    </a:lnTo>
                    <a:lnTo>
                      <a:pt x="112" y="12"/>
                    </a:lnTo>
                    <a:lnTo>
                      <a:pt x="120" y="7"/>
                    </a:lnTo>
                    <a:lnTo>
                      <a:pt x="129" y="3"/>
                    </a:lnTo>
                    <a:lnTo>
                      <a:pt x="138" y="1"/>
                    </a:lnTo>
                    <a:lnTo>
                      <a:pt x="146" y="0"/>
                    </a:lnTo>
                    <a:lnTo>
                      <a:pt x="156" y="1"/>
                    </a:lnTo>
                    <a:lnTo>
                      <a:pt x="164" y="3"/>
                    </a:lnTo>
                    <a:lnTo>
                      <a:pt x="173" y="5"/>
                    </a:lnTo>
                    <a:lnTo>
                      <a:pt x="179" y="8"/>
                    </a:lnTo>
                    <a:lnTo>
                      <a:pt x="194" y="16"/>
                    </a:lnTo>
                    <a:lnTo>
                      <a:pt x="206" y="26"/>
                    </a:lnTo>
                    <a:lnTo>
                      <a:pt x="217" y="35"/>
                    </a:lnTo>
                    <a:lnTo>
                      <a:pt x="230" y="42"/>
                    </a:lnTo>
                    <a:lnTo>
                      <a:pt x="236" y="45"/>
                    </a:lnTo>
                    <a:lnTo>
                      <a:pt x="243" y="48"/>
                    </a:lnTo>
                    <a:lnTo>
                      <a:pt x="251" y="49"/>
                    </a:lnTo>
                    <a:lnTo>
                      <a:pt x="259" y="50"/>
                    </a:lnTo>
                    <a:lnTo>
                      <a:pt x="264" y="49"/>
                    </a:lnTo>
                    <a:lnTo>
                      <a:pt x="268" y="47"/>
                    </a:lnTo>
                    <a:lnTo>
                      <a:pt x="272" y="44"/>
                    </a:lnTo>
                    <a:lnTo>
                      <a:pt x="276" y="41"/>
                    </a:lnTo>
                    <a:lnTo>
                      <a:pt x="279" y="37"/>
                    </a:lnTo>
                    <a:lnTo>
                      <a:pt x="284" y="35"/>
                    </a:lnTo>
                    <a:lnTo>
                      <a:pt x="288" y="32"/>
                    </a:lnTo>
                    <a:lnTo>
                      <a:pt x="292" y="32"/>
                    </a:lnTo>
                    <a:lnTo>
                      <a:pt x="300" y="32"/>
                    </a:lnTo>
                    <a:lnTo>
                      <a:pt x="308" y="34"/>
                    </a:lnTo>
                    <a:lnTo>
                      <a:pt x="313" y="36"/>
                    </a:lnTo>
                    <a:lnTo>
                      <a:pt x="318" y="39"/>
                    </a:lnTo>
                    <a:lnTo>
                      <a:pt x="325" y="47"/>
                    </a:lnTo>
                    <a:lnTo>
                      <a:pt x="332" y="56"/>
                    </a:lnTo>
                    <a:lnTo>
                      <a:pt x="337" y="65"/>
                    </a:lnTo>
                    <a:lnTo>
                      <a:pt x="344" y="73"/>
                    </a:lnTo>
                    <a:lnTo>
                      <a:pt x="348" y="76"/>
                    </a:lnTo>
                    <a:lnTo>
                      <a:pt x="353" y="79"/>
                    </a:lnTo>
                    <a:lnTo>
                      <a:pt x="358" y="81"/>
                    </a:lnTo>
                    <a:lnTo>
                      <a:pt x="366" y="81"/>
                    </a:lnTo>
                    <a:lnTo>
                      <a:pt x="370" y="81"/>
                    </a:lnTo>
                    <a:lnTo>
                      <a:pt x="375" y="80"/>
                    </a:lnTo>
                    <a:lnTo>
                      <a:pt x="378" y="77"/>
                    </a:lnTo>
                    <a:lnTo>
                      <a:pt x="381" y="75"/>
                    </a:lnTo>
                    <a:lnTo>
                      <a:pt x="387" y="70"/>
                    </a:lnTo>
                    <a:lnTo>
                      <a:pt x="392" y="63"/>
                    </a:lnTo>
                    <a:lnTo>
                      <a:pt x="397" y="56"/>
                    </a:lnTo>
                    <a:lnTo>
                      <a:pt x="403" y="49"/>
                    </a:lnTo>
                    <a:lnTo>
                      <a:pt x="410" y="43"/>
                    </a:lnTo>
                    <a:lnTo>
                      <a:pt x="419" y="38"/>
                    </a:lnTo>
                    <a:lnTo>
                      <a:pt x="433" y="30"/>
                    </a:lnTo>
                    <a:lnTo>
                      <a:pt x="446" y="25"/>
                    </a:lnTo>
                    <a:lnTo>
                      <a:pt x="458" y="22"/>
                    </a:lnTo>
                    <a:lnTo>
                      <a:pt x="468" y="21"/>
                    </a:lnTo>
                    <a:lnTo>
                      <a:pt x="478" y="22"/>
                    </a:lnTo>
                    <a:lnTo>
                      <a:pt x="487" y="25"/>
                    </a:lnTo>
                    <a:lnTo>
                      <a:pt x="496" y="28"/>
                    </a:lnTo>
                    <a:lnTo>
                      <a:pt x="503" y="31"/>
                    </a:lnTo>
                    <a:lnTo>
                      <a:pt x="511" y="35"/>
                    </a:lnTo>
                    <a:lnTo>
                      <a:pt x="520" y="38"/>
                    </a:lnTo>
                    <a:lnTo>
                      <a:pt x="528" y="41"/>
                    </a:lnTo>
                    <a:lnTo>
                      <a:pt x="537" y="43"/>
                    </a:lnTo>
                    <a:lnTo>
                      <a:pt x="547" y="43"/>
                    </a:lnTo>
                    <a:lnTo>
                      <a:pt x="559" y="42"/>
                    </a:lnTo>
                    <a:lnTo>
                      <a:pt x="571" y="39"/>
                    </a:lnTo>
                    <a:lnTo>
                      <a:pt x="586" y="33"/>
                    </a:lnTo>
                    <a:lnTo>
                      <a:pt x="632" y="74"/>
                    </a:lnTo>
                    <a:lnTo>
                      <a:pt x="646" y="67"/>
                    </a:lnTo>
                    <a:lnTo>
                      <a:pt x="651" y="81"/>
                    </a:lnTo>
                    <a:lnTo>
                      <a:pt x="658" y="93"/>
                    </a:lnTo>
                    <a:lnTo>
                      <a:pt x="665" y="105"/>
                    </a:lnTo>
                    <a:lnTo>
                      <a:pt x="671" y="117"/>
                    </a:lnTo>
                    <a:lnTo>
                      <a:pt x="646" y="152"/>
                    </a:lnTo>
                    <a:lnTo>
                      <a:pt x="623" y="183"/>
                    </a:lnTo>
                    <a:lnTo>
                      <a:pt x="612" y="199"/>
                    </a:lnTo>
                    <a:lnTo>
                      <a:pt x="602" y="216"/>
                    </a:lnTo>
                    <a:lnTo>
                      <a:pt x="593" y="233"/>
                    </a:lnTo>
                    <a:lnTo>
                      <a:pt x="584" y="254"/>
                    </a:lnTo>
                    <a:lnTo>
                      <a:pt x="578" y="273"/>
                    </a:lnTo>
                    <a:lnTo>
                      <a:pt x="570" y="291"/>
                    </a:lnTo>
                    <a:lnTo>
                      <a:pt x="564" y="309"/>
                    </a:lnTo>
                    <a:lnTo>
                      <a:pt x="557" y="326"/>
                    </a:lnTo>
                    <a:lnTo>
                      <a:pt x="550" y="343"/>
                    </a:lnTo>
                    <a:lnTo>
                      <a:pt x="543" y="363"/>
                    </a:lnTo>
                    <a:lnTo>
                      <a:pt x="534" y="383"/>
                    </a:lnTo>
                    <a:lnTo>
                      <a:pt x="525" y="407"/>
                    </a:lnTo>
                    <a:lnTo>
                      <a:pt x="524" y="410"/>
                    </a:lnTo>
                    <a:lnTo>
                      <a:pt x="521" y="416"/>
                    </a:lnTo>
                    <a:lnTo>
                      <a:pt x="516" y="422"/>
                    </a:lnTo>
                    <a:lnTo>
                      <a:pt x="511" y="428"/>
                    </a:lnTo>
                    <a:lnTo>
                      <a:pt x="505" y="434"/>
                    </a:lnTo>
                    <a:lnTo>
                      <a:pt x="500" y="439"/>
                    </a:lnTo>
                    <a:lnTo>
                      <a:pt x="496" y="443"/>
                    </a:lnTo>
                    <a:lnTo>
                      <a:pt x="492" y="444"/>
                    </a:lnTo>
                    <a:lnTo>
                      <a:pt x="482" y="443"/>
                    </a:lnTo>
                    <a:lnTo>
                      <a:pt x="474" y="440"/>
                    </a:lnTo>
                    <a:lnTo>
                      <a:pt x="466" y="436"/>
                    </a:lnTo>
                    <a:lnTo>
                      <a:pt x="459" y="432"/>
                    </a:lnTo>
                    <a:lnTo>
                      <a:pt x="453" y="428"/>
                    </a:lnTo>
                    <a:lnTo>
                      <a:pt x="446" y="424"/>
                    </a:lnTo>
                    <a:lnTo>
                      <a:pt x="440" y="421"/>
                    </a:lnTo>
                    <a:lnTo>
                      <a:pt x="432" y="420"/>
                    </a:lnTo>
                    <a:lnTo>
                      <a:pt x="419" y="421"/>
                    </a:lnTo>
                    <a:lnTo>
                      <a:pt x="408" y="424"/>
                    </a:lnTo>
                    <a:lnTo>
                      <a:pt x="398" y="428"/>
                    </a:lnTo>
                    <a:lnTo>
                      <a:pt x="389" y="434"/>
                    </a:lnTo>
                    <a:lnTo>
                      <a:pt x="381" y="441"/>
                    </a:lnTo>
                    <a:lnTo>
                      <a:pt x="375" y="449"/>
                    </a:lnTo>
                    <a:lnTo>
                      <a:pt x="369" y="458"/>
                    </a:lnTo>
                    <a:lnTo>
                      <a:pt x="364" y="469"/>
                    </a:lnTo>
                    <a:lnTo>
                      <a:pt x="355" y="489"/>
                    </a:lnTo>
                    <a:lnTo>
                      <a:pt x="346" y="510"/>
                    </a:lnTo>
                    <a:lnTo>
                      <a:pt x="342" y="521"/>
                    </a:lnTo>
                    <a:lnTo>
                      <a:pt x="336" y="531"/>
                    </a:lnTo>
                    <a:lnTo>
                      <a:pt x="332" y="541"/>
                    </a:lnTo>
                    <a:lnTo>
                      <a:pt x="325" y="549"/>
                    </a:lnTo>
                    <a:lnTo>
                      <a:pt x="233" y="543"/>
                    </a:lnTo>
                    <a:lnTo>
                      <a:pt x="231" y="545"/>
                    </a:lnTo>
                    <a:lnTo>
                      <a:pt x="229" y="546"/>
                    </a:lnTo>
                    <a:lnTo>
                      <a:pt x="227" y="547"/>
                    </a:lnTo>
                    <a:lnTo>
                      <a:pt x="223" y="548"/>
                    </a:lnTo>
                    <a:lnTo>
                      <a:pt x="217" y="548"/>
                    </a:lnTo>
                    <a:lnTo>
                      <a:pt x="209" y="547"/>
                    </a:lnTo>
                    <a:lnTo>
                      <a:pt x="193" y="545"/>
                    </a:lnTo>
                    <a:lnTo>
                      <a:pt x="179" y="543"/>
                    </a:lnTo>
                    <a:lnTo>
                      <a:pt x="173" y="543"/>
                    </a:lnTo>
                    <a:lnTo>
                      <a:pt x="167" y="542"/>
                    </a:lnTo>
                    <a:lnTo>
                      <a:pt x="161" y="540"/>
                    </a:lnTo>
                    <a:lnTo>
                      <a:pt x="155" y="537"/>
                    </a:lnTo>
                    <a:lnTo>
                      <a:pt x="150" y="534"/>
                    </a:lnTo>
                    <a:lnTo>
                      <a:pt x="144" y="531"/>
                    </a:lnTo>
                    <a:lnTo>
                      <a:pt x="139" y="527"/>
                    </a:lnTo>
                    <a:lnTo>
                      <a:pt x="134" y="521"/>
                    </a:lnTo>
                    <a:lnTo>
                      <a:pt x="129" y="515"/>
                    </a:lnTo>
                    <a:lnTo>
                      <a:pt x="126" y="509"/>
                    </a:lnTo>
                    <a:lnTo>
                      <a:pt x="122" y="503"/>
                    </a:lnTo>
                    <a:lnTo>
                      <a:pt x="119" y="496"/>
                    </a:lnTo>
                    <a:lnTo>
                      <a:pt x="117" y="489"/>
                    </a:lnTo>
                    <a:lnTo>
                      <a:pt x="115" y="481"/>
                    </a:lnTo>
                    <a:lnTo>
                      <a:pt x="113" y="472"/>
                    </a:lnTo>
                    <a:lnTo>
                      <a:pt x="113" y="462"/>
                    </a:lnTo>
                    <a:lnTo>
                      <a:pt x="106" y="462"/>
                    </a:lnTo>
                    <a:lnTo>
                      <a:pt x="100" y="460"/>
                    </a:lnTo>
                    <a:lnTo>
                      <a:pt x="95" y="457"/>
                    </a:lnTo>
                    <a:lnTo>
                      <a:pt x="90" y="454"/>
                    </a:lnTo>
                    <a:lnTo>
                      <a:pt x="83" y="447"/>
                    </a:lnTo>
                    <a:lnTo>
                      <a:pt x="74" y="439"/>
                    </a:lnTo>
                    <a:lnTo>
                      <a:pt x="70" y="435"/>
                    </a:lnTo>
                    <a:lnTo>
                      <a:pt x="63" y="432"/>
                    </a:lnTo>
                    <a:lnTo>
                      <a:pt x="56" y="430"/>
                    </a:lnTo>
                    <a:lnTo>
                      <a:pt x="49" y="429"/>
                    </a:lnTo>
                    <a:lnTo>
                      <a:pt x="39" y="429"/>
                    </a:lnTo>
                    <a:lnTo>
                      <a:pt x="28" y="430"/>
                    </a:lnTo>
                    <a:lnTo>
                      <a:pt x="15" y="433"/>
                    </a:lnTo>
                    <a:lnTo>
                      <a:pt x="0" y="438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90" name="Freeform 593">
                <a:extLst>
                  <a:ext uri="{FF2B5EF4-FFF2-40B4-BE49-F238E27FC236}">
                    <a16:creationId xmlns:a16="http://schemas.microsoft.com/office/drawing/2014/main" id="{4E5BDE1B-A8AA-4CD9-8F3F-DF12CE9E8E51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5110079" y="3870712"/>
                <a:ext cx="184602" cy="191620"/>
              </a:xfrm>
              <a:custGeom>
                <a:avLst/>
                <a:gdLst>
                  <a:gd name="T0" fmla="*/ 59077562 w 358"/>
                  <a:gd name="T1" fmla="*/ 87426465 h 327"/>
                  <a:gd name="T2" fmla="*/ 59983448 w 358"/>
                  <a:gd name="T3" fmla="*/ 86616634 h 327"/>
                  <a:gd name="T4" fmla="*/ 61070682 w 358"/>
                  <a:gd name="T5" fmla="*/ 85807322 h 327"/>
                  <a:gd name="T6" fmla="*/ 62701958 w 358"/>
                  <a:gd name="T7" fmla="*/ 85807322 h 327"/>
                  <a:gd name="T8" fmla="*/ 64514155 w 358"/>
                  <a:gd name="T9" fmla="*/ 87426465 h 327"/>
                  <a:gd name="T10" fmla="*/ 57808981 w 358"/>
                  <a:gd name="T11" fmla="*/ 76902813 h 327"/>
                  <a:gd name="T12" fmla="*/ 50378842 w 358"/>
                  <a:gd name="T13" fmla="*/ 63410991 h 327"/>
                  <a:gd name="T14" fmla="*/ 45848561 w 358"/>
                  <a:gd name="T15" fmla="*/ 55046197 h 327"/>
                  <a:gd name="T16" fmla="*/ 42042818 w 358"/>
                  <a:gd name="T17" fmla="*/ 50189286 h 327"/>
                  <a:gd name="T18" fmla="*/ 39687003 w 358"/>
                  <a:gd name="T19" fmla="*/ 48839740 h 327"/>
                  <a:gd name="T20" fmla="*/ 37693458 w 358"/>
                  <a:gd name="T21" fmla="*/ 48570143 h 327"/>
                  <a:gd name="T22" fmla="*/ 36424877 w 358"/>
                  <a:gd name="T23" fmla="*/ 48300545 h 327"/>
                  <a:gd name="T24" fmla="*/ 36062608 w 358"/>
                  <a:gd name="T25" fmla="*/ 46951000 h 327"/>
                  <a:gd name="T26" fmla="*/ 35881260 w 358"/>
                  <a:gd name="T27" fmla="*/ 45871571 h 327"/>
                  <a:gd name="T28" fmla="*/ 35337644 w 358"/>
                  <a:gd name="T29" fmla="*/ 45601973 h 327"/>
                  <a:gd name="T30" fmla="*/ 33344098 w 358"/>
                  <a:gd name="T31" fmla="*/ 46411285 h 327"/>
                  <a:gd name="T32" fmla="*/ 30988284 w 358"/>
                  <a:gd name="T33" fmla="*/ 46411285 h 327"/>
                  <a:gd name="T34" fmla="*/ 29901050 w 358"/>
                  <a:gd name="T35" fmla="*/ 45332376 h 327"/>
                  <a:gd name="T36" fmla="*/ 28995164 w 358"/>
                  <a:gd name="T37" fmla="*/ 43443116 h 327"/>
                  <a:gd name="T38" fmla="*/ 27545236 w 358"/>
                  <a:gd name="T39" fmla="*/ 38856322 h 327"/>
                  <a:gd name="T40" fmla="*/ 25914385 w 358"/>
                  <a:gd name="T41" fmla="*/ 35348438 h 327"/>
                  <a:gd name="T42" fmla="*/ 24102188 w 358"/>
                  <a:gd name="T43" fmla="*/ 32110151 h 327"/>
                  <a:gd name="T44" fmla="*/ 23014954 w 358"/>
                  <a:gd name="T45" fmla="*/ 28332670 h 327"/>
                  <a:gd name="T46" fmla="*/ 22108642 w 358"/>
                  <a:gd name="T47" fmla="*/ 22665928 h 327"/>
                  <a:gd name="T48" fmla="*/ 21565026 w 358"/>
                  <a:gd name="T49" fmla="*/ 14301134 h 327"/>
                  <a:gd name="T50" fmla="*/ 21202756 w 358"/>
                  <a:gd name="T51" fmla="*/ 6205937 h 327"/>
                  <a:gd name="T52" fmla="*/ 20296445 w 358"/>
                  <a:gd name="T53" fmla="*/ 0 h 327"/>
                  <a:gd name="T54" fmla="*/ 13229001 w 358"/>
                  <a:gd name="T55" fmla="*/ 7015768 h 327"/>
                  <a:gd name="T56" fmla="*/ 11054534 w 358"/>
                  <a:gd name="T57" fmla="*/ 8904509 h 327"/>
                  <a:gd name="T58" fmla="*/ 5980210 w 358"/>
                  <a:gd name="T59" fmla="*/ 13491822 h 327"/>
                  <a:gd name="T60" fmla="*/ 3805743 w 358"/>
                  <a:gd name="T61" fmla="*/ 16459991 h 327"/>
                  <a:gd name="T62" fmla="*/ 3080779 w 358"/>
                  <a:gd name="T63" fmla="*/ 19428161 h 327"/>
                  <a:gd name="T64" fmla="*/ 2899431 w 358"/>
                  <a:gd name="T65" fmla="*/ 22396331 h 327"/>
                  <a:gd name="T66" fmla="*/ 3624396 w 358"/>
                  <a:gd name="T67" fmla="*/ 25094383 h 327"/>
                  <a:gd name="T68" fmla="*/ 3986665 w 358"/>
                  <a:gd name="T69" fmla="*/ 26983644 h 327"/>
                  <a:gd name="T70" fmla="*/ 3624396 w 358"/>
                  <a:gd name="T71" fmla="*/ 29681696 h 327"/>
                  <a:gd name="T72" fmla="*/ 2718084 w 358"/>
                  <a:gd name="T73" fmla="*/ 33189580 h 327"/>
                  <a:gd name="T74" fmla="*/ 1268581 w 358"/>
                  <a:gd name="T75" fmla="*/ 36697464 h 327"/>
                  <a:gd name="T76" fmla="*/ 0 w 358"/>
                  <a:gd name="T77" fmla="*/ 41824492 h 327"/>
                  <a:gd name="T78" fmla="*/ 0 w 358"/>
                  <a:gd name="T79" fmla="*/ 46951000 h 327"/>
                  <a:gd name="T80" fmla="*/ 905886 w 358"/>
                  <a:gd name="T81" fmla="*/ 49109857 h 327"/>
                  <a:gd name="T82" fmla="*/ 1993545 w 358"/>
                  <a:gd name="T83" fmla="*/ 50458884 h 327"/>
                  <a:gd name="T84" fmla="*/ 3624396 w 358"/>
                  <a:gd name="T85" fmla="*/ 50189286 h 327"/>
                  <a:gd name="T86" fmla="*/ 7973755 w 358"/>
                  <a:gd name="T87" fmla="*/ 45332376 h 327"/>
                  <a:gd name="T88" fmla="*/ 10873187 w 358"/>
                  <a:gd name="T89" fmla="*/ 43443116 h 327"/>
                  <a:gd name="T90" fmla="*/ 13772618 w 358"/>
                  <a:gd name="T91" fmla="*/ 40474946 h 327"/>
                  <a:gd name="T92" fmla="*/ 16853397 w 358"/>
                  <a:gd name="T93" fmla="*/ 42903401 h 327"/>
                  <a:gd name="T94" fmla="*/ 19934175 w 358"/>
                  <a:gd name="T95" fmla="*/ 44252947 h 327"/>
                  <a:gd name="T96" fmla="*/ 25733038 w 358"/>
                  <a:gd name="T97" fmla="*/ 48570143 h 327"/>
                  <a:gd name="T98" fmla="*/ 29538781 w 358"/>
                  <a:gd name="T99" fmla="*/ 51268715 h 327"/>
                  <a:gd name="T100" fmla="*/ 35518991 w 358"/>
                  <a:gd name="T101" fmla="*/ 56395223 h 327"/>
                  <a:gd name="T102" fmla="*/ 39687003 w 358"/>
                  <a:gd name="T103" fmla="*/ 60712938 h 327"/>
                  <a:gd name="T104" fmla="*/ 44398632 w 358"/>
                  <a:gd name="T105" fmla="*/ 65839446 h 327"/>
                  <a:gd name="T106" fmla="*/ 46392178 w 358"/>
                  <a:gd name="T107" fmla="*/ 68538018 h 327"/>
                  <a:gd name="T108" fmla="*/ 48385297 w 358"/>
                  <a:gd name="T109" fmla="*/ 72855214 h 327"/>
                  <a:gd name="T110" fmla="*/ 48747992 w 358"/>
                  <a:gd name="T111" fmla="*/ 75283670 h 327"/>
                  <a:gd name="T112" fmla="*/ 48747992 w 358"/>
                  <a:gd name="T113" fmla="*/ 77172410 h 327"/>
                  <a:gd name="T114" fmla="*/ 48929340 w 358"/>
                  <a:gd name="T115" fmla="*/ 78251839 h 327"/>
                  <a:gd name="T116" fmla="*/ 50016573 w 358"/>
                  <a:gd name="T117" fmla="*/ 78791554 h 327"/>
                  <a:gd name="T118" fmla="*/ 52916004 w 358"/>
                  <a:gd name="T119" fmla="*/ 81490126 h 327"/>
                  <a:gd name="T120" fmla="*/ 57627634 w 358"/>
                  <a:gd name="T121" fmla="*/ 86616634 h 32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58" h="327">
                    <a:moveTo>
                      <a:pt x="325" y="327"/>
                    </a:moveTo>
                    <a:lnTo>
                      <a:pt x="326" y="324"/>
                    </a:lnTo>
                    <a:lnTo>
                      <a:pt x="329" y="322"/>
                    </a:lnTo>
                    <a:lnTo>
                      <a:pt x="331" y="321"/>
                    </a:lnTo>
                    <a:lnTo>
                      <a:pt x="332" y="321"/>
                    </a:lnTo>
                    <a:lnTo>
                      <a:pt x="337" y="318"/>
                    </a:lnTo>
                    <a:lnTo>
                      <a:pt x="342" y="317"/>
                    </a:lnTo>
                    <a:lnTo>
                      <a:pt x="346" y="318"/>
                    </a:lnTo>
                    <a:lnTo>
                      <a:pt x="351" y="319"/>
                    </a:lnTo>
                    <a:lnTo>
                      <a:pt x="356" y="324"/>
                    </a:lnTo>
                    <a:lnTo>
                      <a:pt x="358" y="327"/>
                    </a:lnTo>
                    <a:lnTo>
                      <a:pt x="319" y="285"/>
                    </a:lnTo>
                    <a:lnTo>
                      <a:pt x="302" y="265"/>
                    </a:lnTo>
                    <a:lnTo>
                      <a:pt x="278" y="235"/>
                    </a:lnTo>
                    <a:lnTo>
                      <a:pt x="265" y="219"/>
                    </a:lnTo>
                    <a:lnTo>
                      <a:pt x="253" y="204"/>
                    </a:lnTo>
                    <a:lnTo>
                      <a:pt x="241" y="193"/>
                    </a:lnTo>
                    <a:lnTo>
                      <a:pt x="232" y="186"/>
                    </a:lnTo>
                    <a:lnTo>
                      <a:pt x="225" y="182"/>
                    </a:lnTo>
                    <a:lnTo>
                      <a:pt x="219" y="181"/>
                    </a:lnTo>
                    <a:lnTo>
                      <a:pt x="213" y="180"/>
                    </a:lnTo>
                    <a:lnTo>
                      <a:pt x="208" y="180"/>
                    </a:lnTo>
                    <a:lnTo>
                      <a:pt x="205" y="180"/>
                    </a:lnTo>
                    <a:lnTo>
                      <a:pt x="201" y="179"/>
                    </a:lnTo>
                    <a:lnTo>
                      <a:pt x="200" y="177"/>
                    </a:lnTo>
                    <a:lnTo>
                      <a:pt x="199" y="174"/>
                    </a:lnTo>
                    <a:lnTo>
                      <a:pt x="199" y="172"/>
                    </a:lnTo>
                    <a:lnTo>
                      <a:pt x="198" y="170"/>
                    </a:lnTo>
                    <a:lnTo>
                      <a:pt x="197" y="169"/>
                    </a:lnTo>
                    <a:lnTo>
                      <a:pt x="195" y="169"/>
                    </a:lnTo>
                    <a:lnTo>
                      <a:pt x="190" y="170"/>
                    </a:lnTo>
                    <a:lnTo>
                      <a:pt x="184" y="172"/>
                    </a:lnTo>
                    <a:lnTo>
                      <a:pt x="178" y="173"/>
                    </a:lnTo>
                    <a:lnTo>
                      <a:pt x="171" y="172"/>
                    </a:lnTo>
                    <a:lnTo>
                      <a:pt x="168" y="170"/>
                    </a:lnTo>
                    <a:lnTo>
                      <a:pt x="165" y="168"/>
                    </a:lnTo>
                    <a:lnTo>
                      <a:pt x="162" y="165"/>
                    </a:lnTo>
                    <a:lnTo>
                      <a:pt x="160" y="161"/>
                    </a:lnTo>
                    <a:lnTo>
                      <a:pt x="156" y="152"/>
                    </a:lnTo>
                    <a:lnTo>
                      <a:pt x="152" y="144"/>
                    </a:lnTo>
                    <a:lnTo>
                      <a:pt x="147" y="138"/>
                    </a:lnTo>
                    <a:lnTo>
                      <a:pt x="143" y="131"/>
                    </a:lnTo>
                    <a:lnTo>
                      <a:pt x="138" y="125"/>
                    </a:lnTo>
                    <a:lnTo>
                      <a:pt x="133" y="119"/>
                    </a:lnTo>
                    <a:lnTo>
                      <a:pt x="129" y="112"/>
                    </a:lnTo>
                    <a:lnTo>
                      <a:pt x="127" y="105"/>
                    </a:lnTo>
                    <a:lnTo>
                      <a:pt x="123" y="96"/>
                    </a:lnTo>
                    <a:lnTo>
                      <a:pt x="122" y="84"/>
                    </a:lnTo>
                    <a:lnTo>
                      <a:pt x="121" y="69"/>
                    </a:lnTo>
                    <a:lnTo>
                      <a:pt x="119" y="53"/>
                    </a:lnTo>
                    <a:lnTo>
                      <a:pt x="118" y="37"/>
                    </a:lnTo>
                    <a:lnTo>
                      <a:pt x="117" y="23"/>
                    </a:lnTo>
                    <a:lnTo>
                      <a:pt x="115" y="10"/>
                    </a:lnTo>
                    <a:lnTo>
                      <a:pt x="112" y="0"/>
                    </a:lnTo>
                    <a:lnTo>
                      <a:pt x="93" y="0"/>
                    </a:lnTo>
                    <a:lnTo>
                      <a:pt x="73" y="26"/>
                    </a:lnTo>
                    <a:lnTo>
                      <a:pt x="70" y="28"/>
                    </a:lnTo>
                    <a:lnTo>
                      <a:pt x="61" y="33"/>
                    </a:lnTo>
                    <a:lnTo>
                      <a:pt x="48" y="41"/>
                    </a:lnTo>
                    <a:lnTo>
                      <a:pt x="33" y="50"/>
                    </a:lnTo>
                    <a:lnTo>
                      <a:pt x="27" y="55"/>
                    </a:lnTo>
                    <a:lnTo>
                      <a:pt x="21" y="61"/>
                    </a:lnTo>
                    <a:lnTo>
                      <a:pt x="18" y="66"/>
                    </a:lnTo>
                    <a:lnTo>
                      <a:pt x="17" y="72"/>
                    </a:lnTo>
                    <a:lnTo>
                      <a:pt x="16" y="78"/>
                    </a:lnTo>
                    <a:lnTo>
                      <a:pt x="16" y="83"/>
                    </a:lnTo>
                    <a:lnTo>
                      <a:pt x="18" y="88"/>
                    </a:lnTo>
                    <a:lnTo>
                      <a:pt x="20" y="93"/>
                    </a:lnTo>
                    <a:lnTo>
                      <a:pt x="21" y="96"/>
                    </a:lnTo>
                    <a:lnTo>
                      <a:pt x="22" y="100"/>
                    </a:lnTo>
                    <a:lnTo>
                      <a:pt x="22" y="104"/>
                    </a:lnTo>
                    <a:lnTo>
                      <a:pt x="20" y="110"/>
                    </a:lnTo>
                    <a:lnTo>
                      <a:pt x="18" y="117"/>
                    </a:lnTo>
                    <a:lnTo>
                      <a:pt x="15" y="123"/>
                    </a:lnTo>
                    <a:lnTo>
                      <a:pt x="11" y="130"/>
                    </a:lnTo>
                    <a:lnTo>
                      <a:pt x="7" y="136"/>
                    </a:lnTo>
                    <a:lnTo>
                      <a:pt x="3" y="146"/>
                    </a:lnTo>
                    <a:lnTo>
                      <a:pt x="0" y="155"/>
                    </a:lnTo>
                    <a:lnTo>
                      <a:pt x="0" y="164"/>
                    </a:lnTo>
                    <a:lnTo>
                      <a:pt x="0" y="174"/>
                    </a:lnTo>
                    <a:lnTo>
                      <a:pt x="1" y="176"/>
                    </a:lnTo>
                    <a:lnTo>
                      <a:pt x="5" y="182"/>
                    </a:lnTo>
                    <a:lnTo>
                      <a:pt x="8" y="185"/>
                    </a:lnTo>
                    <a:lnTo>
                      <a:pt x="11" y="187"/>
                    </a:lnTo>
                    <a:lnTo>
                      <a:pt x="15" y="187"/>
                    </a:lnTo>
                    <a:lnTo>
                      <a:pt x="20" y="186"/>
                    </a:lnTo>
                    <a:lnTo>
                      <a:pt x="31" y="177"/>
                    </a:lnTo>
                    <a:lnTo>
                      <a:pt x="44" y="168"/>
                    </a:lnTo>
                    <a:lnTo>
                      <a:pt x="55" y="163"/>
                    </a:lnTo>
                    <a:lnTo>
                      <a:pt x="60" y="161"/>
                    </a:lnTo>
                    <a:lnTo>
                      <a:pt x="73" y="149"/>
                    </a:lnTo>
                    <a:lnTo>
                      <a:pt x="76" y="150"/>
                    </a:lnTo>
                    <a:lnTo>
                      <a:pt x="84" y="155"/>
                    </a:lnTo>
                    <a:lnTo>
                      <a:pt x="93" y="159"/>
                    </a:lnTo>
                    <a:lnTo>
                      <a:pt x="99" y="161"/>
                    </a:lnTo>
                    <a:lnTo>
                      <a:pt x="110" y="164"/>
                    </a:lnTo>
                    <a:lnTo>
                      <a:pt x="126" y="170"/>
                    </a:lnTo>
                    <a:lnTo>
                      <a:pt x="142" y="180"/>
                    </a:lnTo>
                    <a:lnTo>
                      <a:pt x="153" y="186"/>
                    </a:lnTo>
                    <a:lnTo>
                      <a:pt x="163" y="190"/>
                    </a:lnTo>
                    <a:lnTo>
                      <a:pt x="179" y="199"/>
                    </a:lnTo>
                    <a:lnTo>
                      <a:pt x="196" y="209"/>
                    </a:lnTo>
                    <a:lnTo>
                      <a:pt x="206" y="216"/>
                    </a:lnTo>
                    <a:lnTo>
                      <a:pt x="219" y="225"/>
                    </a:lnTo>
                    <a:lnTo>
                      <a:pt x="232" y="235"/>
                    </a:lnTo>
                    <a:lnTo>
                      <a:pt x="245" y="244"/>
                    </a:lnTo>
                    <a:lnTo>
                      <a:pt x="252" y="247"/>
                    </a:lnTo>
                    <a:lnTo>
                      <a:pt x="256" y="254"/>
                    </a:lnTo>
                    <a:lnTo>
                      <a:pt x="266" y="265"/>
                    </a:lnTo>
                    <a:lnTo>
                      <a:pt x="267" y="270"/>
                    </a:lnTo>
                    <a:lnTo>
                      <a:pt x="268" y="274"/>
                    </a:lnTo>
                    <a:lnTo>
                      <a:pt x="269" y="279"/>
                    </a:lnTo>
                    <a:lnTo>
                      <a:pt x="269" y="283"/>
                    </a:lnTo>
                    <a:lnTo>
                      <a:pt x="269" y="286"/>
                    </a:lnTo>
                    <a:lnTo>
                      <a:pt x="269" y="289"/>
                    </a:lnTo>
                    <a:lnTo>
                      <a:pt x="270" y="290"/>
                    </a:lnTo>
                    <a:lnTo>
                      <a:pt x="273" y="291"/>
                    </a:lnTo>
                    <a:lnTo>
                      <a:pt x="276" y="292"/>
                    </a:lnTo>
                    <a:lnTo>
                      <a:pt x="284" y="296"/>
                    </a:lnTo>
                    <a:lnTo>
                      <a:pt x="292" y="302"/>
                    </a:lnTo>
                    <a:lnTo>
                      <a:pt x="301" y="309"/>
                    </a:lnTo>
                    <a:lnTo>
                      <a:pt x="318" y="321"/>
                    </a:lnTo>
                    <a:lnTo>
                      <a:pt x="325" y="32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91" name="Freeform 594">
                <a:extLst>
                  <a:ext uri="{FF2B5EF4-FFF2-40B4-BE49-F238E27FC236}">
                    <a16:creationId xmlns:a16="http://schemas.microsoft.com/office/drawing/2014/main" id="{8ADD301C-A07D-4CFF-BBA9-70294F67B637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4462161" y="2752642"/>
                <a:ext cx="150216" cy="63287"/>
              </a:xfrm>
              <a:custGeom>
                <a:avLst/>
                <a:gdLst>
                  <a:gd name="T0" fmla="*/ 23243066 w 292"/>
                  <a:gd name="T1" fmla="*/ 0 h 99"/>
                  <a:gd name="T2" fmla="*/ 28223508 w 292"/>
                  <a:gd name="T3" fmla="*/ 0 h 99"/>
                  <a:gd name="T4" fmla="*/ 36524389 w 292"/>
                  <a:gd name="T5" fmla="*/ 333086 h 99"/>
                  <a:gd name="T6" fmla="*/ 46116765 w 292"/>
                  <a:gd name="T7" fmla="*/ 1999673 h 99"/>
                  <a:gd name="T8" fmla="*/ 53864454 w 292"/>
                  <a:gd name="T9" fmla="*/ 2332759 h 99"/>
                  <a:gd name="T10" fmla="*/ 53495516 w 292"/>
                  <a:gd name="T11" fmla="*/ 6664614 h 99"/>
                  <a:gd name="T12" fmla="*/ 52573387 w 292"/>
                  <a:gd name="T13" fmla="*/ 10997045 h 99"/>
                  <a:gd name="T14" fmla="*/ 51466575 w 292"/>
                  <a:gd name="T15" fmla="*/ 18328409 h 99"/>
                  <a:gd name="T16" fmla="*/ 24903070 w 292"/>
                  <a:gd name="T17" fmla="*/ 23327014 h 99"/>
                  <a:gd name="T18" fmla="*/ 18262194 w 292"/>
                  <a:gd name="T19" fmla="*/ 29658541 h 99"/>
                  <a:gd name="T20" fmla="*/ 14572819 w 292"/>
                  <a:gd name="T21" fmla="*/ 31991300 h 99"/>
                  <a:gd name="T22" fmla="*/ 12174939 w 292"/>
                  <a:gd name="T23" fmla="*/ 32658050 h 99"/>
                  <a:gd name="T24" fmla="*/ 10145568 w 292"/>
                  <a:gd name="T25" fmla="*/ 32658050 h 99"/>
                  <a:gd name="T26" fmla="*/ 8300880 w 292"/>
                  <a:gd name="T27" fmla="*/ 31325127 h 99"/>
                  <a:gd name="T28" fmla="*/ 6087255 w 292"/>
                  <a:gd name="T29" fmla="*/ 28658705 h 99"/>
                  <a:gd name="T30" fmla="*/ 3689376 w 292"/>
                  <a:gd name="T31" fmla="*/ 25659773 h 99"/>
                  <a:gd name="T32" fmla="*/ 1291067 w 292"/>
                  <a:gd name="T33" fmla="*/ 22993927 h 99"/>
                  <a:gd name="T34" fmla="*/ 184254 w 292"/>
                  <a:gd name="T35" fmla="*/ 18995159 h 99"/>
                  <a:gd name="T36" fmla="*/ 0 w 292"/>
                  <a:gd name="T37" fmla="*/ 13995977 h 99"/>
                  <a:gd name="T38" fmla="*/ 184254 w 292"/>
                  <a:gd name="T39" fmla="*/ 8331200 h 99"/>
                  <a:gd name="T40" fmla="*/ 553192 w 292"/>
                  <a:gd name="T41" fmla="*/ 6664614 h 99"/>
                  <a:gd name="T42" fmla="*/ 1660004 w 292"/>
                  <a:gd name="T43" fmla="*/ 5998441 h 99"/>
                  <a:gd name="T44" fmla="*/ 2766817 w 292"/>
                  <a:gd name="T45" fmla="*/ 6998277 h 99"/>
                  <a:gd name="T46" fmla="*/ 4611505 w 292"/>
                  <a:gd name="T47" fmla="*/ 9331036 h 99"/>
                  <a:gd name="T48" fmla="*/ 6456193 w 292"/>
                  <a:gd name="T49" fmla="*/ 10663959 h 99"/>
                  <a:gd name="T50" fmla="*/ 8300880 w 292"/>
                  <a:gd name="T51" fmla="*/ 11330132 h 99"/>
                  <a:gd name="T52" fmla="*/ 9961314 w 292"/>
                  <a:gd name="T53" fmla="*/ 10997045 h 99"/>
                  <a:gd name="T54" fmla="*/ 12359193 w 292"/>
                  <a:gd name="T55" fmla="*/ 9664123 h 99"/>
                  <a:gd name="T56" fmla="*/ 14941756 w 292"/>
                  <a:gd name="T57" fmla="*/ 6331527 h 99"/>
                  <a:gd name="T58" fmla="*/ 16233253 w 292"/>
                  <a:gd name="T59" fmla="*/ 3665682 h 99"/>
                  <a:gd name="T60" fmla="*/ 17340065 w 292"/>
                  <a:gd name="T61" fmla="*/ 1999673 h 99"/>
                  <a:gd name="T62" fmla="*/ 20106882 w 292"/>
                  <a:gd name="T63" fmla="*/ 333086 h 9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292" h="99">
                    <a:moveTo>
                      <a:pt x="113" y="0"/>
                    </a:moveTo>
                    <a:lnTo>
                      <a:pt x="126" y="0"/>
                    </a:lnTo>
                    <a:lnTo>
                      <a:pt x="138" y="0"/>
                    </a:lnTo>
                    <a:lnTo>
                      <a:pt x="153" y="0"/>
                    </a:lnTo>
                    <a:lnTo>
                      <a:pt x="172" y="0"/>
                    </a:lnTo>
                    <a:lnTo>
                      <a:pt x="198" y="1"/>
                    </a:lnTo>
                    <a:lnTo>
                      <a:pt x="224" y="3"/>
                    </a:lnTo>
                    <a:lnTo>
                      <a:pt x="250" y="6"/>
                    </a:lnTo>
                    <a:lnTo>
                      <a:pt x="279" y="7"/>
                    </a:lnTo>
                    <a:lnTo>
                      <a:pt x="292" y="7"/>
                    </a:lnTo>
                    <a:lnTo>
                      <a:pt x="292" y="14"/>
                    </a:lnTo>
                    <a:lnTo>
                      <a:pt x="290" y="20"/>
                    </a:lnTo>
                    <a:lnTo>
                      <a:pt x="288" y="27"/>
                    </a:lnTo>
                    <a:lnTo>
                      <a:pt x="285" y="33"/>
                    </a:lnTo>
                    <a:lnTo>
                      <a:pt x="281" y="45"/>
                    </a:lnTo>
                    <a:lnTo>
                      <a:pt x="279" y="55"/>
                    </a:lnTo>
                    <a:lnTo>
                      <a:pt x="153" y="62"/>
                    </a:lnTo>
                    <a:lnTo>
                      <a:pt x="135" y="70"/>
                    </a:lnTo>
                    <a:lnTo>
                      <a:pt x="111" y="83"/>
                    </a:lnTo>
                    <a:lnTo>
                      <a:pt x="99" y="89"/>
                    </a:lnTo>
                    <a:lnTo>
                      <a:pt x="86" y="94"/>
                    </a:lnTo>
                    <a:lnTo>
                      <a:pt x="79" y="96"/>
                    </a:lnTo>
                    <a:lnTo>
                      <a:pt x="72" y="97"/>
                    </a:lnTo>
                    <a:lnTo>
                      <a:pt x="66" y="98"/>
                    </a:lnTo>
                    <a:lnTo>
                      <a:pt x="60" y="99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5" y="94"/>
                    </a:lnTo>
                    <a:lnTo>
                      <a:pt x="41" y="92"/>
                    </a:lnTo>
                    <a:lnTo>
                      <a:pt x="33" y="86"/>
                    </a:lnTo>
                    <a:lnTo>
                      <a:pt x="26" y="80"/>
                    </a:lnTo>
                    <a:lnTo>
                      <a:pt x="20" y="77"/>
                    </a:lnTo>
                    <a:lnTo>
                      <a:pt x="11" y="72"/>
                    </a:lnTo>
                    <a:lnTo>
                      <a:pt x="7" y="69"/>
                    </a:lnTo>
                    <a:lnTo>
                      <a:pt x="3" y="64"/>
                    </a:lnTo>
                    <a:lnTo>
                      <a:pt x="1" y="57"/>
                    </a:lnTo>
                    <a:lnTo>
                      <a:pt x="0" y="49"/>
                    </a:lnTo>
                    <a:lnTo>
                      <a:pt x="0" y="42"/>
                    </a:lnTo>
                    <a:lnTo>
                      <a:pt x="0" y="28"/>
                    </a:lnTo>
                    <a:lnTo>
                      <a:pt x="1" y="25"/>
                    </a:lnTo>
                    <a:lnTo>
                      <a:pt x="2" y="22"/>
                    </a:lnTo>
                    <a:lnTo>
                      <a:pt x="3" y="20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1" y="19"/>
                    </a:lnTo>
                    <a:lnTo>
                      <a:pt x="15" y="21"/>
                    </a:lnTo>
                    <a:lnTo>
                      <a:pt x="20" y="25"/>
                    </a:lnTo>
                    <a:lnTo>
                      <a:pt x="25" y="28"/>
                    </a:lnTo>
                    <a:lnTo>
                      <a:pt x="30" y="30"/>
                    </a:lnTo>
                    <a:lnTo>
                      <a:pt x="35" y="32"/>
                    </a:lnTo>
                    <a:lnTo>
                      <a:pt x="40" y="33"/>
                    </a:lnTo>
                    <a:lnTo>
                      <a:pt x="45" y="34"/>
                    </a:lnTo>
                    <a:lnTo>
                      <a:pt x="49" y="34"/>
                    </a:lnTo>
                    <a:lnTo>
                      <a:pt x="54" y="33"/>
                    </a:lnTo>
                    <a:lnTo>
                      <a:pt x="58" y="32"/>
                    </a:lnTo>
                    <a:lnTo>
                      <a:pt x="67" y="29"/>
                    </a:lnTo>
                    <a:lnTo>
                      <a:pt x="75" y="25"/>
                    </a:lnTo>
                    <a:lnTo>
                      <a:pt x="81" y="19"/>
                    </a:lnTo>
                    <a:lnTo>
                      <a:pt x="87" y="13"/>
                    </a:lnTo>
                    <a:lnTo>
                      <a:pt x="88" y="11"/>
                    </a:lnTo>
                    <a:lnTo>
                      <a:pt x="91" y="8"/>
                    </a:lnTo>
                    <a:lnTo>
                      <a:pt x="94" y="6"/>
                    </a:lnTo>
                    <a:lnTo>
                      <a:pt x="100" y="3"/>
                    </a:lnTo>
                    <a:lnTo>
                      <a:pt x="109" y="1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92" name="Freeform 595">
                <a:extLst>
                  <a:ext uri="{FF2B5EF4-FFF2-40B4-BE49-F238E27FC236}">
                    <a16:creationId xmlns:a16="http://schemas.microsoft.com/office/drawing/2014/main" id="{D5A2E07E-AD36-4DB7-A1A6-F6D7942B3CFF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5502812" y="3563068"/>
                <a:ext cx="23527" cy="63287"/>
              </a:xfrm>
              <a:custGeom>
                <a:avLst/>
                <a:gdLst>
                  <a:gd name="T0" fmla="*/ 7654556 w 43"/>
                  <a:gd name="T1" fmla="*/ 35119597 h 93"/>
                  <a:gd name="T2" fmla="*/ 6084481 w 43"/>
                  <a:gd name="T3" fmla="*/ 34364356 h 93"/>
                  <a:gd name="T4" fmla="*/ 5103185 w 43"/>
                  <a:gd name="T5" fmla="*/ 33609116 h 93"/>
                  <a:gd name="T6" fmla="*/ 4121445 w 43"/>
                  <a:gd name="T7" fmla="*/ 32853876 h 93"/>
                  <a:gd name="T8" fmla="*/ 3532667 w 43"/>
                  <a:gd name="T9" fmla="*/ 31720708 h 93"/>
                  <a:gd name="T10" fmla="*/ 2943890 w 43"/>
                  <a:gd name="T11" fmla="*/ 29832915 h 93"/>
                  <a:gd name="T12" fmla="*/ 2747630 w 43"/>
                  <a:gd name="T13" fmla="*/ 27567194 h 93"/>
                  <a:gd name="T14" fmla="*/ 2551371 w 43"/>
                  <a:gd name="T15" fmla="*/ 24546232 h 93"/>
                  <a:gd name="T16" fmla="*/ 2158852 w 43"/>
                  <a:gd name="T17" fmla="*/ 20769416 h 93"/>
                  <a:gd name="T18" fmla="*/ 2158852 w 43"/>
                  <a:gd name="T19" fmla="*/ 18126382 h 93"/>
                  <a:gd name="T20" fmla="*/ 1766334 w 43"/>
                  <a:gd name="T21" fmla="*/ 15860661 h 93"/>
                  <a:gd name="T22" fmla="*/ 1177556 w 43"/>
                  <a:gd name="T23" fmla="*/ 14350181 h 93"/>
                  <a:gd name="T24" fmla="*/ 785037 w 43"/>
                  <a:gd name="T25" fmla="*/ 13594940 h 93"/>
                  <a:gd name="T26" fmla="*/ 392519 w 43"/>
                  <a:gd name="T27" fmla="*/ 12839700 h 93"/>
                  <a:gd name="T28" fmla="*/ 0 w 43"/>
                  <a:gd name="T29" fmla="*/ 12084460 h 93"/>
                  <a:gd name="T30" fmla="*/ 392519 w 43"/>
                  <a:gd name="T31" fmla="*/ 10951292 h 93"/>
                  <a:gd name="T32" fmla="*/ 981297 w 43"/>
                  <a:gd name="T33" fmla="*/ 9062884 h 93"/>
                  <a:gd name="T34" fmla="*/ 1177556 w 43"/>
                  <a:gd name="T35" fmla="*/ 10573365 h 93"/>
                  <a:gd name="T36" fmla="*/ 1373815 w 43"/>
                  <a:gd name="T37" fmla="*/ 10951292 h 93"/>
                  <a:gd name="T38" fmla="*/ 1570074 w 43"/>
                  <a:gd name="T39" fmla="*/ 11328605 h 93"/>
                  <a:gd name="T40" fmla="*/ 1766334 w 43"/>
                  <a:gd name="T41" fmla="*/ 10951292 h 93"/>
                  <a:gd name="T42" fmla="*/ 2158852 w 43"/>
                  <a:gd name="T43" fmla="*/ 9440811 h 93"/>
                  <a:gd name="T44" fmla="*/ 2747630 w 43"/>
                  <a:gd name="T45" fmla="*/ 7175090 h 93"/>
                  <a:gd name="T46" fmla="*/ 3140149 w 43"/>
                  <a:gd name="T47" fmla="*/ 4531442 h 93"/>
                  <a:gd name="T48" fmla="*/ 3925186 w 43"/>
                  <a:gd name="T49" fmla="*/ 2265721 h 93"/>
                  <a:gd name="T50" fmla="*/ 4318148 w 43"/>
                  <a:gd name="T51" fmla="*/ 1510481 h 93"/>
                  <a:gd name="T52" fmla="*/ 4906926 w 43"/>
                  <a:gd name="T53" fmla="*/ 755240 h 93"/>
                  <a:gd name="T54" fmla="*/ 5495703 w 43"/>
                  <a:gd name="T55" fmla="*/ 0 h 93"/>
                  <a:gd name="T56" fmla="*/ 6280741 w 43"/>
                  <a:gd name="T57" fmla="*/ 0 h 93"/>
                  <a:gd name="T58" fmla="*/ 6477000 w 43"/>
                  <a:gd name="T59" fmla="*/ 3776202 h 93"/>
                  <a:gd name="T60" fmla="*/ 6477000 w 43"/>
                  <a:gd name="T61" fmla="*/ 6041923 h 93"/>
                  <a:gd name="T62" fmla="*/ 6477000 w 43"/>
                  <a:gd name="T63" fmla="*/ 7552403 h 93"/>
                  <a:gd name="T64" fmla="*/ 6280741 w 43"/>
                  <a:gd name="T65" fmla="*/ 8685571 h 93"/>
                  <a:gd name="T66" fmla="*/ 6280741 w 43"/>
                  <a:gd name="T67" fmla="*/ 10196052 h 93"/>
                  <a:gd name="T68" fmla="*/ 6280741 w 43"/>
                  <a:gd name="T69" fmla="*/ 11706532 h 93"/>
                  <a:gd name="T70" fmla="*/ 6869519 w 43"/>
                  <a:gd name="T71" fmla="*/ 13594940 h 93"/>
                  <a:gd name="T72" fmla="*/ 7654556 w 43"/>
                  <a:gd name="T73" fmla="*/ 16237974 h 93"/>
                  <a:gd name="T74" fmla="*/ 7458297 w 43"/>
                  <a:gd name="T75" fmla="*/ 16615902 h 93"/>
                  <a:gd name="T76" fmla="*/ 7262037 w 43"/>
                  <a:gd name="T77" fmla="*/ 16993215 h 93"/>
                  <a:gd name="T78" fmla="*/ 7262037 w 43"/>
                  <a:gd name="T79" fmla="*/ 18126382 h 93"/>
                  <a:gd name="T80" fmla="*/ 7458297 w 43"/>
                  <a:gd name="T81" fmla="*/ 19258935 h 93"/>
                  <a:gd name="T82" fmla="*/ 7654556 w 43"/>
                  <a:gd name="T83" fmla="*/ 22279897 h 93"/>
                  <a:gd name="T84" fmla="*/ 8047074 w 43"/>
                  <a:gd name="T85" fmla="*/ 25678785 h 93"/>
                  <a:gd name="T86" fmla="*/ 8243334 w 43"/>
                  <a:gd name="T87" fmla="*/ 28699747 h 93"/>
                  <a:gd name="T88" fmla="*/ 8439593 w 43"/>
                  <a:gd name="T89" fmla="*/ 32098635 h 93"/>
                  <a:gd name="T90" fmla="*/ 8439593 w 43"/>
                  <a:gd name="T91" fmla="*/ 33231189 h 93"/>
                  <a:gd name="T92" fmla="*/ 8243334 w 43"/>
                  <a:gd name="T93" fmla="*/ 34364356 h 93"/>
                  <a:gd name="T94" fmla="*/ 7850815 w 43"/>
                  <a:gd name="T95" fmla="*/ 34741669 h 93"/>
                  <a:gd name="T96" fmla="*/ 7654556 w 43"/>
                  <a:gd name="T97" fmla="*/ 35119597 h 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3" h="93">
                    <a:moveTo>
                      <a:pt x="39" y="93"/>
                    </a:moveTo>
                    <a:lnTo>
                      <a:pt x="31" y="91"/>
                    </a:lnTo>
                    <a:lnTo>
                      <a:pt x="26" y="89"/>
                    </a:lnTo>
                    <a:lnTo>
                      <a:pt x="21" y="87"/>
                    </a:lnTo>
                    <a:lnTo>
                      <a:pt x="18" y="84"/>
                    </a:lnTo>
                    <a:lnTo>
                      <a:pt x="15" y="79"/>
                    </a:lnTo>
                    <a:lnTo>
                      <a:pt x="14" y="73"/>
                    </a:lnTo>
                    <a:lnTo>
                      <a:pt x="13" y="65"/>
                    </a:lnTo>
                    <a:lnTo>
                      <a:pt x="11" y="55"/>
                    </a:lnTo>
                    <a:lnTo>
                      <a:pt x="11" y="48"/>
                    </a:lnTo>
                    <a:lnTo>
                      <a:pt x="9" y="42"/>
                    </a:lnTo>
                    <a:lnTo>
                      <a:pt x="6" y="38"/>
                    </a:lnTo>
                    <a:lnTo>
                      <a:pt x="4" y="36"/>
                    </a:lnTo>
                    <a:lnTo>
                      <a:pt x="2" y="34"/>
                    </a:lnTo>
                    <a:lnTo>
                      <a:pt x="0" y="32"/>
                    </a:lnTo>
                    <a:lnTo>
                      <a:pt x="2" y="29"/>
                    </a:lnTo>
                    <a:lnTo>
                      <a:pt x="5" y="24"/>
                    </a:lnTo>
                    <a:lnTo>
                      <a:pt x="6" y="28"/>
                    </a:lnTo>
                    <a:lnTo>
                      <a:pt x="7" y="29"/>
                    </a:lnTo>
                    <a:lnTo>
                      <a:pt x="8" y="30"/>
                    </a:lnTo>
                    <a:lnTo>
                      <a:pt x="9" y="29"/>
                    </a:lnTo>
                    <a:lnTo>
                      <a:pt x="11" y="25"/>
                    </a:lnTo>
                    <a:lnTo>
                      <a:pt x="14" y="19"/>
                    </a:lnTo>
                    <a:lnTo>
                      <a:pt x="16" y="12"/>
                    </a:lnTo>
                    <a:lnTo>
                      <a:pt x="20" y="6"/>
                    </a:lnTo>
                    <a:lnTo>
                      <a:pt x="22" y="4"/>
                    </a:lnTo>
                    <a:lnTo>
                      <a:pt x="25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3" y="10"/>
                    </a:lnTo>
                    <a:lnTo>
                      <a:pt x="33" y="16"/>
                    </a:lnTo>
                    <a:lnTo>
                      <a:pt x="33" y="20"/>
                    </a:lnTo>
                    <a:lnTo>
                      <a:pt x="32" y="23"/>
                    </a:lnTo>
                    <a:lnTo>
                      <a:pt x="32" y="27"/>
                    </a:lnTo>
                    <a:lnTo>
                      <a:pt x="32" y="31"/>
                    </a:lnTo>
                    <a:lnTo>
                      <a:pt x="35" y="36"/>
                    </a:lnTo>
                    <a:lnTo>
                      <a:pt x="39" y="43"/>
                    </a:lnTo>
                    <a:lnTo>
                      <a:pt x="38" y="44"/>
                    </a:lnTo>
                    <a:lnTo>
                      <a:pt x="37" y="45"/>
                    </a:lnTo>
                    <a:lnTo>
                      <a:pt x="37" y="48"/>
                    </a:lnTo>
                    <a:lnTo>
                      <a:pt x="38" y="51"/>
                    </a:lnTo>
                    <a:lnTo>
                      <a:pt x="39" y="59"/>
                    </a:lnTo>
                    <a:lnTo>
                      <a:pt x="41" y="68"/>
                    </a:lnTo>
                    <a:lnTo>
                      <a:pt x="42" y="76"/>
                    </a:lnTo>
                    <a:lnTo>
                      <a:pt x="43" y="85"/>
                    </a:lnTo>
                    <a:lnTo>
                      <a:pt x="43" y="88"/>
                    </a:lnTo>
                    <a:lnTo>
                      <a:pt x="42" y="91"/>
                    </a:lnTo>
                    <a:lnTo>
                      <a:pt x="40" y="92"/>
                    </a:lnTo>
                    <a:lnTo>
                      <a:pt x="39" y="9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93" name="Freeform 596">
                <a:extLst>
                  <a:ext uri="{FF2B5EF4-FFF2-40B4-BE49-F238E27FC236}">
                    <a16:creationId xmlns:a16="http://schemas.microsoft.com/office/drawing/2014/main" id="{A8AF1A7D-26C6-483E-B138-1BB5D10F22CA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5645787" y="3568341"/>
                <a:ext cx="18098" cy="63287"/>
              </a:xfrm>
              <a:custGeom>
                <a:avLst/>
                <a:gdLst>
                  <a:gd name="T0" fmla="*/ 5102959 w 40"/>
                  <a:gd name="T1" fmla="*/ 58323616 h 56"/>
                  <a:gd name="T2" fmla="*/ 4720068 w 40"/>
                  <a:gd name="T3" fmla="*/ 47909049 h 56"/>
                  <a:gd name="T4" fmla="*/ 4210022 w 40"/>
                  <a:gd name="T5" fmla="*/ 39576375 h 56"/>
                  <a:gd name="T6" fmla="*/ 3572107 w 40"/>
                  <a:gd name="T7" fmla="*/ 33327635 h 56"/>
                  <a:gd name="T8" fmla="*/ 2934193 w 40"/>
                  <a:gd name="T9" fmla="*/ 29161808 h 56"/>
                  <a:gd name="T10" fmla="*/ 1403341 w 40"/>
                  <a:gd name="T11" fmla="*/ 21871101 h 56"/>
                  <a:gd name="T12" fmla="*/ 0 w 40"/>
                  <a:gd name="T13" fmla="*/ 12497480 h 56"/>
                  <a:gd name="T14" fmla="*/ 1658364 w 40"/>
                  <a:gd name="T15" fmla="*/ 4165827 h 56"/>
                  <a:gd name="T16" fmla="*/ 2551658 w 40"/>
                  <a:gd name="T17" fmla="*/ 0 h 56"/>
                  <a:gd name="T18" fmla="*/ 3572107 w 40"/>
                  <a:gd name="T19" fmla="*/ 12497480 h 56"/>
                  <a:gd name="T20" fmla="*/ 4465045 w 40"/>
                  <a:gd name="T21" fmla="*/ 22913068 h 56"/>
                  <a:gd name="T22" fmla="*/ 4720068 w 40"/>
                  <a:gd name="T23" fmla="*/ 26036928 h 56"/>
                  <a:gd name="T24" fmla="*/ 4975448 w 40"/>
                  <a:gd name="T25" fmla="*/ 30203775 h 56"/>
                  <a:gd name="T26" fmla="*/ 4975448 w 40"/>
                  <a:gd name="T27" fmla="*/ 34369602 h 56"/>
                  <a:gd name="T28" fmla="*/ 5102959 w 40"/>
                  <a:gd name="T29" fmla="*/ 38535429 h 56"/>
                  <a:gd name="T30" fmla="*/ 5102959 w 40"/>
                  <a:gd name="T31" fmla="*/ 45826136 h 56"/>
                  <a:gd name="T32" fmla="*/ 5102959 w 40"/>
                  <a:gd name="T33" fmla="*/ 47909049 h 56"/>
                  <a:gd name="T34" fmla="*/ 5102959 w 40"/>
                  <a:gd name="T35" fmla="*/ 51032909 h 56"/>
                  <a:gd name="T36" fmla="*/ 5102959 w 40"/>
                  <a:gd name="T37" fmla="*/ 58323616 h 5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40" h="56">
                    <a:moveTo>
                      <a:pt x="40" y="56"/>
                    </a:moveTo>
                    <a:lnTo>
                      <a:pt x="37" y="46"/>
                    </a:lnTo>
                    <a:lnTo>
                      <a:pt x="33" y="38"/>
                    </a:lnTo>
                    <a:lnTo>
                      <a:pt x="28" y="32"/>
                    </a:lnTo>
                    <a:lnTo>
                      <a:pt x="23" y="28"/>
                    </a:lnTo>
                    <a:lnTo>
                      <a:pt x="11" y="21"/>
                    </a:lnTo>
                    <a:lnTo>
                      <a:pt x="0" y="12"/>
                    </a:lnTo>
                    <a:lnTo>
                      <a:pt x="13" y="4"/>
                    </a:lnTo>
                    <a:lnTo>
                      <a:pt x="20" y="0"/>
                    </a:lnTo>
                    <a:lnTo>
                      <a:pt x="28" y="12"/>
                    </a:lnTo>
                    <a:lnTo>
                      <a:pt x="35" y="22"/>
                    </a:lnTo>
                    <a:lnTo>
                      <a:pt x="37" y="25"/>
                    </a:lnTo>
                    <a:lnTo>
                      <a:pt x="39" y="29"/>
                    </a:lnTo>
                    <a:lnTo>
                      <a:pt x="39" y="33"/>
                    </a:lnTo>
                    <a:lnTo>
                      <a:pt x="40" y="37"/>
                    </a:lnTo>
                    <a:lnTo>
                      <a:pt x="40" y="44"/>
                    </a:lnTo>
                    <a:lnTo>
                      <a:pt x="40" y="46"/>
                    </a:lnTo>
                    <a:lnTo>
                      <a:pt x="40" y="49"/>
                    </a:lnTo>
                    <a:lnTo>
                      <a:pt x="4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94" name="Freeform 597">
                <a:extLst>
                  <a:ext uri="{FF2B5EF4-FFF2-40B4-BE49-F238E27FC236}">
                    <a16:creationId xmlns:a16="http://schemas.microsoft.com/office/drawing/2014/main" id="{C8A8F1B9-65D9-4CF4-951A-D33DD9143F53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7439326" y="4310205"/>
                <a:ext cx="54295" cy="65046"/>
              </a:xfrm>
              <a:custGeom>
                <a:avLst/>
                <a:gdLst>
                  <a:gd name="T0" fmla="*/ 0 w 106"/>
                  <a:gd name="T1" fmla="*/ 4535778 h 71"/>
                  <a:gd name="T2" fmla="*/ 2110117 w 106"/>
                  <a:gd name="T3" fmla="*/ 6478878 h 71"/>
                  <a:gd name="T4" fmla="*/ 4220234 w 106"/>
                  <a:gd name="T5" fmla="*/ 7774815 h 71"/>
                  <a:gd name="T6" fmla="*/ 6154648 w 106"/>
                  <a:gd name="T7" fmla="*/ 8422783 h 71"/>
                  <a:gd name="T8" fmla="*/ 7912939 w 106"/>
                  <a:gd name="T9" fmla="*/ 8422783 h 71"/>
                  <a:gd name="T10" fmla="*/ 9495526 w 106"/>
                  <a:gd name="T11" fmla="*/ 7126846 h 71"/>
                  <a:gd name="T12" fmla="*/ 10726708 w 106"/>
                  <a:gd name="T13" fmla="*/ 5182942 h 71"/>
                  <a:gd name="T14" fmla="*/ 11957469 w 106"/>
                  <a:gd name="T15" fmla="*/ 3239842 h 71"/>
                  <a:gd name="T16" fmla="*/ 13012528 w 106"/>
                  <a:gd name="T17" fmla="*/ 0 h 71"/>
                  <a:gd name="T18" fmla="*/ 14771238 w 106"/>
                  <a:gd name="T19" fmla="*/ 10366688 h 71"/>
                  <a:gd name="T20" fmla="*/ 16529529 w 106"/>
                  <a:gd name="T21" fmla="*/ 19437439 h 71"/>
                  <a:gd name="T22" fmla="*/ 17760291 w 106"/>
                  <a:gd name="T23" fmla="*/ 28508191 h 71"/>
                  <a:gd name="T24" fmla="*/ 18463943 w 106"/>
                  <a:gd name="T25" fmla="*/ 35635037 h 71"/>
                  <a:gd name="T26" fmla="*/ 18639646 w 106"/>
                  <a:gd name="T27" fmla="*/ 38874879 h 71"/>
                  <a:gd name="T28" fmla="*/ 18639646 w 106"/>
                  <a:gd name="T29" fmla="*/ 40818784 h 71"/>
                  <a:gd name="T30" fmla="*/ 18463943 w 106"/>
                  <a:gd name="T31" fmla="*/ 43409852 h 71"/>
                  <a:gd name="T32" fmla="*/ 18112117 w 106"/>
                  <a:gd name="T33" fmla="*/ 44705789 h 71"/>
                  <a:gd name="T34" fmla="*/ 17760291 w 106"/>
                  <a:gd name="T35" fmla="*/ 45353757 h 71"/>
                  <a:gd name="T36" fmla="*/ 17232762 w 106"/>
                  <a:gd name="T37" fmla="*/ 45353757 h 71"/>
                  <a:gd name="T38" fmla="*/ 16177703 w 106"/>
                  <a:gd name="T39" fmla="*/ 45353757 h 71"/>
                  <a:gd name="T40" fmla="*/ 15298767 w 106"/>
                  <a:gd name="T41" fmla="*/ 44057820 h 71"/>
                  <a:gd name="T42" fmla="*/ 13012528 w 106"/>
                  <a:gd name="T43" fmla="*/ 45353757 h 71"/>
                  <a:gd name="T44" fmla="*/ 11078114 w 106"/>
                  <a:gd name="T45" fmla="*/ 46001725 h 71"/>
                  <a:gd name="T46" fmla="*/ 9319823 w 106"/>
                  <a:gd name="T47" fmla="*/ 44705789 h 71"/>
                  <a:gd name="T48" fmla="*/ 7912939 w 106"/>
                  <a:gd name="T49" fmla="*/ 42761884 h 71"/>
                  <a:gd name="T50" fmla="*/ 6506474 w 106"/>
                  <a:gd name="T51" fmla="*/ 40170815 h 71"/>
                  <a:gd name="T52" fmla="*/ 5627118 w 106"/>
                  <a:gd name="T53" fmla="*/ 36930974 h 71"/>
                  <a:gd name="T54" fmla="*/ 4747763 w 106"/>
                  <a:gd name="T55" fmla="*/ 33043164 h 71"/>
                  <a:gd name="T56" fmla="*/ 4220234 w 106"/>
                  <a:gd name="T57" fmla="*/ 29156159 h 71"/>
                  <a:gd name="T58" fmla="*/ 3692705 w 106"/>
                  <a:gd name="T59" fmla="*/ 24620381 h 71"/>
                  <a:gd name="T60" fmla="*/ 3517001 w 106"/>
                  <a:gd name="T61" fmla="*/ 19437439 h 71"/>
                  <a:gd name="T62" fmla="*/ 3340879 w 106"/>
                  <a:gd name="T63" fmla="*/ 15549630 h 71"/>
                  <a:gd name="T64" fmla="*/ 3165175 w 106"/>
                  <a:gd name="T65" fmla="*/ 12310593 h 71"/>
                  <a:gd name="T66" fmla="*/ 3165175 w 106"/>
                  <a:gd name="T67" fmla="*/ 9070751 h 71"/>
                  <a:gd name="T68" fmla="*/ 3340879 w 106"/>
                  <a:gd name="T69" fmla="*/ 6478878 h 71"/>
                  <a:gd name="T70" fmla="*/ 3517001 w 106"/>
                  <a:gd name="T71" fmla="*/ 4535778 h 71"/>
                  <a:gd name="T72" fmla="*/ 3692705 w 106"/>
                  <a:gd name="T73" fmla="*/ 4535778 h 71"/>
                  <a:gd name="T74" fmla="*/ 3517001 w 106"/>
                  <a:gd name="T75" fmla="*/ 6478878 h 71"/>
                  <a:gd name="T76" fmla="*/ 3340879 w 106"/>
                  <a:gd name="T77" fmla="*/ 10366688 h 71"/>
                  <a:gd name="T78" fmla="*/ 3340879 w 106"/>
                  <a:gd name="T79" fmla="*/ 11014656 h 71"/>
                  <a:gd name="T80" fmla="*/ 3340879 w 106"/>
                  <a:gd name="T81" fmla="*/ 11014656 h 71"/>
                  <a:gd name="T82" fmla="*/ 3517001 w 106"/>
                  <a:gd name="T83" fmla="*/ 11014656 h 71"/>
                  <a:gd name="T84" fmla="*/ 3692705 w 106"/>
                  <a:gd name="T85" fmla="*/ 11014656 h 71"/>
                  <a:gd name="T86" fmla="*/ 4044531 w 106"/>
                  <a:gd name="T87" fmla="*/ 8422783 h 71"/>
                  <a:gd name="T88" fmla="*/ 4747763 w 106"/>
                  <a:gd name="T89" fmla="*/ 4535778 h 71"/>
                  <a:gd name="T90" fmla="*/ 0 w 106"/>
                  <a:gd name="T91" fmla="*/ 4535778 h 71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106" h="71">
                    <a:moveTo>
                      <a:pt x="0" y="7"/>
                    </a:moveTo>
                    <a:lnTo>
                      <a:pt x="12" y="10"/>
                    </a:lnTo>
                    <a:lnTo>
                      <a:pt x="24" y="12"/>
                    </a:lnTo>
                    <a:lnTo>
                      <a:pt x="35" y="13"/>
                    </a:lnTo>
                    <a:lnTo>
                      <a:pt x="45" y="13"/>
                    </a:lnTo>
                    <a:lnTo>
                      <a:pt x="54" y="11"/>
                    </a:lnTo>
                    <a:lnTo>
                      <a:pt x="61" y="8"/>
                    </a:lnTo>
                    <a:lnTo>
                      <a:pt x="68" y="5"/>
                    </a:lnTo>
                    <a:lnTo>
                      <a:pt x="74" y="0"/>
                    </a:lnTo>
                    <a:lnTo>
                      <a:pt x="84" y="16"/>
                    </a:lnTo>
                    <a:lnTo>
                      <a:pt x="94" y="30"/>
                    </a:lnTo>
                    <a:lnTo>
                      <a:pt x="101" y="44"/>
                    </a:lnTo>
                    <a:lnTo>
                      <a:pt x="105" y="55"/>
                    </a:lnTo>
                    <a:lnTo>
                      <a:pt x="106" y="60"/>
                    </a:lnTo>
                    <a:lnTo>
                      <a:pt x="106" y="63"/>
                    </a:lnTo>
                    <a:lnTo>
                      <a:pt x="105" y="67"/>
                    </a:lnTo>
                    <a:lnTo>
                      <a:pt x="103" y="69"/>
                    </a:lnTo>
                    <a:lnTo>
                      <a:pt x="101" y="70"/>
                    </a:lnTo>
                    <a:lnTo>
                      <a:pt x="98" y="70"/>
                    </a:lnTo>
                    <a:lnTo>
                      <a:pt x="92" y="70"/>
                    </a:lnTo>
                    <a:lnTo>
                      <a:pt x="87" y="68"/>
                    </a:lnTo>
                    <a:lnTo>
                      <a:pt x="74" y="70"/>
                    </a:lnTo>
                    <a:lnTo>
                      <a:pt x="63" y="71"/>
                    </a:lnTo>
                    <a:lnTo>
                      <a:pt x="53" y="69"/>
                    </a:lnTo>
                    <a:lnTo>
                      <a:pt x="45" y="66"/>
                    </a:lnTo>
                    <a:lnTo>
                      <a:pt x="37" y="62"/>
                    </a:lnTo>
                    <a:lnTo>
                      <a:pt x="32" y="57"/>
                    </a:lnTo>
                    <a:lnTo>
                      <a:pt x="27" y="51"/>
                    </a:lnTo>
                    <a:lnTo>
                      <a:pt x="24" y="45"/>
                    </a:lnTo>
                    <a:lnTo>
                      <a:pt x="21" y="38"/>
                    </a:lnTo>
                    <a:lnTo>
                      <a:pt x="20" y="30"/>
                    </a:lnTo>
                    <a:lnTo>
                      <a:pt x="19" y="24"/>
                    </a:lnTo>
                    <a:lnTo>
                      <a:pt x="18" y="19"/>
                    </a:lnTo>
                    <a:lnTo>
                      <a:pt x="18" y="14"/>
                    </a:lnTo>
                    <a:lnTo>
                      <a:pt x="19" y="10"/>
                    </a:lnTo>
                    <a:lnTo>
                      <a:pt x="20" y="7"/>
                    </a:lnTo>
                    <a:lnTo>
                      <a:pt x="21" y="7"/>
                    </a:lnTo>
                    <a:lnTo>
                      <a:pt x="20" y="10"/>
                    </a:lnTo>
                    <a:lnTo>
                      <a:pt x="19" y="16"/>
                    </a:lnTo>
                    <a:lnTo>
                      <a:pt x="19" y="17"/>
                    </a:lnTo>
                    <a:lnTo>
                      <a:pt x="20" y="17"/>
                    </a:lnTo>
                    <a:lnTo>
                      <a:pt x="21" y="17"/>
                    </a:lnTo>
                    <a:lnTo>
                      <a:pt x="23" y="13"/>
                    </a:lnTo>
                    <a:lnTo>
                      <a:pt x="27" y="7"/>
                    </a:lnTo>
                    <a:lnTo>
                      <a:pt x="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595" name="Group 1716">
                <a:extLst>
                  <a:ext uri="{FF2B5EF4-FFF2-40B4-BE49-F238E27FC236}">
                    <a16:creationId xmlns:a16="http://schemas.microsoft.com/office/drawing/2014/main" id="{AA9B8119-8AAA-42D6-A73D-271BDA9FB1E8}"/>
                  </a:ext>
                </a:extLst>
              </p:cNvPr>
              <p:cNvGrpSpPr>
                <a:grpSpLocks/>
              </p:cNvGrpSpPr>
              <p:nvPr>
                <p:custDataLst>
                  <p:tags r:id="rId33"/>
                </p:custDataLst>
              </p:nvPr>
            </p:nvGrpSpPr>
            <p:grpSpPr bwMode="auto">
              <a:xfrm>
                <a:off x="2438105" y="6343287"/>
                <a:ext cx="78483" cy="62471"/>
                <a:chOff x="1654" y="3671"/>
                <a:chExt cx="49" cy="17"/>
              </a:xfrm>
            </p:grpSpPr>
            <p:sp>
              <p:nvSpPr>
                <p:cNvPr id="1108" name="Freeform 39">
                  <a:extLst>
                    <a:ext uri="{FF2B5EF4-FFF2-40B4-BE49-F238E27FC236}">
                      <a16:creationId xmlns:a16="http://schemas.microsoft.com/office/drawing/2014/main" id="{A0DC17C1-68A4-45E2-8B16-09077EDF3D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54" y="3672"/>
                  <a:ext cx="20" cy="14"/>
                </a:xfrm>
                <a:custGeom>
                  <a:avLst/>
                  <a:gdLst>
                    <a:gd name="T0" fmla="*/ 3 w 59"/>
                    <a:gd name="T1" fmla="*/ 5 h 43"/>
                    <a:gd name="T2" fmla="*/ 7 w 59"/>
                    <a:gd name="T3" fmla="*/ 2 h 43"/>
                    <a:gd name="T4" fmla="*/ 6 w 59"/>
                    <a:gd name="T5" fmla="*/ 2 h 43"/>
                    <a:gd name="T6" fmla="*/ 6 w 59"/>
                    <a:gd name="T7" fmla="*/ 1 h 43"/>
                    <a:gd name="T8" fmla="*/ 5 w 59"/>
                    <a:gd name="T9" fmla="*/ 1 h 43"/>
                    <a:gd name="T10" fmla="*/ 5 w 59"/>
                    <a:gd name="T11" fmla="*/ 0 h 43"/>
                    <a:gd name="T12" fmla="*/ 5 w 59"/>
                    <a:gd name="T13" fmla="*/ 0 h 43"/>
                    <a:gd name="T14" fmla="*/ 4 w 59"/>
                    <a:gd name="T15" fmla="*/ 0 h 43"/>
                    <a:gd name="T16" fmla="*/ 4 w 59"/>
                    <a:gd name="T17" fmla="*/ 1 h 43"/>
                    <a:gd name="T18" fmla="*/ 3 w 59"/>
                    <a:gd name="T19" fmla="*/ 1 h 43"/>
                    <a:gd name="T20" fmla="*/ 3 w 59"/>
                    <a:gd name="T21" fmla="*/ 1 h 43"/>
                    <a:gd name="T22" fmla="*/ 3 w 59"/>
                    <a:gd name="T23" fmla="*/ 1 h 43"/>
                    <a:gd name="T24" fmla="*/ 2 w 59"/>
                    <a:gd name="T25" fmla="*/ 1 h 43"/>
                    <a:gd name="T26" fmla="*/ 1 w 59"/>
                    <a:gd name="T27" fmla="*/ 2 h 43"/>
                    <a:gd name="T28" fmla="*/ 1 w 59"/>
                    <a:gd name="T29" fmla="*/ 2 h 43"/>
                    <a:gd name="T30" fmla="*/ 0 w 59"/>
                    <a:gd name="T31" fmla="*/ 3 h 43"/>
                    <a:gd name="T32" fmla="*/ 1 w 59"/>
                    <a:gd name="T33" fmla="*/ 3 h 43"/>
                    <a:gd name="T34" fmla="*/ 1 w 59"/>
                    <a:gd name="T35" fmla="*/ 4 h 43"/>
                    <a:gd name="T36" fmla="*/ 2 w 59"/>
                    <a:gd name="T37" fmla="*/ 4 h 43"/>
                    <a:gd name="T38" fmla="*/ 3 w 59"/>
                    <a:gd name="T39" fmla="*/ 5 h 43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</a:gdLst>
                  <a:ahLst/>
                  <a:cxnLst>
                    <a:cxn ang="T40">
                      <a:pos x="T0" y="T1"/>
                    </a:cxn>
                    <a:cxn ang="T41">
                      <a:pos x="T2" y="T3"/>
                    </a:cxn>
                    <a:cxn ang="T42">
                      <a:pos x="T4" y="T5"/>
                    </a:cxn>
                    <a:cxn ang="T43">
                      <a:pos x="T6" y="T7"/>
                    </a:cxn>
                    <a:cxn ang="T44">
                      <a:pos x="T8" y="T9"/>
                    </a:cxn>
                    <a:cxn ang="T45">
                      <a:pos x="T10" y="T11"/>
                    </a:cxn>
                    <a:cxn ang="T46">
                      <a:pos x="T12" y="T13"/>
                    </a:cxn>
                    <a:cxn ang="T47">
                      <a:pos x="T14" y="T15"/>
                    </a:cxn>
                    <a:cxn ang="T48">
                      <a:pos x="T16" y="T17"/>
                    </a:cxn>
                    <a:cxn ang="T49">
                      <a:pos x="T18" y="T19"/>
                    </a:cxn>
                    <a:cxn ang="T50">
                      <a:pos x="T20" y="T21"/>
                    </a:cxn>
                    <a:cxn ang="T51">
                      <a:pos x="T22" y="T23"/>
                    </a:cxn>
                    <a:cxn ang="T52">
                      <a:pos x="T24" y="T25"/>
                    </a:cxn>
                    <a:cxn ang="T53">
                      <a:pos x="T26" y="T27"/>
                    </a:cxn>
                    <a:cxn ang="T54">
                      <a:pos x="T28" y="T29"/>
                    </a:cxn>
                    <a:cxn ang="T55">
                      <a:pos x="T30" y="T31"/>
                    </a:cxn>
                    <a:cxn ang="T56">
                      <a:pos x="T32" y="T33"/>
                    </a:cxn>
                    <a:cxn ang="T57">
                      <a:pos x="T34" y="T35"/>
                    </a:cxn>
                    <a:cxn ang="T58">
                      <a:pos x="T36" y="T37"/>
                    </a:cxn>
                    <a:cxn ang="T59">
                      <a:pos x="T38" y="T39"/>
                    </a:cxn>
                  </a:cxnLst>
                  <a:rect l="0" t="0" r="r" b="b"/>
                  <a:pathLst>
                    <a:path w="59" h="43">
                      <a:moveTo>
                        <a:pt x="26" y="43"/>
                      </a:moveTo>
                      <a:lnTo>
                        <a:pt x="59" y="18"/>
                      </a:lnTo>
                      <a:lnTo>
                        <a:pt x="55" y="14"/>
                      </a:lnTo>
                      <a:lnTo>
                        <a:pt x="51" y="9"/>
                      </a:lnTo>
                      <a:lnTo>
                        <a:pt x="47" y="5"/>
                      </a:lnTo>
                      <a:lnTo>
                        <a:pt x="46" y="0"/>
                      </a:lnTo>
                      <a:lnTo>
                        <a:pt x="41" y="1"/>
                      </a:lnTo>
                      <a:lnTo>
                        <a:pt x="34" y="4"/>
                      </a:lnTo>
                      <a:lnTo>
                        <a:pt x="31" y="6"/>
                      </a:lnTo>
                      <a:lnTo>
                        <a:pt x="29" y="8"/>
                      </a:lnTo>
                      <a:lnTo>
                        <a:pt x="26" y="10"/>
                      </a:lnTo>
                      <a:lnTo>
                        <a:pt x="26" y="12"/>
                      </a:lnTo>
                      <a:lnTo>
                        <a:pt x="20" y="13"/>
                      </a:lnTo>
                      <a:lnTo>
                        <a:pt x="13" y="16"/>
                      </a:lnTo>
                      <a:lnTo>
                        <a:pt x="6" y="20"/>
                      </a:lnTo>
                      <a:lnTo>
                        <a:pt x="0" y="24"/>
                      </a:lnTo>
                      <a:lnTo>
                        <a:pt x="5" y="29"/>
                      </a:lnTo>
                      <a:lnTo>
                        <a:pt x="10" y="34"/>
                      </a:lnTo>
                      <a:lnTo>
                        <a:pt x="18" y="39"/>
                      </a:lnTo>
                      <a:lnTo>
                        <a:pt x="26" y="4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09" name="Freeform 40">
                  <a:extLst>
                    <a:ext uri="{FF2B5EF4-FFF2-40B4-BE49-F238E27FC236}">
                      <a16:creationId xmlns:a16="http://schemas.microsoft.com/office/drawing/2014/main" id="{D44CA8C7-882E-446D-AC7C-CC95420FA8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3" y="3671"/>
                  <a:ext cx="20" cy="17"/>
                </a:xfrm>
                <a:custGeom>
                  <a:avLst/>
                  <a:gdLst>
                    <a:gd name="T0" fmla="*/ 0 w 67"/>
                    <a:gd name="T1" fmla="*/ 0 h 51"/>
                    <a:gd name="T2" fmla="*/ 3 w 67"/>
                    <a:gd name="T3" fmla="*/ 0 h 51"/>
                    <a:gd name="T4" fmla="*/ 4 w 67"/>
                    <a:gd name="T5" fmla="*/ 0 h 51"/>
                    <a:gd name="T6" fmla="*/ 5 w 67"/>
                    <a:gd name="T7" fmla="*/ 0 h 51"/>
                    <a:gd name="T8" fmla="*/ 6 w 67"/>
                    <a:gd name="T9" fmla="*/ 0 h 51"/>
                    <a:gd name="T10" fmla="*/ 6 w 67"/>
                    <a:gd name="T11" fmla="*/ 0 h 51"/>
                    <a:gd name="T12" fmla="*/ 7 w 67"/>
                    <a:gd name="T13" fmla="*/ 1 h 51"/>
                    <a:gd name="T14" fmla="*/ 6 w 67"/>
                    <a:gd name="T15" fmla="*/ 1 h 51"/>
                    <a:gd name="T16" fmla="*/ 5 w 67"/>
                    <a:gd name="T17" fmla="*/ 2 h 51"/>
                    <a:gd name="T18" fmla="*/ 5 w 67"/>
                    <a:gd name="T19" fmla="*/ 2 h 51"/>
                    <a:gd name="T20" fmla="*/ 4 w 67"/>
                    <a:gd name="T21" fmla="*/ 3 h 51"/>
                    <a:gd name="T22" fmla="*/ 3 w 67"/>
                    <a:gd name="T23" fmla="*/ 3 h 51"/>
                    <a:gd name="T24" fmla="*/ 2 w 67"/>
                    <a:gd name="T25" fmla="*/ 3 h 51"/>
                    <a:gd name="T26" fmla="*/ 3 w 67"/>
                    <a:gd name="T27" fmla="*/ 3 h 51"/>
                    <a:gd name="T28" fmla="*/ 4 w 67"/>
                    <a:gd name="T29" fmla="*/ 3 h 51"/>
                    <a:gd name="T30" fmla="*/ 3 w 67"/>
                    <a:gd name="T31" fmla="*/ 4 h 51"/>
                    <a:gd name="T32" fmla="*/ 3 w 67"/>
                    <a:gd name="T33" fmla="*/ 4 h 51"/>
                    <a:gd name="T34" fmla="*/ 2 w 67"/>
                    <a:gd name="T35" fmla="*/ 5 h 51"/>
                    <a:gd name="T36" fmla="*/ 2 w 67"/>
                    <a:gd name="T37" fmla="*/ 5 h 51"/>
                    <a:gd name="T38" fmla="*/ 1 w 67"/>
                    <a:gd name="T39" fmla="*/ 5 h 51"/>
                    <a:gd name="T40" fmla="*/ 0 w 67"/>
                    <a:gd name="T41" fmla="*/ 6 h 51"/>
                    <a:gd name="T42" fmla="*/ 0 w 67"/>
                    <a:gd name="T43" fmla="*/ 0 h 51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67" h="51">
                      <a:moveTo>
                        <a:pt x="0" y="2"/>
                      </a:moveTo>
                      <a:lnTo>
                        <a:pt x="24" y="1"/>
                      </a:lnTo>
                      <a:lnTo>
                        <a:pt x="39" y="0"/>
                      </a:lnTo>
                      <a:lnTo>
                        <a:pt x="45" y="1"/>
                      </a:lnTo>
                      <a:lnTo>
                        <a:pt x="51" y="2"/>
                      </a:lnTo>
                      <a:lnTo>
                        <a:pt x="58" y="4"/>
                      </a:lnTo>
                      <a:lnTo>
                        <a:pt x="67" y="8"/>
                      </a:lnTo>
                      <a:lnTo>
                        <a:pt x="55" y="13"/>
                      </a:lnTo>
                      <a:lnTo>
                        <a:pt x="46" y="19"/>
                      </a:lnTo>
                      <a:lnTo>
                        <a:pt x="42" y="22"/>
                      </a:lnTo>
                      <a:lnTo>
                        <a:pt x="36" y="24"/>
                      </a:lnTo>
                      <a:lnTo>
                        <a:pt x="29" y="26"/>
                      </a:lnTo>
                      <a:lnTo>
                        <a:pt x="20" y="26"/>
                      </a:lnTo>
                      <a:lnTo>
                        <a:pt x="24" y="26"/>
                      </a:lnTo>
                      <a:lnTo>
                        <a:pt x="34" y="26"/>
                      </a:lnTo>
                      <a:lnTo>
                        <a:pt x="29" y="34"/>
                      </a:lnTo>
                      <a:lnTo>
                        <a:pt x="25" y="40"/>
                      </a:lnTo>
                      <a:lnTo>
                        <a:pt x="22" y="44"/>
                      </a:lnTo>
                      <a:lnTo>
                        <a:pt x="20" y="46"/>
                      </a:lnTo>
                      <a:lnTo>
                        <a:pt x="12" y="48"/>
                      </a:lnTo>
                      <a:lnTo>
                        <a:pt x="0" y="5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596" name="Freeform 41">
                <a:extLst>
                  <a:ext uri="{FF2B5EF4-FFF2-40B4-BE49-F238E27FC236}">
                    <a16:creationId xmlns:a16="http://schemas.microsoft.com/office/drawing/2014/main" id="{1021D4DF-0AD1-49CB-8C31-6BA69D05CABD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2013467" y="3863680"/>
                <a:ext cx="38006" cy="66803"/>
              </a:xfrm>
              <a:custGeom>
                <a:avLst/>
                <a:gdLst>
                  <a:gd name="T0" fmla="*/ 0 w 80"/>
                  <a:gd name="T1" fmla="*/ 44766232 h 34"/>
                  <a:gd name="T2" fmla="*/ 157559 w 80"/>
                  <a:gd name="T3" fmla="*/ 56705391 h 34"/>
                  <a:gd name="T4" fmla="*/ 315119 w 80"/>
                  <a:gd name="T5" fmla="*/ 62674107 h 34"/>
                  <a:gd name="T6" fmla="*/ 630238 w 80"/>
                  <a:gd name="T7" fmla="*/ 71626316 h 34"/>
                  <a:gd name="T8" fmla="*/ 1102519 w 80"/>
                  <a:gd name="T9" fmla="*/ 77596760 h 34"/>
                  <a:gd name="T10" fmla="*/ 2047478 w 80"/>
                  <a:gd name="T11" fmla="*/ 86548970 h 34"/>
                  <a:gd name="T12" fmla="*/ 3465116 w 80"/>
                  <a:gd name="T13" fmla="*/ 92517685 h 34"/>
                  <a:gd name="T14" fmla="*/ 6300391 w 80"/>
                  <a:gd name="T15" fmla="*/ 98486401 h 34"/>
                  <a:gd name="T16" fmla="*/ 8505428 w 80"/>
                  <a:gd name="T17" fmla="*/ 101471623 h 34"/>
                  <a:gd name="T18" fmla="*/ 9135666 w 80"/>
                  <a:gd name="T19" fmla="*/ 98486401 h 34"/>
                  <a:gd name="T20" fmla="*/ 9765506 w 80"/>
                  <a:gd name="T21" fmla="*/ 95502907 h 34"/>
                  <a:gd name="T22" fmla="*/ 10238184 w 80"/>
                  <a:gd name="T23" fmla="*/ 86548970 h 34"/>
                  <a:gd name="T24" fmla="*/ 10553303 w 80"/>
                  <a:gd name="T25" fmla="*/ 80580254 h 34"/>
                  <a:gd name="T26" fmla="*/ 11498263 w 80"/>
                  <a:gd name="T27" fmla="*/ 62674107 h 34"/>
                  <a:gd name="T28" fmla="*/ 12600781 w 80"/>
                  <a:gd name="T29" fmla="*/ 44766232 h 34"/>
                  <a:gd name="T30" fmla="*/ 11813381 w 80"/>
                  <a:gd name="T31" fmla="*/ 29845306 h 34"/>
                  <a:gd name="T32" fmla="*/ 11025584 w 80"/>
                  <a:gd name="T33" fmla="*/ 20891369 h 34"/>
                  <a:gd name="T34" fmla="*/ 10238184 w 80"/>
                  <a:gd name="T35" fmla="*/ 11937431 h 34"/>
                  <a:gd name="T36" fmla="*/ 9450784 w 80"/>
                  <a:gd name="T37" fmla="*/ 5968716 h 34"/>
                  <a:gd name="T38" fmla="*/ 8662988 w 80"/>
                  <a:gd name="T39" fmla="*/ 0 h 34"/>
                  <a:gd name="T40" fmla="*/ 8033147 w 80"/>
                  <a:gd name="T41" fmla="*/ 0 h 34"/>
                  <a:gd name="T42" fmla="*/ 7087791 w 80"/>
                  <a:gd name="T43" fmla="*/ 2985222 h 34"/>
                  <a:gd name="T44" fmla="*/ 6457950 w 80"/>
                  <a:gd name="T45" fmla="*/ 5968716 h 34"/>
                  <a:gd name="T46" fmla="*/ 5355431 w 80"/>
                  <a:gd name="T47" fmla="*/ 5968716 h 34"/>
                  <a:gd name="T48" fmla="*/ 3307556 w 80"/>
                  <a:gd name="T49" fmla="*/ 5968716 h 34"/>
                  <a:gd name="T50" fmla="*/ 2047478 w 80"/>
                  <a:gd name="T51" fmla="*/ 8953937 h 34"/>
                  <a:gd name="T52" fmla="*/ 1102519 w 80"/>
                  <a:gd name="T53" fmla="*/ 14922653 h 34"/>
                  <a:gd name="T54" fmla="*/ 630238 w 80"/>
                  <a:gd name="T55" fmla="*/ 20891369 h 34"/>
                  <a:gd name="T56" fmla="*/ 315119 w 80"/>
                  <a:gd name="T57" fmla="*/ 26860085 h 34"/>
                  <a:gd name="T58" fmla="*/ 157559 w 80"/>
                  <a:gd name="T59" fmla="*/ 32828800 h 34"/>
                  <a:gd name="T60" fmla="*/ 0 w 80"/>
                  <a:gd name="T61" fmla="*/ 44766232 h 3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80" h="34">
                    <a:moveTo>
                      <a:pt x="0" y="15"/>
                    </a:moveTo>
                    <a:lnTo>
                      <a:pt x="1" y="19"/>
                    </a:lnTo>
                    <a:lnTo>
                      <a:pt x="2" y="21"/>
                    </a:lnTo>
                    <a:lnTo>
                      <a:pt x="4" y="24"/>
                    </a:lnTo>
                    <a:lnTo>
                      <a:pt x="7" y="26"/>
                    </a:lnTo>
                    <a:lnTo>
                      <a:pt x="13" y="29"/>
                    </a:lnTo>
                    <a:lnTo>
                      <a:pt x="22" y="31"/>
                    </a:lnTo>
                    <a:lnTo>
                      <a:pt x="40" y="33"/>
                    </a:lnTo>
                    <a:lnTo>
                      <a:pt x="54" y="34"/>
                    </a:lnTo>
                    <a:lnTo>
                      <a:pt x="58" y="33"/>
                    </a:lnTo>
                    <a:lnTo>
                      <a:pt x="62" y="32"/>
                    </a:lnTo>
                    <a:lnTo>
                      <a:pt x="65" y="29"/>
                    </a:lnTo>
                    <a:lnTo>
                      <a:pt x="67" y="27"/>
                    </a:lnTo>
                    <a:lnTo>
                      <a:pt x="73" y="21"/>
                    </a:lnTo>
                    <a:lnTo>
                      <a:pt x="80" y="15"/>
                    </a:lnTo>
                    <a:lnTo>
                      <a:pt x="75" y="10"/>
                    </a:lnTo>
                    <a:lnTo>
                      <a:pt x="70" y="7"/>
                    </a:lnTo>
                    <a:lnTo>
                      <a:pt x="65" y="4"/>
                    </a:lnTo>
                    <a:lnTo>
                      <a:pt x="60" y="2"/>
                    </a:lnTo>
                    <a:lnTo>
                      <a:pt x="55" y="0"/>
                    </a:lnTo>
                    <a:lnTo>
                      <a:pt x="51" y="0"/>
                    </a:lnTo>
                    <a:lnTo>
                      <a:pt x="45" y="1"/>
                    </a:lnTo>
                    <a:lnTo>
                      <a:pt x="41" y="2"/>
                    </a:lnTo>
                    <a:lnTo>
                      <a:pt x="34" y="2"/>
                    </a:lnTo>
                    <a:lnTo>
                      <a:pt x="21" y="2"/>
                    </a:lnTo>
                    <a:lnTo>
                      <a:pt x="13" y="3"/>
                    </a:lnTo>
                    <a:lnTo>
                      <a:pt x="7" y="5"/>
                    </a:lnTo>
                    <a:lnTo>
                      <a:pt x="4" y="7"/>
                    </a:lnTo>
                    <a:lnTo>
                      <a:pt x="2" y="9"/>
                    </a:lnTo>
                    <a:lnTo>
                      <a:pt x="1" y="11"/>
                    </a:lnTo>
                    <a:lnTo>
                      <a:pt x="0" y="15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0872A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97" name="Freeform 42">
                <a:extLst>
                  <a:ext uri="{FF2B5EF4-FFF2-40B4-BE49-F238E27FC236}">
                    <a16:creationId xmlns:a16="http://schemas.microsoft.com/office/drawing/2014/main" id="{A4642541-FCED-4FD8-8C5C-F29AEF49F570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2080430" y="3870712"/>
                <a:ext cx="1810" cy="66803"/>
              </a:xfrm>
              <a:custGeom>
                <a:avLst/>
                <a:gdLst>
                  <a:gd name="T0" fmla="*/ 0 w 7"/>
                  <a:gd name="T1" fmla="*/ 0 h 13"/>
                  <a:gd name="T2" fmla="*/ 360249 w 7"/>
                  <a:gd name="T3" fmla="*/ 265387321 h 13"/>
                  <a:gd name="T4" fmla="*/ 360249 w 7"/>
                  <a:gd name="T5" fmla="*/ 142902603 h 1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13">
                    <a:moveTo>
                      <a:pt x="0" y="0"/>
                    </a:moveTo>
                    <a:lnTo>
                      <a:pt x="7" y="13"/>
                    </a:lnTo>
                    <a:lnTo>
                      <a:pt x="7" y="7"/>
                    </a:lnTo>
                  </a:path>
                </a:pathLst>
              </a:custGeom>
              <a:solidFill>
                <a:srgbClr val="FF00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98" name="Freeform 43">
                <a:extLst>
                  <a:ext uri="{FF2B5EF4-FFF2-40B4-BE49-F238E27FC236}">
                    <a16:creationId xmlns:a16="http://schemas.microsoft.com/office/drawing/2014/main" id="{9AB16269-41C2-498C-AE94-CF5B879FB127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2094909" y="3872471"/>
                <a:ext cx="9050" cy="66803"/>
              </a:xfrm>
              <a:custGeom>
                <a:avLst/>
                <a:gdLst>
                  <a:gd name="T0" fmla="*/ 0 w 20"/>
                  <a:gd name="T1" fmla="*/ 0 h 6"/>
                  <a:gd name="T2" fmla="*/ 705803 w 20"/>
                  <a:gd name="T3" fmla="*/ 287512720 h 6"/>
                  <a:gd name="T4" fmla="*/ 2016125 w 20"/>
                  <a:gd name="T5" fmla="*/ 575025441 h 6"/>
                  <a:gd name="T6" fmla="*/ 0 w 20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0" h="6">
                    <a:moveTo>
                      <a:pt x="0" y="0"/>
                    </a:moveTo>
                    <a:lnTo>
                      <a:pt x="7" y="3"/>
                    </a:lnTo>
                    <a:lnTo>
                      <a:pt x="20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00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599" name="Freeform 44">
                <a:extLst>
                  <a:ext uri="{FF2B5EF4-FFF2-40B4-BE49-F238E27FC236}">
                    <a16:creationId xmlns:a16="http://schemas.microsoft.com/office/drawing/2014/main" id="{5AF80134-6172-4E83-AD17-61B15115EC63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2113007" y="3861923"/>
                <a:ext cx="9050" cy="65044"/>
              </a:xfrm>
              <a:custGeom>
                <a:avLst/>
                <a:gdLst>
                  <a:gd name="T0" fmla="*/ 0 w 14"/>
                  <a:gd name="T1" fmla="*/ 272176875 h 12"/>
                  <a:gd name="T2" fmla="*/ 4499712 w 14"/>
                  <a:gd name="T3" fmla="*/ 0 h 12"/>
                  <a:gd name="T4" fmla="*/ 0 w 14"/>
                  <a:gd name="T5" fmla="*/ 272176875 h 12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12"/>
                    </a:moveTo>
                    <a:lnTo>
                      <a:pt x="14" y="0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FF00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0" name="Freeform 45">
                <a:extLst>
                  <a:ext uri="{FF2B5EF4-FFF2-40B4-BE49-F238E27FC236}">
                    <a16:creationId xmlns:a16="http://schemas.microsoft.com/office/drawing/2014/main" id="{CFFDF409-80E3-4728-80C8-50BCD6D20247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2087670" y="3853133"/>
                <a:ext cx="12669" cy="66803"/>
              </a:xfrm>
              <a:custGeom>
                <a:avLst/>
                <a:gdLst>
                  <a:gd name="T0" fmla="*/ 0 w 27"/>
                  <a:gd name="T1" fmla="*/ 0 h 7"/>
                  <a:gd name="T2" fmla="*/ 0 w 27"/>
                  <a:gd name="T3" fmla="*/ 281635524 h 7"/>
                  <a:gd name="T4" fmla="*/ 338741 w 27"/>
                  <a:gd name="T5" fmla="*/ 422453286 h 7"/>
                  <a:gd name="T6" fmla="*/ 1185798 w 27"/>
                  <a:gd name="T7" fmla="*/ 492862167 h 7"/>
                  <a:gd name="T8" fmla="*/ 1694115 w 27"/>
                  <a:gd name="T9" fmla="*/ 492862167 h 7"/>
                  <a:gd name="T10" fmla="*/ 2541173 w 27"/>
                  <a:gd name="T11" fmla="*/ 422453286 h 7"/>
                  <a:gd name="T12" fmla="*/ 3218654 w 27"/>
                  <a:gd name="T13" fmla="*/ 281635524 h 7"/>
                  <a:gd name="T14" fmla="*/ 3896547 w 27"/>
                  <a:gd name="T15" fmla="*/ 140817762 h 7"/>
                  <a:gd name="T16" fmla="*/ 4574028 w 27"/>
                  <a:gd name="T17" fmla="*/ 0 h 7"/>
                  <a:gd name="T18" fmla="*/ 0 w 27"/>
                  <a:gd name="T19" fmla="*/ 0 h 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7" h="7">
                    <a:moveTo>
                      <a:pt x="0" y="0"/>
                    </a:moveTo>
                    <a:lnTo>
                      <a:pt x="0" y="4"/>
                    </a:lnTo>
                    <a:lnTo>
                      <a:pt x="2" y="6"/>
                    </a:lnTo>
                    <a:lnTo>
                      <a:pt x="7" y="7"/>
                    </a:lnTo>
                    <a:lnTo>
                      <a:pt x="10" y="7"/>
                    </a:lnTo>
                    <a:lnTo>
                      <a:pt x="15" y="6"/>
                    </a:lnTo>
                    <a:lnTo>
                      <a:pt x="19" y="4"/>
                    </a:lnTo>
                    <a:lnTo>
                      <a:pt x="23" y="2"/>
                    </a:lnTo>
                    <a:lnTo>
                      <a:pt x="2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1" name="Freeform 46">
                <a:extLst>
                  <a:ext uri="{FF2B5EF4-FFF2-40B4-BE49-F238E27FC236}">
                    <a16:creationId xmlns:a16="http://schemas.microsoft.com/office/drawing/2014/main" id="{30C15931-3BF2-4B27-AFFD-35B3E4018FE5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147395" y="3884776"/>
                <a:ext cx="16288" cy="68561"/>
              </a:xfrm>
              <a:custGeom>
                <a:avLst/>
                <a:gdLst>
                  <a:gd name="T0" fmla="*/ 0 w 27"/>
                  <a:gd name="T1" fmla="*/ 0 h 6"/>
                  <a:gd name="T2" fmla="*/ 3080171 w 27"/>
                  <a:gd name="T3" fmla="*/ 303263829 h 6"/>
                  <a:gd name="T4" fmla="*/ 7559940 w 27"/>
                  <a:gd name="T5" fmla="*/ 606517604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7" h="6">
                    <a:moveTo>
                      <a:pt x="0" y="0"/>
                    </a:moveTo>
                    <a:lnTo>
                      <a:pt x="11" y="3"/>
                    </a:lnTo>
                    <a:lnTo>
                      <a:pt x="27" y="6"/>
                    </a:lnTo>
                  </a:path>
                </a:pathLst>
              </a:custGeom>
              <a:solidFill>
                <a:srgbClr val="FF00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2" name="Line 47">
                <a:extLst>
                  <a:ext uri="{FF2B5EF4-FFF2-40B4-BE49-F238E27FC236}">
                    <a16:creationId xmlns:a16="http://schemas.microsoft.com/office/drawing/2014/main" id="{43A2CCF1-499D-40DF-A918-63F90C9D1C2B}"/>
                  </a:ext>
                </a:extLst>
              </p:cNvPr>
              <p:cNvSpPr>
                <a:spLocks noChangeShapeType="1"/>
              </p:cNvSpPr>
              <p:nvPr>
                <p:custDataLst>
                  <p:tags r:id="rId40"/>
                </p:custDataLst>
              </p:nvPr>
            </p:nvSpPr>
            <p:spPr bwMode="auto">
              <a:xfrm flipH="1" flipV="1">
                <a:off x="2156443" y="3881260"/>
                <a:ext cx="7239" cy="10548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3" name="Line 48">
                <a:extLst>
                  <a:ext uri="{FF2B5EF4-FFF2-40B4-BE49-F238E27FC236}">
                    <a16:creationId xmlns:a16="http://schemas.microsoft.com/office/drawing/2014/main" id="{3EAD463E-42B4-4652-A68C-DEB984E3C77F}"/>
                  </a:ext>
                </a:extLst>
              </p:cNvPr>
              <p:cNvSpPr>
                <a:spLocks noChangeShapeType="1"/>
              </p:cNvSpPr>
              <p:nvPr>
                <p:custDataLst>
                  <p:tags r:id="rId41"/>
                </p:custDataLst>
              </p:nvPr>
            </p:nvSpPr>
            <p:spPr bwMode="auto">
              <a:xfrm flipH="1">
                <a:off x="2156443" y="3911146"/>
                <a:ext cx="7239" cy="12305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4" name="Freeform 49">
                <a:extLst>
                  <a:ext uri="{FF2B5EF4-FFF2-40B4-BE49-F238E27FC236}">
                    <a16:creationId xmlns:a16="http://schemas.microsoft.com/office/drawing/2014/main" id="{11D6272B-8426-4780-A0EB-699786069FD2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2156443" y="3905872"/>
                <a:ext cx="14479" cy="65046"/>
              </a:xfrm>
              <a:custGeom>
                <a:avLst/>
                <a:gdLst>
                  <a:gd name="T0" fmla="*/ 0 w 20"/>
                  <a:gd name="T1" fmla="*/ 143756360 h 24"/>
                  <a:gd name="T2" fmla="*/ 617327 w 20"/>
                  <a:gd name="T3" fmla="*/ 143756360 h 24"/>
                  <a:gd name="T4" fmla="*/ 1852537 w 20"/>
                  <a:gd name="T5" fmla="*/ 131776256 h 24"/>
                  <a:gd name="T6" fmla="*/ 2778806 w 20"/>
                  <a:gd name="T7" fmla="*/ 119796151 h 24"/>
                  <a:gd name="T8" fmla="*/ 3705074 w 20"/>
                  <a:gd name="T9" fmla="*/ 95838389 h 24"/>
                  <a:gd name="T10" fmla="*/ 4631343 w 20"/>
                  <a:gd name="T11" fmla="*/ 77867009 h 24"/>
                  <a:gd name="T12" fmla="*/ 5557611 w 20"/>
                  <a:gd name="T13" fmla="*/ 53909247 h 24"/>
                  <a:gd name="T14" fmla="*/ 5865997 w 20"/>
                  <a:gd name="T15" fmla="*/ 23960209 h 24"/>
                  <a:gd name="T16" fmla="*/ 6174938 w 20"/>
                  <a:gd name="T17" fmla="*/ 0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20" h="24">
                    <a:moveTo>
                      <a:pt x="0" y="24"/>
                    </a:moveTo>
                    <a:lnTo>
                      <a:pt x="2" y="24"/>
                    </a:lnTo>
                    <a:lnTo>
                      <a:pt x="6" y="22"/>
                    </a:lnTo>
                    <a:lnTo>
                      <a:pt x="9" y="20"/>
                    </a:lnTo>
                    <a:lnTo>
                      <a:pt x="12" y="16"/>
                    </a:lnTo>
                    <a:lnTo>
                      <a:pt x="15" y="13"/>
                    </a:lnTo>
                    <a:lnTo>
                      <a:pt x="18" y="9"/>
                    </a:lnTo>
                    <a:lnTo>
                      <a:pt x="19" y="4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5" name="Freeform 50">
                <a:extLst>
                  <a:ext uri="{FF2B5EF4-FFF2-40B4-BE49-F238E27FC236}">
                    <a16:creationId xmlns:a16="http://schemas.microsoft.com/office/drawing/2014/main" id="{365C94D4-061C-4510-B9BE-C86E23118260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2163682" y="3937515"/>
                <a:ext cx="21718" cy="61530"/>
              </a:xfrm>
              <a:custGeom>
                <a:avLst/>
                <a:gdLst>
                  <a:gd name="T0" fmla="*/ 3640242 w 33"/>
                  <a:gd name="T1" fmla="*/ 34577966 h 25"/>
                  <a:gd name="T2" fmla="*/ 0 w 33"/>
                  <a:gd name="T3" fmla="*/ 93852575 h 25"/>
                  <a:gd name="T4" fmla="*/ 2800430 w 33"/>
                  <a:gd name="T5" fmla="*/ 98791014 h 25"/>
                  <a:gd name="T6" fmla="*/ 5320394 w 33"/>
                  <a:gd name="T7" fmla="*/ 108670115 h 25"/>
                  <a:gd name="T8" fmla="*/ 7560950 w 33"/>
                  <a:gd name="T9" fmla="*/ 123489879 h 25"/>
                  <a:gd name="T10" fmla="*/ 9241102 w 33"/>
                  <a:gd name="T11" fmla="*/ 123489879 h 25"/>
                  <a:gd name="T12" fmla="*/ 9241102 w 33"/>
                  <a:gd name="T13" fmla="*/ 0 h 25"/>
                  <a:gd name="T14" fmla="*/ 7560950 w 33"/>
                  <a:gd name="T15" fmla="*/ 0 h 25"/>
                  <a:gd name="T16" fmla="*/ 3640242 w 33"/>
                  <a:gd name="T17" fmla="*/ 34577966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13" y="7"/>
                    </a:moveTo>
                    <a:lnTo>
                      <a:pt x="0" y="19"/>
                    </a:lnTo>
                    <a:lnTo>
                      <a:pt x="10" y="20"/>
                    </a:lnTo>
                    <a:lnTo>
                      <a:pt x="19" y="22"/>
                    </a:lnTo>
                    <a:lnTo>
                      <a:pt x="27" y="25"/>
                    </a:lnTo>
                    <a:lnTo>
                      <a:pt x="33" y="25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3" y="7"/>
                    </a:lnTo>
                  </a:path>
                </a:pathLst>
              </a:custGeom>
              <a:solidFill>
                <a:srgbClr val="007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6" name="Freeform 51">
                <a:extLst>
                  <a:ext uri="{FF2B5EF4-FFF2-40B4-BE49-F238E27FC236}">
                    <a16:creationId xmlns:a16="http://schemas.microsoft.com/office/drawing/2014/main" id="{0260B2C9-3F59-4635-BB9B-D78A7178EF66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2172732" y="3990254"/>
                <a:ext cx="18098" cy="65046"/>
              </a:xfrm>
              <a:custGeom>
                <a:avLst/>
                <a:gdLst>
                  <a:gd name="T0" fmla="*/ 0 w 40"/>
                  <a:gd name="T1" fmla="*/ 0 h 18"/>
                  <a:gd name="T2" fmla="*/ 472678 w 40"/>
                  <a:gd name="T3" fmla="*/ 60483750 h 18"/>
                  <a:gd name="T4" fmla="*/ 944959 w 40"/>
                  <a:gd name="T5" fmla="*/ 110886875 h 18"/>
                  <a:gd name="T6" fmla="*/ 1575197 w 40"/>
                  <a:gd name="T7" fmla="*/ 141128750 h 18"/>
                  <a:gd name="T8" fmla="*/ 2362597 w 40"/>
                  <a:gd name="T9" fmla="*/ 161290000 h 18"/>
                  <a:gd name="T10" fmla="*/ 4252913 w 40"/>
                  <a:gd name="T11" fmla="*/ 181451250 h 18"/>
                  <a:gd name="T12" fmla="*/ 6300391 w 40"/>
                  <a:gd name="T13" fmla="*/ 181451250 h 18"/>
                  <a:gd name="T14" fmla="*/ 6300391 w 40"/>
                  <a:gd name="T15" fmla="*/ 0 h 18"/>
                  <a:gd name="T16" fmla="*/ 4725194 w 40"/>
                  <a:gd name="T17" fmla="*/ 0 h 18"/>
                  <a:gd name="T18" fmla="*/ 3150394 w 40"/>
                  <a:gd name="T19" fmla="*/ 0 h 18"/>
                  <a:gd name="T20" fmla="*/ 1575197 w 40"/>
                  <a:gd name="T21" fmla="*/ 0 h 18"/>
                  <a:gd name="T22" fmla="*/ 0 w 40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0" h="18">
                    <a:moveTo>
                      <a:pt x="0" y="0"/>
                    </a:moveTo>
                    <a:lnTo>
                      <a:pt x="3" y="6"/>
                    </a:lnTo>
                    <a:lnTo>
                      <a:pt x="6" y="11"/>
                    </a:lnTo>
                    <a:lnTo>
                      <a:pt x="10" y="14"/>
                    </a:lnTo>
                    <a:lnTo>
                      <a:pt x="15" y="16"/>
                    </a:lnTo>
                    <a:lnTo>
                      <a:pt x="27" y="18"/>
                    </a:lnTo>
                    <a:lnTo>
                      <a:pt x="40" y="18"/>
                    </a:lnTo>
                    <a:lnTo>
                      <a:pt x="40" y="0"/>
                    </a:lnTo>
                    <a:lnTo>
                      <a:pt x="30" y="0"/>
                    </a:lnTo>
                    <a:lnTo>
                      <a:pt x="20" y="0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FF000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7" name="Freeform 52">
                <a:extLst>
                  <a:ext uri="{FF2B5EF4-FFF2-40B4-BE49-F238E27FC236}">
                    <a16:creationId xmlns:a16="http://schemas.microsoft.com/office/drawing/2014/main" id="{B52DF02A-B475-40E3-A83D-29E49038340F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2183591" y="4020141"/>
                <a:ext cx="3620" cy="63287"/>
              </a:xfrm>
              <a:custGeom>
                <a:avLst/>
                <a:gdLst>
                  <a:gd name="T0" fmla="*/ 333375 w 11"/>
                  <a:gd name="T1" fmla="*/ 102066328 h 32"/>
                  <a:gd name="T2" fmla="*/ 499918 w 11"/>
                  <a:gd name="T3" fmla="*/ 89307591 h 32"/>
                  <a:gd name="T4" fmla="*/ 666461 w 11"/>
                  <a:gd name="T5" fmla="*/ 79738538 h 32"/>
                  <a:gd name="T6" fmla="*/ 749877 w 11"/>
                  <a:gd name="T7" fmla="*/ 70171270 h 32"/>
                  <a:gd name="T8" fmla="*/ 833005 w 11"/>
                  <a:gd name="T9" fmla="*/ 57412533 h 32"/>
                  <a:gd name="T10" fmla="*/ 916420 w 11"/>
                  <a:gd name="T11" fmla="*/ 28705373 h 32"/>
                  <a:gd name="T12" fmla="*/ 916420 w 11"/>
                  <a:gd name="T13" fmla="*/ 0 h 32"/>
                  <a:gd name="T14" fmla="*/ 499918 w 11"/>
                  <a:gd name="T15" fmla="*/ 9569053 h 32"/>
                  <a:gd name="T16" fmla="*/ 249959 w 11"/>
                  <a:gd name="T17" fmla="*/ 22327791 h 32"/>
                  <a:gd name="T18" fmla="*/ 83416 w 11"/>
                  <a:gd name="T19" fmla="*/ 35084742 h 32"/>
                  <a:gd name="T20" fmla="*/ 0 w 11"/>
                  <a:gd name="T21" fmla="*/ 51033164 h 32"/>
                  <a:gd name="T22" fmla="*/ 0 w 11"/>
                  <a:gd name="T23" fmla="*/ 63791902 h 32"/>
                  <a:gd name="T24" fmla="*/ 83416 w 11"/>
                  <a:gd name="T25" fmla="*/ 76550639 h 32"/>
                  <a:gd name="T26" fmla="*/ 166543 w 11"/>
                  <a:gd name="T27" fmla="*/ 89307591 h 32"/>
                  <a:gd name="T28" fmla="*/ 333375 w 11"/>
                  <a:gd name="T29" fmla="*/ 102066328 h 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1" h="32">
                    <a:moveTo>
                      <a:pt x="4" y="32"/>
                    </a:moveTo>
                    <a:lnTo>
                      <a:pt x="6" y="28"/>
                    </a:lnTo>
                    <a:lnTo>
                      <a:pt x="8" y="25"/>
                    </a:lnTo>
                    <a:lnTo>
                      <a:pt x="9" y="22"/>
                    </a:lnTo>
                    <a:lnTo>
                      <a:pt x="10" y="18"/>
                    </a:lnTo>
                    <a:lnTo>
                      <a:pt x="11" y="9"/>
                    </a:lnTo>
                    <a:lnTo>
                      <a:pt x="11" y="0"/>
                    </a:lnTo>
                    <a:lnTo>
                      <a:pt x="6" y="3"/>
                    </a:lnTo>
                    <a:lnTo>
                      <a:pt x="3" y="7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1" y="24"/>
                    </a:lnTo>
                    <a:lnTo>
                      <a:pt x="2" y="28"/>
                    </a:lnTo>
                    <a:lnTo>
                      <a:pt x="4" y="32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8" name="Freeform 53">
                <a:extLst>
                  <a:ext uri="{FF2B5EF4-FFF2-40B4-BE49-F238E27FC236}">
                    <a16:creationId xmlns:a16="http://schemas.microsoft.com/office/drawing/2014/main" id="{2EB3AFED-9027-4B4A-B106-5C97B24EA8D6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2210738" y="4053541"/>
                <a:ext cx="1810" cy="61530"/>
              </a:xfrm>
              <a:custGeom>
                <a:avLst/>
                <a:gdLst>
                  <a:gd name="T0" fmla="*/ 0 w 14"/>
                  <a:gd name="T1" fmla="*/ 0 h 24"/>
                  <a:gd name="T2" fmla="*/ 0 w 14"/>
                  <a:gd name="T3" fmla="*/ 128630660 h 24"/>
                  <a:gd name="T4" fmla="*/ 180125 w 14"/>
                  <a:gd name="T5" fmla="*/ 64315330 h 24"/>
                  <a:gd name="T6" fmla="*/ 0 w 14"/>
                  <a:gd name="T7" fmla="*/ 0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14" h="24">
                    <a:moveTo>
                      <a:pt x="0" y="0"/>
                    </a:moveTo>
                    <a:lnTo>
                      <a:pt x="0" y="24"/>
                    </a:lnTo>
                    <a:lnTo>
                      <a:pt x="14" y="12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09" name="Freeform 54">
                <a:extLst>
                  <a:ext uri="{FF2B5EF4-FFF2-40B4-BE49-F238E27FC236}">
                    <a16:creationId xmlns:a16="http://schemas.microsoft.com/office/drawing/2014/main" id="{A21D632D-1CF3-4388-9812-5B70C6CF3589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163682" y="4067605"/>
                <a:ext cx="19909" cy="66803"/>
              </a:xfrm>
              <a:custGeom>
                <a:avLst/>
                <a:gdLst>
                  <a:gd name="T0" fmla="*/ 0 w 27"/>
                  <a:gd name="T1" fmla="*/ 127779080 h 18"/>
                  <a:gd name="T2" fmla="*/ 2420056 w 27"/>
                  <a:gd name="T3" fmla="*/ 159725482 h 18"/>
                  <a:gd name="T4" fmla="*/ 4494389 w 27"/>
                  <a:gd name="T5" fmla="*/ 191668621 h 18"/>
                  <a:gd name="T6" fmla="*/ 7605301 w 27"/>
                  <a:gd name="T7" fmla="*/ 74537253 h 18"/>
                  <a:gd name="T8" fmla="*/ 9333912 w 27"/>
                  <a:gd name="T9" fmla="*/ 0 h 18"/>
                  <a:gd name="T10" fmla="*/ 7605301 w 27"/>
                  <a:gd name="T11" fmla="*/ 0 h 18"/>
                  <a:gd name="T12" fmla="*/ 6222412 w 27"/>
                  <a:gd name="T13" fmla="*/ 10647713 h 18"/>
                  <a:gd name="T14" fmla="*/ 4494389 w 27"/>
                  <a:gd name="T15" fmla="*/ 21295426 h 18"/>
                  <a:gd name="T16" fmla="*/ 3457222 w 27"/>
                  <a:gd name="T17" fmla="*/ 42594115 h 18"/>
                  <a:gd name="T18" fmla="*/ 1728611 w 27"/>
                  <a:gd name="T19" fmla="*/ 85184966 h 18"/>
                  <a:gd name="T20" fmla="*/ 0 w 27"/>
                  <a:gd name="T21" fmla="*/ 127779080 h 1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7" h="18">
                    <a:moveTo>
                      <a:pt x="0" y="12"/>
                    </a:moveTo>
                    <a:lnTo>
                      <a:pt x="7" y="15"/>
                    </a:lnTo>
                    <a:lnTo>
                      <a:pt x="13" y="18"/>
                    </a:lnTo>
                    <a:lnTo>
                      <a:pt x="22" y="7"/>
                    </a:lnTo>
                    <a:lnTo>
                      <a:pt x="27" y="0"/>
                    </a:lnTo>
                    <a:lnTo>
                      <a:pt x="22" y="0"/>
                    </a:lnTo>
                    <a:lnTo>
                      <a:pt x="18" y="1"/>
                    </a:lnTo>
                    <a:lnTo>
                      <a:pt x="13" y="2"/>
                    </a:lnTo>
                    <a:lnTo>
                      <a:pt x="10" y="4"/>
                    </a:lnTo>
                    <a:lnTo>
                      <a:pt x="5" y="8"/>
                    </a:lnTo>
                    <a:lnTo>
                      <a:pt x="0" y="12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10" name="Freeform 55">
                <a:extLst>
                  <a:ext uri="{FF2B5EF4-FFF2-40B4-BE49-F238E27FC236}">
                    <a16:creationId xmlns:a16="http://schemas.microsoft.com/office/drawing/2014/main" id="{3697DD40-69BD-4E65-8649-1EBC6BE7C49A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147395" y="4141440"/>
                <a:ext cx="28957" cy="63287"/>
              </a:xfrm>
              <a:custGeom>
                <a:avLst/>
                <a:gdLst>
                  <a:gd name="T0" fmla="*/ 0 w 47"/>
                  <a:gd name="T1" fmla="*/ 48971718 h 49"/>
                  <a:gd name="T2" fmla="*/ 256866 w 47"/>
                  <a:gd name="T3" fmla="*/ 53052695 h 49"/>
                  <a:gd name="T4" fmla="*/ 513225 w 47"/>
                  <a:gd name="T5" fmla="*/ 55772568 h 49"/>
                  <a:gd name="T6" fmla="*/ 1026956 w 47"/>
                  <a:gd name="T7" fmla="*/ 58493608 h 49"/>
                  <a:gd name="T8" fmla="*/ 1540180 w 47"/>
                  <a:gd name="T9" fmla="*/ 61214648 h 49"/>
                  <a:gd name="T10" fmla="*/ 3080361 w 47"/>
                  <a:gd name="T11" fmla="*/ 65295624 h 49"/>
                  <a:gd name="T12" fmla="*/ 3593585 w 47"/>
                  <a:gd name="T13" fmla="*/ 66655561 h 49"/>
                  <a:gd name="T14" fmla="*/ 4620035 w 47"/>
                  <a:gd name="T15" fmla="*/ 66655561 h 49"/>
                  <a:gd name="T16" fmla="*/ 6160215 w 47"/>
                  <a:gd name="T17" fmla="*/ 62574585 h 49"/>
                  <a:gd name="T18" fmla="*/ 7444037 w 47"/>
                  <a:gd name="T19" fmla="*/ 57133671 h 49"/>
                  <a:gd name="T20" fmla="*/ 8983710 w 47"/>
                  <a:gd name="T21" fmla="*/ 53052695 h 49"/>
                  <a:gd name="T22" fmla="*/ 10010666 w 47"/>
                  <a:gd name="T23" fmla="*/ 47610615 h 49"/>
                  <a:gd name="T24" fmla="*/ 11293981 w 47"/>
                  <a:gd name="T25" fmla="*/ 42169702 h 49"/>
                  <a:gd name="T26" fmla="*/ 11807206 w 47"/>
                  <a:gd name="T27" fmla="*/ 36728789 h 49"/>
                  <a:gd name="T28" fmla="*/ 12064071 w 47"/>
                  <a:gd name="T29" fmla="*/ 32647812 h 49"/>
                  <a:gd name="T30" fmla="*/ 12064071 w 47"/>
                  <a:gd name="T31" fmla="*/ 16323906 h 49"/>
                  <a:gd name="T32" fmla="*/ 12064071 w 47"/>
                  <a:gd name="T33" fmla="*/ 0 h 49"/>
                  <a:gd name="T34" fmla="*/ 6930305 w 47"/>
                  <a:gd name="T35" fmla="*/ 0 h 49"/>
                  <a:gd name="T36" fmla="*/ 4363676 w 47"/>
                  <a:gd name="T37" fmla="*/ 10882993 h 49"/>
                  <a:gd name="T38" fmla="*/ 2310271 w 47"/>
                  <a:gd name="T39" fmla="*/ 21764819 h 49"/>
                  <a:gd name="T40" fmla="*/ 1283315 w 47"/>
                  <a:gd name="T41" fmla="*/ 27206899 h 49"/>
                  <a:gd name="T42" fmla="*/ 513225 w 47"/>
                  <a:gd name="T43" fmla="*/ 34007749 h 49"/>
                  <a:gd name="T44" fmla="*/ 256866 w 47"/>
                  <a:gd name="T45" fmla="*/ 40809765 h 49"/>
                  <a:gd name="T46" fmla="*/ 0 w 47"/>
                  <a:gd name="T47" fmla="*/ 48971718 h 49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47" h="49">
                    <a:moveTo>
                      <a:pt x="0" y="36"/>
                    </a:moveTo>
                    <a:lnTo>
                      <a:pt x="1" y="39"/>
                    </a:lnTo>
                    <a:lnTo>
                      <a:pt x="2" y="41"/>
                    </a:lnTo>
                    <a:lnTo>
                      <a:pt x="4" y="43"/>
                    </a:lnTo>
                    <a:lnTo>
                      <a:pt x="6" y="45"/>
                    </a:lnTo>
                    <a:lnTo>
                      <a:pt x="12" y="48"/>
                    </a:lnTo>
                    <a:lnTo>
                      <a:pt x="14" y="49"/>
                    </a:lnTo>
                    <a:lnTo>
                      <a:pt x="18" y="49"/>
                    </a:lnTo>
                    <a:lnTo>
                      <a:pt x="24" y="46"/>
                    </a:lnTo>
                    <a:lnTo>
                      <a:pt x="29" y="42"/>
                    </a:lnTo>
                    <a:lnTo>
                      <a:pt x="35" y="39"/>
                    </a:lnTo>
                    <a:lnTo>
                      <a:pt x="39" y="35"/>
                    </a:lnTo>
                    <a:lnTo>
                      <a:pt x="44" y="31"/>
                    </a:lnTo>
                    <a:lnTo>
                      <a:pt x="46" y="27"/>
                    </a:lnTo>
                    <a:lnTo>
                      <a:pt x="47" y="24"/>
                    </a:lnTo>
                    <a:lnTo>
                      <a:pt x="47" y="12"/>
                    </a:lnTo>
                    <a:lnTo>
                      <a:pt x="47" y="0"/>
                    </a:lnTo>
                    <a:lnTo>
                      <a:pt x="27" y="0"/>
                    </a:lnTo>
                    <a:lnTo>
                      <a:pt x="17" y="8"/>
                    </a:lnTo>
                    <a:lnTo>
                      <a:pt x="9" y="16"/>
                    </a:lnTo>
                    <a:lnTo>
                      <a:pt x="5" y="20"/>
                    </a:lnTo>
                    <a:lnTo>
                      <a:pt x="2" y="25"/>
                    </a:lnTo>
                    <a:lnTo>
                      <a:pt x="1" y="30"/>
                    </a:lnTo>
                    <a:lnTo>
                      <a:pt x="0" y="36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11" name="Freeform 56">
                <a:extLst>
                  <a:ext uri="{FF2B5EF4-FFF2-40B4-BE49-F238E27FC236}">
                    <a16:creationId xmlns:a16="http://schemas.microsoft.com/office/drawing/2014/main" id="{87FAE283-40D2-40A8-B22E-F7323BA95101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165493" y="4051784"/>
                <a:ext cx="14479" cy="63287"/>
              </a:xfrm>
              <a:custGeom>
                <a:avLst/>
                <a:gdLst>
                  <a:gd name="T0" fmla="*/ 0 w 26"/>
                  <a:gd name="T1" fmla="*/ 0 h 9"/>
                  <a:gd name="T2" fmla="*/ 0 w 26"/>
                  <a:gd name="T3" fmla="*/ 161290000 h 9"/>
                  <a:gd name="T4" fmla="*/ 715596 w 26"/>
                  <a:gd name="T5" fmla="*/ 282257500 h 9"/>
                  <a:gd name="T6" fmla="*/ 1431681 w 26"/>
                  <a:gd name="T7" fmla="*/ 322580000 h 9"/>
                  <a:gd name="T8" fmla="*/ 2624504 w 26"/>
                  <a:gd name="T9" fmla="*/ 362902500 h 9"/>
                  <a:gd name="T10" fmla="*/ 3578958 w 26"/>
                  <a:gd name="T11" fmla="*/ 322580000 h 9"/>
                  <a:gd name="T12" fmla="*/ 4771781 w 26"/>
                  <a:gd name="T13" fmla="*/ 282257500 h 9"/>
                  <a:gd name="T14" fmla="*/ 5487865 w 26"/>
                  <a:gd name="T15" fmla="*/ 161290000 h 9"/>
                  <a:gd name="T16" fmla="*/ 6203462 w 26"/>
                  <a:gd name="T17" fmla="*/ 0 h 9"/>
                  <a:gd name="T18" fmla="*/ 0 w 26"/>
                  <a:gd name="T19" fmla="*/ 0 h 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6" h="9">
                    <a:moveTo>
                      <a:pt x="0" y="0"/>
                    </a:moveTo>
                    <a:lnTo>
                      <a:pt x="0" y="4"/>
                    </a:lnTo>
                    <a:lnTo>
                      <a:pt x="3" y="7"/>
                    </a:lnTo>
                    <a:lnTo>
                      <a:pt x="6" y="8"/>
                    </a:lnTo>
                    <a:lnTo>
                      <a:pt x="11" y="9"/>
                    </a:lnTo>
                    <a:lnTo>
                      <a:pt x="15" y="8"/>
                    </a:lnTo>
                    <a:lnTo>
                      <a:pt x="20" y="7"/>
                    </a:lnTo>
                    <a:lnTo>
                      <a:pt x="23" y="4"/>
                    </a:lnTo>
                    <a:lnTo>
                      <a:pt x="26" y="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2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12" name="Freeform 57">
                <a:extLst>
                  <a:ext uri="{FF2B5EF4-FFF2-40B4-BE49-F238E27FC236}">
                    <a16:creationId xmlns:a16="http://schemas.microsoft.com/office/drawing/2014/main" id="{11DC84F7-051B-4033-B518-3D4F2153625B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546532" y="3744138"/>
                <a:ext cx="18098" cy="65046"/>
              </a:xfrm>
              <a:custGeom>
                <a:avLst/>
                <a:gdLst>
                  <a:gd name="T0" fmla="*/ 0 w 39"/>
                  <a:gd name="T1" fmla="*/ 0 h 18"/>
                  <a:gd name="T2" fmla="*/ 0 w 39"/>
                  <a:gd name="T3" fmla="*/ 181451250 h 18"/>
                  <a:gd name="T4" fmla="*/ 994019 w 39"/>
                  <a:gd name="T5" fmla="*/ 181451250 h 18"/>
                  <a:gd name="T6" fmla="*/ 2154115 w 39"/>
                  <a:gd name="T7" fmla="*/ 181451250 h 18"/>
                  <a:gd name="T8" fmla="*/ 3810814 w 39"/>
                  <a:gd name="T9" fmla="*/ 171370625 h 18"/>
                  <a:gd name="T10" fmla="*/ 4970910 w 39"/>
                  <a:gd name="T11" fmla="*/ 141128750 h 18"/>
                  <a:gd name="T12" fmla="*/ 5633590 w 39"/>
                  <a:gd name="T13" fmla="*/ 120967500 h 18"/>
                  <a:gd name="T14" fmla="*/ 6130599 w 39"/>
                  <a:gd name="T15" fmla="*/ 100806250 h 18"/>
                  <a:gd name="T16" fmla="*/ 6296269 w 39"/>
                  <a:gd name="T17" fmla="*/ 80645000 h 18"/>
                  <a:gd name="T18" fmla="*/ 6461939 w 39"/>
                  <a:gd name="T19" fmla="*/ 60483750 h 18"/>
                  <a:gd name="T20" fmla="*/ 4804833 w 39"/>
                  <a:gd name="T21" fmla="*/ 50403125 h 18"/>
                  <a:gd name="T22" fmla="*/ 3148135 w 39"/>
                  <a:gd name="T23" fmla="*/ 30241875 h 18"/>
                  <a:gd name="T24" fmla="*/ 1657106 w 39"/>
                  <a:gd name="T25" fmla="*/ 0 h 18"/>
                  <a:gd name="T26" fmla="*/ 0 w 39"/>
                  <a:gd name="T27" fmla="*/ 0 h 18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9" h="18">
                    <a:moveTo>
                      <a:pt x="0" y="0"/>
                    </a:moveTo>
                    <a:lnTo>
                      <a:pt x="0" y="18"/>
                    </a:lnTo>
                    <a:lnTo>
                      <a:pt x="6" y="18"/>
                    </a:lnTo>
                    <a:lnTo>
                      <a:pt x="13" y="18"/>
                    </a:lnTo>
                    <a:lnTo>
                      <a:pt x="23" y="17"/>
                    </a:lnTo>
                    <a:lnTo>
                      <a:pt x="30" y="14"/>
                    </a:lnTo>
                    <a:lnTo>
                      <a:pt x="34" y="12"/>
                    </a:lnTo>
                    <a:lnTo>
                      <a:pt x="37" y="10"/>
                    </a:lnTo>
                    <a:lnTo>
                      <a:pt x="38" y="8"/>
                    </a:lnTo>
                    <a:lnTo>
                      <a:pt x="39" y="6"/>
                    </a:lnTo>
                    <a:lnTo>
                      <a:pt x="29" y="5"/>
                    </a:lnTo>
                    <a:lnTo>
                      <a:pt x="19" y="3"/>
                    </a:lnTo>
                    <a:lnTo>
                      <a:pt x="1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BDD7EE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613" name="Group 58">
                <a:extLst>
                  <a:ext uri="{FF2B5EF4-FFF2-40B4-BE49-F238E27FC236}">
                    <a16:creationId xmlns:a16="http://schemas.microsoft.com/office/drawing/2014/main" id="{9F227221-DF23-4234-B77F-E119F53D134A}"/>
                  </a:ext>
                </a:extLst>
              </p:cNvPr>
              <p:cNvGrpSpPr>
                <a:grpSpLocks/>
              </p:cNvGrpSpPr>
              <p:nvPr>
                <p:custDataLst>
                  <p:tags r:id="rId51"/>
                </p:custDataLst>
              </p:nvPr>
            </p:nvGrpSpPr>
            <p:grpSpPr bwMode="auto">
              <a:xfrm>
                <a:off x="1697293" y="3557120"/>
                <a:ext cx="158883" cy="219537"/>
                <a:chOff x="1199" y="2121"/>
                <a:chExt cx="97" cy="123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098" name="Freeform 59">
                  <a:extLst>
                    <a:ext uri="{FF2B5EF4-FFF2-40B4-BE49-F238E27FC236}">
                      <a16:creationId xmlns:a16="http://schemas.microsoft.com/office/drawing/2014/main" id="{9D45F7C7-87D3-4585-8F3C-2FFDC58525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4" y="2236"/>
                  <a:ext cx="16" cy="8"/>
                </a:xfrm>
                <a:custGeom>
                  <a:avLst/>
                  <a:gdLst>
                    <a:gd name="T0" fmla="*/ 0 w 52"/>
                    <a:gd name="T1" fmla="*/ 3 h 25"/>
                    <a:gd name="T2" fmla="*/ 1 w 52"/>
                    <a:gd name="T3" fmla="*/ 3 h 25"/>
                    <a:gd name="T4" fmla="*/ 2 w 52"/>
                    <a:gd name="T5" fmla="*/ 3 h 25"/>
                    <a:gd name="T6" fmla="*/ 2 w 52"/>
                    <a:gd name="T7" fmla="*/ 2 h 25"/>
                    <a:gd name="T8" fmla="*/ 3 w 52"/>
                    <a:gd name="T9" fmla="*/ 2 h 25"/>
                    <a:gd name="T10" fmla="*/ 4 w 52"/>
                    <a:gd name="T11" fmla="*/ 2 h 25"/>
                    <a:gd name="T12" fmla="*/ 4 w 52"/>
                    <a:gd name="T13" fmla="*/ 1 h 25"/>
                    <a:gd name="T14" fmla="*/ 5 w 52"/>
                    <a:gd name="T15" fmla="*/ 1 h 25"/>
                    <a:gd name="T16" fmla="*/ 5 w 52"/>
                    <a:gd name="T17" fmla="*/ 0 h 25"/>
                    <a:gd name="T18" fmla="*/ 4 w 52"/>
                    <a:gd name="T19" fmla="*/ 0 h 25"/>
                    <a:gd name="T20" fmla="*/ 3 w 52"/>
                    <a:gd name="T21" fmla="*/ 0 h 25"/>
                    <a:gd name="T22" fmla="*/ 2 w 52"/>
                    <a:gd name="T23" fmla="*/ 0 h 25"/>
                    <a:gd name="T24" fmla="*/ 2 w 52"/>
                    <a:gd name="T25" fmla="*/ 0 h 25"/>
                    <a:gd name="T26" fmla="*/ 1 w 52"/>
                    <a:gd name="T27" fmla="*/ 1 h 25"/>
                    <a:gd name="T28" fmla="*/ 1 w 52"/>
                    <a:gd name="T29" fmla="*/ 1 h 25"/>
                    <a:gd name="T30" fmla="*/ 0 w 52"/>
                    <a:gd name="T31" fmla="*/ 2 h 25"/>
                    <a:gd name="T32" fmla="*/ 0 w 52"/>
                    <a:gd name="T33" fmla="*/ 3 h 2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52" h="25">
                      <a:moveTo>
                        <a:pt x="0" y="25"/>
                      </a:moveTo>
                      <a:lnTo>
                        <a:pt x="7" y="25"/>
                      </a:lnTo>
                      <a:lnTo>
                        <a:pt x="15" y="24"/>
                      </a:lnTo>
                      <a:lnTo>
                        <a:pt x="23" y="22"/>
                      </a:lnTo>
                      <a:lnTo>
                        <a:pt x="30" y="19"/>
                      </a:lnTo>
                      <a:lnTo>
                        <a:pt x="38" y="15"/>
                      </a:lnTo>
                      <a:lnTo>
                        <a:pt x="43" y="11"/>
                      </a:lnTo>
                      <a:lnTo>
                        <a:pt x="49" y="6"/>
                      </a:lnTo>
                      <a:lnTo>
                        <a:pt x="52" y="0"/>
                      </a:lnTo>
                      <a:lnTo>
                        <a:pt x="40" y="0"/>
                      </a:lnTo>
                      <a:lnTo>
                        <a:pt x="31" y="0"/>
                      </a:lnTo>
                      <a:lnTo>
                        <a:pt x="23" y="1"/>
                      </a:lnTo>
                      <a:lnTo>
                        <a:pt x="16" y="3"/>
                      </a:lnTo>
                      <a:lnTo>
                        <a:pt x="11" y="6"/>
                      </a:lnTo>
                      <a:lnTo>
                        <a:pt x="5" y="10"/>
                      </a:lnTo>
                      <a:lnTo>
                        <a:pt x="2" y="16"/>
                      </a:lnTo>
                      <a:lnTo>
                        <a:pt x="0" y="25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99" name="Freeform 60">
                  <a:extLst>
                    <a:ext uri="{FF2B5EF4-FFF2-40B4-BE49-F238E27FC236}">
                      <a16:creationId xmlns:a16="http://schemas.microsoft.com/office/drawing/2014/main" id="{12045ADF-4A59-47E6-B24E-FA7326A4BE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99" y="2131"/>
                  <a:ext cx="11" cy="4"/>
                </a:xfrm>
                <a:custGeom>
                  <a:avLst/>
                  <a:gdLst>
                    <a:gd name="T0" fmla="*/ 0 w 33"/>
                    <a:gd name="T1" fmla="*/ 0 h 13"/>
                    <a:gd name="T2" fmla="*/ 0 w 33"/>
                    <a:gd name="T3" fmla="*/ 1 h 13"/>
                    <a:gd name="T4" fmla="*/ 0 w 33"/>
                    <a:gd name="T5" fmla="*/ 1 h 13"/>
                    <a:gd name="T6" fmla="*/ 1 w 33"/>
                    <a:gd name="T7" fmla="*/ 1 h 13"/>
                    <a:gd name="T8" fmla="*/ 2 w 33"/>
                    <a:gd name="T9" fmla="*/ 1 h 13"/>
                    <a:gd name="T10" fmla="*/ 3 w 33"/>
                    <a:gd name="T11" fmla="*/ 1 h 13"/>
                    <a:gd name="T12" fmla="*/ 4 w 33"/>
                    <a:gd name="T13" fmla="*/ 1 h 13"/>
                    <a:gd name="T14" fmla="*/ 3 w 33"/>
                    <a:gd name="T15" fmla="*/ 0 h 13"/>
                    <a:gd name="T16" fmla="*/ 2 w 33"/>
                    <a:gd name="T17" fmla="*/ 0 h 13"/>
                    <a:gd name="T18" fmla="*/ 1 w 33"/>
                    <a:gd name="T19" fmla="*/ 0 h 13"/>
                    <a:gd name="T20" fmla="*/ 0 w 33"/>
                    <a:gd name="T21" fmla="*/ 0 h 13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33" h="13">
                      <a:moveTo>
                        <a:pt x="0" y="0"/>
                      </a:moveTo>
                      <a:lnTo>
                        <a:pt x="0" y="6"/>
                      </a:lnTo>
                      <a:lnTo>
                        <a:pt x="0" y="13"/>
                      </a:lnTo>
                      <a:lnTo>
                        <a:pt x="9" y="13"/>
                      </a:lnTo>
                      <a:lnTo>
                        <a:pt x="16" y="13"/>
                      </a:lnTo>
                      <a:lnTo>
                        <a:pt x="24" y="11"/>
                      </a:lnTo>
                      <a:lnTo>
                        <a:pt x="33" y="6"/>
                      </a:lnTo>
                      <a:lnTo>
                        <a:pt x="24" y="3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00" name="Freeform 61">
                  <a:extLst>
                    <a:ext uri="{FF2B5EF4-FFF2-40B4-BE49-F238E27FC236}">
                      <a16:creationId xmlns:a16="http://schemas.microsoft.com/office/drawing/2014/main" id="{E120B620-0762-4295-A47B-1394BAE514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10" y="2121"/>
                  <a:ext cx="20" cy="28"/>
                </a:xfrm>
                <a:custGeom>
                  <a:avLst/>
                  <a:gdLst>
                    <a:gd name="T0" fmla="*/ 2 w 67"/>
                    <a:gd name="T1" fmla="*/ 2 h 86"/>
                    <a:gd name="T2" fmla="*/ 0 w 67"/>
                    <a:gd name="T3" fmla="*/ 0 h 86"/>
                    <a:gd name="T4" fmla="*/ 2 w 67"/>
                    <a:gd name="T5" fmla="*/ 0 h 86"/>
                    <a:gd name="T6" fmla="*/ 3 w 67"/>
                    <a:gd name="T7" fmla="*/ 0 h 86"/>
                    <a:gd name="T8" fmla="*/ 3 w 67"/>
                    <a:gd name="T9" fmla="*/ 1 h 86"/>
                    <a:gd name="T10" fmla="*/ 3 w 67"/>
                    <a:gd name="T11" fmla="*/ 1 h 86"/>
                    <a:gd name="T12" fmla="*/ 4 w 67"/>
                    <a:gd name="T13" fmla="*/ 2 h 86"/>
                    <a:gd name="T14" fmla="*/ 4 w 67"/>
                    <a:gd name="T15" fmla="*/ 2 h 86"/>
                    <a:gd name="T16" fmla="*/ 5 w 67"/>
                    <a:gd name="T17" fmla="*/ 2 h 86"/>
                    <a:gd name="T18" fmla="*/ 5 w 67"/>
                    <a:gd name="T19" fmla="*/ 3 h 86"/>
                    <a:gd name="T20" fmla="*/ 6 w 67"/>
                    <a:gd name="T21" fmla="*/ 4 h 86"/>
                    <a:gd name="T22" fmla="*/ 6 w 67"/>
                    <a:gd name="T23" fmla="*/ 5 h 86"/>
                    <a:gd name="T24" fmla="*/ 6 w 67"/>
                    <a:gd name="T25" fmla="*/ 5 h 86"/>
                    <a:gd name="T26" fmla="*/ 6 w 67"/>
                    <a:gd name="T27" fmla="*/ 6 h 86"/>
                    <a:gd name="T28" fmla="*/ 6 w 67"/>
                    <a:gd name="T29" fmla="*/ 7 h 86"/>
                    <a:gd name="T30" fmla="*/ 6 w 67"/>
                    <a:gd name="T31" fmla="*/ 8 h 86"/>
                    <a:gd name="T32" fmla="*/ 5 w 67"/>
                    <a:gd name="T33" fmla="*/ 9 h 86"/>
                    <a:gd name="T34" fmla="*/ 5 w 67"/>
                    <a:gd name="T35" fmla="*/ 7 h 86"/>
                    <a:gd name="T36" fmla="*/ 4 w 67"/>
                    <a:gd name="T37" fmla="*/ 6 h 86"/>
                    <a:gd name="T38" fmla="*/ 4 w 67"/>
                    <a:gd name="T39" fmla="*/ 5 h 86"/>
                    <a:gd name="T40" fmla="*/ 4 w 67"/>
                    <a:gd name="T41" fmla="*/ 4 h 86"/>
                    <a:gd name="T42" fmla="*/ 4 w 67"/>
                    <a:gd name="T43" fmla="*/ 4 h 86"/>
                    <a:gd name="T44" fmla="*/ 5 w 67"/>
                    <a:gd name="T45" fmla="*/ 3 h 86"/>
                    <a:gd name="T46" fmla="*/ 4 w 67"/>
                    <a:gd name="T47" fmla="*/ 3 h 86"/>
                    <a:gd name="T48" fmla="*/ 3 w 67"/>
                    <a:gd name="T49" fmla="*/ 3 h 86"/>
                    <a:gd name="T50" fmla="*/ 3 w 67"/>
                    <a:gd name="T51" fmla="*/ 3 h 86"/>
                    <a:gd name="T52" fmla="*/ 2 w 67"/>
                    <a:gd name="T53" fmla="*/ 3 h 86"/>
                    <a:gd name="T54" fmla="*/ 2 w 67"/>
                    <a:gd name="T55" fmla="*/ 2 h 86"/>
                    <a:gd name="T56" fmla="*/ 2 w 67"/>
                    <a:gd name="T57" fmla="*/ 2 h 8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67" h="86">
                      <a:moveTo>
                        <a:pt x="26" y="18"/>
                      </a:moveTo>
                      <a:lnTo>
                        <a:pt x="0" y="0"/>
                      </a:lnTo>
                      <a:lnTo>
                        <a:pt x="26" y="0"/>
                      </a:lnTo>
                      <a:lnTo>
                        <a:pt x="29" y="4"/>
                      </a:lnTo>
                      <a:lnTo>
                        <a:pt x="33" y="8"/>
                      </a:lnTo>
                      <a:lnTo>
                        <a:pt x="36" y="11"/>
                      </a:lnTo>
                      <a:lnTo>
                        <a:pt x="39" y="14"/>
                      </a:lnTo>
                      <a:lnTo>
                        <a:pt x="47" y="17"/>
                      </a:lnTo>
                      <a:lnTo>
                        <a:pt x="54" y="18"/>
                      </a:lnTo>
                      <a:lnTo>
                        <a:pt x="58" y="30"/>
                      </a:lnTo>
                      <a:lnTo>
                        <a:pt x="62" y="40"/>
                      </a:lnTo>
                      <a:lnTo>
                        <a:pt x="63" y="45"/>
                      </a:lnTo>
                      <a:lnTo>
                        <a:pt x="66" y="50"/>
                      </a:lnTo>
                      <a:lnTo>
                        <a:pt x="66" y="55"/>
                      </a:lnTo>
                      <a:lnTo>
                        <a:pt x="67" y="61"/>
                      </a:lnTo>
                      <a:lnTo>
                        <a:pt x="63" y="74"/>
                      </a:lnTo>
                      <a:lnTo>
                        <a:pt x="60" y="86"/>
                      </a:lnTo>
                      <a:lnTo>
                        <a:pt x="55" y="69"/>
                      </a:lnTo>
                      <a:lnTo>
                        <a:pt x="51" y="54"/>
                      </a:lnTo>
                      <a:lnTo>
                        <a:pt x="50" y="47"/>
                      </a:lnTo>
                      <a:lnTo>
                        <a:pt x="50" y="41"/>
                      </a:lnTo>
                      <a:lnTo>
                        <a:pt x="51" y="35"/>
                      </a:lnTo>
                      <a:lnTo>
                        <a:pt x="54" y="30"/>
                      </a:lnTo>
                      <a:lnTo>
                        <a:pt x="44" y="30"/>
                      </a:lnTo>
                      <a:lnTo>
                        <a:pt x="35" y="29"/>
                      </a:lnTo>
                      <a:lnTo>
                        <a:pt x="32" y="27"/>
                      </a:lnTo>
                      <a:lnTo>
                        <a:pt x="28" y="25"/>
                      </a:lnTo>
                      <a:lnTo>
                        <a:pt x="27" y="22"/>
                      </a:lnTo>
                      <a:lnTo>
                        <a:pt x="26" y="18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01" name="Freeform 62">
                  <a:extLst>
                    <a:ext uri="{FF2B5EF4-FFF2-40B4-BE49-F238E27FC236}">
                      <a16:creationId xmlns:a16="http://schemas.microsoft.com/office/drawing/2014/main" id="{7E8D3C8E-A204-4E47-8ED4-DFE39E6290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01" y="2159"/>
                  <a:ext cx="16" cy="28"/>
                </a:xfrm>
                <a:custGeom>
                  <a:avLst/>
                  <a:gdLst>
                    <a:gd name="T0" fmla="*/ 3 w 49"/>
                    <a:gd name="T1" fmla="*/ 1 h 86"/>
                    <a:gd name="T2" fmla="*/ 2 w 49"/>
                    <a:gd name="T3" fmla="*/ 1 h 86"/>
                    <a:gd name="T4" fmla="*/ 2 w 49"/>
                    <a:gd name="T5" fmla="*/ 0 h 86"/>
                    <a:gd name="T6" fmla="*/ 1 w 49"/>
                    <a:gd name="T7" fmla="*/ 1 h 86"/>
                    <a:gd name="T8" fmla="*/ 1 w 49"/>
                    <a:gd name="T9" fmla="*/ 1 h 86"/>
                    <a:gd name="T10" fmla="*/ 0 w 49"/>
                    <a:gd name="T11" fmla="*/ 2 h 86"/>
                    <a:gd name="T12" fmla="*/ 0 w 49"/>
                    <a:gd name="T13" fmla="*/ 3 h 86"/>
                    <a:gd name="T14" fmla="*/ 0 w 49"/>
                    <a:gd name="T15" fmla="*/ 4 h 86"/>
                    <a:gd name="T16" fmla="*/ 0 w 49"/>
                    <a:gd name="T17" fmla="*/ 5 h 86"/>
                    <a:gd name="T18" fmla="*/ 1 w 49"/>
                    <a:gd name="T19" fmla="*/ 5 h 86"/>
                    <a:gd name="T20" fmla="*/ 1 w 49"/>
                    <a:gd name="T21" fmla="*/ 6 h 86"/>
                    <a:gd name="T22" fmla="*/ 1 w 49"/>
                    <a:gd name="T23" fmla="*/ 7 h 86"/>
                    <a:gd name="T24" fmla="*/ 2 w 49"/>
                    <a:gd name="T25" fmla="*/ 8 h 86"/>
                    <a:gd name="T26" fmla="*/ 2 w 49"/>
                    <a:gd name="T27" fmla="*/ 8 h 86"/>
                    <a:gd name="T28" fmla="*/ 3 w 49"/>
                    <a:gd name="T29" fmla="*/ 9 h 86"/>
                    <a:gd name="T30" fmla="*/ 3 w 49"/>
                    <a:gd name="T31" fmla="*/ 8 h 86"/>
                    <a:gd name="T32" fmla="*/ 4 w 49"/>
                    <a:gd name="T33" fmla="*/ 7 h 86"/>
                    <a:gd name="T34" fmla="*/ 5 w 49"/>
                    <a:gd name="T35" fmla="*/ 6 h 86"/>
                    <a:gd name="T36" fmla="*/ 5 w 49"/>
                    <a:gd name="T37" fmla="*/ 5 h 86"/>
                    <a:gd name="T38" fmla="*/ 5 w 49"/>
                    <a:gd name="T39" fmla="*/ 4 h 86"/>
                    <a:gd name="T40" fmla="*/ 5 w 49"/>
                    <a:gd name="T41" fmla="*/ 4 h 86"/>
                    <a:gd name="T42" fmla="*/ 5 w 49"/>
                    <a:gd name="T43" fmla="*/ 3 h 86"/>
                    <a:gd name="T44" fmla="*/ 5 w 49"/>
                    <a:gd name="T45" fmla="*/ 2 h 86"/>
                    <a:gd name="T46" fmla="*/ 5 w 49"/>
                    <a:gd name="T47" fmla="*/ 2 h 86"/>
                    <a:gd name="T48" fmla="*/ 4 w 49"/>
                    <a:gd name="T49" fmla="*/ 2 h 86"/>
                    <a:gd name="T50" fmla="*/ 4 w 49"/>
                    <a:gd name="T51" fmla="*/ 1 h 86"/>
                    <a:gd name="T52" fmla="*/ 3 w 49"/>
                    <a:gd name="T53" fmla="*/ 1 h 8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0" t="0" r="r" b="b"/>
                  <a:pathLst>
                    <a:path w="49" h="86">
                      <a:moveTo>
                        <a:pt x="27" y="12"/>
                      </a:moveTo>
                      <a:lnTo>
                        <a:pt x="20" y="6"/>
                      </a:lnTo>
                      <a:lnTo>
                        <a:pt x="14" y="0"/>
                      </a:lnTo>
                      <a:lnTo>
                        <a:pt x="9" y="5"/>
                      </a:lnTo>
                      <a:lnTo>
                        <a:pt x="5" y="13"/>
                      </a:lnTo>
                      <a:lnTo>
                        <a:pt x="1" y="21"/>
                      </a:lnTo>
                      <a:lnTo>
                        <a:pt x="0" y="30"/>
                      </a:lnTo>
                      <a:lnTo>
                        <a:pt x="0" y="36"/>
                      </a:lnTo>
                      <a:lnTo>
                        <a:pt x="3" y="43"/>
                      </a:lnTo>
                      <a:lnTo>
                        <a:pt x="5" y="50"/>
                      </a:lnTo>
                      <a:lnTo>
                        <a:pt x="8" y="58"/>
                      </a:lnTo>
                      <a:lnTo>
                        <a:pt x="12" y="66"/>
                      </a:lnTo>
                      <a:lnTo>
                        <a:pt x="17" y="74"/>
                      </a:lnTo>
                      <a:lnTo>
                        <a:pt x="22" y="80"/>
                      </a:lnTo>
                      <a:lnTo>
                        <a:pt x="27" y="86"/>
                      </a:lnTo>
                      <a:lnTo>
                        <a:pt x="31" y="79"/>
                      </a:lnTo>
                      <a:lnTo>
                        <a:pt x="37" y="69"/>
                      </a:lnTo>
                      <a:lnTo>
                        <a:pt x="42" y="57"/>
                      </a:lnTo>
                      <a:lnTo>
                        <a:pt x="46" y="45"/>
                      </a:lnTo>
                      <a:lnTo>
                        <a:pt x="49" y="39"/>
                      </a:lnTo>
                      <a:lnTo>
                        <a:pt x="49" y="33"/>
                      </a:lnTo>
                      <a:lnTo>
                        <a:pt x="49" y="26"/>
                      </a:lnTo>
                      <a:lnTo>
                        <a:pt x="48" y="22"/>
                      </a:lnTo>
                      <a:lnTo>
                        <a:pt x="44" y="18"/>
                      </a:lnTo>
                      <a:lnTo>
                        <a:pt x="40" y="15"/>
                      </a:lnTo>
                      <a:lnTo>
                        <a:pt x="34" y="13"/>
                      </a:lnTo>
                      <a:lnTo>
                        <a:pt x="27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02" name="Freeform 63">
                  <a:extLst>
                    <a:ext uri="{FF2B5EF4-FFF2-40B4-BE49-F238E27FC236}">
                      <a16:creationId xmlns:a16="http://schemas.microsoft.com/office/drawing/2014/main" id="{1D48482F-109A-4BD3-977D-A16071BD09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26" y="2161"/>
                  <a:ext cx="2" cy="4"/>
                </a:xfrm>
                <a:custGeom>
                  <a:avLst/>
                  <a:gdLst>
                    <a:gd name="T0" fmla="*/ 0 w 6"/>
                    <a:gd name="T1" fmla="*/ 1 h 12"/>
                    <a:gd name="T2" fmla="*/ 1 w 6"/>
                    <a:gd name="T3" fmla="*/ 0 h 12"/>
                    <a:gd name="T4" fmla="*/ 0 w 6"/>
                    <a:gd name="T5" fmla="*/ 0 h 12"/>
                    <a:gd name="T6" fmla="*/ 0 w 6"/>
                    <a:gd name="T7" fmla="*/ 0 h 12"/>
                    <a:gd name="T8" fmla="*/ 0 w 6"/>
                    <a:gd name="T9" fmla="*/ 0 h 12"/>
                    <a:gd name="T10" fmla="*/ 0 w 6"/>
                    <a:gd name="T11" fmla="*/ 1 h 12"/>
                    <a:gd name="T12" fmla="*/ 0 w 6"/>
                    <a:gd name="T13" fmla="*/ 1 h 12"/>
                    <a:gd name="T14" fmla="*/ 0 w 6"/>
                    <a:gd name="T15" fmla="*/ 1 h 12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6" h="12">
                      <a:moveTo>
                        <a:pt x="0" y="12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2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0" y="10"/>
                      </a:lnTo>
                      <a:lnTo>
                        <a:pt x="0" y="12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03" name="Freeform 64">
                  <a:extLst>
                    <a:ext uri="{FF2B5EF4-FFF2-40B4-BE49-F238E27FC236}">
                      <a16:creationId xmlns:a16="http://schemas.microsoft.com/office/drawing/2014/main" id="{852FA785-5D5F-4166-B5E0-56B22F7001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30" y="2154"/>
                  <a:ext cx="13" cy="15"/>
                </a:xfrm>
                <a:custGeom>
                  <a:avLst/>
                  <a:gdLst>
                    <a:gd name="T0" fmla="*/ 0 w 39"/>
                    <a:gd name="T1" fmla="*/ 0 h 48"/>
                    <a:gd name="T2" fmla="*/ 1 w 39"/>
                    <a:gd name="T3" fmla="*/ 1 h 48"/>
                    <a:gd name="T4" fmla="*/ 2 w 39"/>
                    <a:gd name="T5" fmla="*/ 2 h 48"/>
                    <a:gd name="T6" fmla="*/ 4 w 39"/>
                    <a:gd name="T7" fmla="*/ 3 h 48"/>
                    <a:gd name="T8" fmla="*/ 4 w 39"/>
                    <a:gd name="T9" fmla="*/ 3 h 48"/>
                    <a:gd name="T10" fmla="*/ 4 w 39"/>
                    <a:gd name="T11" fmla="*/ 4 h 48"/>
                    <a:gd name="T12" fmla="*/ 4 w 39"/>
                    <a:gd name="T13" fmla="*/ 5 h 48"/>
                    <a:gd name="T14" fmla="*/ 2 w 39"/>
                    <a:gd name="T15" fmla="*/ 3 h 48"/>
                    <a:gd name="T16" fmla="*/ 1 w 39"/>
                    <a:gd name="T17" fmla="*/ 3 h 48"/>
                    <a:gd name="T18" fmla="*/ 0 w 39"/>
                    <a:gd name="T19" fmla="*/ 2 h 48"/>
                    <a:gd name="T20" fmla="*/ 0 w 39"/>
                    <a:gd name="T21" fmla="*/ 2 h 48"/>
                    <a:gd name="T22" fmla="*/ 0 w 39"/>
                    <a:gd name="T23" fmla="*/ 1 h 48"/>
                    <a:gd name="T24" fmla="*/ 0 w 39"/>
                    <a:gd name="T25" fmla="*/ 0 h 4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9" h="48">
                      <a:moveTo>
                        <a:pt x="0" y="0"/>
                      </a:moveTo>
                      <a:lnTo>
                        <a:pt x="11" y="9"/>
                      </a:lnTo>
                      <a:lnTo>
                        <a:pt x="22" y="17"/>
                      </a:lnTo>
                      <a:lnTo>
                        <a:pt x="32" y="24"/>
                      </a:lnTo>
                      <a:lnTo>
                        <a:pt x="39" y="30"/>
                      </a:lnTo>
                      <a:lnTo>
                        <a:pt x="36" y="39"/>
                      </a:lnTo>
                      <a:lnTo>
                        <a:pt x="33" y="48"/>
                      </a:lnTo>
                      <a:lnTo>
                        <a:pt x="18" y="36"/>
                      </a:lnTo>
                      <a:lnTo>
                        <a:pt x="8" y="26"/>
                      </a:lnTo>
                      <a:lnTo>
                        <a:pt x="4" y="21"/>
                      </a:lnTo>
                      <a:lnTo>
                        <a:pt x="2" y="15"/>
                      </a:lnTo>
                      <a:lnTo>
                        <a:pt x="0" y="8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04" name="Freeform 65">
                  <a:extLst>
                    <a:ext uri="{FF2B5EF4-FFF2-40B4-BE49-F238E27FC236}">
                      <a16:creationId xmlns:a16="http://schemas.microsoft.com/office/drawing/2014/main" id="{03928CFB-B338-4B71-A4AE-56D5FBE750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7" y="2167"/>
                  <a:ext cx="6" cy="14"/>
                </a:xfrm>
                <a:custGeom>
                  <a:avLst/>
                  <a:gdLst>
                    <a:gd name="T0" fmla="*/ 1 w 16"/>
                    <a:gd name="T1" fmla="*/ 0 h 43"/>
                    <a:gd name="T2" fmla="*/ 2 w 16"/>
                    <a:gd name="T3" fmla="*/ 1 h 43"/>
                    <a:gd name="T4" fmla="*/ 2 w 16"/>
                    <a:gd name="T5" fmla="*/ 2 h 43"/>
                    <a:gd name="T6" fmla="*/ 2 w 16"/>
                    <a:gd name="T7" fmla="*/ 2 h 43"/>
                    <a:gd name="T8" fmla="*/ 2 w 16"/>
                    <a:gd name="T9" fmla="*/ 3 h 43"/>
                    <a:gd name="T10" fmla="*/ 2 w 16"/>
                    <a:gd name="T11" fmla="*/ 3 h 43"/>
                    <a:gd name="T12" fmla="*/ 2 w 16"/>
                    <a:gd name="T13" fmla="*/ 4 h 43"/>
                    <a:gd name="T14" fmla="*/ 1 w 16"/>
                    <a:gd name="T15" fmla="*/ 4 h 43"/>
                    <a:gd name="T16" fmla="*/ 0 w 16"/>
                    <a:gd name="T17" fmla="*/ 5 h 43"/>
                    <a:gd name="T18" fmla="*/ 0 w 16"/>
                    <a:gd name="T19" fmla="*/ 3 h 43"/>
                    <a:gd name="T20" fmla="*/ 1 w 16"/>
                    <a:gd name="T21" fmla="*/ 2 h 43"/>
                    <a:gd name="T22" fmla="*/ 1 w 16"/>
                    <a:gd name="T23" fmla="*/ 1 h 43"/>
                    <a:gd name="T24" fmla="*/ 1 w 16"/>
                    <a:gd name="T25" fmla="*/ 0 h 43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16" h="43">
                      <a:moveTo>
                        <a:pt x="7" y="0"/>
                      </a:moveTo>
                      <a:lnTo>
                        <a:pt x="11" y="9"/>
                      </a:lnTo>
                      <a:lnTo>
                        <a:pt x="15" y="16"/>
                      </a:lnTo>
                      <a:lnTo>
                        <a:pt x="16" y="22"/>
                      </a:lnTo>
                      <a:lnTo>
                        <a:pt x="16" y="27"/>
                      </a:lnTo>
                      <a:lnTo>
                        <a:pt x="15" y="31"/>
                      </a:lnTo>
                      <a:lnTo>
                        <a:pt x="11" y="35"/>
                      </a:lnTo>
                      <a:lnTo>
                        <a:pt x="7" y="39"/>
                      </a:lnTo>
                      <a:lnTo>
                        <a:pt x="0" y="43"/>
                      </a:lnTo>
                      <a:lnTo>
                        <a:pt x="2" y="28"/>
                      </a:lnTo>
                      <a:lnTo>
                        <a:pt x="4" y="18"/>
                      </a:lnTo>
                      <a:lnTo>
                        <a:pt x="6" y="9"/>
                      </a:lnTo>
                      <a:lnTo>
                        <a:pt x="7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05" name="Freeform 66">
                  <a:extLst>
                    <a:ext uri="{FF2B5EF4-FFF2-40B4-BE49-F238E27FC236}">
                      <a16:creationId xmlns:a16="http://schemas.microsoft.com/office/drawing/2014/main" id="{F2539E69-1A69-4CFF-80D9-D400AC04AA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48" y="2190"/>
                  <a:ext cx="8" cy="12"/>
                </a:xfrm>
                <a:custGeom>
                  <a:avLst/>
                  <a:gdLst>
                    <a:gd name="T0" fmla="*/ 3 w 24"/>
                    <a:gd name="T1" fmla="*/ 4 h 37"/>
                    <a:gd name="T2" fmla="*/ 2 w 24"/>
                    <a:gd name="T3" fmla="*/ 3 h 37"/>
                    <a:gd name="T4" fmla="*/ 2 w 24"/>
                    <a:gd name="T5" fmla="*/ 2 h 37"/>
                    <a:gd name="T6" fmla="*/ 1 w 24"/>
                    <a:gd name="T7" fmla="*/ 1 h 37"/>
                    <a:gd name="T8" fmla="*/ 1 w 24"/>
                    <a:gd name="T9" fmla="*/ 0 h 37"/>
                    <a:gd name="T10" fmla="*/ 1 w 24"/>
                    <a:gd name="T11" fmla="*/ 1 h 37"/>
                    <a:gd name="T12" fmla="*/ 0 w 24"/>
                    <a:gd name="T13" fmla="*/ 2 h 37"/>
                    <a:gd name="T14" fmla="*/ 0 w 24"/>
                    <a:gd name="T15" fmla="*/ 3 h 37"/>
                    <a:gd name="T16" fmla="*/ 0 w 24"/>
                    <a:gd name="T17" fmla="*/ 3 h 37"/>
                    <a:gd name="T18" fmla="*/ 0 w 24"/>
                    <a:gd name="T19" fmla="*/ 4 h 37"/>
                    <a:gd name="T20" fmla="*/ 0 w 24"/>
                    <a:gd name="T21" fmla="*/ 4 h 37"/>
                    <a:gd name="T22" fmla="*/ 0 w 24"/>
                    <a:gd name="T23" fmla="*/ 4 h 37"/>
                    <a:gd name="T24" fmla="*/ 1 w 24"/>
                    <a:gd name="T25" fmla="*/ 4 h 37"/>
                    <a:gd name="T26" fmla="*/ 2 w 24"/>
                    <a:gd name="T27" fmla="*/ 4 h 37"/>
                    <a:gd name="T28" fmla="*/ 3 w 24"/>
                    <a:gd name="T29" fmla="*/ 4 h 37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24" h="37">
                      <a:moveTo>
                        <a:pt x="24" y="36"/>
                      </a:moveTo>
                      <a:lnTo>
                        <a:pt x="19" y="27"/>
                      </a:lnTo>
                      <a:lnTo>
                        <a:pt x="15" y="18"/>
                      </a:lnTo>
                      <a:lnTo>
                        <a:pt x="12" y="9"/>
                      </a:lnTo>
                      <a:lnTo>
                        <a:pt x="11" y="0"/>
                      </a:lnTo>
                      <a:lnTo>
                        <a:pt x="6" y="10"/>
                      </a:lnTo>
                      <a:lnTo>
                        <a:pt x="3" y="19"/>
                      </a:lnTo>
                      <a:lnTo>
                        <a:pt x="1" y="26"/>
                      </a:lnTo>
                      <a:lnTo>
                        <a:pt x="0" y="31"/>
                      </a:lnTo>
                      <a:lnTo>
                        <a:pt x="1" y="33"/>
                      </a:lnTo>
                      <a:lnTo>
                        <a:pt x="2" y="35"/>
                      </a:lnTo>
                      <a:lnTo>
                        <a:pt x="4" y="36"/>
                      </a:lnTo>
                      <a:lnTo>
                        <a:pt x="6" y="37"/>
                      </a:lnTo>
                      <a:lnTo>
                        <a:pt x="14" y="37"/>
                      </a:lnTo>
                      <a:lnTo>
                        <a:pt x="24" y="36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06" name="Freeform 67">
                  <a:extLst>
                    <a:ext uri="{FF2B5EF4-FFF2-40B4-BE49-F238E27FC236}">
                      <a16:creationId xmlns:a16="http://schemas.microsoft.com/office/drawing/2014/main" id="{A1C1299B-01CD-4B41-8FA2-2184CB2D38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5" y="2204"/>
                  <a:ext cx="11" cy="17"/>
                </a:xfrm>
                <a:custGeom>
                  <a:avLst/>
                  <a:gdLst>
                    <a:gd name="T0" fmla="*/ 4 w 34"/>
                    <a:gd name="T1" fmla="*/ 0 h 55"/>
                    <a:gd name="T2" fmla="*/ 4 w 34"/>
                    <a:gd name="T3" fmla="*/ 1 h 55"/>
                    <a:gd name="T4" fmla="*/ 4 w 34"/>
                    <a:gd name="T5" fmla="*/ 2 h 55"/>
                    <a:gd name="T6" fmla="*/ 4 w 34"/>
                    <a:gd name="T7" fmla="*/ 3 h 55"/>
                    <a:gd name="T8" fmla="*/ 3 w 34"/>
                    <a:gd name="T9" fmla="*/ 4 h 55"/>
                    <a:gd name="T10" fmla="*/ 3 w 34"/>
                    <a:gd name="T11" fmla="*/ 4 h 55"/>
                    <a:gd name="T12" fmla="*/ 3 w 34"/>
                    <a:gd name="T13" fmla="*/ 5 h 55"/>
                    <a:gd name="T14" fmla="*/ 2 w 34"/>
                    <a:gd name="T15" fmla="*/ 5 h 55"/>
                    <a:gd name="T16" fmla="*/ 2 w 34"/>
                    <a:gd name="T17" fmla="*/ 5 h 55"/>
                    <a:gd name="T18" fmla="*/ 1 w 34"/>
                    <a:gd name="T19" fmla="*/ 5 h 55"/>
                    <a:gd name="T20" fmla="*/ 0 w 34"/>
                    <a:gd name="T21" fmla="*/ 5 h 55"/>
                    <a:gd name="T22" fmla="*/ 1 w 34"/>
                    <a:gd name="T23" fmla="*/ 3 h 55"/>
                    <a:gd name="T24" fmla="*/ 2 w 34"/>
                    <a:gd name="T25" fmla="*/ 2 h 55"/>
                    <a:gd name="T26" fmla="*/ 2 w 34"/>
                    <a:gd name="T27" fmla="*/ 2 h 55"/>
                    <a:gd name="T28" fmla="*/ 2 w 34"/>
                    <a:gd name="T29" fmla="*/ 1 h 55"/>
                    <a:gd name="T30" fmla="*/ 3 w 34"/>
                    <a:gd name="T31" fmla="*/ 1 h 55"/>
                    <a:gd name="T32" fmla="*/ 4 w 34"/>
                    <a:gd name="T33" fmla="*/ 0 h 55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34" h="55">
                      <a:moveTo>
                        <a:pt x="34" y="0"/>
                      </a:moveTo>
                      <a:lnTo>
                        <a:pt x="34" y="13"/>
                      </a:lnTo>
                      <a:lnTo>
                        <a:pt x="34" y="25"/>
                      </a:lnTo>
                      <a:lnTo>
                        <a:pt x="33" y="32"/>
                      </a:lnTo>
                      <a:lnTo>
                        <a:pt x="31" y="38"/>
                      </a:lnTo>
                      <a:lnTo>
                        <a:pt x="29" y="43"/>
                      </a:lnTo>
                      <a:lnTo>
                        <a:pt x="24" y="47"/>
                      </a:lnTo>
                      <a:lnTo>
                        <a:pt x="20" y="51"/>
                      </a:lnTo>
                      <a:lnTo>
                        <a:pt x="14" y="53"/>
                      </a:lnTo>
                      <a:lnTo>
                        <a:pt x="8" y="55"/>
                      </a:lnTo>
                      <a:lnTo>
                        <a:pt x="0" y="55"/>
                      </a:lnTo>
                      <a:lnTo>
                        <a:pt x="9" y="36"/>
                      </a:lnTo>
                      <a:lnTo>
                        <a:pt x="14" y="21"/>
                      </a:lnTo>
                      <a:lnTo>
                        <a:pt x="18" y="16"/>
                      </a:lnTo>
                      <a:lnTo>
                        <a:pt x="22" y="10"/>
                      </a:lnTo>
                      <a:lnTo>
                        <a:pt x="28" y="5"/>
                      </a:lnTo>
                      <a:lnTo>
                        <a:pt x="34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107" name="Freeform 68">
                  <a:extLst>
                    <a:ext uri="{FF2B5EF4-FFF2-40B4-BE49-F238E27FC236}">
                      <a16:creationId xmlns:a16="http://schemas.microsoft.com/office/drawing/2014/main" id="{23B5442E-BD55-4BCE-9313-006427655A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5" y="2215"/>
                  <a:ext cx="11" cy="4"/>
                </a:xfrm>
                <a:custGeom>
                  <a:avLst/>
                  <a:gdLst>
                    <a:gd name="T0" fmla="*/ 0 w 33"/>
                    <a:gd name="T1" fmla="*/ 0 h 12"/>
                    <a:gd name="T2" fmla="*/ 0 w 33"/>
                    <a:gd name="T3" fmla="*/ 0 h 12"/>
                    <a:gd name="T4" fmla="*/ 1 w 33"/>
                    <a:gd name="T5" fmla="*/ 1 h 12"/>
                    <a:gd name="T6" fmla="*/ 1 w 33"/>
                    <a:gd name="T7" fmla="*/ 1 h 12"/>
                    <a:gd name="T8" fmla="*/ 2 w 33"/>
                    <a:gd name="T9" fmla="*/ 1 h 12"/>
                    <a:gd name="T10" fmla="*/ 3 w 33"/>
                    <a:gd name="T11" fmla="*/ 1 h 12"/>
                    <a:gd name="T12" fmla="*/ 4 w 33"/>
                    <a:gd name="T13" fmla="*/ 1 h 12"/>
                    <a:gd name="T14" fmla="*/ 3 w 33"/>
                    <a:gd name="T15" fmla="*/ 1 h 12"/>
                    <a:gd name="T16" fmla="*/ 2 w 33"/>
                    <a:gd name="T17" fmla="*/ 0 h 12"/>
                    <a:gd name="T18" fmla="*/ 1 w 33"/>
                    <a:gd name="T19" fmla="*/ 0 h 12"/>
                    <a:gd name="T20" fmla="*/ 0 w 33"/>
                    <a:gd name="T21" fmla="*/ 0 h 12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0" t="0" r="r" b="b"/>
                  <a:pathLst>
                    <a:path w="33" h="12">
                      <a:moveTo>
                        <a:pt x="0" y="0"/>
                      </a:moveTo>
                      <a:lnTo>
                        <a:pt x="2" y="4"/>
                      </a:lnTo>
                      <a:lnTo>
                        <a:pt x="6" y="7"/>
                      </a:lnTo>
                      <a:lnTo>
                        <a:pt x="10" y="9"/>
                      </a:lnTo>
                      <a:lnTo>
                        <a:pt x="14" y="11"/>
                      </a:lnTo>
                      <a:lnTo>
                        <a:pt x="23" y="12"/>
                      </a:lnTo>
                      <a:lnTo>
                        <a:pt x="33" y="12"/>
                      </a:lnTo>
                      <a:lnTo>
                        <a:pt x="28" y="8"/>
                      </a:lnTo>
                      <a:lnTo>
                        <a:pt x="19" y="4"/>
                      </a:lnTo>
                      <a:lnTo>
                        <a:pt x="10" y="1"/>
                      </a:lnTo>
                      <a:lnTo>
                        <a:pt x="0" y="0"/>
                      </a:lnTo>
                    </a:path>
                  </a:pathLst>
                </a:custGeom>
                <a:grpFill/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614" name="Freeform 69">
                <a:extLst>
                  <a:ext uri="{FF2B5EF4-FFF2-40B4-BE49-F238E27FC236}">
                    <a16:creationId xmlns:a16="http://schemas.microsoft.com/office/drawing/2014/main" id="{1C6E202B-C7EB-4669-88FB-B363B8885248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8708013" y="5161064"/>
                <a:ext cx="14479" cy="65046"/>
              </a:xfrm>
              <a:custGeom>
                <a:avLst/>
                <a:gdLst>
                  <a:gd name="T0" fmla="*/ 0 w 33"/>
                  <a:gd name="T1" fmla="*/ 52679395 h 62"/>
                  <a:gd name="T2" fmla="*/ 0 w 33"/>
                  <a:gd name="T3" fmla="*/ 45032356 h 62"/>
                  <a:gd name="T4" fmla="*/ 0 w 33"/>
                  <a:gd name="T5" fmla="*/ 38235194 h 62"/>
                  <a:gd name="T6" fmla="*/ 0 w 33"/>
                  <a:gd name="T7" fmla="*/ 31438031 h 62"/>
                  <a:gd name="T8" fmla="*/ 0 w 33"/>
                  <a:gd name="T9" fmla="*/ 26339698 h 62"/>
                  <a:gd name="T10" fmla="*/ 0 w 33"/>
                  <a:gd name="T11" fmla="*/ 22091240 h 62"/>
                  <a:gd name="T12" fmla="*/ 296333 w 33"/>
                  <a:gd name="T13" fmla="*/ 18692659 h 62"/>
                  <a:gd name="T14" fmla="*/ 592282 w 33"/>
                  <a:gd name="T15" fmla="*/ 14444202 h 62"/>
                  <a:gd name="T16" fmla="*/ 1184948 w 33"/>
                  <a:gd name="T17" fmla="*/ 11045620 h 62"/>
                  <a:gd name="T18" fmla="*/ 2073564 w 33"/>
                  <a:gd name="T19" fmla="*/ 5098333 h 62"/>
                  <a:gd name="T20" fmla="*/ 2962179 w 33"/>
                  <a:gd name="T21" fmla="*/ 0 h 62"/>
                  <a:gd name="T22" fmla="*/ 3850794 w 33"/>
                  <a:gd name="T23" fmla="*/ 5098333 h 62"/>
                  <a:gd name="T24" fmla="*/ 4887576 w 33"/>
                  <a:gd name="T25" fmla="*/ 11045620 h 6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3" h="62">
                    <a:moveTo>
                      <a:pt x="0" y="62"/>
                    </a:moveTo>
                    <a:lnTo>
                      <a:pt x="0" y="53"/>
                    </a:lnTo>
                    <a:lnTo>
                      <a:pt x="0" y="45"/>
                    </a:lnTo>
                    <a:lnTo>
                      <a:pt x="0" y="37"/>
                    </a:lnTo>
                    <a:lnTo>
                      <a:pt x="0" y="31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4" y="17"/>
                    </a:lnTo>
                    <a:lnTo>
                      <a:pt x="8" y="13"/>
                    </a:lnTo>
                    <a:lnTo>
                      <a:pt x="14" y="6"/>
                    </a:lnTo>
                    <a:lnTo>
                      <a:pt x="20" y="0"/>
                    </a:lnTo>
                    <a:lnTo>
                      <a:pt x="26" y="6"/>
                    </a:lnTo>
                    <a:lnTo>
                      <a:pt x="33" y="13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15" name="Freeform 70">
                <a:extLst>
                  <a:ext uri="{FF2B5EF4-FFF2-40B4-BE49-F238E27FC236}">
                    <a16:creationId xmlns:a16="http://schemas.microsoft.com/office/drawing/2014/main" id="{48B6C15A-DB01-4FF7-8D9D-CB4061B0EA42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8718872" y="5263027"/>
                <a:ext cx="10859" cy="66803"/>
              </a:xfrm>
              <a:custGeom>
                <a:avLst/>
                <a:gdLst>
                  <a:gd name="T0" fmla="*/ 0 w 26"/>
                  <a:gd name="T1" fmla="*/ 191668621 h 18"/>
                  <a:gd name="T2" fmla="*/ 0 w 26"/>
                  <a:gd name="T3" fmla="*/ 0 h 18"/>
                  <a:gd name="T4" fmla="*/ 3489447 w 26"/>
                  <a:gd name="T5" fmla="*/ 0 h 18"/>
                  <a:gd name="T6" fmla="*/ 805229 w 26"/>
                  <a:gd name="T7" fmla="*/ 127779080 h 18"/>
                  <a:gd name="T8" fmla="*/ 805229 w 26"/>
                  <a:gd name="T9" fmla="*/ 6388954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6" h="18">
                    <a:moveTo>
                      <a:pt x="0" y="18"/>
                    </a:moveTo>
                    <a:lnTo>
                      <a:pt x="0" y="0"/>
                    </a:lnTo>
                    <a:lnTo>
                      <a:pt x="26" y="0"/>
                    </a:lnTo>
                    <a:lnTo>
                      <a:pt x="6" y="12"/>
                    </a:lnTo>
                    <a:lnTo>
                      <a:pt x="6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16" name="Freeform 71">
                <a:extLst>
                  <a:ext uri="{FF2B5EF4-FFF2-40B4-BE49-F238E27FC236}">
                    <a16:creationId xmlns:a16="http://schemas.microsoft.com/office/drawing/2014/main" id="{5333C00C-29A0-477C-A006-981601B5B289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8856419" y="5161064"/>
                <a:ext cx="94111" cy="147670"/>
              </a:xfrm>
              <a:custGeom>
                <a:avLst/>
                <a:gdLst>
                  <a:gd name="T0" fmla="*/ 33616516 w 180"/>
                  <a:gd name="T1" fmla="*/ 65310967 h 240"/>
                  <a:gd name="T2" fmla="*/ 32682628 w 180"/>
                  <a:gd name="T3" fmla="*/ 65604946 h 240"/>
                  <a:gd name="T4" fmla="*/ 31935863 w 180"/>
                  <a:gd name="T5" fmla="*/ 65604946 h 240"/>
                  <a:gd name="T6" fmla="*/ 31188666 w 180"/>
                  <a:gd name="T7" fmla="*/ 66193445 h 240"/>
                  <a:gd name="T8" fmla="*/ 30628593 w 180"/>
                  <a:gd name="T9" fmla="*/ 66781945 h 240"/>
                  <a:gd name="T10" fmla="*/ 29508013 w 180"/>
                  <a:gd name="T11" fmla="*/ 68252922 h 240"/>
                  <a:gd name="T12" fmla="*/ 28574125 w 180"/>
                  <a:gd name="T13" fmla="*/ 70606378 h 240"/>
                  <a:gd name="T14" fmla="*/ 26146275 w 180"/>
                  <a:gd name="T15" fmla="*/ 68252922 h 240"/>
                  <a:gd name="T16" fmla="*/ 24465190 w 180"/>
                  <a:gd name="T17" fmla="*/ 65604946 h 240"/>
                  <a:gd name="T18" fmla="*/ 22971229 w 180"/>
                  <a:gd name="T19" fmla="*/ 62957512 h 240"/>
                  <a:gd name="T20" fmla="*/ 22037340 w 180"/>
                  <a:gd name="T21" fmla="*/ 60604056 h 240"/>
                  <a:gd name="T22" fmla="*/ 20916761 w 180"/>
                  <a:gd name="T23" fmla="*/ 57367580 h 240"/>
                  <a:gd name="T24" fmla="*/ 19796182 w 180"/>
                  <a:gd name="T25" fmla="*/ 54425625 h 240"/>
                  <a:gd name="T26" fmla="*/ 18302220 w 180"/>
                  <a:gd name="T27" fmla="*/ 51189692 h 240"/>
                  <a:gd name="T28" fmla="*/ 16248185 w 180"/>
                  <a:gd name="T29" fmla="*/ 47365259 h 240"/>
                  <a:gd name="T30" fmla="*/ 15314296 w 180"/>
                  <a:gd name="T31" fmla="*/ 45011803 h 240"/>
                  <a:gd name="T32" fmla="*/ 14007026 w 180"/>
                  <a:gd name="T33" fmla="*/ 42952326 h 240"/>
                  <a:gd name="T34" fmla="*/ 13073138 w 180"/>
                  <a:gd name="T35" fmla="*/ 40892849 h 240"/>
                  <a:gd name="T36" fmla="*/ 11579176 w 180"/>
                  <a:gd name="T37" fmla="*/ 39127893 h 240"/>
                  <a:gd name="T38" fmla="*/ 8964203 w 180"/>
                  <a:gd name="T39" fmla="*/ 35597439 h 240"/>
                  <a:gd name="T40" fmla="*/ 6162970 w 180"/>
                  <a:gd name="T41" fmla="*/ 32361505 h 240"/>
                  <a:gd name="T42" fmla="*/ 5042391 w 180"/>
                  <a:gd name="T43" fmla="*/ 30596007 h 240"/>
                  <a:gd name="T44" fmla="*/ 3921812 w 180"/>
                  <a:gd name="T45" fmla="*/ 28831051 h 240"/>
                  <a:gd name="T46" fmla="*/ 2801232 w 180"/>
                  <a:gd name="T47" fmla="*/ 27065552 h 240"/>
                  <a:gd name="T48" fmla="*/ 1867776 w 180"/>
                  <a:gd name="T49" fmla="*/ 24712097 h 240"/>
                  <a:gd name="T50" fmla="*/ 1120579 w 180"/>
                  <a:gd name="T51" fmla="*/ 22652620 h 240"/>
                  <a:gd name="T52" fmla="*/ 747197 w 180"/>
                  <a:gd name="T53" fmla="*/ 20005186 h 240"/>
                  <a:gd name="T54" fmla="*/ 186691 w 180"/>
                  <a:gd name="T55" fmla="*/ 17651730 h 240"/>
                  <a:gd name="T56" fmla="*/ 0 w 180"/>
                  <a:gd name="T57" fmla="*/ 14709775 h 240"/>
                  <a:gd name="T58" fmla="*/ 0 w 180"/>
                  <a:gd name="T59" fmla="*/ 10296843 h 240"/>
                  <a:gd name="T60" fmla="*/ 0 w 180"/>
                  <a:gd name="T61" fmla="*/ 7354888 h 240"/>
                  <a:gd name="T62" fmla="*/ 0 w 180"/>
                  <a:gd name="T63" fmla="*/ 4412933 h 240"/>
                  <a:gd name="T64" fmla="*/ 0 w 180"/>
                  <a:gd name="T65" fmla="*/ 0 h 240"/>
                  <a:gd name="T66" fmla="*/ 1867776 w 180"/>
                  <a:gd name="T67" fmla="*/ 2353456 h 240"/>
                  <a:gd name="T68" fmla="*/ 3548429 w 180"/>
                  <a:gd name="T69" fmla="*/ 5001432 h 240"/>
                  <a:gd name="T70" fmla="*/ 5042391 w 180"/>
                  <a:gd name="T71" fmla="*/ 7943387 h 240"/>
                  <a:gd name="T72" fmla="*/ 6349662 w 180"/>
                  <a:gd name="T73" fmla="*/ 11179321 h 240"/>
                  <a:gd name="T74" fmla="*/ 7656932 w 180"/>
                  <a:gd name="T75" fmla="*/ 14121276 h 240"/>
                  <a:gd name="T76" fmla="*/ 8590820 w 180"/>
                  <a:gd name="T77" fmla="*/ 17063231 h 240"/>
                  <a:gd name="T78" fmla="*/ 9524708 w 180"/>
                  <a:gd name="T79" fmla="*/ 19416686 h 240"/>
                  <a:gd name="T80" fmla="*/ 10084782 w 180"/>
                  <a:gd name="T81" fmla="*/ 21770142 h 240"/>
                  <a:gd name="T82" fmla="*/ 11205361 w 180"/>
                  <a:gd name="T83" fmla="*/ 25300596 h 240"/>
                  <a:gd name="T84" fmla="*/ 12325941 w 180"/>
                  <a:gd name="T85" fmla="*/ 28831051 h 240"/>
                  <a:gd name="T86" fmla="*/ 13820335 w 180"/>
                  <a:gd name="T87" fmla="*/ 31478485 h 240"/>
                  <a:gd name="T88" fmla="*/ 15314296 w 180"/>
                  <a:gd name="T89" fmla="*/ 34126461 h 240"/>
                  <a:gd name="T90" fmla="*/ 18676034 w 180"/>
                  <a:gd name="T91" fmla="*/ 39127893 h 240"/>
                  <a:gd name="T92" fmla="*/ 22224464 w 180"/>
                  <a:gd name="T93" fmla="*/ 43834804 h 240"/>
                  <a:gd name="T94" fmla="*/ 25959584 w 180"/>
                  <a:gd name="T95" fmla="*/ 48247737 h 240"/>
                  <a:gd name="T96" fmla="*/ 28947508 w 180"/>
                  <a:gd name="T97" fmla="*/ 52954648 h 240"/>
                  <a:gd name="T98" fmla="*/ 30441469 w 180"/>
                  <a:gd name="T99" fmla="*/ 55602624 h 240"/>
                  <a:gd name="T100" fmla="*/ 31562049 w 180"/>
                  <a:gd name="T101" fmla="*/ 58544579 h 240"/>
                  <a:gd name="T102" fmla="*/ 32682628 w 180"/>
                  <a:gd name="T103" fmla="*/ 61780513 h 240"/>
                  <a:gd name="T104" fmla="*/ 33616516 w 180"/>
                  <a:gd name="T105" fmla="*/ 65310967 h 2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180" h="240">
                    <a:moveTo>
                      <a:pt x="180" y="222"/>
                    </a:moveTo>
                    <a:lnTo>
                      <a:pt x="175" y="223"/>
                    </a:lnTo>
                    <a:lnTo>
                      <a:pt x="171" y="223"/>
                    </a:lnTo>
                    <a:lnTo>
                      <a:pt x="167" y="225"/>
                    </a:lnTo>
                    <a:lnTo>
                      <a:pt x="164" y="227"/>
                    </a:lnTo>
                    <a:lnTo>
                      <a:pt x="158" y="232"/>
                    </a:lnTo>
                    <a:lnTo>
                      <a:pt x="153" y="240"/>
                    </a:lnTo>
                    <a:lnTo>
                      <a:pt x="140" y="232"/>
                    </a:lnTo>
                    <a:lnTo>
                      <a:pt x="131" y="223"/>
                    </a:lnTo>
                    <a:lnTo>
                      <a:pt x="123" y="214"/>
                    </a:lnTo>
                    <a:lnTo>
                      <a:pt x="118" y="206"/>
                    </a:lnTo>
                    <a:lnTo>
                      <a:pt x="112" y="195"/>
                    </a:lnTo>
                    <a:lnTo>
                      <a:pt x="106" y="185"/>
                    </a:lnTo>
                    <a:lnTo>
                      <a:pt x="98" y="174"/>
                    </a:lnTo>
                    <a:lnTo>
                      <a:pt x="87" y="161"/>
                    </a:lnTo>
                    <a:lnTo>
                      <a:pt x="82" y="153"/>
                    </a:lnTo>
                    <a:lnTo>
                      <a:pt x="75" y="146"/>
                    </a:lnTo>
                    <a:lnTo>
                      <a:pt x="70" y="139"/>
                    </a:lnTo>
                    <a:lnTo>
                      <a:pt x="62" y="133"/>
                    </a:lnTo>
                    <a:lnTo>
                      <a:pt x="48" y="121"/>
                    </a:lnTo>
                    <a:lnTo>
                      <a:pt x="33" y="110"/>
                    </a:lnTo>
                    <a:lnTo>
                      <a:pt x="27" y="104"/>
                    </a:lnTo>
                    <a:lnTo>
                      <a:pt x="21" y="98"/>
                    </a:lnTo>
                    <a:lnTo>
                      <a:pt x="15" y="92"/>
                    </a:lnTo>
                    <a:lnTo>
                      <a:pt x="10" y="84"/>
                    </a:lnTo>
                    <a:lnTo>
                      <a:pt x="6" y="77"/>
                    </a:lnTo>
                    <a:lnTo>
                      <a:pt x="4" y="68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0" y="35"/>
                    </a:lnTo>
                    <a:lnTo>
                      <a:pt x="0" y="2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10" y="8"/>
                    </a:lnTo>
                    <a:lnTo>
                      <a:pt x="19" y="17"/>
                    </a:lnTo>
                    <a:lnTo>
                      <a:pt x="27" y="27"/>
                    </a:lnTo>
                    <a:lnTo>
                      <a:pt x="34" y="38"/>
                    </a:lnTo>
                    <a:lnTo>
                      <a:pt x="41" y="48"/>
                    </a:lnTo>
                    <a:lnTo>
                      <a:pt x="46" y="58"/>
                    </a:lnTo>
                    <a:lnTo>
                      <a:pt x="51" y="66"/>
                    </a:lnTo>
                    <a:lnTo>
                      <a:pt x="54" y="74"/>
                    </a:lnTo>
                    <a:lnTo>
                      <a:pt x="60" y="86"/>
                    </a:lnTo>
                    <a:lnTo>
                      <a:pt x="66" y="98"/>
                    </a:lnTo>
                    <a:lnTo>
                      <a:pt x="74" y="107"/>
                    </a:lnTo>
                    <a:lnTo>
                      <a:pt x="82" y="116"/>
                    </a:lnTo>
                    <a:lnTo>
                      <a:pt x="100" y="133"/>
                    </a:lnTo>
                    <a:lnTo>
                      <a:pt x="119" y="149"/>
                    </a:lnTo>
                    <a:lnTo>
                      <a:pt x="139" y="164"/>
                    </a:lnTo>
                    <a:lnTo>
                      <a:pt x="155" y="180"/>
                    </a:lnTo>
                    <a:lnTo>
                      <a:pt x="163" y="189"/>
                    </a:lnTo>
                    <a:lnTo>
                      <a:pt x="169" y="199"/>
                    </a:lnTo>
                    <a:lnTo>
                      <a:pt x="175" y="210"/>
                    </a:lnTo>
                    <a:lnTo>
                      <a:pt x="180" y="222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17" name="Freeform 72">
                <a:extLst>
                  <a:ext uri="{FF2B5EF4-FFF2-40B4-BE49-F238E27FC236}">
                    <a16:creationId xmlns:a16="http://schemas.microsoft.com/office/drawing/2014/main" id="{4EB88CDD-37EB-4825-8A34-CD7750DA6F64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8856419" y="5131179"/>
                <a:ext cx="18098" cy="65044"/>
              </a:xfrm>
              <a:custGeom>
                <a:avLst/>
                <a:gdLst>
                  <a:gd name="T0" fmla="*/ 0 w 27"/>
                  <a:gd name="T1" fmla="*/ 0 h 30"/>
                  <a:gd name="T2" fmla="*/ 279939 w 27"/>
                  <a:gd name="T3" fmla="*/ 18145125 h 30"/>
                  <a:gd name="T4" fmla="*/ 840346 w 27"/>
                  <a:gd name="T5" fmla="*/ 39919275 h 30"/>
                  <a:gd name="T6" fmla="*/ 1120285 w 27"/>
                  <a:gd name="T7" fmla="*/ 50806350 h 30"/>
                  <a:gd name="T8" fmla="*/ 1120285 w 27"/>
                  <a:gd name="T9" fmla="*/ 68951475 h 30"/>
                  <a:gd name="T10" fmla="*/ 840346 w 27"/>
                  <a:gd name="T11" fmla="*/ 87096600 h 30"/>
                  <a:gd name="T12" fmla="*/ 0 w 27"/>
                  <a:gd name="T13" fmla="*/ 108870750 h 30"/>
                  <a:gd name="T14" fmla="*/ 4760550 w 27"/>
                  <a:gd name="T15" fmla="*/ 97983675 h 30"/>
                  <a:gd name="T16" fmla="*/ 7560998 w 27"/>
                  <a:gd name="T17" fmla="*/ 87096600 h 30"/>
                  <a:gd name="T18" fmla="*/ 6440713 w 27"/>
                  <a:gd name="T19" fmla="*/ 72580500 h 30"/>
                  <a:gd name="T20" fmla="*/ 4760550 w 27"/>
                  <a:gd name="T21" fmla="*/ 43548300 h 30"/>
                  <a:gd name="T22" fmla="*/ 3080387 w 27"/>
                  <a:gd name="T23" fmla="*/ 29032200 h 30"/>
                  <a:gd name="T24" fmla="*/ 1960102 w 27"/>
                  <a:gd name="T25" fmla="*/ 14516100 h 30"/>
                  <a:gd name="T26" fmla="*/ 1120285 w 27"/>
                  <a:gd name="T27" fmla="*/ 3629025 h 30"/>
                  <a:gd name="T28" fmla="*/ 0 w 27"/>
                  <a:gd name="T29" fmla="*/ 0 h 3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7" h="30">
                    <a:moveTo>
                      <a:pt x="0" y="0"/>
                    </a:moveTo>
                    <a:lnTo>
                      <a:pt x="1" y="5"/>
                    </a:lnTo>
                    <a:lnTo>
                      <a:pt x="3" y="11"/>
                    </a:lnTo>
                    <a:lnTo>
                      <a:pt x="4" y="14"/>
                    </a:lnTo>
                    <a:lnTo>
                      <a:pt x="4" y="19"/>
                    </a:lnTo>
                    <a:lnTo>
                      <a:pt x="3" y="24"/>
                    </a:lnTo>
                    <a:lnTo>
                      <a:pt x="0" y="30"/>
                    </a:lnTo>
                    <a:lnTo>
                      <a:pt x="17" y="27"/>
                    </a:lnTo>
                    <a:lnTo>
                      <a:pt x="27" y="24"/>
                    </a:lnTo>
                    <a:lnTo>
                      <a:pt x="23" y="20"/>
                    </a:lnTo>
                    <a:lnTo>
                      <a:pt x="17" y="12"/>
                    </a:lnTo>
                    <a:lnTo>
                      <a:pt x="11" y="8"/>
                    </a:lnTo>
                    <a:lnTo>
                      <a:pt x="7" y="4"/>
                    </a:lnTo>
                    <a:lnTo>
                      <a:pt x="4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618" name="Group 73">
                <a:extLst>
                  <a:ext uri="{FF2B5EF4-FFF2-40B4-BE49-F238E27FC236}">
                    <a16:creationId xmlns:a16="http://schemas.microsoft.com/office/drawing/2014/main" id="{B64D9042-8508-434E-8A6E-36D98B7998DF}"/>
                  </a:ext>
                </a:extLst>
              </p:cNvPr>
              <p:cNvGrpSpPr>
                <a:grpSpLocks/>
              </p:cNvGrpSpPr>
              <p:nvPr>
                <p:custDataLst>
                  <p:tags r:id="rId56"/>
                </p:custDataLst>
              </p:nvPr>
            </p:nvGrpSpPr>
            <p:grpSpPr bwMode="auto">
              <a:xfrm>
                <a:off x="8483280" y="5716802"/>
                <a:ext cx="553215" cy="455139"/>
                <a:chOff x="5372" y="3323"/>
                <a:chExt cx="341" cy="253"/>
              </a:xfrm>
            </p:grpSpPr>
            <p:sp>
              <p:nvSpPr>
                <p:cNvPr id="1095" name="Freeform 74">
                  <a:extLst>
                    <a:ext uri="{FF2B5EF4-FFF2-40B4-BE49-F238E27FC236}">
                      <a16:creationId xmlns:a16="http://schemas.microsoft.com/office/drawing/2014/main" id="{69934CCB-E1D5-4625-AD99-6DB5CF38AA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2" y="3565"/>
                  <a:ext cx="16" cy="11"/>
                </a:xfrm>
                <a:custGeom>
                  <a:avLst/>
                  <a:gdLst>
                    <a:gd name="T0" fmla="*/ 0 w 53"/>
                    <a:gd name="T1" fmla="*/ 3 h 33"/>
                    <a:gd name="T2" fmla="*/ 0 w 53"/>
                    <a:gd name="T3" fmla="*/ 3 h 33"/>
                    <a:gd name="T4" fmla="*/ 1 w 53"/>
                    <a:gd name="T5" fmla="*/ 2 h 33"/>
                    <a:gd name="T6" fmla="*/ 2 w 53"/>
                    <a:gd name="T7" fmla="*/ 2 h 33"/>
                    <a:gd name="T8" fmla="*/ 2 w 53"/>
                    <a:gd name="T9" fmla="*/ 1 h 33"/>
                    <a:gd name="T10" fmla="*/ 3 w 53"/>
                    <a:gd name="T11" fmla="*/ 1 h 33"/>
                    <a:gd name="T12" fmla="*/ 3 w 53"/>
                    <a:gd name="T13" fmla="*/ 0 h 33"/>
                    <a:gd name="T14" fmla="*/ 4 w 53"/>
                    <a:gd name="T15" fmla="*/ 0 h 33"/>
                    <a:gd name="T16" fmla="*/ 5 w 53"/>
                    <a:gd name="T17" fmla="*/ 0 h 33"/>
                    <a:gd name="T18" fmla="*/ 5 w 53"/>
                    <a:gd name="T19" fmla="*/ 2 h 33"/>
                    <a:gd name="T20" fmla="*/ 3 w 53"/>
                    <a:gd name="T21" fmla="*/ 3 h 33"/>
                    <a:gd name="T22" fmla="*/ 2 w 53"/>
                    <a:gd name="T23" fmla="*/ 3 h 33"/>
                    <a:gd name="T24" fmla="*/ 2 w 53"/>
                    <a:gd name="T25" fmla="*/ 4 h 33"/>
                    <a:gd name="T26" fmla="*/ 2 w 53"/>
                    <a:gd name="T27" fmla="*/ 4 h 33"/>
                    <a:gd name="T28" fmla="*/ 1 w 53"/>
                    <a:gd name="T29" fmla="*/ 4 h 33"/>
                    <a:gd name="T30" fmla="*/ 0 w 53"/>
                    <a:gd name="T31" fmla="*/ 3 h 33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0" t="0" r="r" b="b"/>
                  <a:pathLst>
                    <a:path w="53" h="33">
                      <a:moveTo>
                        <a:pt x="0" y="31"/>
                      </a:moveTo>
                      <a:lnTo>
                        <a:pt x="4" y="26"/>
                      </a:lnTo>
                      <a:lnTo>
                        <a:pt x="8" y="21"/>
                      </a:lnTo>
                      <a:lnTo>
                        <a:pt x="15" y="16"/>
                      </a:lnTo>
                      <a:lnTo>
                        <a:pt x="21" y="11"/>
                      </a:lnTo>
                      <a:lnTo>
                        <a:pt x="29" y="7"/>
                      </a:lnTo>
                      <a:lnTo>
                        <a:pt x="38" y="3"/>
                      </a:lnTo>
                      <a:lnTo>
                        <a:pt x="45" y="1"/>
                      </a:lnTo>
                      <a:lnTo>
                        <a:pt x="53" y="0"/>
                      </a:lnTo>
                      <a:lnTo>
                        <a:pt x="53" y="18"/>
                      </a:lnTo>
                      <a:lnTo>
                        <a:pt x="38" y="24"/>
                      </a:lnTo>
                      <a:lnTo>
                        <a:pt x="27" y="30"/>
                      </a:lnTo>
                      <a:lnTo>
                        <a:pt x="21" y="32"/>
                      </a:lnTo>
                      <a:lnTo>
                        <a:pt x="16" y="33"/>
                      </a:lnTo>
                      <a:lnTo>
                        <a:pt x="9" y="33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96" name="Freeform 75">
                  <a:extLst>
                    <a:ext uri="{FF2B5EF4-FFF2-40B4-BE49-F238E27FC236}">
                      <a16:creationId xmlns:a16="http://schemas.microsoft.com/office/drawing/2014/main" id="{7B930E79-F90A-44C8-96B7-DD5D64C9269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9" y="3446"/>
                  <a:ext cx="202" cy="117"/>
                </a:xfrm>
                <a:custGeom>
                  <a:avLst/>
                  <a:gdLst>
                    <a:gd name="T0" fmla="*/ 3 w 631"/>
                    <a:gd name="T1" fmla="*/ 32 h 358"/>
                    <a:gd name="T2" fmla="*/ 5 w 631"/>
                    <a:gd name="T3" fmla="*/ 31 h 358"/>
                    <a:gd name="T4" fmla="*/ 7 w 631"/>
                    <a:gd name="T5" fmla="*/ 30 h 358"/>
                    <a:gd name="T6" fmla="*/ 8 w 631"/>
                    <a:gd name="T7" fmla="*/ 27 h 358"/>
                    <a:gd name="T8" fmla="*/ 10 w 631"/>
                    <a:gd name="T9" fmla="*/ 27 h 358"/>
                    <a:gd name="T10" fmla="*/ 13 w 631"/>
                    <a:gd name="T11" fmla="*/ 27 h 358"/>
                    <a:gd name="T12" fmla="*/ 14 w 631"/>
                    <a:gd name="T13" fmla="*/ 26 h 358"/>
                    <a:gd name="T14" fmla="*/ 17 w 631"/>
                    <a:gd name="T15" fmla="*/ 25 h 358"/>
                    <a:gd name="T16" fmla="*/ 19 w 631"/>
                    <a:gd name="T17" fmla="*/ 22 h 358"/>
                    <a:gd name="T18" fmla="*/ 22 w 631"/>
                    <a:gd name="T19" fmla="*/ 21 h 358"/>
                    <a:gd name="T20" fmla="*/ 27 w 631"/>
                    <a:gd name="T21" fmla="*/ 19 h 358"/>
                    <a:gd name="T22" fmla="*/ 34 w 631"/>
                    <a:gd name="T23" fmla="*/ 16 h 358"/>
                    <a:gd name="T24" fmla="*/ 37 w 631"/>
                    <a:gd name="T25" fmla="*/ 15 h 358"/>
                    <a:gd name="T26" fmla="*/ 40 w 631"/>
                    <a:gd name="T27" fmla="*/ 14 h 358"/>
                    <a:gd name="T28" fmla="*/ 42 w 631"/>
                    <a:gd name="T29" fmla="*/ 14 h 358"/>
                    <a:gd name="T30" fmla="*/ 45 w 631"/>
                    <a:gd name="T31" fmla="*/ 11 h 358"/>
                    <a:gd name="T32" fmla="*/ 48 w 631"/>
                    <a:gd name="T33" fmla="*/ 8 h 358"/>
                    <a:gd name="T34" fmla="*/ 49 w 631"/>
                    <a:gd name="T35" fmla="*/ 7 h 358"/>
                    <a:gd name="T36" fmla="*/ 52 w 631"/>
                    <a:gd name="T37" fmla="*/ 6 h 358"/>
                    <a:gd name="T38" fmla="*/ 55 w 631"/>
                    <a:gd name="T39" fmla="*/ 4 h 358"/>
                    <a:gd name="T40" fmla="*/ 58 w 631"/>
                    <a:gd name="T41" fmla="*/ 1 h 358"/>
                    <a:gd name="T42" fmla="*/ 61 w 631"/>
                    <a:gd name="T43" fmla="*/ 0 h 358"/>
                    <a:gd name="T44" fmla="*/ 62 w 631"/>
                    <a:gd name="T45" fmla="*/ 2 h 358"/>
                    <a:gd name="T46" fmla="*/ 63 w 631"/>
                    <a:gd name="T47" fmla="*/ 3 h 358"/>
                    <a:gd name="T48" fmla="*/ 64 w 631"/>
                    <a:gd name="T49" fmla="*/ 5 h 358"/>
                    <a:gd name="T50" fmla="*/ 61 w 631"/>
                    <a:gd name="T51" fmla="*/ 9 h 358"/>
                    <a:gd name="T52" fmla="*/ 58 w 631"/>
                    <a:gd name="T53" fmla="*/ 13 h 358"/>
                    <a:gd name="T54" fmla="*/ 54 w 631"/>
                    <a:gd name="T55" fmla="*/ 16 h 358"/>
                    <a:gd name="T56" fmla="*/ 50 w 631"/>
                    <a:gd name="T57" fmla="*/ 19 h 358"/>
                    <a:gd name="T58" fmla="*/ 45 w 631"/>
                    <a:gd name="T59" fmla="*/ 19 h 358"/>
                    <a:gd name="T60" fmla="*/ 45 w 631"/>
                    <a:gd name="T61" fmla="*/ 21 h 358"/>
                    <a:gd name="T62" fmla="*/ 44 w 631"/>
                    <a:gd name="T63" fmla="*/ 21 h 358"/>
                    <a:gd name="T64" fmla="*/ 40 w 631"/>
                    <a:gd name="T65" fmla="*/ 21 h 358"/>
                    <a:gd name="T66" fmla="*/ 37 w 631"/>
                    <a:gd name="T67" fmla="*/ 23 h 358"/>
                    <a:gd name="T68" fmla="*/ 36 w 631"/>
                    <a:gd name="T69" fmla="*/ 23 h 358"/>
                    <a:gd name="T70" fmla="*/ 35 w 631"/>
                    <a:gd name="T71" fmla="*/ 22 h 358"/>
                    <a:gd name="T72" fmla="*/ 32 w 631"/>
                    <a:gd name="T73" fmla="*/ 26 h 358"/>
                    <a:gd name="T74" fmla="*/ 28 w 631"/>
                    <a:gd name="T75" fmla="*/ 30 h 358"/>
                    <a:gd name="T76" fmla="*/ 22 w 631"/>
                    <a:gd name="T77" fmla="*/ 34 h 358"/>
                    <a:gd name="T78" fmla="*/ 17 w 631"/>
                    <a:gd name="T79" fmla="*/ 37 h 358"/>
                    <a:gd name="T80" fmla="*/ 11 w 631"/>
                    <a:gd name="T81" fmla="*/ 38 h 358"/>
                    <a:gd name="T82" fmla="*/ 7 w 631"/>
                    <a:gd name="T83" fmla="*/ 38 h 358"/>
                    <a:gd name="T84" fmla="*/ 6 w 631"/>
                    <a:gd name="T85" fmla="*/ 37 h 358"/>
                    <a:gd name="T86" fmla="*/ 4 w 631"/>
                    <a:gd name="T87" fmla="*/ 36 h 358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631" h="358">
                      <a:moveTo>
                        <a:pt x="0" y="327"/>
                      </a:moveTo>
                      <a:lnTo>
                        <a:pt x="7" y="297"/>
                      </a:lnTo>
                      <a:lnTo>
                        <a:pt x="24" y="296"/>
                      </a:lnTo>
                      <a:lnTo>
                        <a:pt x="39" y="293"/>
                      </a:lnTo>
                      <a:lnTo>
                        <a:pt x="44" y="292"/>
                      </a:lnTo>
                      <a:lnTo>
                        <a:pt x="50" y="290"/>
                      </a:lnTo>
                      <a:lnTo>
                        <a:pt x="54" y="287"/>
                      </a:lnTo>
                      <a:lnTo>
                        <a:pt x="58" y="285"/>
                      </a:lnTo>
                      <a:lnTo>
                        <a:pt x="65" y="277"/>
                      </a:lnTo>
                      <a:lnTo>
                        <a:pt x="70" y="270"/>
                      </a:lnTo>
                      <a:lnTo>
                        <a:pt x="75" y="262"/>
                      </a:lnTo>
                      <a:lnTo>
                        <a:pt x="79" y="253"/>
                      </a:lnTo>
                      <a:lnTo>
                        <a:pt x="87" y="255"/>
                      </a:lnTo>
                      <a:lnTo>
                        <a:pt x="93" y="256"/>
                      </a:lnTo>
                      <a:lnTo>
                        <a:pt x="100" y="256"/>
                      </a:lnTo>
                      <a:lnTo>
                        <a:pt x="106" y="256"/>
                      </a:lnTo>
                      <a:lnTo>
                        <a:pt x="116" y="254"/>
                      </a:lnTo>
                      <a:lnTo>
                        <a:pt x="126" y="253"/>
                      </a:lnTo>
                      <a:lnTo>
                        <a:pt x="131" y="252"/>
                      </a:lnTo>
                      <a:lnTo>
                        <a:pt x="136" y="250"/>
                      </a:lnTo>
                      <a:lnTo>
                        <a:pt x="141" y="247"/>
                      </a:lnTo>
                      <a:lnTo>
                        <a:pt x="145" y="244"/>
                      </a:lnTo>
                      <a:lnTo>
                        <a:pt x="153" y="237"/>
                      </a:lnTo>
                      <a:lnTo>
                        <a:pt x="162" y="229"/>
                      </a:lnTo>
                      <a:lnTo>
                        <a:pt x="168" y="220"/>
                      </a:lnTo>
                      <a:lnTo>
                        <a:pt x="175" y="213"/>
                      </a:lnTo>
                      <a:lnTo>
                        <a:pt x="180" y="208"/>
                      </a:lnTo>
                      <a:lnTo>
                        <a:pt x="186" y="204"/>
                      </a:lnTo>
                      <a:lnTo>
                        <a:pt x="199" y="198"/>
                      </a:lnTo>
                      <a:lnTo>
                        <a:pt x="211" y="192"/>
                      </a:lnTo>
                      <a:lnTo>
                        <a:pt x="223" y="187"/>
                      </a:lnTo>
                      <a:lnTo>
                        <a:pt x="235" y="182"/>
                      </a:lnTo>
                      <a:lnTo>
                        <a:pt x="260" y="175"/>
                      </a:lnTo>
                      <a:lnTo>
                        <a:pt x="283" y="167"/>
                      </a:lnTo>
                      <a:lnTo>
                        <a:pt x="308" y="160"/>
                      </a:lnTo>
                      <a:lnTo>
                        <a:pt x="329" y="152"/>
                      </a:lnTo>
                      <a:lnTo>
                        <a:pt x="340" y="147"/>
                      </a:lnTo>
                      <a:lnTo>
                        <a:pt x="351" y="142"/>
                      </a:lnTo>
                      <a:lnTo>
                        <a:pt x="361" y="137"/>
                      </a:lnTo>
                      <a:lnTo>
                        <a:pt x="372" y="130"/>
                      </a:lnTo>
                      <a:lnTo>
                        <a:pt x="382" y="130"/>
                      </a:lnTo>
                      <a:lnTo>
                        <a:pt x="392" y="130"/>
                      </a:lnTo>
                      <a:lnTo>
                        <a:pt x="396" y="130"/>
                      </a:lnTo>
                      <a:lnTo>
                        <a:pt x="401" y="129"/>
                      </a:lnTo>
                      <a:lnTo>
                        <a:pt x="406" y="127"/>
                      </a:lnTo>
                      <a:lnTo>
                        <a:pt x="413" y="124"/>
                      </a:lnTo>
                      <a:lnTo>
                        <a:pt x="426" y="117"/>
                      </a:lnTo>
                      <a:lnTo>
                        <a:pt x="440" y="107"/>
                      </a:lnTo>
                      <a:lnTo>
                        <a:pt x="454" y="97"/>
                      </a:lnTo>
                      <a:lnTo>
                        <a:pt x="465" y="86"/>
                      </a:lnTo>
                      <a:lnTo>
                        <a:pt x="469" y="80"/>
                      </a:lnTo>
                      <a:lnTo>
                        <a:pt x="473" y="74"/>
                      </a:lnTo>
                      <a:lnTo>
                        <a:pt x="477" y="69"/>
                      </a:lnTo>
                      <a:lnTo>
                        <a:pt x="478" y="63"/>
                      </a:lnTo>
                      <a:lnTo>
                        <a:pt x="488" y="62"/>
                      </a:lnTo>
                      <a:lnTo>
                        <a:pt x="496" y="61"/>
                      </a:lnTo>
                      <a:lnTo>
                        <a:pt x="504" y="58"/>
                      </a:lnTo>
                      <a:lnTo>
                        <a:pt x="512" y="54"/>
                      </a:lnTo>
                      <a:lnTo>
                        <a:pt x="525" y="46"/>
                      </a:lnTo>
                      <a:lnTo>
                        <a:pt x="537" y="36"/>
                      </a:lnTo>
                      <a:lnTo>
                        <a:pt x="549" y="26"/>
                      </a:lnTo>
                      <a:lnTo>
                        <a:pt x="561" y="16"/>
                      </a:lnTo>
                      <a:lnTo>
                        <a:pt x="568" y="11"/>
                      </a:lnTo>
                      <a:lnTo>
                        <a:pt x="575" y="7"/>
                      </a:lnTo>
                      <a:lnTo>
                        <a:pt x="583" y="4"/>
                      </a:lnTo>
                      <a:lnTo>
                        <a:pt x="591" y="0"/>
                      </a:lnTo>
                      <a:lnTo>
                        <a:pt x="594" y="10"/>
                      </a:lnTo>
                      <a:lnTo>
                        <a:pt x="597" y="16"/>
                      </a:lnTo>
                      <a:lnTo>
                        <a:pt x="602" y="22"/>
                      </a:lnTo>
                      <a:lnTo>
                        <a:pt x="606" y="25"/>
                      </a:lnTo>
                      <a:lnTo>
                        <a:pt x="612" y="28"/>
                      </a:lnTo>
                      <a:lnTo>
                        <a:pt x="617" y="30"/>
                      </a:lnTo>
                      <a:lnTo>
                        <a:pt x="624" y="31"/>
                      </a:lnTo>
                      <a:lnTo>
                        <a:pt x="631" y="31"/>
                      </a:lnTo>
                      <a:lnTo>
                        <a:pt x="625" y="46"/>
                      </a:lnTo>
                      <a:lnTo>
                        <a:pt x="618" y="61"/>
                      </a:lnTo>
                      <a:lnTo>
                        <a:pt x="611" y="75"/>
                      </a:lnTo>
                      <a:lnTo>
                        <a:pt x="601" y="88"/>
                      </a:lnTo>
                      <a:lnTo>
                        <a:pt x="591" y="101"/>
                      </a:lnTo>
                      <a:lnTo>
                        <a:pt x="580" y="114"/>
                      </a:lnTo>
                      <a:lnTo>
                        <a:pt x="568" y="125"/>
                      </a:lnTo>
                      <a:lnTo>
                        <a:pt x="556" y="136"/>
                      </a:lnTo>
                      <a:lnTo>
                        <a:pt x="543" y="145"/>
                      </a:lnTo>
                      <a:lnTo>
                        <a:pt x="529" y="154"/>
                      </a:lnTo>
                      <a:lnTo>
                        <a:pt x="515" y="161"/>
                      </a:lnTo>
                      <a:lnTo>
                        <a:pt x="501" y="167"/>
                      </a:lnTo>
                      <a:lnTo>
                        <a:pt x="487" y="173"/>
                      </a:lnTo>
                      <a:lnTo>
                        <a:pt x="473" y="177"/>
                      </a:lnTo>
                      <a:lnTo>
                        <a:pt x="459" y="179"/>
                      </a:lnTo>
                      <a:lnTo>
                        <a:pt x="445" y="180"/>
                      </a:lnTo>
                      <a:lnTo>
                        <a:pt x="443" y="189"/>
                      </a:lnTo>
                      <a:lnTo>
                        <a:pt x="439" y="195"/>
                      </a:lnTo>
                      <a:lnTo>
                        <a:pt x="438" y="197"/>
                      </a:lnTo>
                      <a:lnTo>
                        <a:pt x="436" y="199"/>
                      </a:lnTo>
                      <a:lnTo>
                        <a:pt x="435" y="200"/>
                      </a:lnTo>
                      <a:lnTo>
                        <a:pt x="433" y="200"/>
                      </a:lnTo>
                      <a:lnTo>
                        <a:pt x="422" y="199"/>
                      </a:lnTo>
                      <a:lnTo>
                        <a:pt x="405" y="198"/>
                      </a:lnTo>
                      <a:lnTo>
                        <a:pt x="395" y="199"/>
                      </a:lnTo>
                      <a:lnTo>
                        <a:pt x="385" y="202"/>
                      </a:lnTo>
                      <a:lnTo>
                        <a:pt x="376" y="206"/>
                      </a:lnTo>
                      <a:lnTo>
                        <a:pt x="367" y="210"/>
                      </a:lnTo>
                      <a:lnTo>
                        <a:pt x="358" y="213"/>
                      </a:lnTo>
                      <a:lnTo>
                        <a:pt x="351" y="213"/>
                      </a:lnTo>
                      <a:lnTo>
                        <a:pt x="347" y="212"/>
                      </a:lnTo>
                      <a:lnTo>
                        <a:pt x="344" y="211"/>
                      </a:lnTo>
                      <a:lnTo>
                        <a:pt x="342" y="208"/>
                      </a:lnTo>
                      <a:lnTo>
                        <a:pt x="338" y="204"/>
                      </a:lnTo>
                      <a:lnTo>
                        <a:pt x="333" y="216"/>
                      </a:lnTo>
                      <a:lnTo>
                        <a:pt x="324" y="229"/>
                      </a:lnTo>
                      <a:lnTo>
                        <a:pt x="313" y="241"/>
                      </a:lnTo>
                      <a:lnTo>
                        <a:pt x="301" y="254"/>
                      </a:lnTo>
                      <a:lnTo>
                        <a:pt x="288" y="267"/>
                      </a:lnTo>
                      <a:lnTo>
                        <a:pt x="272" y="280"/>
                      </a:lnTo>
                      <a:lnTo>
                        <a:pt x="256" y="293"/>
                      </a:lnTo>
                      <a:lnTo>
                        <a:pt x="238" y="304"/>
                      </a:lnTo>
                      <a:lnTo>
                        <a:pt x="220" y="315"/>
                      </a:lnTo>
                      <a:lnTo>
                        <a:pt x="202" y="325"/>
                      </a:lnTo>
                      <a:lnTo>
                        <a:pt x="182" y="334"/>
                      </a:lnTo>
                      <a:lnTo>
                        <a:pt x="164" y="343"/>
                      </a:lnTo>
                      <a:lnTo>
                        <a:pt x="145" y="349"/>
                      </a:lnTo>
                      <a:lnTo>
                        <a:pt x="127" y="354"/>
                      </a:lnTo>
                      <a:lnTo>
                        <a:pt x="110" y="357"/>
                      </a:lnTo>
                      <a:lnTo>
                        <a:pt x="93" y="358"/>
                      </a:lnTo>
                      <a:lnTo>
                        <a:pt x="80" y="358"/>
                      </a:lnTo>
                      <a:lnTo>
                        <a:pt x="71" y="356"/>
                      </a:lnTo>
                      <a:lnTo>
                        <a:pt x="65" y="354"/>
                      </a:lnTo>
                      <a:lnTo>
                        <a:pt x="60" y="351"/>
                      </a:lnTo>
                      <a:lnTo>
                        <a:pt x="56" y="348"/>
                      </a:lnTo>
                      <a:lnTo>
                        <a:pt x="51" y="345"/>
                      </a:lnTo>
                      <a:lnTo>
                        <a:pt x="44" y="343"/>
                      </a:lnTo>
                      <a:lnTo>
                        <a:pt x="33" y="340"/>
                      </a:lnTo>
                      <a:lnTo>
                        <a:pt x="0" y="327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97" name="Freeform 76">
                  <a:extLst>
                    <a:ext uri="{FF2B5EF4-FFF2-40B4-BE49-F238E27FC236}">
                      <a16:creationId xmlns:a16="http://schemas.microsoft.com/office/drawing/2014/main" id="{A3CFBDB8-DB13-4F2B-B1DE-F2E38501B4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4" y="3323"/>
                  <a:ext cx="114" cy="141"/>
                </a:xfrm>
                <a:custGeom>
                  <a:avLst/>
                  <a:gdLst>
                    <a:gd name="T0" fmla="*/ 6 w 359"/>
                    <a:gd name="T1" fmla="*/ 31 h 431"/>
                    <a:gd name="T2" fmla="*/ 10 w 359"/>
                    <a:gd name="T3" fmla="*/ 29 h 431"/>
                    <a:gd name="T4" fmla="*/ 17 w 359"/>
                    <a:gd name="T5" fmla="*/ 22 h 431"/>
                    <a:gd name="T6" fmla="*/ 18 w 359"/>
                    <a:gd name="T7" fmla="*/ 18 h 431"/>
                    <a:gd name="T8" fmla="*/ 19 w 359"/>
                    <a:gd name="T9" fmla="*/ 16 h 431"/>
                    <a:gd name="T10" fmla="*/ 20 w 359"/>
                    <a:gd name="T11" fmla="*/ 15 h 431"/>
                    <a:gd name="T12" fmla="*/ 20 w 359"/>
                    <a:gd name="T13" fmla="*/ 13 h 431"/>
                    <a:gd name="T14" fmla="*/ 19 w 359"/>
                    <a:gd name="T15" fmla="*/ 10 h 431"/>
                    <a:gd name="T16" fmla="*/ 18 w 359"/>
                    <a:gd name="T17" fmla="*/ 4 h 431"/>
                    <a:gd name="T18" fmla="*/ 19 w 359"/>
                    <a:gd name="T19" fmla="*/ 0 h 431"/>
                    <a:gd name="T20" fmla="*/ 20 w 359"/>
                    <a:gd name="T21" fmla="*/ 1 h 431"/>
                    <a:gd name="T22" fmla="*/ 22 w 359"/>
                    <a:gd name="T23" fmla="*/ 3 h 431"/>
                    <a:gd name="T24" fmla="*/ 24 w 359"/>
                    <a:gd name="T25" fmla="*/ 6 h 431"/>
                    <a:gd name="T26" fmla="*/ 25 w 359"/>
                    <a:gd name="T27" fmla="*/ 8 h 431"/>
                    <a:gd name="T28" fmla="*/ 25 w 359"/>
                    <a:gd name="T29" fmla="*/ 9 h 431"/>
                    <a:gd name="T30" fmla="*/ 24 w 359"/>
                    <a:gd name="T31" fmla="*/ 11 h 431"/>
                    <a:gd name="T32" fmla="*/ 21 w 359"/>
                    <a:gd name="T33" fmla="*/ 13 h 431"/>
                    <a:gd name="T34" fmla="*/ 21 w 359"/>
                    <a:gd name="T35" fmla="*/ 14 h 431"/>
                    <a:gd name="T36" fmla="*/ 21 w 359"/>
                    <a:gd name="T37" fmla="*/ 16 h 431"/>
                    <a:gd name="T38" fmla="*/ 21 w 359"/>
                    <a:gd name="T39" fmla="*/ 17 h 431"/>
                    <a:gd name="T40" fmla="*/ 24 w 359"/>
                    <a:gd name="T41" fmla="*/ 17 h 431"/>
                    <a:gd name="T42" fmla="*/ 24 w 359"/>
                    <a:gd name="T43" fmla="*/ 16 h 431"/>
                    <a:gd name="T44" fmla="*/ 24 w 359"/>
                    <a:gd name="T45" fmla="*/ 14 h 431"/>
                    <a:gd name="T46" fmla="*/ 27 w 359"/>
                    <a:gd name="T47" fmla="*/ 21 h 431"/>
                    <a:gd name="T48" fmla="*/ 28 w 359"/>
                    <a:gd name="T49" fmla="*/ 22 h 431"/>
                    <a:gd name="T50" fmla="*/ 30 w 359"/>
                    <a:gd name="T51" fmla="*/ 24 h 431"/>
                    <a:gd name="T52" fmla="*/ 31 w 359"/>
                    <a:gd name="T53" fmla="*/ 23 h 431"/>
                    <a:gd name="T54" fmla="*/ 33 w 359"/>
                    <a:gd name="T55" fmla="*/ 22 h 431"/>
                    <a:gd name="T56" fmla="*/ 36 w 359"/>
                    <a:gd name="T57" fmla="*/ 21 h 431"/>
                    <a:gd name="T58" fmla="*/ 37 w 359"/>
                    <a:gd name="T59" fmla="*/ 22 h 431"/>
                    <a:gd name="T60" fmla="*/ 36 w 359"/>
                    <a:gd name="T61" fmla="*/ 26 h 431"/>
                    <a:gd name="T62" fmla="*/ 34 w 359"/>
                    <a:gd name="T63" fmla="*/ 28 h 431"/>
                    <a:gd name="T64" fmla="*/ 31 w 359"/>
                    <a:gd name="T65" fmla="*/ 29 h 431"/>
                    <a:gd name="T66" fmla="*/ 26 w 359"/>
                    <a:gd name="T67" fmla="*/ 31 h 431"/>
                    <a:gd name="T68" fmla="*/ 22 w 359"/>
                    <a:gd name="T69" fmla="*/ 32 h 431"/>
                    <a:gd name="T70" fmla="*/ 20 w 359"/>
                    <a:gd name="T71" fmla="*/ 33 h 431"/>
                    <a:gd name="T72" fmla="*/ 19 w 359"/>
                    <a:gd name="T73" fmla="*/ 36 h 431"/>
                    <a:gd name="T74" fmla="*/ 17 w 359"/>
                    <a:gd name="T75" fmla="*/ 38 h 431"/>
                    <a:gd name="T76" fmla="*/ 11 w 359"/>
                    <a:gd name="T77" fmla="*/ 42 h 431"/>
                    <a:gd name="T78" fmla="*/ 5 w 359"/>
                    <a:gd name="T79" fmla="*/ 45 h 431"/>
                    <a:gd name="T80" fmla="*/ 2 w 359"/>
                    <a:gd name="T81" fmla="*/ 46 h 431"/>
                    <a:gd name="T82" fmla="*/ 1 w 359"/>
                    <a:gd name="T83" fmla="*/ 45 h 431"/>
                    <a:gd name="T84" fmla="*/ 0 w 359"/>
                    <a:gd name="T85" fmla="*/ 44 h 431"/>
                    <a:gd name="T86" fmla="*/ 0 w 359"/>
                    <a:gd name="T87" fmla="*/ 43 h 431"/>
                    <a:gd name="T88" fmla="*/ 1 w 359"/>
                    <a:gd name="T89" fmla="*/ 42 h 431"/>
                    <a:gd name="T90" fmla="*/ 6 w 359"/>
                    <a:gd name="T91" fmla="*/ 40 h 431"/>
                    <a:gd name="T92" fmla="*/ 8 w 359"/>
                    <a:gd name="T93" fmla="*/ 38 h 431"/>
                    <a:gd name="T94" fmla="*/ 7 w 359"/>
                    <a:gd name="T95" fmla="*/ 36 h 431"/>
                    <a:gd name="T96" fmla="*/ 7 w 359"/>
                    <a:gd name="T97" fmla="*/ 35 h 431"/>
                    <a:gd name="T98" fmla="*/ 5 w 359"/>
                    <a:gd name="T99" fmla="*/ 34 h 431"/>
                    <a:gd name="T100" fmla="*/ 2 w 359"/>
                    <a:gd name="T101" fmla="*/ 34 h 431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0" t="0" r="r" b="b"/>
                  <a:pathLst>
                    <a:path w="359" h="431">
                      <a:moveTo>
                        <a:pt x="39" y="296"/>
                      </a:moveTo>
                      <a:lnTo>
                        <a:pt x="50" y="292"/>
                      </a:lnTo>
                      <a:lnTo>
                        <a:pt x="60" y="288"/>
                      </a:lnTo>
                      <a:lnTo>
                        <a:pt x="70" y="284"/>
                      </a:lnTo>
                      <a:lnTo>
                        <a:pt x="79" y="279"/>
                      </a:lnTo>
                      <a:lnTo>
                        <a:pt x="95" y="269"/>
                      </a:lnTo>
                      <a:lnTo>
                        <a:pt x="110" y="257"/>
                      </a:lnTo>
                      <a:lnTo>
                        <a:pt x="138" y="233"/>
                      </a:lnTo>
                      <a:lnTo>
                        <a:pt x="165" y="209"/>
                      </a:lnTo>
                      <a:lnTo>
                        <a:pt x="166" y="198"/>
                      </a:lnTo>
                      <a:lnTo>
                        <a:pt x="170" y="175"/>
                      </a:lnTo>
                      <a:lnTo>
                        <a:pt x="172" y="168"/>
                      </a:lnTo>
                      <a:lnTo>
                        <a:pt x="174" y="162"/>
                      </a:lnTo>
                      <a:lnTo>
                        <a:pt x="176" y="156"/>
                      </a:lnTo>
                      <a:lnTo>
                        <a:pt x="180" y="149"/>
                      </a:lnTo>
                      <a:lnTo>
                        <a:pt x="183" y="144"/>
                      </a:lnTo>
                      <a:lnTo>
                        <a:pt x="188" y="140"/>
                      </a:lnTo>
                      <a:lnTo>
                        <a:pt x="193" y="137"/>
                      </a:lnTo>
                      <a:lnTo>
                        <a:pt x="199" y="135"/>
                      </a:lnTo>
                      <a:lnTo>
                        <a:pt x="194" y="131"/>
                      </a:lnTo>
                      <a:lnTo>
                        <a:pt x="190" y="126"/>
                      </a:lnTo>
                      <a:lnTo>
                        <a:pt x="186" y="119"/>
                      </a:lnTo>
                      <a:lnTo>
                        <a:pt x="184" y="112"/>
                      </a:lnTo>
                      <a:lnTo>
                        <a:pt x="179" y="94"/>
                      </a:lnTo>
                      <a:lnTo>
                        <a:pt x="175" y="75"/>
                      </a:lnTo>
                      <a:lnTo>
                        <a:pt x="174" y="54"/>
                      </a:lnTo>
                      <a:lnTo>
                        <a:pt x="173" y="34"/>
                      </a:lnTo>
                      <a:lnTo>
                        <a:pt x="172" y="16"/>
                      </a:lnTo>
                      <a:lnTo>
                        <a:pt x="172" y="0"/>
                      </a:lnTo>
                      <a:lnTo>
                        <a:pt x="182" y="0"/>
                      </a:lnTo>
                      <a:lnTo>
                        <a:pt x="192" y="0"/>
                      </a:lnTo>
                      <a:lnTo>
                        <a:pt x="193" y="6"/>
                      </a:lnTo>
                      <a:lnTo>
                        <a:pt x="194" y="11"/>
                      </a:lnTo>
                      <a:lnTo>
                        <a:pt x="196" y="16"/>
                      </a:lnTo>
                      <a:lnTo>
                        <a:pt x="199" y="20"/>
                      </a:lnTo>
                      <a:lnTo>
                        <a:pt x="207" y="29"/>
                      </a:lnTo>
                      <a:lnTo>
                        <a:pt x="216" y="37"/>
                      </a:lnTo>
                      <a:lnTo>
                        <a:pt x="224" y="47"/>
                      </a:lnTo>
                      <a:lnTo>
                        <a:pt x="231" y="56"/>
                      </a:lnTo>
                      <a:lnTo>
                        <a:pt x="235" y="62"/>
                      </a:lnTo>
                      <a:lnTo>
                        <a:pt x="237" y="67"/>
                      </a:lnTo>
                      <a:lnTo>
                        <a:pt x="238" y="73"/>
                      </a:lnTo>
                      <a:lnTo>
                        <a:pt x="239" y="80"/>
                      </a:lnTo>
                      <a:lnTo>
                        <a:pt x="238" y="84"/>
                      </a:lnTo>
                      <a:lnTo>
                        <a:pt x="237" y="88"/>
                      </a:lnTo>
                      <a:lnTo>
                        <a:pt x="235" y="92"/>
                      </a:lnTo>
                      <a:lnTo>
                        <a:pt x="232" y="95"/>
                      </a:lnTo>
                      <a:lnTo>
                        <a:pt x="226" y="102"/>
                      </a:lnTo>
                      <a:lnTo>
                        <a:pt x="219" y="108"/>
                      </a:lnTo>
                      <a:lnTo>
                        <a:pt x="211" y="114"/>
                      </a:lnTo>
                      <a:lnTo>
                        <a:pt x="205" y="120"/>
                      </a:lnTo>
                      <a:lnTo>
                        <a:pt x="203" y="123"/>
                      </a:lnTo>
                      <a:lnTo>
                        <a:pt x="200" y="127"/>
                      </a:lnTo>
                      <a:lnTo>
                        <a:pt x="199" y="131"/>
                      </a:lnTo>
                      <a:lnTo>
                        <a:pt x="199" y="135"/>
                      </a:lnTo>
                      <a:lnTo>
                        <a:pt x="199" y="143"/>
                      </a:lnTo>
                      <a:lnTo>
                        <a:pt x="199" y="149"/>
                      </a:lnTo>
                      <a:lnTo>
                        <a:pt x="200" y="155"/>
                      </a:lnTo>
                      <a:lnTo>
                        <a:pt x="203" y="157"/>
                      </a:lnTo>
                      <a:lnTo>
                        <a:pt x="205" y="159"/>
                      </a:lnTo>
                      <a:lnTo>
                        <a:pt x="210" y="160"/>
                      </a:lnTo>
                      <a:lnTo>
                        <a:pt x="217" y="160"/>
                      </a:lnTo>
                      <a:lnTo>
                        <a:pt x="226" y="160"/>
                      </a:lnTo>
                      <a:lnTo>
                        <a:pt x="229" y="160"/>
                      </a:lnTo>
                      <a:lnTo>
                        <a:pt x="232" y="158"/>
                      </a:lnTo>
                      <a:lnTo>
                        <a:pt x="233" y="153"/>
                      </a:lnTo>
                      <a:lnTo>
                        <a:pt x="233" y="150"/>
                      </a:lnTo>
                      <a:lnTo>
                        <a:pt x="233" y="142"/>
                      </a:lnTo>
                      <a:lnTo>
                        <a:pt x="232" y="135"/>
                      </a:lnTo>
                      <a:lnTo>
                        <a:pt x="244" y="163"/>
                      </a:lnTo>
                      <a:lnTo>
                        <a:pt x="255" y="188"/>
                      </a:lnTo>
                      <a:lnTo>
                        <a:pt x="259" y="193"/>
                      </a:lnTo>
                      <a:lnTo>
                        <a:pt x="262" y="198"/>
                      </a:lnTo>
                      <a:lnTo>
                        <a:pt x="266" y="203"/>
                      </a:lnTo>
                      <a:lnTo>
                        <a:pt x="271" y="208"/>
                      </a:lnTo>
                      <a:lnTo>
                        <a:pt x="276" y="213"/>
                      </a:lnTo>
                      <a:lnTo>
                        <a:pt x="283" y="216"/>
                      </a:lnTo>
                      <a:lnTo>
                        <a:pt x="291" y="219"/>
                      </a:lnTo>
                      <a:lnTo>
                        <a:pt x="298" y="222"/>
                      </a:lnTo>
                      <a:lnTo>
                        <a:pt x="299" y="220"/>
                      </a:lnTo>
                      <a:lnTo>
                        <a:pt x="300" y="217"/>
                      </a:lnTo>
                      <a:lnTo>
                        <a:pt x="303" y="215"/>
                      </a:lnTo>
                      <a:lnTo>
                        <a:pt x="305" y="212"/>
                      </a:lnTo>
                      <a:lnTo>
                        <a:pt x="312" y="206"/>
                      </a:lnTo>
                      <a:lnTo>
                        <a:pt x="321" y="201"/>
                      </a:lnTo>
                      <a:lnTo>
                        <a:pt x="331" y="197"/>
                      </a:lnTo>
                      <a:lnTo>
                        <a:pt x="341" y="194"/>
                      </a:lnTo>
                      <a:lnTo>
                        <a:pt x="350" y="192"/>
                      </a:lnTo>
                      <a:lnTo>
                        <a:pt x="359" y="191"/>
                      </a:lnTo>
                      <a:lnTo>
                        <a:pt x="355" y="206"/>
                      </a:lnTo>
                      <a:lnTo>
                        <a:pt x="352" y="219"/>
                      </a:lnTo>
                      <a:lnTo>
                        <a:pt x="348" y="231"/>
                      </a:lnTo>
                      <a:lnTo>
                        <a:pt x="342" y="240"/>
                      </a:lnTo>
                      <a:lnTo>
                        <a:pt x="336" y="248"/>
                      </a:lnTo>
                      <a:lnTo>
                        <a:pt x="329" y="255"/>
                      </a:lnTo>
                      <a:lnTo>
                        <a:pt x="321" y="261"/>
                      </a:lnTo>
                      <a:lnTo>
                        <a:pt x="314" y="267"/>
                      </a:lnTo>
                      <a:lnTo>
                        <a:pt x="305" y="271"/>
                      </a:lnTo>
                      <a:lnTo>
                        <a:pt x="295" y="275"/>
                      </a:lnTo>
                      <a:lnTo>
                        <a:pt x="284" y="278"/>
                      </a:lnTo>
                      <a:lnTo>
                        <a:pt x="272" y="281"/>
                      </a:lnTo>
                      <a:lnTo>
                        <a:pt x="247" y="288"/>
                      </a:lnTo>
                      <a:lnTo>
                        <a:pt x="219" y="296"/>
                      </a:lnTo>
                      <a:lnTo>
                        <a:pt x="213" y="297"/>
                      </a:lnTo>
                      <a:lnTo>
                        <a:pt x="208" y="299"/>
                      </a:lnTo>
                      <a:lnTo>
                        <a:pt x="204" y="301"/>
                      </a:lnTo>
                      <a:lnTo>
                        <a:pt x="199" y="303"/>
                      </a:lnTo>
                      <a:lnTo>
                        <a:pt x="193" y="308"/>
                      </a:lnTo>
                      <a:lnTo>
                        <a:pt x="188" y="314"/>
                      </a:lnTo>
                      <a:lnTo>
                        <a:pt x="183" y="328"/>
                      </a:lnTo>
                      <a:lnTo>
                        <a:pt x="179" y="339"/>
                      </a:lnTo>
                      <a:lnTo>
                        <a:pt x="175" y="344"/>
                      </a:lnTo>
                      <a:lnTo>
                        <a:pt x="170" y="350"/>
                      </a:lnTo>
                      <a:lnTo>
                        <a:pt x="163" y="356"/>
                      </a:lnTo>
                      <a:lnTo>
                        <a:pt x="154" y="363"/>
                      </a:lnTo>
                      <a:lnTo>
                        <a:pt x="134" y="379"/>
                      </a:lnTo>
                      <a:lnTo>
                        <a:pt x="109" y="394"/>
                      </a:lnTo>
                      <a:lnTo>
                        <a:pt x="84" y="408"/>
                      </a:lnTo>
                      <a:lnTo>
                        <a:pt x="59" y="420"/>
                      </a:lnTo>
                      <a:lnTo>
                        <a:pt x="48" y="424"/>
                      </a:lnTo>
                      <a:lnTo>
                        <a:pt x="37" y="428"/>
                      </a:lnTo>
                      <a:lnTo>
                        <a:pt x="28" y="430"/>
                      </a:lnTo>
                      <a:lnTo>
                        <a:pt x="19" y="431"/>
                      </a:lnTo>
                      <a:lnTo>
                        <a:pt x="15" y="430"/>
                      </a:lnTo>
                      <a:lnTo>
                        <a:pt x="11" y="429"/>
                      </a:lnTo>
                      <a:lnTo>
                        <a:pt x="7" y="426"/>
                      </a:lnTo>
                      <a:lnTo>
                        <a:pt x="5" y="423"/>
                      </a:lnTo>
                      <a:lnTo>
                        <a:pt x="3" y="420"/>
                      </a:lnTo>
                      <a:lnTo>
                        <a:pt x="1" y="415"/>
                      </a:lnTo>
                      <a:lnTo>
                        <a:pt x="0" y="411"/>
                      </a:lnTo>
                      <a:lnTo>
                        <a:pt x="0" y="406"/>
                      </a:lnTo>
                      <a:lnTo>
                        <a:pt x="1" y="402"/>
                      </a:lnTo>
                      <a:lnTo>
                        <a:pt x="2" y="398"/>
                      </a:lnTo>
                      <a:lnTo>
                        <a:pt x="5" y="395"/>
                      </a:lnTo>
                      <a:lnTo>
                        <a:pt x="9" y="391"/>
                      </a:lnTo>
                      <a:lnTo>
                        <a:pt x="19" y="386"/>
                      </a:lnTo>
                      <a:lnTo>
                        <a:pt x="31" y="382"/>
                      </a:lnTo>
                      <a:lnTo>
                        <a:pt x="56" y="374"/>
                      </a:lnTo>
                      <a:lnTo>
                        <a:pt x="73" y="369"/>
                      </a:lnTo>
                      <a:lnTo>
                        <a:pt x="73" y="360"/>
                      </a:lnTo>
                      <a:lnTo>
                        <a:pt x="73" y="351"/>
                      </a:lnTo>
                      <a:lnTo>
                        <a:pt x="72" y="345"/>
                      </a:lnTo>
                      <a:lnTo>
                        <a:pt x="72" y="339"/>
                      </a:lnTo>
                      <a:lnTo>
                        <a:pt x="71" y="335"/>
                      </a:lnTo>
                      <a:lnTo>
                        <a:pt x="69" y="331"/>
                      </a:lnTo>
                      <a:lnTo>
                        <a:pt x="67" y="328"/>
                      </a:lnTo>
                      <a:lnTo>
                        <a:pt x="64" y="326"/>
                      </a:lnTo>
                      <a:lnTo>
                        <a:pt x="62" y="324"/>
                      </a:lnTo>
                      <a:lnTo>
                        <a:pt x="59" y="322"/>
                      </a:lnTo>
                      <a:lnTo>
                        <a:pt x="51" y="320"/>
                      </a:lnTo>
                      <a:lnTo>
                        <a:pt x="41" y="319"/>
                      </a:lnTo>
                      <a:lnTo>
                        <a:pt x="31" y="320"/>
                      </a:lnTo>
                      <a:lnTo>
                        <a:pt x="19" y="320"/>
                      </a:lnTo>
                      <a:lnTo>
                        <a:pt x="39" y="29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619" name="Freeform 77">
                <a:extLst>
                  <a:ext uri="{FF2B5EF4-FFF2-40B4-BE49-F238E27FC236}">
                    <a16:creationId xmlns:a16="http://schemas.microsoft.com/office/drawing/2014/main" id="{469B0EA1-1ECA-4E76-ADF7-245292606698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8052856" y="4206486"/>
                <a:ext cx="10859" cy="65044"/>
              </a:xfrm>
              <a:custGeom>
                <a:avLst/>
                <a:gdLst>
                  <a:gd name="T0" fmla="*/ 0 w 21"/>
                  <a:gd name="T1" fmla="*/ 36535442 h 62"/>
                  <a:gd name="T2" fmla="*/ 205921 w 21"/>
                  <a:gd name="T3" fmla="*/ 24639946 h 62"/>
                  <a:gd name="T4" fmla="*/ 617311 w 21"/>
                  <a:gd name="T5" fmla="*/ 14444202 h 62"/>
                  <a:gd name="T6" fmla="*/ 822779 w 21"/>
                  <a:gd name="T7" fmla="*/ 9346790 h 62"/>
                  <a:gd name="T8" fmla="*/ 1234168 w 21"/>
                  <a:gd name="T9" fmla="*/ 5947287 h 62"/>
                  <a:gd name="T10" fmla="*/ 1851479 w 21"/>
                  <a:gd name="T11" fmla="*/ 2548706 h 62"/>
                  <a:gd name="T12" fmla="*/ 3086100 w 21"/>
                  <a:gd name="T13" fmla="*/ 0 h 62"/>
                  <a:gd name="T14" fmla="*/ 3086100 w 21"/>
                  <a:gd name="T15" fmla="*/ 12745372 h 62"/>
                  <a:gd name="T16" fmla="*/ 3702957 w 21"/>
                  <a:gd name="T17" fmla="*/ 26339698 h 62"/>
                  <a:gd name="T18" fmla="*/ 4114346 w 21"/>
                  <a:gd name="T19" fmla="*/ 37385318 h 62"/>
                  <a:gd name="T20" fmla="*/ 4320268 w 21"/>
                  <a:gd name="T21" fmla="*/ 41633775 h 62"/>
                  <a:gd name="T22" fmla="*/ 2057400 w 21"/>
                  <a:gd name="T23" fmla="*/ 46732108 h 62"/>
                  <a:gd name="T24" fmla="*/ 0 w 21"/>
                  <a:gd name="T25" fmla="*/ 52679395 h 62"/>
                  <a:gd name="T26" fmla="*/ 0 w 21"/>
                  <a:gd name="T27" fmla="*/ 36535442 h 62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21" h="62">
                    <a:moveTo>
                      <a:pt x="0" y="43"/>
                    </a:moveTo>
                    <a:lnTo>
                      <a:pt x="1" y="29"/>
                    </a:lnTo>
                    <a:lnTo>
                      <a:pt x="3" y="17"/>
                    </a:lnTo>
                    <a:lnTo>
                      <a:pt x="4" y="11"/>
                    </a:lnTo>
                    <a:lnTo>
                      <a:pt x="6" y="7"/>
                    </a:lnTo>
                    <a:lnTo>
                      <a:pt x="9" y="3"/>
                    </a:lnTo>
                    <a:lnTo>
                      <a:pt x="15" y="0"/>
                    </a:lnTo>
                    <a:lnTo>
                      <a:pt x="15" y="15"/>
                    </a:lnTo>
                    <a:lnTo>
                      <a:pt x="18" y="31"/>
                    </a:lnTo>
                    <a:lnTo>
                      <a:pt x="20" y="44"/>
                    </a:lnTo>
                    <a:lnTo>
                      <a:pt x="21" y="49"/>
                    </a:lnTo>
                    <a:lnTo>
                      <a:pt x="10" y="55"/>
                    </a:lnTo>
                    <a:lnTo>
                      <a:pt x="0" y="62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0" name="Freeform 78">
                <a:extLst>
                  <a:ext uri="{FF2B5EF4-FFF2-40B4-BE49-F238E27FC236}">
                    <a16:creationId xmlns:a16="http://schemas.microsoft.com/office/drawing/2014/main" id="{5F5B458E-F214-4A95-93AF-1090A9D01C24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8928812" y="5220835"/>
                <a:ext cx="18098" cy="63287"/>
              </a:xfrm>
              <a:custGeom>
                <a:avLst/>
                <a:gdLst>
                  <a:gd name="T0" fmla="*/ 0 w 33"/>
                  <a:gd name="T1" fmla="*/ 0 h 24"/>
                  <a:gd name="T2" fmla="*/ 937379 w 33"/>
                  <a:gd name="T3" fmla="*/ 28351163 h 24"/>
                  <a:gd name="T4" fmla="*/ 1874759 w 33"/>
                  <a:gd name="T5" fmla="*/ 56704706 h 24"/>
                  <a:gd name="T6" fmla="*/ 2062235 w 33"/>
                  <a:gd name="T7" fmla="*/ 73713975 h 24"/>
                  <a:gd name="T8" fmla="*/ 2249711 w 33"/>
                  <a:gd name="T9" fmla="*/ 90725625 h 24"/>
                  <a:gd name="T10" fmla="*/ 2437186 w 33"/>
                  <a:gd name="T11" fmla="*/ 113407031 h 24"/>
                  <a:gd name="T12" fmla="*/ 2437186 w 33"/>
                  <a:gd name="T13" fmla="*/ 136088438 h 24"/>
                  <a:gd name="T14" fmla="*/ 6186271 w 33"/>
                  <a:gd name="T15" fmla="*/ 0 h 24"/>
                  <a:gd name="T16" fmla="*/ 4498988 w 33"/>
                  <a:gd name="T17" fmla="*/ 0 h 24"/>
                  <a:gd name="T18" fmla="*/ 2999614 w 33"/>
                  <a:gd name="T19" fmla="*/ 0 h 24"/>
                  <a:gd name="T20" fmla="*/ 1687283 w 33"/>
                  <a:gd name="T21" fmla="*/ 0 h 24"/>
                  <a:gd name="T22" fmla="*/ 0 w 33"/>
                  <a:gd name="T23" fmla="*/ 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3" h="24">
                    <a:moveTo>
                      <a:pt x="0" y="0"/>
                    </a:moveTo>
                    <a:lnTo>
                      <a:pt x="5" y="5"/>
                    </a:lnTo>
                    <a:lnTo>
                      <a:pt x="10" y="10"/>
                    </a:lnTo>
                    <a:lnTo>
                      <a:pt x="11" y="13"/>
                    </a:lnTo>
                    <a:lnTo>
                      <a:pt x="12" y="16"/>
                    </a:lnTo>
                    <a:lnTo>
                      <a:pt x="13" y="20"/>
                    </a:lnTo>
                    <a:lnTo>
                      <a:pt x="13" y="24"/>
                    </a:lnTo>
                    <a:lnTo>
                      <a:pt x="33" y="0"/>
                    </a:lnTo>
                    <a:lnTo>
                      <a:pt x="24" y="0"/>
                    </a:lnTo>
                    <a:lnTo>
                      <a:pt x="16" y="0"/>
                    </a:lnTo>
                    <a:lnTo>
                      <a:pt x="9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1" name="Freeform 79">
                <a:extLst>
                  <a:ext uri="{FF2B5EF4-FFF2-40B4-BE49-F238E27FC236}">
                    <a16:creationId xmlns:a16="http://schemas.microsoft.com/office/drawing/2014/main" id="{FD1F0947-7940-4CBF-AE6E-22094CE43111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8955960" y="5231383"/>
                <a:ext cx="21718" cy="66803"/>
              </a:xfrm>
              <a:custGeom>
                <a:avLst/>
                <a:gdLst>
                  <a:gd name="T0" fmla="*/ 7281013 w 33"/>
                  <a:gd name="T1" fmla="*/ 138001407 h 25"/>
                  <a:gd name="T2" fmla="*/ 8120824 w 33"/>
                  <a:gd name="T3" fmla="*/ 121442272 h 25"/>
                  <a:gd name="T4" fmla="*/ 9241102 w 33"/>
                  <a:gd name="T5" fmla="*/ 99361859 h 25"/>
                  <a:gd name="T6" fmla="*/ 9241102 w 33"/>
                  <a:gd name="T7" fmla="*/ 0 h 25"/>
                  <a:gd name="T8" fmla="*/ 7001075 w 33"/>
                  <a:gd name="T9" fmla="*/ 0 h 25"/>
                  <a:gd name="T10" fmla="*/ 4480582 w 33"/>
                  <a:gd name="T11" fmla="*/ 0 h 25"/>
                  <a:gd name="T12" fmla="*/ 1680152 w 33"/>
                  <a:gd name="T13" fmla="*/ 0 h 25"/>
                  <a:gd name="T14" fmla="*/ 0 w 33"/>
                  <a:gd name="T15" fmla="*/ 0 h 25"/>
                  <a:gd name="T16" fmla="*/ 7281013 w 33"/>
                  <a:gd name="T17" fmla="*/ 138001407 h 25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33" h="25">
                    <a:moveTo>
                      <a:pt x="26" y="25"/>
                    </a:moveTo>
                    <a:lnTo>
                      <a:pt x="29" y="22"/>
                    </a:lnTo>
                    <a:lnTo>
                      <a:pt x="33" y="18"/>
                    </a:lnTo>
                    <a:lnTo>
                      <a:pt x="33" y="0"/>
                    </a:lnTo>
                    <a:lnTo>
                      <a:pt x="25" y="0"/>
                    </a:lnTo>
                    <a:lnTo>
                      <a:pt x="16" y="0"/>
                    </a:lnTo>
                    <a:lnTo>
                      <a:pt x="6" y="0"/>
                    </a:lnTo>
                    <a:lnTo>
                      <a:pt x="0" y="0"/>
                    </a:lnTo>
                    <a:lnTo>
                      <a:pt x="26" y="25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2" name="Freeform 80">
                <a:extLst>
                  <a:ext uri="{FF2B5EF4-FFF2-40B4-BE49-F238E27FC236}">
                    <a16:creationId xmlns:a16="http://schemas.microsoft.com/office/drawing/2014/main" id="{8795857D-92B8-4FD5-B14C-4DC24C55DD46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8128869" y="4194179"/>
                <a:ext cx="1810" cy="63287"/>
              </a:xfrm>
              <a:custGeom>
                <a:avLst/>
                <a:gdLst>
                  <a:gd name="T0" fmla="*/ 0 w 7"/>
                  <a:gd name="T1" fmla="*/ 0 h 55563"/>
                  <a:gd name="T2" fmla="*/ 360249 w 7"/>
                  <a:gd name="T3" fmla="*/ 0 h 55563"/>
                  <a:gd name="T4" fmla="*/ 0 w 7"/>
                  <a:gd name="T5" fmla="*/ 0 h 5556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7" h="55563">
                    <a:moveTo>
                      <a:pt x="0" y="0"/>
                    </a:move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3" name="Freeform 81">
                <a:extLst>
                  <a:ext uri="{FF2B5EF4-FFF2-40B4-BE49-F238E27FC236}">
                    <a16:creationId xmlns:a16="http://schemas.microsoft.com/office/drawing/2014/main" id="{6B0CE219-94C4-4D2E-A316-33D304AB0036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8199452" y="4132651"/>
                <a:ext cx="9049" cy="63287"/>
              </a:xfrm>
              <a:custGeom>
                <a:avLst/>
                <a:gdLst>
                  <a:gd name="T0" fmla="*/ 2520156 w 16"/>
                  <a:gd name="T1" fmla="*/ 0 h 25"/>
                  <a:gd name="T2" fmla="*/ 2520156 w 16"/>
                  <a:gd name="T3" fmla="*/ 31354776 h 25"/>
                  <a:gd name="T4" fmla="*/ 2205038 w 16"/>
                  <a:gd name="T5" fmla="*/ 67935348 h 25"/>
                  <a:gd name="T6" fmla="*/ 2047478 w 16"/>
                  <a:gd name="T7" fmla="*/ 83612736 h 25"/>
                  <a:gd name="T8" fmla="*/ 1732756 w 16"/>
                  <a:gd name="T9" fmla="*/ 104515920 h 25"/>
                  <a:gd name="T10" fmla="*/ 1102519 w 16"/>
                  <a:gd name="T11" fmla="*/ 120193308 h 25"/>
                  <a:gd name="T12" fmla="*/ 472678 w 16"/>
                  <a:gd name="T13" fmla="*/ 130644900 h 25"/>
                  <a:gd name="T14" fmla="*/ 157559 w 16"/>
                  <a:gd name="T15" fmla="*/ 125419104 h 25"/>
                  <a:gd name="T16" fmla="*/ 0 w 16"/>
                  <a:gd name="T17" fmla="*/ 109741716 h 25"/>
                  <a:gd name="T18" fmla="*/ 157559 w 16"/>
                  <a:gd name="T19" fmla="*/ 94064328 h 25"/>
                  <a:gd name="T20" fmla="*/ 315119 w 16"/>
                  <a:gd name="T21" fmla="*/ 67935348 h 25"/>
                  <a:gd name="T22" fmla="*/ 630238 w 16"/>
                  <a:gd name="T23" fmla="*/ 47032164 h 25"/>
                  <a:gd name="T24" fmla="*/ 1102519 w 16"/>
                  <a:gd name="T25" fmla="*/ 20903184 h 25"/>
                  <a:gd name="T26" fmla="*/ 1732756 w 16"/>
                  <a:gd name="T27" fmla="*/ 5225796 h 25"/>
                  <a:gd name="T28" fmla="*/ 2520156 w 16"/>
                  <a:gd name="T29" fmla="*/ 0 h 2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16" h="25">
                    <a:moveTo>
                      <a:pt x="16" y="0"/>
                    </a:moveTo>
                    <a:lnTo>
                      <a:pt x="16" y="6"/>
                    </a:lnTo>
                    <a:lnTo>
                      <a:pt x="14" y="13"/>
                    </a:lnTo>
                    <a:lnTo>
                      <a:pt x="13" y="16"/>
                    </a:lnTo>
                    <a:lnTo>
                      <a:pt x="11" y="20"/>
                    </a:lnTo>
                    <a:lnTo>
                      <a:pt x="7" y="23"/>
                    </a:lnTo>
                    <a:lnTo>
                      <a:pt x="3" y="25"/>
                    </a:lnTo>
                    <a:lnTo>
                      <a:pt x="1" y="24"/>
                    </a:lnTo>
                    <a:lnTo>
                      <a:pt x="0" y="21"/>
                    </a:lnTo>
                    <a:lnTo>
                      <a:pt x="1" y="18"/>
                    </a:lnTo>
                    <a:lnTo>
                      <a:pt x="2" y="13"/>
                    </a:lnTo>
                    <a:lnTo>
                      <a:pt x="4" y="9"/>
                    </a:lnTo>
                    <a:lnTo>
                      <a:pt x="7" y="4"/>
                    </a:lnTo>
                    <a:lnTo>
                      <a:pt x="11" y="1"/>
                    </a:lnTo>
                    <a:lnTo>
                      <a:pt x="1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4" name="Freeform 82">
                <a:extLst>
                  <a:ext uri="{FF2B5EF4-FFF2-40B4-BE49-F238E27FC236}">
                    <a16:creationId xmlns:a16="http://schemas.microsoft.com/office/drawing/2014/main" id="{A78EDCD9-9DA9-411D-961B-A6B959CF4405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8335189" y="4006077"/>
                <a:ext cx="7239" cy="65044"/>
              </a:xfrm>
              <a:custGeom>
                <a:avLst/>
                <a:gdLst>
                  <a:gd name="T0" fmla="*/ 0 w 14"/>
                  <a:gd name="T1" fmla="*/ 0 h 18"/>
                  <a:gd name="T2" fmla="*/ 347359 w 14"/>
                  <a:gd name="T3" fmla="*/ 10080625 h 18"/>
                  <a:gd name="T4" fmla="*/ 578705 w 14"/>
                  <a:gd name="T5" fmla="*/ 20161250 h 18"/>
                  <a:gd name="T6" fmla="*/ 810390 w 14"/>
                  <a:gd name="T7" fmla="*/ 40322500 h 18"/>
                  <a:gd name="T8" fmla="*/ 1041736 w 14"/>
                  <a:gd name="T9" fmla="*/ 70564375 h 18"/>
                  <a:gd name="T10" fmla="*/ 1504768 w 14"/>
                  <a:gd name="T11" fmla="*/ 131048125 h 18"/>
                  <a:gd name="T12" fmla="*/ 1620441 w 14"/>
                  <a:gd name="T13" fmla="*/ 181451250 h 18"/>
                  <a:gd name="T14" fmla="*/ 0 w 14"/>
                  <a:gd name="T15" fmla="*/ 0 h 1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4" h="18">
                    <a:moveTo>
                      <a:pt x="0" y="0"/>
                    </a:moveTo>
                    <a:lnTo>
                      <a:pt x="3" y="1"/>
                    </a:lnTo>
                    <a:lnTo>
                      <a:pt x="5" y="2"/>
                    </a:lnTo>
                    <a:lnTo>
                      <a:pt x="7" y="4"/>
                    </a:lnTo>
                    <a:lnTo>
                      <a:pt x="9" y="7"/>
                    </a:lnTo>
                    <a:lnTo>
                      <a:pt x="13" y="13"/>
                    </a:lnTo>
                    <a:lnTo>
                      <a:pt x="14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5" name="Freeform 83">
                <a:extLst>
                  <a:ext uri="{FF2B5EF4-FFF2-40B4-BE49-F238E27FC236}">
                    <a16:creationId xmlns:a16="http://schemas.microsoft.com/office/drawing/2014/main" id="{B0CED2CA-3F91-4CE2-BE07-740CE542540B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8519791" y="4791890"/>
                <a:ext cx="32577" cy="66803"/>
              </a:xfrm>
              <a:custGeom>
                <a:avLst/>
                <a:gdLst>
                  <a:gd name="T0" fmla="*/ 0 w 67"/>
                  <a:gd name="T1" fmla="*/ 0 h 74"/>
                  <a:gd name="T2" fmla="*/ 162331 w 67"/>
                  <a:gd name="T3" fmla="*/ 10710771 h 74"/>
                  <a:gd name="T4" fmla="*/ 486590 w 67"/>
                  <a:gd name="T5" fmla="*/ 18900614 h 74"/>
                  <a:gd name="T6" fmla="*/ 1135913 w 67"/>
                  <a:gd name="T7" fmla="*/ 25830786 h 74"/>
                  <a:gd name="T8" fmla="*/ 1947164 w 67"/>
                  <a:gd name="T9" fmla="*/ 31501288 h 74"/>
                  <a:gd name="T10" fmla="*/ 2758415 w 67"/>
                  <a:gd name="T11" fmla="*/ 36541558 h 74"/>
                  <a:gd name="T12" fmla="*/ 3731997 w 67"/>
                  <a:gd name="T13" fmla="*/ 40322157 h 74"/>
                  <a:gd name="T14" fmla="*/ 4543249 w 67"/>
                  <a:gd name="T15" fmla="*/ 43471730 h 74"/>
                  <a:gd name="T16" fmla="*/ 5354500 w 67"/>
                  <a:gd name="T17" fmla="*/ 46622097 h 74"/>
                  <a:gd name="T18" fmla="*/ 7138930 w 67"/>
                  <a:gd name="T19" fmla="*/ 40951595 h 74"/>
                  <a:gd name="T20" fmla="*/ 8923763 w 67"/>
                  <a:gd name="T21" fmla="*/ 34651655 h 74"/>
                  <a:gd name="T22" fmla="*/ 9573087 w 67"/>
                  <a:gd name="T23" fmla="*/ 30871056 h 74"/>
                  <a:gd name="T24" fmla="*/ 10222007 w 67"/>
                  <a:gd name="T25" fmla="*/ 27091251 h 74"/>
                  <a:gd name="T26" fmla="*/ 10708597 w 67"/>
                  <a:gd name="T27" fmla="*/ 23311445 h 74"/>
                  <a:gd name="T28" fmla="*/ 10870928 w 67"/>
                  <a:gd name="T29" fmla="*/ 18900614 h 74"/>
                  <a:gd name="T30" fmla="*/ 10870928 w 67"/>
                  <a:gd name="T31" fmla="*/ 15751041 h 74"/>
                  <a:gd name="T32" fmla="*/ 10870928 w 67"/>
                  <a:gd name="T33" fmla="*/ 11340210 h 74"/>
                  <a:gd name="T34" fmla="*/ 10870928 w 67"/>
                  <a:gd name="T35" fmla="*/ 5670502 h 74"/>
                  <a:gd name="T36" fmla="*/ 10870928 w 67"/>
                  <a:gd name="T37" fmla="*/ 0 h 74"/>
                  <a:gd name="T38" fmla="*/ 7788253 w 67"/>
                  <a:gd name="T39" fmla="*/ 0 h 74"/>
                  <a:gd name="T40" fmla="*/ 5354500 w 67"/>
                  <a:gd name="T41" fmla="*/ 0 h 74"/>
                  <a:gd name="T42" fmla="*/ 2758415 w 67"/>
                  <a:gd name="T43" fmla="*/ 0 h 74"/>
                  <a:gd name="T44" fmla="*/ 0 w 67"/>
                  <a:gd name="T45" fmla="*/ 0 h 7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7" h="74">
                    <a:moveTo>
                      <a:pt x="0" y="0"/>
                    </a:moveTo>
                    <a:lnTo>
                      <a:pt x="1" y="17"/>
                    </a:lnTo>
                    <a:lnTo>
                      <a:pt x="3" y="30"/>
                    </a:lnTo>
                    <a:lnTo>
                      <a:pt x="7" y="41"/>
                    </a:lnTo>
                    <a:lnTo>
                      <a:pt x="12" y="50"/>
                    </a:lnTo>
                    <a:lnTo>
                      <a:pt x="17" y="58"/>
                    </a:lnTo>
                    <a:lnTo>
                      <a:pt x="23" y="64"/>
                    </a:lnTo>
                    <a:lnTo>
                      <a:pt x="28" y="69"/>
                    </a:lnTo>
                    <a:lnTo>
                      <a:pt x="33" y="74"/>
                    </a:lnTo>
                    <a:lnTo>
                      <a:pt x="44" y="65"/>
                    </a:lnTo>
                    <a:lnTo>
                      <a:pt x="55" y="55"/>
                    </a:lnTo>
                    <a:lnTo>
                      <a:pt x="59" y="49"/>
                    </a:lnTo>
                    <a:lnTo>
                      <a:pt x="63" y="43"/>
                    </a:lnTo>
                    <a:lnTo>
                      <a:pt x="66" y="37"/>
                    </a:lnTo>
                    <a:lnTo>
                      <a:pt x="67" y="30"/>
                    </a:lnTo>
                    <a:lnTo>
                      <a:pt x="67" y="25"/>
                    </a:lnTo>
                    <a:lnTo>
                      <a:pt x="67" y="18"/>
                    </a:lnTo>
                    <a:lnTo>
                      <a:pt x="67" y="9"/>
                    </a:lnTo>
                    <a:lnTo>
                      <a:pt x="67" y="0"/>
                    </a:lnTo>
                    <a:lnTo>
                      <a:pt x="48" y="0"/>
                    </a:lnTo>
                    <a:lnTo>
                      <a:pt x="33" y="0"/>
                    </a:lnTo>
                    <a:lnTo>
                      <a:pt x="1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6" name="Freeform 84">
                <a:extLst>
                  <a:ext uri="{FF2B5EF4-FFF2-40B4-BE49-F238E27FC236}">
                    <a16:creationId xmlns:a16="http://schemas.microsoft.com/office/drawing/2014/main" id="{7F6F621E-7075-4012-B219-E56B1D21DAF4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8595804" y="4807712"/>
                <a:ext cx="16289" cy="65044"/>
              </a:xfrm>
              <a:custGeom>
                <a:avLst/>
                <a:gdLst>
                  <a:gd name="T0" fmla="*/ 0 w 34"/>
                  <a:gd name="T1" fmla="*/ 0 h 38"/>
                  <a:gd name="T2" fmla="*/ 279026 w 34"/>
                  <a:gd name="T3" fmla="*/ 6785811 h 38"/>
                  <a:gd name="T4" fmla="*/ 558053 w 34"/>
                  <a:gd name="T5" fmla="*/ 15833558 h 38"/>
                  <a:gd name="T6" fmla="*/ 697753 w 34"/>
                  <a:gd name="T7" fmla="*/ 24879801 h 38"/>
                  <a:gd name="T8" fmla="*/ 837079 w 34"/>
                  <a:gd name="T9" fmla="*/ 36189486 h 38"/>
                  <a:gd name="T10" fmla="*/ 1395132 w 34"/>
                  <a:gd name="T11" fmla="*/ 63332728 h 38"/>
                  <a:gd name="T12" fmla="*/ 1813859 w 34"/>
                  <a:gd name="T13" fmla="*/ 85950592 h 38"/>
                  <a:gd name="T14" fmla="*/ 2232212 w 34"/>
                  <a:gd name="T15" fmla="*/ 83688655 h 38"/>
                  <a:gd name="T16" fmla="*/ 2790638 w 34"/>
                  <a:gd name="T17" fmla="*/ 81426718 h 38"/>
                  <a:gd name="T18" fmla="*/ 3208991 w 34"/>
                  <a:gd name="T19" fmla="*/ 76902845 h 38"/>
                  <a:gd name="T20" fmla="*/ 3627718 w 34"/>
                  <a:gd name="T21" fmla="*/ 70117034 h 38"/>
                  <a:gd name="T22" fmla="*/ 3906744 w 34"/>
                  <a:gd name="T23" fmla="*/ 63332728 h 38"/>
                  <a:gd name="T24" fmla="*/ 4464797 w 34"/>
                  <a:gd name="T25" fmla="*/ 54284980 h 38"/>
                  <a:gd name="T26" fmla="*/ 4604124 w 34"/>
                  <a:gd name="T27" fmla="*/ 47499170 h 38"/>
                  <a:gd name="T28" fmla="*/ 4743824 w 34"/>
                  <a:gd name="T29" fmla="*/ 42975296 h 38"/>
                  <a:gd name="T30" fmla="*/ 4325097 w 34"/>
                  <a:gd name="T31" fmla="*/ 40713359 h 38"/>
                  <a:gd name="T32" fmla="*/ 3906744 w 34"/>
                  <a:gd name="T33" fmla="*/ 38451422 h 38"/>
                  <a:gd name="T34" fmla="*/ 3627718 w 34"/>
                  <a:gd name="T35" fmla="*/ 31665612 h 38"/>
                  <a:gd name="T36" fmla="*/ 3348691 w 34"/>
                  <a:gd name="T37" fmla="*/ 27141738 h 38"/>
                  <a:gd name="T38" fmla="*/ 2650938 w 34"/>
                  <a:gd name="T39" fmla="*/ 13571621 h 38"/>
                  <a:gd name="T40" fmla="*/ 1813859 w 34"/>
                  <a:gd name="T41" fmla="*/ 0 h 38"/>
                  <a:gd name="T42" fmla="*/ 837079 w 34"/>
                  <a:gd name="T43" fmla="*/ 0 h 38"/>
                  <a:gd name="T44" fmla="*/ 0 w 34"/>
                  <a:gd name="T45" fmla="*/ 0 h 3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34" h="38">
                    <a:moveTo>
                      <a:pt x="0" y="0"/>
                    </a:moveTo>
                    <a:lnTo>
                      <a:pt x="2" y="3"/>
                    </a:lnTo>
                    <a:lnTo>
                      <a:pt x="4" y="7"/>
                    </a:lnTo>
                    <a:lnTo>
                      <a:pt x="5" y="11"/>
                    </a:lnTo>
                    <a:lnTo>
                      <a:pt x="6" y="16"/>
                    </a:lnTo>
                    <a:lnTo>
                      <a:pt x="10" y="28"/>
                    </a:lnTo>
                    <a:lnTo>
                      <a:pt x="13" y="38"/>
                    </a:lnTo>
                    <a:lnTo>
                      <a:pt x="16" y="37"/>
                    </a:lnTo>
                    <a:lnTo>
                      <a:pt x="20" y="36"/>
                    </a:lnTo>
                    <a:lnTo>
                      <a:pt x="23" y="34"/>
                    </a:lnTo>
                    <a:lnTo>
                      <a:pt x="26" y="31"/>
                    </a:lnTo>
                    <a:lnTo>
                      <a:pt x="28" y="28"/>
                    </a:lnTo>
                    <a:lnTo>
                      <a:pt x="32" y="24"/>
                    </a:lnTo>
                    <a:lnTo>
                      <a:pt x="33" y="21"/>
                    </a:lnTo>
                    <a:lnTo>
                      <a:pt x="34" y="19"/>
                    </a:lnTo>
                    <a:lnTo>
                      <a:pt x="31" y="18"/>
                    </a:lnTo>
                    <a:lnTo>
                      <a:pt x="28" y="17"/>
                    </a:lnTo>
                    <a:lnTo>
                      <a:pt x="26" y="14"/>
                    </a:lnTo>
                    <a:lnTo>
                      <a:pt x="24" y="12"/>
                    </a:lnTo>
                    <a:lnTo>
                      <a:pt x="19" y="6"/>
                    </a:lnTo>
                    <a:lnTo>
                      <a:pt x="13" y="0"/>
                    </a:lnTo>
                    <a:lnTo>
                      <a:pt x="6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7" name="Freeform 85">
                <a:extLst>
                  <a:ext uri="{FF2B5EF4-FFF2-40B4-BE49-F238E27FC236}">
                    <a16:creationId xmlns:a16="http://schemas.microsoft.com/office/drawing/2014/main" id="{403CD589-52DB-42D1-A3DB-A15B501F1AB3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8423871" y="4556322"/>
                <a:ext cx="30766" cy="63287"/>
              </a:xfrm>
              <a:custGeom>
                <a:avLst/>
                <a:gdLst>
                  <a:gd name="T0" fmla="*/ 12172830 w 53"/>
                  <a:gd name="T1" fmla="*/ 134223298 h 23"/>
                  <a:gd name="T2" fmla="*/ 12172830 w 53"/>
                  <a:gd name="T3" fmla="*/ 23343287 h 23"/>
                  <a:gd name="T4" fmla="*/ 11254117 w 53"/>
                  <a:gd name="T5" fmla="*/ 11670436 h 23"/>
                  <a:gd name="T6" fmla="*/ 10335404 w 53"/>
                  <a:gd name="T7" fmla="*/ 5836426 h 23"/>
                  <a:gd name="T8" fmla="*/ 9646249 w 53"/>
                  <a:gd name="T9" fmla="*/ 0 h 23"/>
                  <a:gd name="T10" fmla="*/ 8727536 w 53"/>
                  <a:gd name="T11" fmla="*/ 0 h 23"/>
                  <a:gd name="T12" fmla="*/ 7120147 w 53"/>
                  <a:gd name="T13" fmla="*/ 5836426 h 23"/>
                  <a:gd name="T14" fmla="*/ 5512279 w 53"/>
                  <a:gd name="T15" fmla="*/ 23343287 h 23"/>
                  <a:gd name="T16" fmla="*/ 2526581 w 53"/>
                  <a:gd name="T17" fmla="*/ 75866287 h 23"/>
                  <a:gd name="T18" fmla="*/ 0 w 53"/>
                  <a:gd name="T19" fmla="*/ 134223298 h 23"/>
                  <a:gd name="T20" fmla="*/ 12172830 w 53"/>
                  <a:gd name="T21" fmla="*/ 134223298 h 23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53" h="23">
                    <a:moveTo>
                      <a:pt x="53" y="23"/>
                    </a:moveTo>
                    <a:lnTo>
                      <a:pt x="53" y="4"/>
                    </a:lnTo>
                    <a:lnTo>
                      <a:pt x="49" y="2"/>
                    </a:lnTo>
                    <a:lnTo>
                      <a:pt x="45" y="1"/>
                    </a:lnTo>
                    <a:lnTo>
                      <a:pt x="42" y="0"/>
                    </a:lnTo>
                    <a:lnTo>
                      <a:pt x="38" y="0"/>
                    </a:lnTo>
                    <a:lnTo>
                      <a:pt x="31" y="1"/>
                    </a:lnTo>
                    <a:lnTo>
                      <a:pt x="24" y="4"/>
                    </a:lnTo>
                    <a:lnTo>
                      <a:pt x="11" y="13"/>
                    </a:lnTo>
                    <a:lnTo>
                      <a:pt x="0" y="23"/>
                    </a:lnTo>
                    <a:lnTo>
                      <a:pt x="53" y="2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8" name="Freeform 86">
                <a:extLst>
                  <a:ext uri="{FF2B5EF4-FFF2-40B4-BE49-F238E27FC236}">
                    <a16:creationId xmlns:a16="http://schemas.microsoft.com/office/drawing/2014/main" id="{2F4B6841-0550-4902-B494-A8763E37A3FF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8355097" y="4528194"/>
                <a:ext cx="12668" cy="63287"/>
              </a:xfrm>
              <a:custGeom>
                <a:avLst/>
                <a:gdLst>
                  <a:gd name="T0" fmla="*/ 0 w 26"/>
                  <a:gd name="T1" fmla="*/ 0 h 12"/>
                  <a:gd name="T2" fmla="*/ 730893 w 26"/>
                  <a:gd name="T3" fmla="*/ 90725625 h 12"/>
                  <a:gd name="T4" fmla="*/ 2009743 w 26"/>
                  <a:gd name="T5" fmla="*/ 181451250 h 12"/>
                  <a:gd name="T6" fmla="*/ 2557700 w 26"/>
                  <a:gd name="T7" fmla="*/ 204135038 h 12"/>
                  <a:gd name="T8" fmla="*/ 3288593 w 26"/>
                  <a:gd name="T9" fmla="*/ 249497850 h 12"/>
                  <a:gd name="T10" fmla="*/ 4019059 w 26"/>
                  <a:gd name="T11" fmla="*/ 249497850 h 12"/>
                  <a:gd name="T12" fmla="*/ 4749953 w 26"/>
                  <a:gd name="T13" fmla="*/ 272176875 h 12"/>
                  <a:gd name="T14" fmla="*/ 3836550 w 26"/>
                  <a:gd name="T15" fmla="*/ 158772225 h 12"/>
                  <a:gd name="T16" fmla="*/ 2375190 w 26"/>
                  <a:gd name="T17" fmla="*/ 68046600 h 12"/>
                  <a:gd name="T18" fmla="*/ 913403 w 26"/>
                  <a:gd name="T19" fmla="*/ 22683788 h 12"/>
                  <a:gd name="T20" fmla="*/ 0 w 26"/>
                  <a:gd name="T21" fmla="*/ 0 h 12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12">
                    <a:moveTo>
                      <a:pt x="0" y="0"/>
                    </a:moveTo>
                    <a:lnTo>
                      <a:pt x="4" y="4"/>
                    </a:lnTo>
                    <a:lnTo>
                      <a:pt x="11" y="8"/>
                    </a:lnTo>
                    <a:lnTo>
                      <a:pt x="14" y="9"/>
                    </a:lnTo>
                    <a:lnTo>
                      <a:pt x="18" y="11"/>
                    </a:lnTo>
                    <a:lnTo>
                      <a:pt x="22" y="11"/>
                    </a:lnTo>
                    <a:lnTo>
                      <a:pt x="26" y="12"/>
                    </a:lnTo>
                    <a:lnTo>
                      <a:pt x="21" y="7"/>
                    </a:lnTo>
                    <a:lnTo>
                      <a:pt x="13" y="3"/>
                    </a:lnTo>
                    <a:lnTo>
                      <a:pt x="5" y="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29" name="Freeform 87">
                <a:extLst>
                  <a:ext uri="{FF2B5EF4-FFF2-40B4-BE49-F238E27FC236}">
                    <a16:creationId xmlns:a16="http://schemas.microsoft.com/office/drawing/2014/main" id="{4318E900-0556-4DC8-B08F-FDB1EF37F6DF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8595804" y="4900884"/>
                <a:ext cx="38007" cy="65046"/>
              </a:xfrm>
              <a:custGeom>
                <a:avLst/>
                <a:gdLst>
                  <a:gd name="T0" fmla="*/ 0 w 73"/>
                  <a:gd name="T1" fmla="*/ 0 h 57150"/>
                  <a:gd name="T2" fmla="*/ 3783469 w 73"/>
                  <a:gd name="T3" fmla="*/ 0 h 57150"/>
                  <a:gd name="T4" fmla="*/ 6998918 w 73"/>
                  <a:gd name="T5" fmla="*/ 0 h 57150"/>
                  <a:gd name="T6" fmla="*/ 10403997 w 73"/>
                  <a:gd name="T7" fmla="*/ 0 h 57150"/>
                  <a:gd name="T8" fmla="*/ 13809075 w 73"/>
                  <a:gd name="T9" fmla="*/ 0 h 57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3" h="57150">
                    <a:moveTo>
                      <a:pt x="0" y="0"/>
                    </a:moveTo>
                    <a:lnTo>
                      <a:pt x="20" y="0"/>
                    </a:lnTo>
                    <a:lnTo>
                      <a:pt x="37" y="0"/>
                    </a:lnTo>
                    <a:lnTo>
                      <a:pt x="55" y="0"/>
                    </a:lnTo>
                    <a:lnTo>
                      <a:pt x="7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30" name="Freeform 88">
                <a:extLst>
                  <a:ext uri="{FF2B5EF4-FFF2-40B4-BE49-F238E27FC236}">
                    <a16:creationId xmlns:a16="http://schemas.microsoft.com/office/drawing/2014/main" id="{474C43E9-09BC-4207-A1EA-AD479B725064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8543319" y="4888579"/>
                <a:ext cx="25338" cy="65044"/>
              </a:xfrm>
              <a:custGeom>
                <a:avLst/>
                <a:gdLst>
                  <a:gd name="T0" fmla="*/ 0 w 53"/>
                  <a:gd name="T1" fmla="*/ 0 h 3"/>
                  <a:gd name="T2" fmla="*/ 2461943 w 53"/>
                  <a:gd name="T3" fmla="*/ 0 h 3"/>
                  <a:gd name="T4" fmla="*/ 4747763 w 53"/>
                  <a:gd name="T5" fmla="*/ 1088707500 h 3"/>
                  <a:gd name="T6" fmla="*/ 5627118 w 53"/>
                  <a:gd name="T7" fmla="*/ 1088707500 h 3"/>
                  <a:gd name="T8" fmla="*/ 6857880 w 53"/>
                  <a:gd name="T9" fmla="*/ 1088707500 h 3"/>
                  <a:gd name="T10" fmla="*/ 7912939 w 53"/>
                  <a:gd name="T11" fmla="*/ 362902500 h 3"/>
                  <a:gd name="T12" fmla="*/ 9319823 w 53"/>
                  <a:gd name="T13" fmla="*/ 0 h 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3" h="3">
                    <a:moveTo>
                      <a:pt x="0" y="0"/>
                    </a:moveTo>
                    <a:lnTo>
                      <a:pt x="14" y="0"/>
                    </a:lnTo>
                    <a:lnTo>
                      <a:pt x="27" y="3"/>
                    </a:lnTo>
                    <a:lnTo>
                      <a:pt x="32" y="3"/>
                    </a:lnTo>
                    <a:lnTo>
                      <a:pt x="39" y="3"/>
                    </a:lnTo>
                    <a:lnTo>
                      <a:pt x="45" y="1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31" name="Line 89">
                <a:extLst>
                  <a:ext uri="{FF2B5EF4-FFF2-40B4-BE49-F238E27FC236}">
                    <a16:creationId xmlns:a16="http://schemas.microsoft.com/office/drawing/2014/main" id="{BB30D4EE-53AF-466F-80EB-BFC469B7A6D5}"/>
                  </a:ext>
                </a:extLst>
              </p:cNvPr>
              <p:cNvSpPr>
                <a:spLocks noChangeShapeType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8583135" y="4872757"/>
                <a:ext cx="25338" cy="703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32" name="Freeform 90">
                <a:extLst>
                  <a:ext uri="{FF2B5EF4-FFF2-40B4-BE49-F238E27FC236}">
                    <a16:creationId xmlns:a16="http://schemas.microsoft.com/office/drawing/2014/main" id="{3367DBEC-B757-43C6-ACBE-FDCBE6EC370C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8608473" y="4879789"/>
                <a:ext cx="1809" cy="65046"/>
              </a:xfrm>
              <a:custGeom>
                <a:avLst/>
                <a:gdLst>
                  <a:gd name="T0" fmla="*/ 0 w 1588"/>
                  <a:gd name="T1" fmla="*/ 0 h 13"/>
                  <a:gd name="T2" fmla="*/ 0 w 1588"/>
                  <a:gd name="T3" fmla="*/ 115957350 h 13"/>
                  <a:gd name="T4" fmla="*/ 0 w 1588"/>
                  <a:gd name="T5" fmla="*/ 251240192 h 13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88" h="13">
                    <a:moveTo>
                      <a:pt x="0" y="0"/>
                    </a:moveTo>
                    <a:lnTo>
                      <a:pt x="0" y="6"/>
                    </a:lnTo>
                    <a:lnTo>
                      <a:pt x="0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33" name="Freeform 91">
                <a:extLst>
                  <a:ext uri="{FF2B5EF4-FFF2-40B4-BE49-F238E27FC236}">
                    <a16:creationId xmlns:a16="http://schemas.microsoft.com/office/drawing/2014/main" id="{8DC72F3E-B7A7-4E78-B3DE-26EF5C3386B5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8552368" y="4872757"/>
                <a:ext cx="16289" cy="65046"/>
              </a:xfrm>
              <a:custGeom>
                <a:avLst/>
                <a:gdLst>
                  <a:gd name="T0" fmla="*/ 0 w 26"/>
                  <a:gd name="T1" fmla="*/ 0 h 58738"/>
                  <a:gd name="T2" fmla="*/ 4529529 w 26"/>
                  <a:gd name="T3" fmla="*/ 0 h 58738"/>
                  <a:gd name="T4" fmla="*/ 7850707 w 26"/>
                  <a:gd name="T5" fmla="*/ 0 h 5873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6" h="58738">
                    <a:moveTo>
                      <a:pt x="0" y="0"/>
                    </a:moveTo>
                    <a:lnTo>
                      <a:pt x="15" y="0"/>
                    </a:lnTo>
                    <a:lnTo>
                      <a:pt x="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34" name="Freeform 92">
                <a:extLst>
                  <a:ext uri="{FF2B5EF4-FFF2-40B4-BE49-F238E27FC236}">
                    <a16:creationId xmlns:a16="http://schemas.microsoft.com/office/drawing/2014/main" id="{AA7342F6-3971-4F53-9573-2615393EEF11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8545129" y="4851661"/>
                <a:ext cx="7239" cy="66803"/>
              </a:xfrm>
              <a:custGeom>
                <a:avLst/>
                <a:gdLst>
                  <a:gd name="T0" fmla="*/ 2016125 w 20"/>
                  <a:gd name="T1" fmla="*/ 0 h 25"/>
                  <a:gd name="T2" fmla="*/ 0 w 20"/>
                  <a:gd name="T3" fmla="*/ 75693397 h 25"/>
                  <a:gd name="T4" fmla="*/ 403225 w 20"/>
                  <a:gd name="T5" fmla="*/ 104806242 h 25"/>
                  <a:gd name="T6" fmla="*/ 1008063 w 20"/>
                  <a:gd name="T7" fmla="*/ 122273949 h 25"/>
                  <a:gd name="T8" fmla="*/ 1411288 w 20"/>
                  <a:gd name="T9" fmla="*/ 139741656 h 25"/>
                  <a:gd name="T10" fmla="*/ 2016125 w 20"/>
                  <a:gd name="T11" fmla="*/ 145564225 h 25"/>
                  <a:gd name="T12" fmla="*/ 2016125 w 20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25">
                    <a:moveTo>
                      <a:pt x="20" y="0"/>
                    </a:moveTo>
                    <a:lnTo>
                      <a:pt x="0" y="13"/>
                    </a:lnTo>
                    <a:lnTo>
                      <a:pt x="4" y="18"/>
                    </a:lnTo>
                    <a:lnTo>
                      <a:pt x="10" y="21"/>
                    </a:lnTo>
                    <a:lnTo>
                      <a:pt x="14" y="24"/>
                    </a:lnTo>
                    <a:lnTo>
                      <a:pt x="20" y="2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35" name="Freeform 93">
                <a:extLst>
                  <a:ext uri="{FF2B5EF4-FFF2-40B4-BE49-F238E27FC236}">
                    <a16:creationId xmlns:a16="http://schemas.microsoft.com/office/drawing/2014/main" id="{8683A962-BFDC-4853-9B66-EB199056898B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8642859" y="4544016"/>
                <a:ext cx="1810" cy="65044"/>
              </a:xfrm>
              <a:custGeom>
                <a:avLst/>
                <a:gdLst>
                  <a:gd name="T0" fmla="*/ 0 w 6"/>
                  <a:gd name="T1" fmla="*/ 136088438 h 24"/>
                  <a:gd name="T2" fmla="*/ 0 w 6"/>
                  <a:gd name="T3" fmla="*/ 0 h 24"/>
                  <a:gd name="T4" fmla="*/ 420291 w 6"/>
                  <a:gd name="T5" fmla="*/ 68044219 h 24"/>
                  <a:gd name="T6" fmla="*/ 0 w 6"/>
                  <a:gd name="T7" fmla="*/ 136088438 h 24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6" h="24">
                    <a:moveTo>
                      <a:pt x="0" y="24"/>
                    </a:moveTo>
                    <a:lnTo>
                      <a:pt x="0" y="0"/>
                    </a:lnTo>
                    <a:lnTo>
                      <a:pt x="6" y="12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636" name="Group 94">
                <a:extLst>
                  <a:ext uri="{FF2B5EF4-FFF2-40B4-BE49-F238E27FC236}">
                    <a16:creationId xmlns:a16="http://schemas.microsoft.com/office/drawing/2014/main" id="{F2F4345F-880A-489C-A672-DFC4C6D788C3}"/>
                  </a:ext>
                </a:extLst>
              </p:cNvPr>
              <p:cNvGrpSpPr>
                <a:grpSpLocks/>
              </p:cNvGrpSpPr>
              <p:nvPr>
                <p:custDataLst>
                  <p:tags r:id="rId74"/>
                </p:custDataLst>
              </p:nvPr>
            </p:nvGrpSpPr>
            <p:grpSpPr bwMode="auto">
              <a:xfrm>
                <a:off x="8490937" y="4174682"/>
                <a:ext cx="197166" cy="128510"/>
                <a:chOff x="5379" y="2466"/>
                <a:chExt cx="122" cy="71"/>
              </a:xfrm>
            </p:grpSpPr>
            <p:sp>
              <p:nvSpPr>
                <p:cNvPr id="1086" name="Freeform 95">
                  <a:extLst>
                    <a:ext uri="{FF2B5EF4-FFF2-40B4-BE49-F238E27FC236}">
                      <a16:creationId xmlns:a16="http://schemas.microsoft.com/office/drawing/2014/main" id="{92CD016E-29F3-43B5-B020-34D311BC6A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8" y="2492"/>
                  <a:ext cx="6" cy="9"/>
                </a:xfrm>
                <a:custGeom>
                  <a:avLst/>
                  <a:gdLst>
                    <a:gd name="T0" fmla="*/ 2 w 19"/>
                    <a:gd name="T1" fmla="*/ 3 h 25"/>
                    <a:gd name="T2" fmla="*/ 2 w 19"/>
                    <a:gd name="T3" fmla="*/ 3 h 25"/>
                    <a:gd name="T4" fmla="*/ 2 w 19"/>
                    <a:gd name="T5" fmla="*/ 1 h 25"/>
                    <a:gd name="T6" fmla="*/ 2 w 19"/>
                    <a:gd name="T7" fmla="*/ 1 h 25"/>
                    <a:gd name="T8" fmla="*/ 2 w 19"/>
                    <a:gd name="T9" fmla="*/ 1 h 25"/>
                    <a:gd name="T10" fmla="*/ 2 w 19"/>
                    <a:gd name="T11" fmla="*/ 0 h 25"/>
                    <a:gd name="T12" fmla="*/ 2 w 19"/>
                    <a:gd name="T13" fmla="*/ 0 h 25"/>
                    <a:gd name="T14" fmla="*/ 0 w 19"/>
                    <a:gd name="T15" fmla="*/ 0 h 25"/>
                    <a:gd name="T16" fmla="*/ 0 w 19"/>
                    <a:gd name="T17" fmla="*/ 1 h 25"/>
                    <a:gd name="T18" fmla="*/ 1 w 19"/>
                    <a:gd name="T19" fmla="*/ 2 h 25"/>
                    <a:gd name="T20" fmla="*/ 1 w 19"/>
                    <a:gd name="T21" fmla="*/ 3 h 25"/>
                    <a:gd name="T22" fmla="*/ 1 w 19"/>
                    <a:gd name="T23" fmla="*/ 3 h 25"/>
                    <a:gd name="T24" fmla="*/ 2 w 19"/>
                    <a:gd name="T25" fmla="*/ 3 h 25"/>
                    <a:gd name="T26" fmla="*/ 2 w 19"/>
                    <a:gd name="T27" fmla="*/ 3 h 2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19" h="25">
                      <a:moveTo>
                        <a:pt x="19" y="25"/>
                      </a:moveTo>
                      <a:lnTo>
                        <a:pt x="18" y="20"/>
                      </a:lnTo>
                      <a:lnTo>
                        <a:pt x="17" y="12"/>
                      </a:lnTo>
                      <a:lnTo>
                        <a:pt x="16" y="9"/>
                      </a:lnTo>
                      <a:lnTo>
                        <a:pt x="17" y="6"/>
                      </a:lnTo>
                      <a:lnTo>
                        <a:pt x="17" y="3"/>
                      </a:ln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" y="7"/>
                      </a:lnTo>
                      <a:lnTo>
                        <a:pt x="5" y="15"/>
                      </a:lnTo>
                      <a:lnTo>
                        <a:pt x="7" y="19"/>
                      </a:lnTo>
                      <a:lnTo>
                        <a:pt x="11" y="23"/>
                      </a:lnTo>
                      <a:lnTo>
                        <a:pt x="15" y="25"/>
                      </a:lnTo>
                      <a:lnTo>
                        <a:pt x="19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87" name="Freeform 96">
                  <a:extLst>
                    <a:ext uri="{FF2B5EF4-FFF2-40B4-BE49-F238E27FC236}">
                      <a16:creationId xmlns:a16="http://schemas.microsoft.com/office/drawing/2014/main" id="{4251DE18-E1C8-47CC-8D32-362AF7EE0A8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79" y="2505"/>
                  <a:ext cx="7" cy="6"/>
                </a:xfrm>
                <a:custGeom>
                  <a:avLst/>
                  <a:gdLst>
                    <a:gd name="T0" fmla="*/ 2 w 26"/>
                    <a:gd name="T1" fmla="*/ 2 h 18"/>
                    <a:gd name="T2" fmla="*/ 1 w 26"/>
                    <a:gd name="T3" fmla="*/ 2 h 18"/>
                    <a:gd name="T4" fmla="*/ 0 w 26"/>
                    <a:gd name="T5" fmla="*/ 1 h 18"/>
                    <a:gd name="T6" fmla="*/ 0 w 26"/>
                    <a:gd name="T7" fmla="*/ 0 h 18"/>
                    <a:gd name="T8" fmla="*/ 1 w 26"/>
                    <a:gd name="T9" fmla="*/ 0 h 18"/>
                    <a:gd name="T10" fmla="*/ 1 w 26"/>
                    <a:gd name="T11" fmla="*/ 1 h 18"/>
                    <a:gd name="T12" fmla="*/ 1 w 26"/>
                    <a:gd name="T13" fmla="*/ 1 h 18"/>
                    <a:gd name="T14" fmla="*/ 2 w 26"/>
                    <a:gd name="T15" fmla="*/ 2 h 1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6" h="18">
                      <a:moveTo>
                        <a:pt x="26" y="18"/>
                      </a:moveTo>
                      <a:lnTo>
                        <a:pt x="7" y="18"/>
                      </a:lnTo>
                      <a:lnTo>
                        <a:pt x="3" y="9"/>
                      </a:ln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13" y="6"/>
                      </a:lnTo>
                      <a:lnTo>
                        <a:pt x="20" y="12"/>
                      </a:lnTo>
                      <a:lnTo>
                        <a:pt x="26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88" name="Freeform 97">
                  <a:extLst>
                    <a:ext uri="{FF2B5EF4-FFF2-40B4-BE49-F238E27FC236}">
                      <a16:creationId xmlns:a16="http://schemas.microsoft.com/office/drawing/2014/main" id="{A5DF51F2-CB60-426E-AEE6-5792D27265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392" y="2466"/>
                  <a:ext cx="1" cy="6"/>
                </a:xfrm>
                <a:custGeom>
                  <a:avLst/>
                  <a:gdLst>
                    <a:gd name="T0" fmla="*/ 0 w 13"/>
                    <a:gd name="T1" fmla="*/ 2 h 18"/>
                    <a:gd name="T2" fmla="*/ 2 w 13"/>
                    <a:gd name="T3" fmla="*/ 0 h 18"/>
                    <a:gd name="T4" fmla="*/ 0 w 13"/>
                    <a:gd name="T5" fmla="*/ 2 h 1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3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89" name="Freeform 98">
                  <a:extLst>
                    <a:ext uri="{FF2B5EF4-FFF2-40B4-BE49-F238E27FC236}">
                      <a16:creationId xmlns:a16="http://schemas.microsoft.com/office/drawing/2014/main" id="{BC3C8B36-C5A3-49F1-863E-D81CBF7A4F3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26" y="2468"/>
                  <a:ext cx="8" cy="8"/>
                </a:xfrm>
                <a:custGeom>
                  <a:avLst/>
                  <a:gdLst>
                    <a:gd name="T0" fmla="*/ 0 w 26"/>
                    <a:gd name="T1" fmla="*/ 3 h 24"/>
                    <a:gd name="T2" fmla="*/ 0 w 26"/>
                    <a:gd name="T3" fmla="*/ 3 h 24"/>
                    <a:gd name="T4" fmla="*/ 1 w 26"/>
                    <a:gd name="T5" fmla="*/ 2 h 24"/>
                    <a:gd name="T6" fmla="*/ 1 w 26"/>
                    <a:gd name="T7" fmla="*/ 2 h 24"/>
                    <a:gd name="T8" fmla="*/ 2 w 26"/>
                    <a:gd name="T9" fmla="*/ 2 h 24"/>
                    <a:gd name="T10" fmla="*/ 2 w 26"/>
                    <a:gd name="T11" fmla="*/ 1 h 24"/>
                    <a:gd name="T12" fmla="*/ 2 w 26"/>
                    <a:gd name="T13" fmla="*/ 1 h 24"/>
                    <a:gd name="T14" fmla="*/ 2 w 26"/>
                    <a:gd name="T15" fmla="*/ 0 h 24"/>
                    <a:gd name="T16" fmla="*/ 2 w 26"/>
                    <a:gd name="T17" fmla="*/ 0 h 24"/>
                    <a:gd name="T18" fmla="*/ 0 w 26"/>
                    <a:gd name="T19" fmla="*/ 3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26" h="24">
                      <a:moveTo>
                        <a:pt x="0" y="24"/>
                      </a:moveTo>
                      <a:lnTo>
                        <a:pt x="3" y="23"/>
                      </a:lnTo>
                      <a:lnTo>
                        <a:pt x="7" y="22"/>
                      </a:lnTo>
                      <a:lnTo>
                        <a:pt x="11" y="19"/>
                      </a:lnTo>
                      <a:lnTo>
                        <a:pt x="16" y="16"/>
                      </a:lnTo>
                      <a:lnTo>
                        <a:pt x="20" y="13"/>
                      </a:lnTo>
                      <a:lnTo>
                        <a:pt x="23" y="9"/>
                      </a:lnTo>
                      <a:lnTo>
                        <a:pt x="25" y="4"/>
                      </a:lnTo>
                      <a:lnTo>
                        <a:pt x="26" y="0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90" name="Freeform 99">
                  <a:extLst>
                    <a:ext uri="{FF2B5EF4-FFF2-40B4-BE49-F238E27FC236}">
                      <a16:creationId xmlns:a16="http://schemas.microsoft.com/office/drawing/2014/main" id="{7C0C958C-7C09-481E-A9FA-5555694318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0" y="2490"/>
                  <a:ext cx="11" cy="2"/>
                </a:xfrm>
                <a:custGeom>
                  <a:avLst/>
                  <a:gdLst>
                    <a:gd name="T0" fmla="*/ 0 w 34"/>
                    <a:gd name="T1" fmla="*/ 1 h 6"/>
                    <a:gd name="T2" fmla="*/ 1 w 34"/>
                    <a:gd name="T3" fmla="*/ 1 h 6"/>
                    <a:gd name="T4" fmla="*/ 2 w 34"/>
                    <a:gd name="T5" fmla="*/ 1 h 6"/>
                    <a:gd name="T6" fmla="*/ 3 w 34"/>
                    <a:gd name="T7" fmla="*/ 0 h 6"/>
                    <a:gd name="T8" fmla="*/ 4 w 34"/>
                    <a:gd name="T9" fmla="*/ 0 h 6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34" h="6">
                      <a:moveTo>
                        <a:pt x="0" y="6"/>
                      </a:moveTo>
                      <a:lnTo>
                        <a:pt x="10" y="6"/>
                      </a:lnTo>
                      <a:lnTo>
                        <a:pt x="17" y="5"/>
                      </a:lnTo>
                      <a:lnTo>
                        <a:pt x="25" y="4"/>
                      </a:lnTo>
                      <a:lnTo>
                        <a:pt x="34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91" name="Line 100">
                  <a:extLst>
                    <a:ext uri="{FF2B5EF4-FFF2-40B4-BE49-F238E27FC236}">
                      <a16:creationId xmlns:a16="http://schemas.microsoft.com/office/drawing/2014/main" id="{051443A8-83F2-4C45-8166-C5FC67EAB46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>
                  <a:off x="5495" y="2490"/>
                  <a:ext cx="6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92" name="Freeform 101">
                  <a:extLst>
                    <a:ext uri="{FF2B5EF4-FFF2-40B4-BE49-F238E27FC236}">
                      <a16:creationId xmlns:a16="http://schemas.microsoft.com/office/drawing/2014/main" id="{A955CE3E-C8E1-4436-B3DB-514F3ED6F9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4" y="2530"/>
                  <a:ext cx="1" cy="7"/>
                </a:xfrm>
                <a:custGeom>
                  <a:avLst/>
                  <a:gdLst>
                    <a:gd name="T0" fmla="*/ 0 w 1"/>
                    <a:gd name="T1" fmla="*/ 3 h 19"/>
                    <a:gd name="T2" fmla="*/ 0 w 1"/>
                    <a:gd name="T3" fmla="*/ 1 h 19"/>
                    <a:gd name="T4" fmla="*/ 0 w 1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" h="19">
                      <a:moveTo>
                        <a:pt x="0" y="19"/>
                      </a:moveTo>
                      <a:lnTo>
                        <a:pt x="0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93" name="Line 102">
                  <a:extLst>
                    <a:ext uri="{FF2B5EF4-FFF2-40B4-BE49-F238E27FC236}">
                      <a16:creationId xmlns:a16="http://schemas.microsoft.com/office/drawing/2014/main" id="{F4245D8A-83CD-4D9D-A8C8-15AD0BF827C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464" y="2530"/>
                  <a:ext cx="6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94" name="Freeform 103">
                  <a:extLst>
                    <a:ext uri="{FF2B5EF4-FFF2-40B4-BE49-F238E27FC236}">
                      <a16:creationId xmlns:a16="http://schemas.microsoft.com/office/drawing/2014/main" id="{2DE4C56B-75FF-4179-838F-A30894388D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66" y="2530"/>
                  <a:ext cx="2" cy="2"/>
                </a:xfrm>
                <a:custGeom>
                  <a:avLst/>
                  <a:gdLst>
                    <a:gd name="T0" fmla="*/ 1 w 14"/>
                    <a:gd name="T1" fmla="*/ 0 h 6"/>
                    <a:gd name="T2" fmla="*/ 1 w 14"/>
                    <a:gd name="T3" fmla="*/ 0 h 6"/>
                    <a:gd name="T4" fmla="*/ 0 w 14"/>
                    <a:gd name="T5" fmla="*/ 1 h 6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" h="6">
                      <a:moveTo>
                        <a:pt x="14" y="0"/>
                      </a:moveTo>
                      <a:lnTo>
                        <a:pt x="7" y="3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637" name="Freeform 104">
                <a:extLst>
                  <a:ext uri="{FF2B5EF4-FFF2-40B4-BE49-F238E27FC236}">
                    <a16:creationId xmlns:a16="http://schemas.microsoft.com/office/drawing/2014/main" id="{2265F49A-1B72-4871-850C-732B30CD7326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6784169" y="4020141"/>
                <a:ext cx="7239" cy="63287"/>
              </a:xfrm>
              <a:custGeom>
                <a:avLst/>
                <a:gdLst>
                  <a:gd name="T0" fmla="*/ 775433 w 26"/>
                  <a:gd name="T1" fmla="*/ 29424527 h 111"/>
                  <a:gd name="T2" fmla="*/ 536819 w 26"/>
                  <a:gd name="T3" fmla="*/ 27303799 h 111"/>
                  <a:gd name="T4" fmla="*/ 238613 w 26"/>
                  <a:gd name="T5" fmla="*/ 25183070 h 111"/>
                  <a:gd name="T6" fmla="*/ 119185 w 26"/>
                  <a:gd name="T7" fmla="*/ 24122964 h 111"/>
                  <a:gd name="T8" fmla="*/ 59592 w 26"/>
                  <a:gd name="T9" fmla="*/ 23062342 h 111"/>
                  <a:gd name="T10" fmla="*/ 0 w 26"/>
                  <a:gd name="T11" fmla="*/ 21206769 h 111"/>
                  <a:gd name="T12" fmla="*/ 0 w 26"/>
                  <a:gd name="T13" fmla="*/ 19616351 h 111"/>
                  <a:gd name="T14" fmla="*/ 0 w 26"/>
                  <a:gd name="T15" fmla="*/ 16170361 h 111"/>
                  <a:gd name="T16" fmla="*/ 59592 w 26"/>
                  <a:gd name="T17" fmla="*/ 13519322 h 111"/>
                  <a:gd name="T18" fmla="*/ 179021 w 26"/>
                  <a:gd name="T19" fmla="*/ 10868282 h 111"/>
                  <a:gd name="T20" fmla="*/ 298206 w 26"/>
                  <a:gd name="T21" fmla="*/ 8748069 h 111"/>
                  <a:gd name="T22" fmla="*/ 536819 w 26"/>
                  <a:gd name="T23" fmla="*/ 6362185 h 111"/>
                  <a:gd name="T24" fmla="*/ 835025 w 26"/>
                  <a:gd name="T25" fmla="*/ 4506612 h 111"/>
                  <a:gd name="T26" fmla="*/ 1193067 w 26"/>
                  <a:gd name="T27" fmla="*/ 2385884 h 111"/>
                  <a:gd name="T28" fmla="*/ 1550865 w 26"/>
                  <a:gd name="T29" fmla="*/ 0 h 111"/>
                  <a:gd name="T30" fmla="*/ 1550865 w 26"/>
                  <a:gd name="T31" fmla="*/ 1590418 h 111"/>
                  <a:gd name="T32" fmla="*/ 1550865 w 26"/>
                  <a:gd name="T33" fmla="*/ 3445991 h 111"/>
                  <a:gd name="T34" fmla="*/ 1550865 w 26"/>
                  <a:gd name="T35" fmla="*/ 5831874 h 111"/>
                  <a:gd name="T36" fmla="*/ 1550865 w 26"/>
                  <a:gd name="T37" fmla="*/ 8482914 h 111"/>
                  <a:gd name="T38" fmla="*/ 1491273 w 26"/>
                  <a:gd name="T39" fmla="*/ 11663749 h 111"/>
                  <a:gd name="T40" fmla="*/ 1312252 w 26"/>
                  <a:gd name="T41" fmla="*/ 14844584 h 111"/>
                  <a:gd name="T42" fmla="*/ 1073638 w 26"/>
                  <a:gd name="T43" fmla="*/ 17760778 h 111"/>
                  <a:gd name="T44" fmla="*/ 775433 w 26"/>
                  <a:gd name="T45" fmla="*/ 21206769 h 111"/>
                  <a:gd name="T46" fmla="*/ 775433 w 26"/>
                  <a:gd name="T47" fmla="*/ 29424527 h 11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6" h="111">
                    <a:moveTo>
                      <a:pt x="13" y="111"/>
                    </a:moveTo>
                    <a:lnTo>
                      <a:pt x="9" y="103"/>
                    </a:lnTo>
                    <a:lnTo>
                      <a:pt x="4" y="95"/>
                    </a:lnTo>
                    <a:lnTo>
                      <a:pt x="2" y="91"/>
                    </a:lnTo>
                    <a:lnTo>
                      <a:pt x="1" y="87"/>
                    </a:lnTo>
                    <a:lnTo>
                      <a:pt x="0" y="80"/>
                    </a:lnTo>
                    <a:lnTo>
                      <a:pt x="0" y="74"/>
                    </a:lnTo>
                    <a:lnTo>
                      <a:pt x="0" y="61"/>
                    </a:lnTo>
                    <a:lnTo>
                      <a:pt x="1" y="51"/>
                    </a:lnTo>
                    <a:lnTo>
                      <a:pt x="3" y="41"/>
                    </a:lnTo>
                    <a:lnTo>
                      <a:pt x="5" y="33"/>
                    </a:lnTo>
                    <a:lnTo>
                      <a:pt x="9" y="24"/>
                    </a:lnTo>
                    <a:lnTo>
                      <a:pt x="14" y="17"/>
                    </a:lnTo>
                    <a:lnTo>
                      <a:pt x="20" y="9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6" y="13"/>
                    </a:lnTo>
                    <a:lnTo>
                      <a:pt x="26" y="22"/>
                    </a:lnTo>
                    <a:lnTo>
                      <a:pt x="26" y="32"/>
                    </a:lnTo>
                    <a:lnTo>
                      <a:pt x="25" y="44"/>
                    </a:lnTo>
                    <a:lnTo>
                      <a:pt x="22" y="56"/>
                    </a:lnTo>
                    <a:lnTo>
                      <a:pt x="18" y="67"/>
                    </a:lnTo>
                    <a:lnTo>
                      <a:pt x="13" y="80"/>
                    </a:lnTo>
                    <a:lnTo>
                      <a:pt x="13" y="11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38" name="Freeform 105">
                <a:extLst>
                  <a:ext uri="{FF2B5EF4-FFF2-40B4-BE49-F238E27FC236}">
                    <a16:creationId xmlns:a16="http://schemas.microsoft.com/office/drawing/2014/main" id="{5FE13BAB-35A0-4895-9046-EF608081269A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3045068" y="6425047"/>
                <a:ext cx="65154" cy="66803"/>
              </a:xfrm>
              <a:custGeom>
                <a:avLst/>
                <a:gdLst>
                  <a:gd name="T0" fmla="*/ 0 w 126"/>
                  <a:gd name="T1" fmla="*/ 17052968 h 62"/>
                  <a:gd name="T2" fmla="*/ 2018494 w 126"/>
                  <a:gd name="T3" fmla="*/ 17951091 h 62"/>
                  <a:gd name="T4" fmla="*/ 3853644 w 126"/>
                  <a:gd name="T5" fmla="*/ 18848266 h 62"/>
                  <a:gd name="T6" fmla="*/ 5321678 w 126"/>
                  <a:gd name="T7" fmla="*/ 20643565 h 62"/>
                  <a:gd name="T8" fmla="*/ 6605940 w 126"/>
                  <a:gd name="T9" fmla="*/ 23336039 h 62"/>
                  <a:gd name="T10" fmla="*/ 9175322 w 126"/>
                  <a:gd name="T11" fmla="*/ 29619110 h 62"/>
                  <a:gd name="T12" fmla="*/ 11193815 w 126"/>
                  <a:gd name="T13" fmla="*/ 35901234 h 62"/>
                  <a:gd name="T14" fmla="*/ 12845193 w 126"/>
                  <a:gd name="T15" fmla="*/ 43082428 h 62"/>
                  <a:gd name="T16" fmla="*/ 14496571 w 126"/>
                  <a:gd name="T17" fmla="*/ 49364552 h 62"/>
                  <a:gd name="T18" fmla="*/ 15414146 w 126"/>
                  <a:gd name="T19" fmla="*/ 52057026 h 62"/>
                  <a:gd name="T20" fmla="*/ 16331721 w 126"/>
                  <a:gd name="T21" fmla="*/ 53852325 h 62"/>
                  <a:gd name="T22" fmla="*/ 17432640 w 126"/>
                  <a:gd name="T23" fmla="*/ 54750448 h 62"/>
                  <a:gd name="T24" fmla="*/ 18350215 w 126"/>
                  <a:gd name="T25" fmla="*/ 55647623 h 62"/>
                  <a:gd name="T26" fmla="*/ 19267790 w 126"/>
                  <a:gd name="T27" fmla="*/ 54750448 h 62"/>
                  <a:gd name="T28" fmla="*/ 20002021 w 126"/>
                  <a:gd name="T29" fmla="*/ 53852325 h 62"/>
                  <a:gd name="T30" fmla="*/ 20735824 w 126"/>
                  <a:gd name="T31" fmla="*/ 52057026 h 62"/>
                  <a:gd name="T32" fmla="*/ 21470056 w 126"/>
                  <a:gd name="T33" fmla="*/ 50262675 h 62"/>
                  <a:gd name="T34" fmla="*/ 22387631 w 126"/>
                  <a:gd name="T35" fmla="*/ 45774902 h 62"/>
                  <a:gd name="T36" fmla="*/ 23121434 w 126"/>
                  <a:gd name="T37" fmla="*/ 43979604 h 62"/>
                  <a:gd name="T38" fmla="*/ 20185365 w 126"/>
                  <a:gd name="T39" fmla="*/ 29619110 h 62"/>
                  <a:gd name="T40" fmla="*/ 17616412 w 126"/>
                  <a:gd name="T41" fmla="*/ 18848266 h 62"/>
                  <a:gd name="T42" fmla="*/ 16331721 w 126"/>
                  <a:gd name="T43" fmla="*/ 13463318 h 62"/>
                  <a:gd name="T44" fmla="*/ 14863687 w 126"/>
                  <a:gd name="T45" fmla="*/ 8077422 h 62"/>
                  <a:gd name="T46" fmla="*/ 13212309 w 126"/>
                  <a:gd name="T47" fmla="*/ 4487773 h 62"/>
                  <a:gd name="T48" fmla="*/ 11193815 w 126"/>
                  <a:gd name="T49" fmla="*/ 0 h 62"/>
                  <a:gd name="T50" fmla="*/ 0 w 126"/>
                  <a:gd name="T51" fmla="*/ 0 h 62"/>
                  <a:gd name="T52" fmla="*/ 0 w 126"/>
                  <a:gd name="T53" fmla="*/ 8077422 h 62"/>
                  <a:gd name="T54" fmla="*/ 0 w 126"/>
                  <a:gd name="T55" fmla="*/ 17052968 h 62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26" h="62">
                    <a:moveTo>
                      <a:pt x="0" y="19"/>
                    </a:moveTo>
                    <a:lnTo>
                      <a:pt x="11" y="20"/>
                    </a:lnTo>
                    <a:lnTo>
                      <a:pt x="21" y="21"/>
                    </a:lnTo>
                    <a:lnTo>
                      <a:pt x="29" y="23"/>
                    </a:lnTo>
                    <a:lnTo>
                      <a:pt x="36" y="26"/>
                    </a:lnTo>
                    <a:lnTo>
                      <a:pt x="50" y="33"/>
                    </a:lnTo>
                    <a:lnTo>
                      <a:pt x="61" y="40"/>
                    </a:lnTo>
                    <a:lnTo>
                      <a:pt x="70" y="48"/>
                    </a:lnTo>
                    <a:lnTo>
                      <a:pt x="79" y="55"/>
                    </a:lnTo>
                    <a:lnTo>
                      <a:pt x="84" y="58"/>
                    </a:lnTo>
                    <a:lnTo>
                      <a:pt x="89" y="60"/>
                    </a:lnTo>
                    <a:lnTo>
                      <a:pt x="95" y="61"/>
                    </a:lnTo>
                    <a:lnTo>
                      <a:pt x="100" y="62"/>
                    </a:lnTo>
                    <a:lnTo>
                      <a:pt x="105" y="61"/>
                    </a:lnTo>
                    <a:lnTo>
                      <a:pt x="109" y="60"/>
                    </a:lnTo>
                    <a:lnTo>
                      <a:pt x="113" y="58"/>
                    </a:lnTo>
                    <a:lnTo>
                      <a:pt x="117" y="56"/>
                    </a:lnTo>
                    <a:lnTo>
                      <a:pt x="122" y="51"/>
                    </a:lnTo>
                    <a:lnTo>
                      <a:pt x="126" y="49"/>
                    </a:lnTo>
                    <a:lnTo>
                      <a:pt x="110" y="33"/>
                    </a:lnTo>
                    <a:lnTo>
                      <a:pt x="96" y="21"/>
                    </a:lnTo>
                    <a:lnTo>
                      <a:pt x="89" y="15"/>
                    </a:lnTo>
                    <a:lnTo>
                      <a:pt x="81" y="9"/>
                    </a:lnTo>
                    <a:lnTo>
                      <a:pt x="72" y="5"/>
                    </a:lnTo>
                    <a:lnTo>
                      <a:pt x="61" y="0"/>
                    </a:lnTo>
                    <a:lnTo>
                      <a:pt x="0" y="0"/>
                    </a:lnTo>
                    <a:lnTo>
                      <a:pt x="0" y="9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39" name="Freeform 106">
                <a:extLst>
                  <a:ext uri="{FF2B5EF4-FFF2-40B4-BE49-F238E27FC236}">
                    <a16:creationId xmlns:a16="http://schemas.microsoft.com/office/drawing/2014/main" id="{BC95028D-65F1-4558-9EBE-60F5D6F961A7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5821341" y="6243975"/>
                <a:ext cx="36197" cy="61530"/>
              </a:xfrm>
              <a:custGeom>
                <a:avLst/>
                <a:gdLst>
                  <a:gd name="T0" fmla="*/ 0 w 66"/>
                  <a:gd name="T1" fmla="*/ 0 h 44"/>
                  <a:gd name="T2" fmla="*/ 2715127 w 66"/>
                  <a:gd name="T3" fmla="*/ 1594911 h 44"/>
                  <a:gd name="T4" fmla="*/ 4803686 w 66"/>
                  <a:gd name="T5" fmla="*/ 3189821 h 44"/>
                  <a:gd name="T6" fmla="*/ 6683390 w 66"/>
                  <a:gd name="T7" fmla="*/ 6378380 h 44"/>
                  <a:gd name="T8" fmla="*/ 7936982 w 66"/>
                  <a:gd name="T9" fmla="*/ 11163112 h 44"/>
                  <a:gd name="T10" fmla="*/ 9190118 w 66"/>
                  <a:gd name="T11" fmla="*/ 14351670 h 44"/>
                  <a:gd name="T12" fmla="*/ 10443253 w 66"/>
                  <a:gd name="T13" fmla="*/ 17541492 h 44"/>
                  <a:gd name="T14" fmla="*/ 11905245 w 66"/>
                  <a:gd name="T15" fmla="*/ 19136402 h 44"/>
                  <a:gd name="T16" fmla="*/ 13784948 w 66"/>
                  <a:gd name="T17" fmla="*/ 20730050 h 44"/>
                  <a:gd name="T18" fmla="*/ 13576092 w 66"/>
                  <a:gd name="T19" fmla="*/ 27109693 h 44"/>
                  <a:gd name="T20" fmla="*/ 12949524 w 66"/>
                  <a:gd name="T21" fmla="*/ 33488073 h 44"/>
                  <a:gd name="T22" fmla="*/ 12531812 w 66"/>
                  <a:gd name="T23" fmla="*/ 39866453 h 44"/>
                  <a:gd name="T24" fmla="*/ 11905245 w 66"/>
                  <a:gd name="T25" fmla="*/ 44649922 h 44"/>
                  <a:gd name="T26" fmla="*/ 10234397 w 66"/>
                  <a:gd name="T27" fmla="*/ 54218123 h 44"/>
                  <a:gd name="T28" fmla="*/ 8354694 w 66"/>
                  <a:gd name="T29" fmla="*/ 62191413 h 44"/>
                  <a:gd name="T30" fmla="*/ 6474534 w 66"/>
                  <a:gd name="T31" fmla="*/ 66974883 h 44"/>
                  <a:gd name="T32" fmla="*/ 4385974 w 66"/>
                  <a:gd name="T33" fmla="*/ 70164704 h 44"/>
                  <a:gd name="T34" fmla="*/ 2088559 w 66"/>
                  <a:gd name="T35" fmla="*/ 70164704 h 44"/>
                  <a:gd name="T36" fmla="*/ 0 w 66"/>
                  <a:gd name="T37" fmla="*/ 68569793 h 44"/>
                  <a:gd name="T38" fmla="*/ 0 w 66"/>
                  <a:gd name="T39" fmla="*/ 49434654 h 44"/>
                  <a:gd name="T40" fmla="*/ 0 w 66"/>
                  <a:gd name="T41" fmla="*/ 35082983 h 44"/>
                  <a:gd name="T42" fmla="*/ 0 w 66"/>
                  <a:gd name="T43" fmla="*/ 19136402 h 44"/>
                  <a:gd name="T44" fmla="*/ 0 w 66"/>
                  <a:gd name="T45" fmla="*/ 0 h 4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6" h="44">
                    <a:moveTo>
                      <a:pt x="0" y="0"/>
                    </a:moveTo>
                    <a:lnTo>
                      <a:pt x="13" y="1"/>
                    </a:lnTo>
                    <a:lnTo>
                      <a:pt x="23" y="2"/>
                    </a:lnTo>
                    <a:lnTo>
                      <a:pt x="32" y="4"/>
                    </a:lnTo>
                    <a:lnTo>
                      <a:pt x="38" y="7"/>
                    </a:lnTo>
                    <a:lnTo>
                      <a:pt x="44" y="9"/>
                    </a:lnTo>
                    <a:lnTo>
                      <a:pt x="50" y="11"/>
                    </a:lnTo>
                    <a:lnTo>
                      <a:pt x="57" y="12"/>
                    </a:lnTo>
                    <a:lnTo>
                      <a:pt x="66" y="13"/>
                    </a:lnTo>
                    <a:lnTo>
                      <a:pt x="65" y="17"/>
                    </a:lnTo>
                    <a:lnTo>
                      <a:pt x="62" y="21"/>
                    </a:lnTo>
                    <a:lnTo>
                      <a:pt x="60" y="25"/>
                    </a:lnTo>
                    <a:lnTo>
                      <a:pt x="57" y="28"/>
                    </a:lnTo>
                    <a:lnTo>
                      <a:pt x="49" y="34"/>
                    </a:lnTo>
                    <a:lnTo>
                      <a:pt x="40" y="39"/>
                    </a:lnTo>
                    <a:lnTo>
                      <a:pt x="31" y="42"/>
                    </a:lnTo>
                    <a:lnTo>
                      <a:pt x="21" y="44"/>
                    </a:lnTo>
                    <a:lnTo>
                      <a:pt x="10" y="44"/>
                    </a:lnTo>
                    <a:lnTo>
                      <a:pt x="0" y="43"/>
                    </a:lnTo>
                    <a:lnTo>
                      <a:pt x="0" y="31"/>
                    </a:lnTo>
                    <a:lnTo>
                      <a:pt x="0" y="22"/>
                    </a:lnTo>
                    <a:lnTo>
                      <a:pt x="0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0" name="Freeform 107">
                <a:extLst>
                  <a:ext uri="{FF2B5EF4-FFF2-40B4-BE49-F238E27FC236}">
                    <a16:creationId xmlns:a16="http://schemas.microsoft.com/office/drawing/2014/main" id="{6774DAF3-D68B-432F-B4D4-DD86BAE3C3D4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8418441" y="2613762"/>
                <a:ext cx="25338" cy="63287"/>
              </a:xfrm>
              <a:custGeom>
                <a:avLst/>
                <a:gdLst>
                  <a:gd name="T0" fmla="*/ 9258386 w 46"/>
                  <a:gd name="T1" fmla="*/ 0 h 16"/>
                  <a:gd name="T2" fmla="*/ 8050673 w 46"/>
                  <a:gd name="T3" fmla="*/ 89307591 h 16"/>
                  <a:gd name="T4" fmla="*/ 7044395 w 46"/>
                  <a:gd name="T5" fmla="*/ 165856444 h 16"/>
                  <a:gd name="T6" fmla="*/ 6239552 w 46"/>
                  <a:gd name="T7" fmla="*/ 178615181 h 16"/>
                  <a:gd name="T8" fmla="*/ 5836682 w 46"/>
                  <a:gd name="T9" fmla="*/ 191373919 h 16"/>
                  <a:gd name="T10" fmla="*/ 5232825 w 46"/>
                  <a:gd name="T11" fmla="*/ 204132656 h 16"/>
                  <a:gd name="T12" fmla="*/ 4629417 w 46"/>
                  <a:gd name="T13" fmla="*/ 204132656 h 16"/>
                  <a:gd name="T14" fmla="*/ 3220269 w 46"/>
                  <a:gd name="T15" fmla="*/ 178615181 h 16"/>
                  <a:gd name="T16" fmla="*/ 2213991 w 46"/>
                  <a:gd name="T17" fmla="*/ 140342541 h 16"/>
                  <a:gd name="T18" fmla="*/ 1006278 w 46"/>
                  <a:gd name="T19" fmla="*/ 76548853 h 16"/>
                  <a:gd name="T20" fmla="*/ 0 w 46"/>
                  <a:gd name="T21" fmla="*/ 0 h 16"/>
                  <a:gd name="T22" fmla="*/ 9258386 w 46"/>
                  <a:gd name="T23" fmla="*/ 0 h 1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6" h="16">
                    <a:moveTo>
                      <a:pt x="46" y="0"/>
                    </a:moveTo>
                    <a:lnTo>
                      <a:pt x="40" y="7"/>
                    </a:lnTo>
                    <a:lnTo>
                      <a:pt x="35" y="13"/>
                    </a:lnTo>
                    <a:lnTo>
                      <a:pt x="31" y="14"/>
                    </a:lnTo>
                    <a:lnTo>
                      <a:pt x="29" y="15"/>
                    </a:lnTo>
                    <a:lnTo>
                      <a:pt x="26" y="16"/>
                    </a:lnTo>
                    <a:lnTo>
                      <a:pt x="23" y="16"/>
                    </a:lnTo>
                    <a:lnTo>
                      <a:pt x="16" y="14"/>
                    </a:lnTo>
                    <a:lnTo>
                      <a:pt x="11" y="11"/>
                    </a:lnTo>
                    <a:lnTo>
                      <a:pt x="5" y="6"/>
                    </a:lnTo>
                    <a:lnTo>
                      <a:pt x="0" y="0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1" name="Freeform 108">
                <a:extLst>
                  <a:ext uri="{FF2B5EF4-FFF2-40B4-BE49-F238E27FC236}">
                    <a16:creationId xmlns:a16="http://schemas.microsoft.com/office/drawing/2014/main" id="{BEA0B701-6FD9-4A6C-843C-3B536136D139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8630191" y="2650679"/>
                <a:ext cx="19908" cy="63287"/>
              </a:xfrm>
              <a:custGeom>
                <a:avLst/>
                <a:gdLst>
                  <a:gd name="T0" fmla="*/ 6461939 w 39"/>
                  <a:gd name="T1" fmla="*/ 120788723 h 26"/>
                  <a:gd name="T2" fmla="*/ 5964929 w 39"/>
                  <a:gd name="T3" fmla="*/ 125620096 h 26"/>
                  <a:gd name="T4" fmla="*/ 5302250 w 39"/>
                  <a:gd name="T5" fmla="*/ 125620096 h 26"/>
                  <a:gd name="T6" fmla="*/ 4639163 w 39"/>
                  <a:gd name="T7" fmla="*/ 125620096 h 26"/>
                  <a:gd name="T8" fmla="*/ 4142154 w 39"/>
                  <a:gd name="T9" fmla="*/ 120788723 h 26"/>
                  <a:gd name="T10" fmla="*/ 2982465 w 39"/>
                  <a:gd name="T11" fmla="*/ 106294604 h 26"/>
                  <a:gd name="T12" fmla="*/ 1988446 w 39"/>
                  <a:gd name="T13" fmla="*/ 86966913 h 26"/>
                  <a:gd name="T14" fmla="*/ 1159689 w 39"/>
                  <a:gd name="T15" fmla="*/ 62810048 h 26"/>
                  <a:gd name="T16" fmla="*/ 497010 w 39"/>
                  <a:gd name="T17" fmla="*/ 33821810 h 26"/>
                  <a:gd name="T18" fmla="*/ 165670 w 39"/>
                  <a:gd name="T19" fmla="*/ 14494119 h 26"/>
                  <a:gd name="T20" fmla="*/ 0 w 39"/>
                  <a:gd name="T21" fmla="*/ 0 h 26"/>
                  <a:gd name="T22" fmla="*/ 1822776 w 39"/>
                  <a:gd name="T23" fmla="*/ 28988238 h 26"/>
                  <a:gd name="T24" fmla="*/ 3645144 w 39"/>
                  <a:gd name="T25" fmla="*/ 62810048 h 26"/>
                  <a:gd name="T26" fmla="*/ 5467920 w 39"/>
                  <a:gd name="T27" fmla="*/ 96631858 h 26"/>
                  <a:gd name="T28" fmla="*/ 6461939 w 39"/>
                  <a:gd name="T29" fmla="*/ 120788723 h 2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9" h="26">
                    <a:moveTo>
                      <a:pt x="39" y="25"/>
                    </a:moveTo>
                    <a:lnTo>
                      <a:pt x="36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5" y="25"/>
                    </a:lnTo>
                    <a:lnTo>
                      <a:pt x="18" y="22"/>
                    </a:lnTo>
                    <a:lnTo>
                      <a:pt x="12" y="18"/>
                    </a:lnTo>
                    <a:lnTo>
                      <a:pt x="7" y="13"/>
                    </a:lnTo>
                    <a:lnTo>
                      <a:pt x="3" y="7"/>
                    </a:lnTo>
                    <a:lnTo>
                      <a:pt x="1" y="3"/>
                    </a:lnTo>
                    <a:lnTo>
                      <a:pt x="0" y="0"/>
                    </a:lnTo>
                    <a:lnTo>
                      <a:pt x="11" y="6"/>
                    </a:lnTo>
                    <a:lnTo>
                      <a:pt x="22" y="13"/>
                    </a:lnTo>
                    <a:lnTo>
                      <a:pt x="33" y="20"/>
                    </a:lnTo>
                    <a:lnTo>
                      <a:pt x="39" y="2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2" name="Freeform 109">
                <a:extLst>
                  <a:ext uri="{FF2B5EF4-FFF2-40B4-BE49-F238E27FC236}">
                    <a16:creationId xmlns:a16="http://schemas.microsoft.com/office/drawing/2014/main" id="{05C60327-156C-4585-B52F-4C98A924D5F6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7965984" y="2909102"/>
                <a:ext cx="5430" cy="66803"/>
              </a:xfrm>
              <a:custGeom>
                <a:avLst/>
                <a:gdLst>
                  <a:gd name="T0" fmla="*/ 2061513 w 11"/>
                  <a:gd name="T1" fmla="*/ 0 h 25"/>
                  <a:gd name="T2" fmla="*/ 2061513 w 11"/>
                  <a:gd name="T3" fmla="*/ 27602161 h 25"/>
                  <a:gd name="T4" fmla="*/ 1874063 w 11"/>
                  <a:gd name="T5" fmla="*/ 66242367 h 25"/>
                  <a:gd name="T6" fmla="*/ 1686614 w 11"/>
                  <a:gd name="T7" fmla="*/ 110403945 h 25"/>
                  <a:gd name="T8" fmla="*/ 749799 w 11"/>
                  <a:gd name="T9" fmla="*/ 138006106 h 25"/>
                  <a:gd name="T10" fmla="*/ 374899 w 11"/>
                  <a:gd name="T11" fmla="*/ 126965711 h 25"/>
                  <a:gd name="T12" fmla="*/ 187450 w 11"/>
                  <a:gd name="T13" fmla="*/ 110403945 h 25"/>
                  <a:gd name="T14" fmla="*/ 0 w 11"/>
                  <a:gd name="T15" fmla="*/ 82804133 h 25"/>
                  <a:gd name="T16" fmla="*/ 0 w 11"/>
                  <a:gd name="T17" fmla="*/ 66242367 h 25"/>
                  <a:gd name="T18" fmla="*/ 187450 w 11"/>
                  <a:gd name="T19" fmla="*/ 49682950 h 25"/>
                  <a:gd name="T20" fmla="*/ 562349 w 11"/>
                  <a:gd name="T21" fmla="*/ 27602161 h 25"/>
                  <a:gd name="T22" fmla="*/ 1124265 w 11"/>
                  <a:gd name="T23" fmla="*/ 11040394 h 25"/>
                  <a:gd name="T24" fmla="*/ 2061513 w 11"/>
                  <a:gd name="T25" fmla="*/ 0 h 2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11" h="25">
                    <a:moveTo>
                      <a:pt x="11" y="0"/>
                    </a:moveTo>
                    <a:lnTo>
                      <a:pt x="11" y="5"/>
                    </a:lnTo>
                    <a:lnTo>
                      <a:pt x="10" y="12"/>
                    </a:lnTo>
                    <a:lnTo>
                      <a:pt x="9" y="20"/>
                    </a:lnTo>
                    <a:lnTo>
                      <a:pt x="4" y="25"/>
                    </a:lnTo>
                    <a:lnTo>
                      <a:pt x="2" y="23"/>
                    </a:lnTo>
                    <a:lnTo>
                      <a:pt x="1" y="20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5"/>
                    </a:lnTo>
                    <a:lnTo>
                      <a:pt x="6" y="2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3" name="Freeform 110">
                <a:extLst>
                  <a:ext uri="{FF2B5EF4-FFF2-40B4-BE49-F238E27FC236}">
                    <a16:creationId xmlns:a16="http://schemas.microsoft.com/office/drawing/2014/main" id="{5ABE0978-A71B-453E-BE14-1502E97370D3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7741566" y="3540213"/>
                <a:ext cx="18098" cy="66803"/>
              </a:xfrm>
              <a:custGeom>
                <a:avLst/>
                <a:gdLst>
                  <a:gd name="T0" fmla="*/ 10207347 w 20"/>
                  <a:gd name="T1" fmla="*/ 0 h 31"/>
                  <a:gd name="T2" fmla="*/ 8165592 w 20"/>
                  <a:gd name="T3" fmla="*/ 43081481 h 31"/>
                  <a:gd name="T4" fmla="*/ 5103674 w 20"/>
                  <a:gd name="T5" fmla="*/ 71802468 h 31"/>
                  <a:gd name="T6" fmla="*/ 2551837 w 20"/>
                  <a:gd name="T7" fmla="*/ 93344156 h 31"/>
                  <a:gd name="T8" fmla="*/ 0 w 20"/>
                  <a:gd name="T9" fmla="*/ 111295247 h 31"/>
                  <a:gd name="T10" fmla="*/ 0 w 20"/>
                  <a:gd name="T11" fmla="*/ 89753559 h 31"/>
                  <a:gd name="T12" fmla="*/ 510082 w 20"/>
                  <a:gd name="T13" fmla="*/ 68213766 h 31"/>
                  <a:gd name="T14" fmla="*/ 1020878 w 20"/>
                  <a:gd name="T15" fmla="*/ 46672078 h 31"/>
                  <a:gd name="T16" fmla="*/ 2551837 w 20"/>
                  <a:gd name="T17" fmla="*/ 32311584 h 31"/>
                  <a:gd name="T18" fmla="*/ 4082796 w 20"/>
                  <a:gd name="T19" fmla="*/ 21541688 h 31"/>
                  <a:gd name="T20" fmla="*/ 5613755 w 20"/>
                  <a:gd name="T21" fmla="*/ 10769897 h 31"/>
                  <a:gd name="T22" fmla="*/ 8165592 w 20"/>
                  <a:gd name="T23" fmla="*/ 0 h 31"/>
                  <a:gd name="T24" fmla="*/ 10207347 w 20"/>
                  <a:gd name="T25" fmla="*/ 0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0" h="31">
                    <a:moveTo>
                      <a:pt x="20" y="0"/>
                    </a:moveTo>
                    <a:lnTo>
                      <a:pt x="16" y="12"/>
                    </a:lnTo>
                    <a:lnTo>
                      <a:pt x="10" y="20"/>
                    </a:lnTo>
                    <a:lnTo>
                      <a:pt x="5" y="26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3"/>
                    </a:lnTo>
                    <a:lnTo>
                      <a:pt x="5" y="9"/>
                    </a:lnTo>
                    <a:lnTo>
                      <a:pt x="8" y="6"/>
                    </a:lnTo>
                    <a:lnTo>
                      <a:pt x="11" y="3"/>
                    </a:lnTo>
                    <a:lnTo>
                      <a:pt x="16" y="0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4" name="Freeform 111">
                <a:extLst>
                  <a:ext uri="{FF2B5EF4-FFF2-40B4-BE49-F238E27FC236}">
                    <a16:creationId xmlns:a16="http://schemas.microsoft.com/office/drawing/2014/main" id="{3D2341E6-4B1D-4BE0-8797-97A15CD0EB05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7763284" y="3468137"/>
                <a:ext cx="19909" cy="63287"/>
              </a:xfrm>
              <a:custGeom>
                <a:avLst/>
                <a:gdLst>
                  <a:gd name="T0" fmla="*/ 4846760 w 26"/>
                  <a:gd name="T1" fmla="*/ 88273581 h 37"/>
                  <a:gd name="T2" fmla="*/ 0 w 26"/>
                  <a:gd name="T3" fmla="*/ 28629061 h 37"/>
                  <a:gd name="T4" fmla="*/ 2236543 w 26"/>
                  <a:gd name="T5" fmla="*/ 16700157 h 37"/>
                  <a:gd name="T6" fmla="*/ 4846760 w 26"/>
                  <a:gd name="T7" fmla="*/ 9542505 h 37"/>
                  <a:gd name="T8" fmla="*/ 7828817 w 26"/>
                  <a:gd name="T9" fmla="*/ 2386399 h 37"/>
                  <a:gd name="T10" fmla="*/ 9692909 w 26"/>
                  <a:gd name="T11" fmla="*/ 0 h 37"/>
                  <a:gd name="T12" fmla="*/ 9692909 w 26"/>
                  <a:gd name="T13" fmla="*/ 14315303 h 37"/>
                  <a:gd name="T14" fmla="*/ 9319846 w 26"/>
                  <a:gd name="T15" fmla="*/ 26244207 h 37"/>
                  <a:gd name="T16" fmla="*/ 8947394 w 26"/>
                  <a:gd name="T17" fmla="*/ 40557965 h 37"/>
                  <a:gd name="T18" fmla="*/ 8574332 w 26"/>
                  <a:gd name="T19" fmla="*/ 50100470 h 37"/>
                  <a:gd name="T20" fmla="*/ 6710240 w 26"/>
                  <a:gd name="T21" fmla="*/ 69187026 h 37"/>
                  <a:gd name="T22" fmla="*/ 4846760 w 26"/>
                  <a:gd name="T23" fmla="*/ 88273581 h 3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26" h="37">
                    <a:moveTo>
                      <a:pt x="13" y="37"/>
                    </a:moveTo>
                    <a:lnTo>
                      <a:pt x="0" y="12"/>
                    </a:lnTo>
                    <a:lnTo>
                      <a:pt x="6" y="7"/>
                    </a:lnTo>
                    <a:lnTo>
                      <a:pt x="13" y="4"/>
                    </a:lnTo>
                    <a:lnTo>
                      <a:pt x="21" y="1"/>
                    </a:lnTo>
                    <a:lnTo>
                      <a:pt x="26" y="0"/>
                    </a:lnTo>
                    <a:lnTo>
                      <a:pt x="26" y="6"/>
                    </a:lnTo>
                    <a:lnTo>
                      <a:pt x="25" y="11"/>
                    </a:lnTo>
                    <a:lnTo>
                      <a:pt x="24" y="17"/>
                    </a:lnTo>
                    <a:lnTo>
                      <a:pt x="23" y="21"/>
                    </a:lnTo>
                    <a:lnTo>
                      <a:pt x="18" y="29"/>
                    </a:lnTo>
                    <a:lnTo>
                      <a:pt x="13" y="3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5" name="Freeform 112">
                <a:extLst>
                  <a:ext uri="{FF2B5EF4-FFF2-40B4-BE49-F238E27FC236}">
                    <a16:creationId xmlns:a16="http://schemas.microsoft.com/office/drawing/2014/main" id="{942D6B6D-D68A-40DB-AAFE-3E78D09834ED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7629357" y="3297613"/>
                <a:ext cx="1810" cy="68561"/>
              </a:xfrm>
              <a:custGeom>
                <a:avLst/>
                <a:gdLst>
                  <a:gd name="T0" fmla="*/ 0 w 7"/>
                  <a:gd name="T1" fmla="*/ 202172535 h 18"/>
                  <a:gd name="T2" fmla="*/ 0 w 7"/>
                  <a:gd name="T3" fmla="*/ 0 h 18"/>
                  <a:gd name="T4" fmla="*/ 359796 w 7"/>
                  <a:gd name="T5" fmla="*/ 134782807 h 18"/>
                  <a:gd name="T6" fmla="*/ 0 w 7"/>
                  <a:gd name="T7" fmla="*/ 202172535 h 1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7" h="18">
                    <a:moveTo>
                      <a:pt x="0" y="18"/>
                    </a:moveTo>
                    <a:lnTo>
                      <a:pt x="0" y="0"/>
                    </a:lnTo>
                    <a:lnTo>
                      <a:pt x="7" y="12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6" name="Freeform 113">
                <a:extLst>
                  <a:ext uri="{FF2B5EF4-FFF2-40B4-BE49-F238E27FC236}">
                    <a16:creationId xmlns:a16="http://schemas.microsoft.com/office/drawing/2014/main" id="{F5D420FA-B506-4B4E-87CE-D111CEB8DB0B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3834152" y="2316664"/>
                <a:ext cx="10859" cy="65046"/>
              </a:xfrm>
              <a:custGeom>
                <a:avLst/>
                <a:gdLst>
                  <a:gd name="T0" fmla="*/ 0 w 33"/>
                  <a:gd name="T1" fmla="*/ 40784821 h 31"/>
                  <a:gd name="T2" fmla="*/ 1582882 w 33"/>
                  <a:gd name="T3" fmla="*/ 0 h 31"/>
                  <a:gd name="T4" fmla="*/ 1999384 w 33"/>
                  <a:gd name="T5" fmla="*/ 16993829 h 31"/>
                  <a:gd name="T6" fmla="*/ 2332759 w 33"/>
                  <a:gd name="T7" fmla="*/ 40784821 h 31"/>
                  <a:gd name="T8" fmla="*/ 2665845 w 33"/>
                  <a:gd name="T9" fmla="*/ 74770635 h 31"/>
                  <a:gd name="T10" fmla="*/ 2749261 w 33"/>
                  <a:gd name="T11" fmla="*/ 105358790 h 31"/>
                  <a:gd name="T12" fmla="*/ 2249343 w 33"/>
                  <a:gd name="T13" fmla="*/ 101959287 h 31"/>
                  <a:gd name="T14" fmla="*/ 1832841 w 33"/>
                  <a:gd name="T15" fmla="*/ 95162124 h 31"/>
                  <a:gd name="T16" fmla="*/ 1332923 w 33"/>
                  <a:gd name="T17" fmla="*/ 84967302 h 31"/>
                  <a:gd name="T18" fmla="*/ 916420 w 33"/>
                  <a:gd name="T19" fmla="*/ 74770635 h 31"/>
                  <a:gd name="T20" fmla="*/ 249959 w 33"/>
                  <a:gd name="T21" fmla="*/ 50979644 h 31"/>
                  <a:gd name="T22" fmla="*/ 0 w 33"/>
                  <a:gd name="T23" fmla="*/ 40784821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3" h="31">
                    <a:moveTo>
                      <a:pt x="0" y="12"/>
                    </a:moveTo>
                    <a:lnTo>
                      <a:pt x="19" y="0"/>
                    </a:lnTo>
                    <a:lnTo>
                      <a:pt x="24" y="5"/>
                    </a:lnTo>
                    <a:lnTo>
                      <a:pt x="28" y="12"/>
                    </a:lnTo>
                    <a:lnTo>
                      <a:pt x="32" y="22"/>
                    </a:lnTo>
                    <a:lnTo>
                      <a:pt x="33" y="31"/>
                    </a:lnTo>
                    <a:lnTo>
                      <a:pt x="27" y="30"/>
                    </a:lnTo>
                    <a:lnTo>
                      <a:pt x="22" y="28"/>
                    </a:lnTo>
                    <a:lnTo>
                      <a:pt x="16" y="25"/>
                    </a:lnTo>
                    <a:lnTo>
                      <a:pt x="11" y="22"/>
                    </a:lnTo>
                    <a:lnTo>
                      <a:pt x="3" y="15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7" name="Freeform 114">
                <a:extLst>
                  <a:ext uri="{FF2B5EF4-FFF2-40B4-BE49-F238E27FC236}">
                    <a16:creationId xmlns:a16="http://schemas.microsoft.com/office/drawing/2014/main" id="{3CE85BED-3280-4CCB-8B46-13C7ABC52DD4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3816054" y="2056484"/>
                <a:ext cx="3620" cy="63287"/>
              </a:xfrm>
              <a:custGeom>
                <a:avLst/>
                <a:gdLst>
                  <a:gd name="T0" fmla="*/ 720045 w 14"/>
                  <a:gd name="T1" fmla="*/ 0 h 6"/>
                  <a:gd name="T2" fmla="*/ 0 w 14"/>
                  <a:gd name="T3" fmla="*/ 544353750 h 6"/>
                  <a:gd name="T4" fmla="*/ 720045 w 14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4" y="0"/>
                    </a:moveTo>
                    <a:lnTo>
                      <a:pt x="0" y="6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8" name="Freeform 115">
                <a:extLst>
                  <a:ext uri="{FF2B5EF4-FFF2-40B4-BE49-F238E27FC236}">
                    <a16:creationId xmlns:a16="http://schemas.microsoft.com/office/drawing/2014/main" id="{504A7342-FCDE-4CC0-8253-E9D25BC86377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auto">
              <a:xfrm>
                <a:off x="5602352" y="4055300"/>
                <a:ext cx="30768" cy="61528"/>
              </a:xfrm>
              <a:custGeom>
                <a:avLst/>
                <a:gdLst>
                  <a:gd name="T0" fmla="*/ 10934915 w 59"/>
                  <a:gd name="T1" fmla="*/ 19274984 h 31"/>
                  <a:gd name="T2" fmla="*/ 10564247 w 59"/>
                  <a:gd name="T3" fmla="*/ 35338068 h 31"/>
                  <a:gd name="T4" fmla="*/ 9822912 w 59"/>
                  <a:gd name="T5" fmla="*/ 48187460 h 31"/>
                  <a:gd name="T6" fmla="*/ 9081576 w 59"/>
                  <a:gd name="T7" fmla="*/ 61038644 h 31"/>
                  <a:gd name="T8" fmla="*/ 8340241 w 59"/>
                  <a:gd name="T9" fmla="*/ 77101728 h 31"/>
                  <a:gd name="T10" fmla="*/ 7413356 w 59"/>
                  <a:gd name="T11" fmla="*/ 86739220 h 31"/>
                  <a:gd name="T12" fmla="*/ 6672020 w 59"/>
                  <a:gd name="T13" fmla="*/ 93163020 h 31"/>
                  <a:gd name="T14" fmla="*/ 5560017 w 59"/>
                  <a:gd name="T15" fmla="*/ 99588612 h 31"/>
                  <a:gd name="T16" fmla="*/ 4818681 w 59"/>
                  <a:gd name="T17" fmla="*/ 99588612 h 31"/>
                  <a:gd name="T18" fmla="*/ 3892227 w 59"/>
                  <a:gd name="T19" fmla="*/ 99588612 h 31"/>
                  <a:gd name="T20" fmla="*/ 3150892 w 59"/>
                  <a:gd name="T21" fmla="*/ 96376712 h 31"/>
                  <a:gd name="T22" fmla="*/ 2594675 w 59"/>
                  <a:gd name="T23" fmla="*/ 93163020 h 31"/>
                  <a:gd name="T24" fmla="*/ 2038888 w 59"/>
                  <a:gd name="T25" fmla="*/ 86739220 h 31"/>
                  <a:gd name="T26" fmla="*/ 741336 w 59"/>
                  <a:gd name="T27" fmla="*/ 64250544 h 31"/>
                  <a:gd name="T28" fmla="*/ 0 w 59"/>
                  <a:gd name="T29" fmla="*/ 38549968 h 31"/>
                  <a:gd name="T30" fmla="*/ 185549 w 59"/>
                  <a:gd name="T31" fmla="*/ 28912476 h 31"/>
                  <a:gd name="T32" fmla="*/ 556217 w 59"/>
                  <a:gd name="T33" fmla="*/ 19274984 h 31"/>
                  <a:gd name="T34" fmla="*/ 926885 w 59"/>
                  <a:gd name="T35" fmla="*/ 12849392 h 31"/>
                  <a:gd name="T36" fmla="*/ 1482671 w 59"/>
                  <a:gd name="T37" fmla="*/ 9637492 h 31"/>
                  <a:gd name="T38" fmla="*/ 2965342 w 59"/>
                  <a:gd name="T39" fmla="*/ 3211900 h 31"/>
                  <a:gd name="T40" fmla="*/ 4448014 w 59"/>
                  <a:gd name="T41" fmla="*/ 0 h 31"/>
                  <a:gd name="T42" fmla="*/ 6301353 w 59"/>
                  <a:gd name="T43" fmla="*/ 0 h 31"/>
                  <a:gd name="T44" fmla="*/ 7784024 w 59"/>
                  <a:gd name="T45" fmla="*/ 6425592 h 31"/>
                  <a:gd name="T46" fmla="*/ 9452244 w 59"/>
                  <a:gd name="T47" fmla="*/ 12849392 h 31"/>
                  <a:gd name="T48" fmla="*/ 10934915 w 59"/>
                  <a:gd name="T49" fmla="*/ 19274984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49" name="Freeform 116">
                <a:extLst>
                  <a:ext uri="{FF2B5EF4-FFF2-40B4-BE49-F238E27FC236}">
                    <a16:creationId xmlns:a16="http://schemas.microsoft.com/office/drawing/2014/main" id="{BE4440F4-5F77-470D-A15D-F0C4D0828B50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auto">
              <a:xfrm>
                <a:off x="5244006" y="3900598"/>
                <a:ext cx="23528" cy="65044"/>
              </a:xfrm>
              <a:custGeom>
                <a:avLst/>
                <a:gdLst>
                  <a:gd name="T0" fmla="*/ 2299781 w 47"/>
                  <a:gd name="T1" fmla="*/ 0 h 68"/>
                  <a:gd name="T2" fmla="*/ 1314450 w 47"/>
                  <a:gd name="T3" fmla="*/ 7461327 h 68"/>
                  <a:gd name="T4" fmla="*/ 657022 w 47"/>
                  <a:gd name="T5" fmla="*/ 14176348 h 68"/>
                  <a:gd name="T6" fmla="*/ 328714 w 47"/>
                  <a:gd name="T7" fmla="*/ 20891369 h 68"/>
                  <a:gd name="T8" fmla="*/ 0 w 47"/>
                  <a:gd name="T9" fmla="*/ 27606390 h 68"/>
                  <a:gd name="T10" fmla="*/ 0 w 47"/>
                  <a:gd name="T11" fmla="*/ 31337053 h 68"/>
                  <a:gd name="T12" fmla="*/ 328714 w 47"/>
                  <a:gd name="T13" fmla="*/ 35067717 h 68"/>
                  <a:gd name="T14" fmla="*/ 492868 w 47"/>
                  <a:gd name="T15" fmla="*/ 38052074 h 68"/>
                  <a:gd name="T16" fmla="*/ 821582 w 47"/>
                  <a:gd name="T17" fmla="*/ 41036432 h 68"/>
                  <a:gd name="T18" fmla="*/ 1149890 w 47"/>
                  <a:gd name="T19" fmla="*/ 43274485 h 68"/>
                  <a:gd name="T20" fmla="*/ 1478604 w 47"/>
                  <a:gd name="T21" fmla="*/ 44767096 h 68"/>
                  <a:gd name="T22" fmla="*/ 2135627 w 47"/>
                  <a:gd name="T23" fmla="*/ 46258843 h 68"/>
                  <a:gd name="T24" fmla="*/ 2628495 w 47"/>
                  <a:gd name="T25" fmla="*/ 47751453 h 68"/>
                  <a:gd name="T26" fmla="*/ 3614231 w 47"/>
                  <a:gd name="T27" fmla="*/ 49989506 h 68"/>
                  <a:gd name="T28" fmla="*/ 5092835 w 47"/>
                  <a:gd name="T29" fmla="*/ 50735811 h 68"/>
                  <a:gd name="T30" fmla="*/ 6406880 w 47"/>
                  <a:gd name="T31" fmla="*/ 50735811 h 68"/>
                  <a:gd name="T32" fmla="*/ 7721330 w 47"/>
                  <a:gd name="T33" fmla="*/ 50735811 h 68"/>
                  <a:gd name="T34" fmla="*/ 6735594 w 47"/>
                  <a:gd name="T35" fmla="*/ 43274485 h 68"/>
                  <a:gd name="T36" fmla="*/ 6242726 w 47"/>
                  <a:gd name="T37" fmla="*/ 35813158 h 68"/>
                  <a:gd name="T38" fmla="*/ 5914012 w 47"/>
                  <a:gd name="T39" fmla="*/ 32083359 h 68"/>
                  <a:gd name="T40" fmla="*/ 5749857 w 47"/>
                  <a:gd name="T41" fmla="*/ 28352695 h 68"/>
                  <a:gd name="T42" fmla="*/ 5421549 w 47"/>
                  <a:gd name="T43" fmla="*/ 23129421 h 68"/>
                  <a:gd name="T44" fmla="*/ 5421549 w 47"/>
                  <a:gd name="T45" fmla="*/ 18652453 h 68"/>
                  <a:gd name="T46" fmla="*/ 3942945 w 47"/>
                  <a:gd name="T47" fmla="*/ 9699379 h 68"/>
                  <a:gd name="T48" fmla="*/ 2299781 w 47"/>
                  <a:gd name="T49" fmla="*/ 0 h 6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7" h="68">
                    <a:moveTo>
                      <a:pt x="14" y="0"/>
                    </a:moveTo>
                    <a:lnTo>
                      <a:pt x="8" y="10"/>
                    </a:lnTo>
                    <a:lnTo>
                      <a:pt x="4" y="19"/>
                    </a:lnTo>
                    <a:lnTo>
                      <a:pt x="2" y="28"/>
                    </a:lnTo>
                    <a:lnTo>
                      <a:pt x="0" y="37"/>
                    </a:lnTo>
                    <a:lnTo>
                      <a:pt x="0" y="42"/>
                    </a:lnTo>
                    <a:lnTo>
                      <a:pt x="2" y="47"/>
                    </a:lnTo>
                    <a:lnTo>
                      <a:pt x="3" y="51"/>
                    </a:lnTo>
                    <a:lnTo>
                      <a:pt x="5" y="55"/>
                    </a:lnTo>
                    <a:lnTo>
                      <a:pt x="7" y="58"/>
                    </a:lnTo>
                    <a:lnTo>
                      <a:pt x="9" y="60"/>
                    </a:lnTo>
                    <a:lnTo>
                      <a:pt x="13" y="62"/>
                    </a:lnTo>
                    <a:lnTo>
                      <a:pt x="16" y="64"/>
                    </a:lnTo>
                    <a:lnTo>
                      <a:pt x="22" y="67"/>
                    </a:lnTo>
                    <a:lnTo>
                      <a:pt x="31" y="68"/>
                    </a:lnTo>
                    <a:lnTo>
                      <a:pt x="39" y="68"/>
                    </a:lnTo>
                    <a:lnTo>
                      <a:pt x="47" y="68"/>
                    </a:lnTo>
                    <a:lnTo>
                      <a:pt x="41" y="58"/>
                    </a:lnTo>
                    <a:lnTo>
                      <a:pt x="38" y="48"/>
                    </a:lnTo>
                    <a:lnTo>
                      <a:pt x="36" y="43"/>
                    </a:lnTo>
                    <a:lnTo>
                      <a:pt x="35" y="38"/>
                    </a:lnTo>
                    <a:lnTo>
                      <a:pt x="33" y="31"/>
                    </a:lnTo>
                    <a:lnTo>
                      <a:pt x="33" y="25"/>
                    </a:lnTo>
                    <a:lnTo>
                      <a:pt x="24" y="13"/>
                    </a:lnTo>
                    <a:lnTo>
                      <a:pt x="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650" name="Group 117">
                <a:extLst>
                  <a:ext uri="{FF2B5EF4-FFF2-40B4-BE49-F238E27FC236}">
                    <a16:creationId xmlns:a16="http://schemas.microsoft.com/office/drawing/2014/main" id="{3BD2583F-F51F-4543-BCF4-9DB9E8212B9B}"/>
                  </a:ext>
                </a:extLst>
              </p:cNvPr>
              <p:cNvGrpSpPr>
                <a:grpSpLocks/>
              </p:cNvGrpSpPr>
              <p:nvPr>
                <p:custDataLst>
                  <p:tags r:id="rId88"/>
                </p:custDataLst>
              </p:nvPr>
            </p:nvGrpSpPr>
            <p:grpSpPr bwMode="auto">
              <a:xfrm>
                <a:off x="6174704" y="4110427"/>
                <a:ext cx="55512" cy="421227"/>
                <a:chOff x="3950" y="2430"/>
                <a:chExt cx="36" cy="234"/>
              </a:xfrm>
            </p:grpSpPr>
            <p:sp>
              <p:nvSpPr>
                <p:cNvPr id="1055" name="Freeform 118">
                  <a:extLst>
                    <a:ext uri="{FF2B5EF4-FFF2-40B4-BE49-F238E27FC236}">
                      <a16:creationId xmlns:a16="http://schemas.microsoft.com/office/drawing/2014/main" id="{89F94E23-81DC-4735-B4C4-0C1DCC7424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6" y="2658"/>
                  <a:ext cx="7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 h 20"/>
                    <a:gd name="T4" fmla="*/ 2 w 19"/>
                    <a:gd name="T5" fmla="*/ 1 h 20"/>
                    <a:gd name="T6" fmla="*/ 1 w 19"/>
                    <a:gd name="T7" fmla="*/ 1 h 20"/>
                    <a:gd name="T8" fmla="*/ 1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56" name="Freeform 119">
                  <a:extLst>
                    <a:ext uri="{FF2B5EF4-FFF2-40B4-BE49-F238E27FC236}">
                      <a16:creationId xmlns:a16="http://schemas.microsoft.com/office/drawing/2014/main" id="{0EF07F48-CCFB-4C65-A00C-A3EB93AEA4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6" y="2644"/>
                  <a:ext cx="7" cy="9"/>
                </a:xfrm>
                <a:custGeom>
                  <a:avLst/>
                  <a:gdLst>
                    <a:gd name="T0" fmla="*/ 1 w 19"/>
                    <a:gd name="T1" fmla="*/ 1 h 12"/>
                    <a:gd name="T2" fmla="*/ 2 w 19"/>
                    <a:gd name="T3" fmla="*/ 0 h 12"/>
                    <a:gd name="T4" fmla="*/ 0 w 19"/>
                    <a:gd name="T5" fmla="*/ 0 h 12"/>
                    <a:gd name="T6" fmla="*/ 1 w 19"/>
                    <a:gd name="T7" fmla="*/ 1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57" name="Freeform 120">
                  <a:extLst>
                    <a:ext uri="{FF2B5EF4-FFF2-40B4-BE49-F238E27FC236}">
                      <a16:creationId xmlns:a16="http://schemas.microsoft.com/office/drawing/2014/main" id="{7A14015C-F6DB-4F40-AFF4-E3FA660B019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6" y="2637"/>
                  <a:ext cx="7" cy="1"/>
                </a:xfrm>
                <a:custGeom>
                  <a:avLst/>
                  <a:gdLst>
                    <a:gd name="T0" fmla="*/ 0 w 19"/>
                    <a:gd name="T1" fmla="*/ 0 h 1"/>
                    <a:gd name="T2" fmla="*/ 1 w 19"/>
                    <a:gd name="T3" fmla="*/ 0 h 1"/>
                    <a:gd name="T4" fmla="*/ 2 w 19"/>
                    <a:gd name="T5" fmla="*/ 0 h 1"/>
                    <a:gd name="T6" fmla="*/ 1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58" name="Rectangle 121">
                  <a:extLst>
                    <a:ext uri="{FF2B5EF4-FFF2-40B4-BE49-F238E27FC236}">
                      <a16:creationId xmlns:a16="http://schemas.microsoft.com/office/drawing/2014/main" id="{1DA98FAA-EC29-4DF3-B85A-9CEA985238EA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76" y="2632"/>
                  <a:ext cx="7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59" name="Line 122">
                  <a:extLst>
                    <a:ext uri="{FF2B5EF4-FFF2-40B4-BE49-F238E27FC236}">
                      <a16:creationId xmlns:a16="http://schemas.microsoft.com/office/drawing/2014/main" id="{43B82E53-1BC2-495D-ADC6-D78254A4F7C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0" name="Freeform 123">
                  <a:extLst>
                    <a:ext uri="{FF2B5EF4-FFF2-40B4-BE49-F238E27FC236}">
                      <a16:creationId xmlns:a16="http://schemas.microsoft.com/office/drawing/2014/main" id="{C04086C0-5EA7-45B3-9C2D-B6E26A4CC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6" y="2595"/>
                  <a:ext cx="1" cy="1"/>
                </a:xfrm>
                <a:custGeom>
                  <a:avLst/>
                  <a:gdLst>
                    <a:gd name="T0" fmla="*/ 1 w 6"/>
                    <a:gd name="T1" fmla="*/ 0 h 3"/>
                    <a:gd name="T2" fmla="*/ 1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1" name="Freeform 124">
                  <a:extLst>
                    <a:ext uri="{FF2B5EF4-FFF2-40B4-BE49-F238E27FC236}">
                      <a16:creationId xmlns:a16="http://schemas.microsoft.com/office/drawing/2014/main" id="{6E925893-066E-45AC-B858-21D81AC117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2 w 14"/>
                    <a:gd name="T1" fmla="*/ 0 h 24"/>
                    <a:gd name="T2" fmla="*/ 2 w 14"/>
                    <a:gd name="T3" fmla="*/ 1 h 24"/>
                    <a:gd name="T4" fmla="*/ 1 w 14"/>
                    <a:gd name="T5" fmla="*/ 1 h 24"/>
                    <a:gd name="T6" fmla="*/ 1 w 14"/>
                    <a:gd name="T7" fmla="*/ 2 h 24"/>
                    <a:gd name="T8" fmla="*/ 0 w 14"/>
                    <a:gd name="T9" fmla="*/ 3 h 24"/>
                    <a:gd name="T10" fmla="*/ 0 w 14"/>
                    <a:gd name="T11" fmla="*/ 2 h 24"/>
                    <a:gd name="T12" fmla="*/ 0 w 14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2" name="Line 125">
                  <a:extLst>
                    <a:ext uri="{FF2B5EF4-FFF2-40B4-BE49-F238E27FC236}">
                      <a16:creationId xmlns:a16="http://schemas.microsoft.com/office/drawing/2014/main" id="{FED34D50-C229-43E8-A318-594ACB507E1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1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3" name="Freeform 126">
                  <a:extLst>
                    <a:ext uri="{FF2B5EF4-FFF2-40B4-BE49-F238E27FC236}">
                      <a16:creationId xmlns:a16="http://schemas.microsoft.com/office/drawing/2014/main" id="{33BA4C6C-AFE4-4C4A-B305-A492A8F810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7" y="2572"/>
                  <a:ext cx="6" cy="3"/>
                </a:xfrm>
                <a:custGeom>
                  <a:avLst/>
                  <a:gdLst>
                    <a:gd name="T0" fmla="*/ 1 w 13"/>
                    <a:gd name="T1" fmla="*/ 1 h 12"/>
                    <a:gd name="T2" fmla="*/ 0 w 13"/>
                    <a:gd name="T3" fmla="*/ 0 h 12"/>
                    <a:gd name="T4" fmla="*/ 1 w 13"/>
                    <a:gd name="T5" fmla="*/ 1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4" name="Freeform 127">
                  <a:extLst>
                    <a:ext uri="{FF2B5EF4-FFF2-40B4-BE49-F238E27FC236}">
                      <a16:creationId xmlns:a16="http://schemas.microsoft.com/office/drawing/2014/main" id="{525666A0-7367-4172-9B17-D1A6495A80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85"/>
                  <a:ext cx="1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2 h 19"/>
                    <a:gd name="T4" fmla="*/ 0 w 7"/>
                    <a:gd name="T5" fmla="*/ 0 h 19"/>
                    <a:gd name="T6" fmla="*/ 1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5" name="Line 128">
                  <a:extLst>
                    <a:ext uri="{FF2B5EF4-FFF2-40B4-BE49-F238E27FC236}">
                      <a16:creationId xmlns:a16="http://schemas.microsoft.com/office/drawing/2014/main" id="{DD2C9EAA-BC63-4E86-8ADE-20FEE7D3285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6" name="Freeform 129">
                  <a:extLst>
                    <a:ext uri="{FF2B5EF4-FFF2-40B4-BE49-F238E27FC236}">
                      <a16:creationId xmlns:a16="http://schemas.microsoft.com/office/drawing/2014/main" id="{B555019E-DE8A-4B73-9340-6B9EE0B47C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2 h 18"/>
                    <a:gd name="T2" fmla="*/ 1 w 8"/>
                    <a:gd name="T3" fmla="*/ 1 h 18"/>
                    <a:gd name="T4" fmla="*/ 0 w 8"/>
                    <a:gd name="T5" fmla="*/ 0 h 18"/>
                    <a:gd name="T6" fmla="*/ 0 w 8"/>
                    <a:gd name="T7" fmla="*/ 2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7" name="Freeform 130">
                  <a:extLst>
                    <a:ext uri="{FF2B5EF4-FFF2-40B4-BE49-F238E27FC236}">
                      <a16:creationId xmlns:a16="http://schemas.microsoft.com/office/drawing/2014/main" id="{854ED4C1-BCE3-4E1C-86EA-42B13F810B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8" y="2532"/>
                  <a:ext cx="0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3 h 19"/>
                    <a:gd name="T4" fmla="*/ 1 w 6"/>
                    <a:gd name="T5" fmla="*/ 2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8" name="Freeform 131">
                  <a:extLst>
                    <a:ext uri="{FF2B5EF4-FFF2-40B4-BE49-F238E27FC236}">
                      <a16:creationId xmlns:a16="http://schemas.microsoft.com/office/drawing/2014/main" id="{1592F850-61C2-45EC-9544-BC727FD570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" y="2513"/>
                  <a:ext cx="11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 h 19"/>
                    <a:gd name="T4" fmla="*/ 4 w 28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69" name="Freeform 132">
                  <a:extLst>
                    <a:ext uri="{FF2B5EF4-FFF2-40B4-BE49-F238E27FC236}">
                      <a16:creationId xmlns:a16="http://schemas.microsoft.com/office/drawing/2014/main" id="{7C9D258C-1030-4584-AB56-6672BF2BB3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13"/>
                  <a:ext cx="6" cy="5"/>
                </a:xfrm>
                <a:custGeom>
                  <a:avLst/>
                  <a:gdLst>
                    <a:gd name="T0" fmla="*/ 2 w 15"/>
                    <a:gd name="T1" fmla="*/ 1 h 19"/>
                    <a:gd name="T2" fmla="*/ 1 w 15"/>
                    <a:gd name="T3" fmla="*/ 1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0" name="Freeform 133">
                  <a:extLst>
                    <a:ext uri="{FF2B5EF4-FFF2-40B4-BE49-F238E27FC236}">
                      <a16:creationId xmlns:a16="http://schemas.microsoft.com/office/drawing/2014/main" id="{2F59B48C-918B-49B4-965E-5B05A8EA04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6" y="2658"/>
                  <a:ext cx="7" cy="6"/>
                </a:xfrm>
                <a:custGeom>
                  <a:avLst/>
                  <a:gdLst>
                    <a:gd name="T0" fmla="*/ 0 w 19"/>
                    <a:gd name="T1" fmla="*/ 0 h 20"/>
                    <a:gd name="T2" fmla="*/ 0 w 19"/>
                    <a:gd name="T3" fmla="*/ 2 h 20"/>
                    <a:gd name="T4" fmla="*/ 2 w 19"/>
                    <a:gd name="T5" fmla="*/ 1 h 20"/>
                    <a:gd name="T6" fmla="*/ 1 w 19"/>
                    <a:gd name="T7" fmla="*/ 1 h 20"/>
                    <a:gd name="T8" fmla="*/ 1 w 19"/>
                    <a:gd name="T9" fmla="*/ 0 h 20"/>
                    <a:gd name="T10" fmla="*/ 0 w 19"/>
                    <a:gd name="T11" fmla="*/ 0 h 20"/>
                    <a:gd name="T12" fmla="*/ 0 w 19"/>
                    <a:gd name="T13" fmla="*/ 0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9" h="20">
                      <a:moveTo>
                        <a:pt x="0" y="0"/>
                      </a:moveTo>
                      <a:lnTo>
                        <a:pt x="0" y="20"/>
                      </a:lnTo>
                      <a:lnTo>
                        <a:pt x="19" y="14"/>
                      </a:lnTo>
                      <a:lnTo>
                        <a:pt x="14" y="8"/>
                      </a:lnTo>
                      <a:lnTo>
                        <a:pt x="10" y="4"/>
                      </a:lnTo>
                      <a:lnTo>
                        <a:pt x="4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1" name="Freeform 134">
                  <a:extLst>
                    <a:ext uri="{FF2B5EF4-FFF2-40B4-BE49-F238E27FC236}">
                      <a16:creationId xmlns:a16="http://schemas.microsoft.com/office/drawing/2014/main" id="{705E9FC5-15DE-4FA2-9D09-6F67BB4DFA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6" y="2644"/>
                  <a:ext cx="7" cy="9"/>
                </a:xfrm>
                <a:custGeom>
                  <a:avLst/>
                  <a:gdLst>
                    <a:gd name="T0" fmla="*/ 1 w 19"/>
                    <a:gd name="T1" fmla="*/ 1 h 12"/>
                    <a:gd name="T2" fmla="*/ 2 w 19"/>
                    <a:gd name="T3" fmla="*/ 0 h 12"/>
                    <a:gd name="T4" fmla="*/ 0 w 19"/>
                    <a:gd name="T5" fmla="*/ 0 h 12"/>
                    <a:gd name="T6" fmla="*/ 1 w 19"/>
                    <a:gd name="T7" fmla="*/ 1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13" y="12"/>
                      </a:moveTo>
                      <a:lnTo>
                        <a:pt x="19" y="0"/>
                      </a:ln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2" name="Freeform 135">
                  <a:extLst>
                    <a:ext uri="{FF2B5EF4-FFF2-40B4-BE49-F238E27FC236}">
                      <a16:creationId xmlns:a16="http://schemas.microsoft.com/office/drawing/2014/main" id="{ABD3BE19-6D73-4A9A-B5DA-3AE122144D1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6" y="2637"/>
                  <a:ext cx="7" cy="1"/>
                </a:xfrm>
                <a:custGeom>
                  <a:avLst/>
                  <a:gdLst>
                    <a:gd name="T0" fmla="*/ 0 w 19"/>
                    <a:gd name="T1" fmla="*/ 0 h 1"/>
                    <a:gd name="T2" fmla="*/ 1 w 19"/>
                    <a:gd name="T3" fmla="*/ 0 h 1"/>
                    <a:gd name="T4" fmla="*/ 2 w 19"/>
                    <a:gd name="T5" fmla="*/ 0 h 1"/>
                    <a:gd name="T6" fmla="*/ 1 w 19"/>
                    <a:gd name="T7" fmla="*/ 0 h 1"/>
                    <a:gd name="T8" fmla="*/ 0 w 19"/>
                    <a:gd name="T9" fmla="*/ 0 h 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9" h="1">
                      <a:moveTo>
                        <a:pt x="0" y="0"/>
                      </a:moveTo>
                      <a:lnTo>
                        <a:pt x="10" y="0"/>
                      </a:lnTo>
                      <a:lnTo>
                        <a:pt x="19" y="0"/>
                      </a:ln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3" name="Rectangle 136">
                  <a:extLst>
                    <a:ext uri="{FF2B5EF4-FFF2-40B4-BE49-F238E27FC236}">
                      <a16:creationId xmlns:a16="http://schemas.microsoft.com/office/drawing/2014/main" id="{A8BC61E5-D142-42DA-AE54-B2F70B4DC91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976" y="2632"/>
                  <a:ext cx="7" cy="2"/>
                </a:xfrm>
                <a:prstGeom prst="rect">
                  <a:avLst/>
                </a:prstGeom>
                <a:solidFill>
                  <a:srgbClr val="C0C0C0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4" name="Line 137">
                  <a:extLst>
                    <a:ext uri="{FF2B5EF4-FFF2-40B4-BE49-F238E27FC236}">
                      <a16:creationId xmlns:a16="http://schemas.microsoft.com/office/drawing/2014/main" id="{FCF27888-6C31-4C0B-9104-8073C5F8395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72" y="2595"/>
                  <a:ext cx="5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5" name="Freeform 138">
                  <a:extLst>
                    <a:ext uri="{FF2B5EF4-FFF2-40B4-BE49-F238E27FC236}">
                      <a16:creationId xmlns:a16="http://schemas.microsoft.com/office/drawing/2014/main" id="{C9A20ECF-D7E9-4554-BDDE-380EDBBB7E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6" y="2595"/>
                  <a:ext cx="1" cy="1"/>
                </a:xfrm>
                <a:custGeom>
                  <a:avLst/>
                  <a:gdLst>
                    <a:gd name="T0" fmla="*/ 1 w 6"/>
                    <a:gd name="T1" fmla="*/ 0 h 3"/>
                    <a:gd name="T2" fmla="*/ 1 w 6"/>
                    <a:gd name="T3" fmla="*/ 0 h 3"/>
                    <a:gd name="T4" fmla="*/ 0 w 6"/>
                    <a:gd name="T5" fmla="*/ 0 h 3"/>
                    <a:gd name="T6" fmla="*/ 0 w 6"/>
                    <a:gd name="T7" fmla="*/ 0 h 3"/>
                    <a:gd name="T8" fmla="*/ 0 w 6"/>
                    <a:gd name="T9" fmla="*/ 0 h 3"/>
                    <a:gd name="T10" fmla="*/ 0 w 6"/>
                    <a:gd name="T11" fmla="*/ 0 h 3"/>
                    <a:gd name="T12" fmla="*/ 0 w 6"/>
                    <a:gd name="T13" fmla="*/ 0 h 3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5" y="1"/>
                      </a:lnTo>
                      <a:lnTo>
                        <a:pt x="3" y="2"/>
                      </a:lnTo>
                      <a:lnTo>
                        <a:pt x="1" y="3"/>
                      </a:lnTo>
                      <a:lnTo>
                        <a:pt x="0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6" name="Freeform 139">
                  <a:extLst>
                    <a:ext uri="{FF2B5EF4-FFF2-40B4-BE49-F238E27FC236}">
                      <a16:creationId xmlns:a16="http://schemas.microsoft.com/office/drawing/2014/main" id="{9DA23210-E772-4B9E-911D-15B207B423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55"/>
                  <a:ext cx="5" cy="8"/>
                </a:xfrm>
                <a:custGeom>
                  <a:avLst/>
                  <a:gdLst>
                    <a:gd name="T0" fmla="*/ 2 w 14"/>
                    <a:gd name="T1" fmla="*/ 0 h 24"/>
                    <a:gd name="T2" fmla="*/ 2 w 14"/>
                    <a:gd name="T3" fmla="*/ 1 h 24"/>
                    <a:gd name="T4" fmla="*/ 1 w 14"/>
                    <a:gd name="T5" fmla="*/ 1 h 24"/>
                    <a:gd name="T6" fmla="*/ 1 w 14"/>
                    <a:gd name="T7" fmla="*/ 2 h 24"/>
                    <a:gd name="T8" fmla="*/ 0 w 14"/>
                    <a:gd name="T9" fmla="*/ 3 h 24"/>
                    <a:gd name="T10" fmla="*/ 0 w 14"/>
                    <a:gd name="T11" fmla="*/ 2 h 24"/>
                    <a:gd name="T12" fmla="*/ 0 w 14"/>
                    <a:gd name="T13" fmla="*/ 1 h 24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4" h="24">
                      <a:moveTo>
                        <a:pt x="14" y="0"/>
                      </a:moveTo>
                      <a:lnTo>
                        <a:pt x="13" y="5"/>
                      </a:lnTo>
                      <a:lnTo>
                        <a:pt x="9" y="12"/>
                      </a:lnTo>
                      <a:lnTo>
                        <a:pt x="5" y="19"/>
                      </a:lnTo>
                      <a:lnTo>
                        <a:pt x="0" y="24"/>
                      </a:lnTo>
                      <a:lnTo>
                        <a:pt x="0" y="16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7" name="Line 140">
                  <a:extLst>
                    <a:ext uri="{FF2B5EF4-FFF2-40B4-BE49-F238E27FC236}">
                      <a16:creationId xmlns:a16="http://schemas.microsoft.com/office/drawing/2014/main" id="{1A060F77-7451-409D-932C-0B0E9350449C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981" y="2559"/>
                  <a:ext cx="1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8" name="Freeform 141">
                  <a:extLst>
                    <a:ext uri="{FF2B5EF4-FFF2-40B4-BE49-F238E27FC236}">
                      <a16:creationId xmlns:a16="http://schemas.microsoft.com/office/drawing/2014/main" id="{FD7189B7-DDBE-43BC-8347-D27690B10E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7" y="2572"/>
                  <a:ext cx="6" cy="3"/>
                </a:xfrm>
                <a:custGeom>
                  <a:avLst/>
                  <a:gdLst>
                    <a:gd name="T0" fmla="*/ 1 w 13"/>
                    <a:gd name="T1" fmla="*/ 1 h 12"/>
                    <a:gd name="T2" fmla="*/ 0 w 13"/>
                    <a:gd name="T3" fmla="*/ 0 h 12"/>
                    <a:gd name="T4" fmla="*/ 1 w 13"/>
                    <a:gd name="T5" fmla="*/ 1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3" h="12">
                      <a:moveTo>
                        <a:pt x="13" y="12"/>
                      </a:moveTo>
                      <a:lnTo>
                        <a:pt x="0" y="0"/>
                      </a:lnTo>
                      <a:lnTo>
                        <a:pt x="13" y="12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79" name="Freeform 142">
                  <a:extLst>
                    <a:ext uri="{FF2B5EF4-FFF2-40B4-BE49-F238E27FC236}">
                      <a16:creationId xmlns:a16="http://schemas.microsoft.com/office/drawing/2014/main" id="{6037EEB5-7305-4E93-BEF5-4C4BDF2439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81" y="2585"/>
                  <a:ext cx="1" cy="6"/>
                </a:xfrm>
                <a:custGeom>
                  <a:avLst/>
                  <a:gdLst>
                    <a:gd name="T0" fmla="*/ 0 w 7"/>
                    <a:gd name="T1" fmla="*/ 0 h 19"/>
                    <a:gd name="T2" fmla="*/ 0 w 7"/>
                    <a:gd name="T3" fmla="*/ 2 h 19"/>
                    <a:gd name="T4" fmla="*/ 0 w 7"/>
                    <a:gd name="T5" fmla="*/ 0 h 19"/>
                    <a:gd name="T6" fmla="*/ 1 w 7"/>
                    <a:gd name="T7" fmla="*/ 0 h 19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7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80" name="Line 143">
                  <a:extLst>
                    <a:ext uri="{FF2B5EF4-FFF2-40B4-BE49-F238E27FC236}">
                      <a16:creationId xmlns:a16="http://schemas.microsoft.com/office/drawing/2014/main" id="{6AB0974B-8E73-4B95-9C16-F17E43AEC9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3981" y="2599"/>
                  <a:ext cx="1" cy="4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81" name="Freeform 144">
                  <a:extLst>
                    <a:ext uri="{FF2B5EF4-FFF2-40B4-BE49-F238E27FC236}">
                      <a16:creationId xmlns:a16="http://schemas.microsoft.com/office/drawing/2014/main" id="{E96B2FF7-42B2-4DA6-BFFB-30DED42202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45"/>
                  <a:ext cx="2" cy="6"/>
                </a:xfrm>
                <a:custGeom>
                  <a:avLst/>
                  <a:gdLst>
                    <a:gd name="T0" fmla="*/ 0 w 8"/>
                    <a:gd name="T1" fmla="*/ 2 h 18"/>
                    <a:gd name="T2" fmla="*/ 1 w 8"/>
                    <a:gd name="T3" fmla="*/ 1 h 18"/>
                    <a:gd name="T4" fmla="*/ 0 w 8"/>
                    <a:gd name="T5" fmla="*/ 0 h 18"/>
                    <a:gd name="T6" fmla="*/ 0 w 8"/>
                    <a:gd name="T7" fmla="*/ 2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8" h="18">
                      <a:moveTo>
                        <a:pt x="0" y="18"/>
                      </a:moveTo>
                      <a:lnTo>
                        <a:pt x="8" y="6"/>
                      </a:lnTo>
                      <a:lnTo>
                        <a:pt x="0" y="0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82" name="Freeform 145">
                  <a:extLst>
                    <a:ext uri="{FF2B5EF4-FFF2-40B4-BE49-F238E27FC236}">
                      <a16:creationId xmlns:a16="http://schemas.microsoft.com/office/drawing/2014/main" id="{227EC325-A5FF-45FF-9A38-0818EA13AA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8" y="2532"/>
                  <a:ext cx="0" cy="7"/>
                </a:xfrm>
                <a:custGeom>
                  <a:avLst/>
                  <a:gdLst>
                    <a:gd name="T0" fmla="*/ 0 w 6"/>
                    <a:gd name="T1" fmla="*/ 0 h 19"/>
                    <a:gd name="T2" fmla="*/ 0 w 6"/>
                    <a:gd name="T3" fmla="*/ 3 h 19"/>
                    <a:gd name="T4" fmla="*/ 1 w 6"/>
                    <a:gd name="T5" fmla="*/ 2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6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6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83" name="Freeform 146">
                  <a:extLst>
                    <a:ext uri="{FF2B5EF4-FFF2-40B4-BE49-F238E27FC236}">
                      <a16:creationId xmlns:a16="http://schemas.microsoft.com/office/drawing/2014/main" id="{F790BA62-62F7-4A71-9CA6-E9A76F77E8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65" y="2513"/>
                  <a:ext cx="11" cy="5"/>
                </a:xfrm>
                <a:custGeom>
                  <a:avLst/>
                  <a:gdLst>
                    <a:gd name="T0" fmla="*/ 0 w 28"/>
                    <a:gd name="T1" fmla="*/ 0 h 19"/>
                    <a:gd name="T2" fmla="*/ 0 w 28"/>
                    <a:gd name="T3" fmla="*/ 1 h 19"/>
                    <a:gd name="T4" fmla="*/ 4 w 28"/>
                    <a:gd name="T5" fmla="*/ 1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8" h="19">
                      <a:moveTo>
                        <a:pt x="0" y="0"/>
                      </a:moveTo>
                      <a:lnTo>
                        <a:pt x="0" y="19"/>
                      </a:lnTo>
                      <a:lnTo>
                        <a:pt x="28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84" name="Freeform 147">
                  <a:extLst>
                    <a:ext uri="{FF2B5EF4-FFF2-40B4-BE49-F238E27FC236}">
                      <a16:creationId xmlns:a16="http://schemas.microsoft.com/office/drawing/2014/main" id="{B859889C-CAD3-4D4C-AFEC-D1CA6D449D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70" y="2513"/>
                  <a:ext cx="6" cy="5"/>
                </a:xfrm>
                <a:custGeom>
                  <a:avLst/>
                  <a:gdLst>
                    <a:gd name="T0" fmla="*/ 2 w 15"/>
                    <a:gd name="T1" fmla="*/ 1 h 19"/>
                    <a:gd name="T2" fmla="*/ 1 w 15"/>
                    <a:gd name="T3" fmla="*/ 1 h 19"/>
                    <a:gd name="T4" fmla="*/ 0 w 15"/>
                    <a:gd name="T5" fmla="*/ 0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5" h="19">
                      <a:moveTo>
                        <a:pt x="15" y="19"/>
                      </a:moveTo>
                      <a:lnTo>
                        <a:pt x="8" y="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85" name="Freeform 148">
                  <a:extLst>
                    <a:ext uri="{FF2B5EF4-FFF2-40B4-BE49-F238E27FC236}">
                      <a16:creationId xmlns:a16="http://schemas.microsoft.com/office/drawing/2014/main" id="{69DFC662-6985-4252-8AE8-76841D31EA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950" y="2430"/>
                  <a:ext cx="7" cy="6"/>
                </a:xfrm>
                <a:custGeom>
                  <a:avLst/>
                  <a:gdLst>
                    <a:gd name="T0" fmla="*/ 2 w 20"/>
                    <a:gd name="T1" fmla="*/ 2 h 18"/>
                    <a:gd name="T2" fmla="*/ 2 w 20"/>
                    <a:gd name="T3" fmla="*/ 0 h 18"/>
                    <a:gd name="T4" fmla="*/ 0 w 20"/>
                    <a:gd name="T5" fmla="*/ 0 h 18"/>
                    <a:gd name="T6" fmla="*/ 2 w 20"/>
                    <a:gd name="T7" fmla="*/ 2 h 18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8">
                      <a:moveTo>
                        <a:pt x="13" y="18"/>
                      </a:moveTo>
                      <a:lnTo>
                        <a:pt x="20" y="0"/>
                      </a:lnTo>
                      <a:lnTo>
                        <a:pt x="0" y="0"/>
                      </a:lnTo>
                      <a:lnTo>
                        <a:pt x="13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grpSp>
            <p:nvGrpSpPr>
              <p:cNvPr id="651" name="Group 149">
                <a:extLst>
                  <a:ext uri="{FF2B5EF4-FFF2-40B4-BE49-F238E27FC236}">
                    <a16:creationId xmlns:a16="http://schemas.microsoft.com/office/drawing/2014/main" id="{D779759A-AD78-4846-8062-47BF1A747613}"/>
                  </a:ext>
                </a:extLst>
              </p:cNvPr>
              <p:cNvGrpSpPr>
                <a:grpSpLocks/>
              </p:cNvGrpSpPr>
              <p:nvPr>
                <p:custDataLst>
                  <p:tags r:id="rId89"/>
                </p:custDataLst>
              </p:nvPr>
            </p:nvGrpSpPr>
            <p:grpSpPr bwMode="auto">
              <a:xfrm>
                <a:off x="8702739" y="4720112"/>
                <a:ext cx="201080" cy="297545"/>
                <a:chOff x="5509" y="2769"/>
                <a:chExt cx="123" cy="163"/>
              </a:xfrm>
            </p:grpSpPr>
            <p:sp>
              <p:nvSpPr>
                <p:cNvPr id="1046" name="Freeform 150">
                  <a:extLst>
                    <a:ext uri="{FF2B5EF4-FFF2-40B4-BE49-F238E27FC236}">
                      <a16:creationId xmlns:a16="http://schemas.microsoft.com/office/drawing/2014/main" id="{D4CDD077-EA66-4C76-A257-EB91898F16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95" y="2804"/>
                  <a:ext cx="11" cy="28"/>
                </a:xfrm>
                <a:custGeom>
                  <a:avLst/>
                  <a:gdLst>
                    <a:gd name="T0" fmla="*/ 0 w 40"/>
                    <a:gd name="T1" fmla="*/ 3 h 87"/>
                    <a:gd name="T2" fmla="*/ 0 w 40"/>
                    <a:gd name="T3" fmla="*/ 5 h 87"/>
                    <a:gd name="T4" fmla="*/ 0 w 40"/>
                    <a:gd name="T5" fmla="*/ 5 h 87"/>
                    <a:gd name="T6" fmla="*/ 1 w 40"/>
                    <a:gd name="T7" fmla="*/ 6 h 87"/>
                    <a:gd name="T8" fmla="*/ 1 w 40"/>
                    <a:gd name="T9" fmla="*/ 7 h 87"/>
                    <a:gd name="T10" fmla="*/ 2 w 40"/>
                    <a:gd name="T11" fmla="*/ 7 h 87"/>
                    <a:gd name="T12" fmla="*/ 2 w 40"/>
                    <a:gd name="T13" fmla="*/ 8 h 87"/>
                    <a:gd name="T14" fmla="*/ 3 w 40"/>
                    <a:gd name="T15" fmla="*/ 8 h 87"/>
                    <a:gd name="T16" fmla="*/ 4 w 40"/>
                    <a:gd name="T17" fmla="*/ 9 h 87"/>
                    <a:gd name="T18" fmla="*/ 4 w 40"/>
                    <a:gd name="T19" fmla="*/ 8 h 87"/>
                    <a:gd name="T20" fmla="*/ 3 w 40"/>
                    <a:gd name="T21" fmla="*/ 8 h 87"/>
                    <a:gd name="T22" fmla="*/ 3 w 40"/>
                    <a:gd name="T23" fmla="*/ 7 h 87"/>
                    <a:gd name="T24" fmla="*/ 3 w 40"/>
                    <a:gd name="T25" fmla="*/ 7 h 87"/>
                    <a:gd name="T26" fmla="*/ 2 w 40"/>
                    <a:gd name="T27" fmla="*/ 5 h 87"/>
                    <a:gd name="T28" fmla="*/ 2 w 40"/>
                    <a:gd name="T29" fmla="*/ 4 h 87"/>
                    <a:gd name="T30" fmla="*/ 2 w 40"/>
                    <a:gd name="T31" fmla="*/ 3 h 87"/>
                    <a:gd name="T32" fmla="*/ 1 w 40"/>
                    <a:gd name="T33" fmla="*/ 2 h 87"/>
                    <a:gd name="T34" fmla="*/ 1 w 40"/>
                    <a:gd name="T35" fmla="*/ 1 h 87"/>
                    <a:gd name="T36" fmla="*/ 1 w 40"/>
                    <a:gd name="T37" fmla="*/ 1 h 87"/>
                    <a:gd name="T38" fmla="*/ 0 w 40"/>
                    <a:gd name="T39" fmla="*/ 0 h 87"/>
                    <a:gd name="T40" fmla="*/ 0 w 40"/>
                    <a:gd name="T41" fmla="*/ 0 h 87"/>
                    <a:gd name="T42" fmla="*/ 0 w 40"/>
                    <a:gd name="T43" fmla="*/ 1 h 87"/>
                    <a:gd name="T44" fmla="*/ 0 w 40"/>
                    <a:gd name="T45" fmla="*/ 2 h 87"/>
                    <a:gd name="T46" fmla="*/ 0 w 40"/>
                    <a:gd name="T47" fmla="*/ 2 h 87"/>
                    <a:gd name="T48" fmla="*/ 0 w 40"/>
                    <a:gd name="T49" fmla="*/ 3 h 87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</a:gdLst>
                  <a:ahLst/>
                  <a:cxnLst>
                    <a:cxn ang="T50">
                      <a:pos x="T0" y="T1"/>
                    </a:cxn>
                    <a:cxn ang="T51">
                      <a:pos x="T2" y="T3"/>
                    </a:cxn>
                    <a:cxn ang="T52">
                      <a:pos x="T4" y="T5"/>
                    </a:cxn>
                    <a:cxn ang="T53">
                      <a:pos x="T6" y="T7"/>
                    </a:cxn>
                    <a:cxn ang="T54">
                      <a:pos x="T8" y="T9"/>
                    </a:cxn>
                    <a:cxn ang="T55">
                      <a:pos x="T10" y="T11"/>
                    </a:cxn>
                    <a:cxn ang="T56">
                      <a:pos x="T12" y="T13"/>
                    </a:cxn>
                    <a:cxn ang="T57">
                      <a:pos x="T14" y="T15"/>
                    </a:cxn>
                    <a:cxn ang="T58">
                      <a:pos x="T16" y="T17"/>
                    </a:cxn>
                    <a:cxn ang="T59">
                      <a:pos x="T18" y="T19"/>
                    </a:cxn>
                    <a:cxn ang="T60">
                      <a:pos x="T20" y="T21"/>
                    </a:cxn>
                    <a:cxn ang="T61">
                      <a:pos x="T22" y="T23"/>
                    </a:cxn>
                    <a:cxn ang="T62">
                      <a:pos x="T24" y="T25"/>
                    </a:cxn>
                    <a:cxn ang="T63">
                      <a:pos x="T26" y="T27"/>
                    </a:cxn>
                    <a:cxn ang="T64">
                      <a:pos x="T28" y="T29"/>
                    </a:cxn>
                    <a:cxn ang="T65">
                      <a:pos x="T30" y="T31"/>
                    </a:cxn>
                    <a:cxn ang="T66">
                      <a:pos x="T32" y="T33"/>
                    </a:cxn>
                    <a:cxn ang="T67">
                      <a:pos x="T34" y="T35"/>
                    </a:cxn>
                    <a:cxn ang="T68">
                      <a:pos x="T36" y="T37"/>
                    </a:cxn>
                    <a:cxn ang="T69">
                      <a:pos x="T38" y="T39"/>
                    </a:cxn>
                    <a:cxn ang="T70">
                      <a:pos x="T40" y="T41"/>
                    </a:cxn>
                    <a:cxn ang="T71">
                      <a:pos x="T42" y="T43"/>
                    </a:cxn>
                    <a:cxn ang="T72">
                      <a:pos x="T44" y="T45"/>
                    </a:cxn>
                    <a:cxn ang="T73">
                      <a:pos x="T46" y="T47"/>
                    </a:cxn>
                    <a:cxn ang="T74">
                      <a:pos x="T48" y="T49"/>
                    </a:cxn>
                  </a:cxnLst>
                  <a:rect l="0" t="0" r="r" b="b"/>
                  <a:pathLst>
                    <a:path w="40" h="87">
                      <a:moveTo>
                        <a:pt x="0" y="31"/>
                      </a:moveTo>
                      <a:lnTo>
                        <a:pt x="0" y="42"/>
                      </a:lnTo>
                      <a:lnTo>
                        <a:pt x="2" y="51"/>
                      </a:lnTo>
                      <a:lnTo>
                        <a:pt x="5" y="59"/>
                      </a:lnTo>
                      <a:lnTo>
                        <a:pt x="10" y="66"/>
                      </a:lnTo>
                      <a:lnTo>
                        <a:pt x="15" y="72"/>
                      </a:lnTo>
                      <a:lnTo>
                        <a:pt x="22" y="77"/>
                      </a:lnTo>
                      <a:lnTo>
                        <a:pt x="31" y="82"/>
                      </a:lnTo>
                      <a:lnTo>
                        <a:pt x="40" y="87"/>
                      </a:lnTo>
                      <a:lnTo>
                        <a:pt x="35" y="82"/>
                      </a:lnTo>
                      <a:lnTo>
                        <a:pt x="32" y="77"/>
                      </a:lnTo>
                      <a:lnTo>
                        <a:pt x="29" y="71"/>
                      </a:lnTo>
                      <a:lnTo>
                        <a:pt x="26" y="65"/>
                      </a:lnTo>
                      <a:lnTo>
                        <a:pt x="22" y="52"/>
                      </a:lnTo>
                      <a:lnTo>
                        <a:pt x="20" y="39"/>
                      </a:lnTo>
                      <a:lnTo>
                        <a:pt x="18" y="27"/>
                      </a:lnTo>
                      <a:lnTo>
                        <a:pt x="13" y="16"/>
                      </a:lnTo>
                      <a:lnTo>
                        <a:pt x="11" y="11"/>
                      </a:lnTo>
                      <a:lnTo>
                        <a:pt x="8" y="6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0" y="9"/>
                      </a:lnTo>
                      <a:lnTo>
                        <a:pt x="0" y="16"/>
                      </a:lnTo>
                      <a:lnTo>
                        <a:pt x="0" y="23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007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47" name="Freeform 151">
                  <a:extLst>
                    <a:ext uri="{FF2B5EF4-FFF2-40B4-BE49-F238E27FC236}">
                      <a16:creationId xmlns:a16="http://schemas.microsoft.com/office/drawing/2014/main" id="{4CAA7FE0-5225-44EC-9B4F-95735CFAD7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612" y="2846"/>
                  <a:ext cx="20" cy="12"/>
                </a:xfrm>
                <a:custGeom>
                  <a:avLst/>
                  <a:gdLst>
                    <a:gd name="T0" fmla="*/ 0 w 61"/>
                    <a:gd name="T1" fmla="*/ 3 h 37"/>
                    <a:gd name="T2" fmla="*/ 2 w 61"/>
                    <a:gd name="T3" fmla="*/ 3 h 37"/>
                    <a:gd name="T4" fmla="*/ 4 w 61"/>
                    <a:gd name="T5" fmla="*/ 4 h 37"/>
                    <a:gd name="T6" fmla="*/ 5 w 61"/>
                    <a:gd name="T7" fmla="*/ 4 h 37"/>
                    <a:gd name="T8" fmla="*/ 7 w 61"/>
                    <a:gd name="T9" fmla="*/ 4 h 37"/>
                    <a:gd name="T10" fmla="*/ 6 w 61"/>
                    <a:gd name="T11" fmla="*/ 3 h 37"/>
                    <a:gd name="T12" fmla="*/ 5 w 61"/>
                    <a:gd name="T13" fmla="*/ 2 h 37"/>
                    <a:gd name="T14" fmla="*/ 5 w 61"/>
                    <a:gd name="T15" fmla="*/ 2 h 37"/>
                    <a:gd name="T16" fmla="*/ 4 w 61"/>
                    <a:gd name="T17" fmla="*/ 1 h 37"/>
                    <a:gd name="T18" fmla="*/ 3 w 61"/>
                    <a:gd name="T19" fmla="*/ 1 h 37"/>
                    <a:gd name="T20" fmla="*/ 2 w 61"/>
                    <a:gd name="T21" fmla="*/ 1 h 37"/>
                    <a:gd name="T22" fmla="*/ 1 w 61"/>
                    <a:gd name="T23" fmla="*/ 0 h 37"/>
                    <a:gd name="T24" fmla="*/ 0 w 61"/>
                    <a:gd name="T25" fmla="*/ 0 h 37"/>
                    <a:gd name="T26" fmla="*/ 0 w 61"/>
                    <a:gd name="T27" fmla="*/ 3 h 37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61" h="37">
                      <a:moveTo>
                        <a:pt x="0" y="31"/>
                      </a:moveTo>
                      <a:lnTo>
                        <a:pt x="19" y="32"/>
                      </a:lnTo>
                      <a:lnTo>
                        <a:pt x="35" y="34"/>
                      </a:lnTo>
                      <a:lnTo>
                        <a:pt x="49" y="36"/>
                      </a:lnTo>
                      <a:lnTo>
                        <a:pt x="61" y="37"/>
                      </a:lnTo>
                      <a:lnTo>
                        <a:pt x="55" y="29"/>
                      </a:lnTo>
                      <a:lnTo>
                        <a:pt x="49" y="22"/>
                      </a:lnTo>
                      <a:lnTo>
                        <a:pt x="42" y="17"/>
                      </a:lnTo>
                      <a:lnTo>
                        <a:pt x="35" y="12"/>
                      </a:lnTo>
                      <a:lnTo>
                        <a:pt x="28" y="9"/>
                      </a:lnTo>
                      <a:lnTo>
                        <a:pt x="19" y="5"/>
                      </a:lnTo>
                      <a:lnTo>
                        <a:pt x="10" y="2"/>
                      </a:lnTo>
                      <a:lnTo>
                        <a:pt x="0" y="0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48" name="Freeform 152">
                  <a:extLst>
                    <a:ext uri="{FF2B5EF4-FFF2-40B4-BE49-F238E27FC236}">
                      <a16:creationId xmlns:a16="http://schemas.microsoft.com/office/drawing/2014/main" id="{E2130ADC-6397-472D-93DC-66A46A8B9D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8" y="2865"/>
                  <a:ext cx="13" cy="10"/>
                </a:xfrm>
                <a:custGeom>
                  <a:avLst/>
                  <a:gdLst>
                    <a:gd name="T0" fmla="*/ 4 w 40"/>
                    <a:gd name="T1" fmla="*/ 3 h 30"/>
                    <a:gd name="T2" fmla="*/ 4 w 40"/>
                    <a:gd name="T3" fmla="*/ 3 h 30"/>
                    <a:gd name="T4" fmla="*/ 3 w 40"/>
                    <a:gd name="T5" fmla="*/ 3 h 30"/>
                    <a:gd name="T6" fmla="*/ 2 w 40"/>
                    <a:gd name="T7" fmla="*/ 2 h 30"/>
                    <a:gd name="T8" fmla="*/ 2 w 40"/>
                    <a:gd name="T9" fmla="*/ 2 h 30"/>
                    <a:gd name="T10" fmla="*/ 1 w 40"/>
                    <a:gd name="T11" fmla="*/ 2 h 30"/>
                    <a:gd name="T12" fmla="*/ 1 w 40"/>
                    <a:gd name="T13" fmla="*/ 1 h 30"/>
                    <a:gd name="T14" fmla="*/ 0 w 40"/>
                    <a:gd name="T15" fmla="*/ 1 h 30"/>
                    <a:gd name="T16" fmla="*/ 0 w 40"/>
                    <a:gd name="T17" fmla="*/ 0 h 30"/>
                    <a:gd name="T18" fmla="*/ 1 w 40"/>
                    <a:gd name="T19" fmla="*/ 0 h 30"/>
                    <a:gd name="T20" fmla="*/ 2 w 40"/>
                    <a:gd name="T21" fmla="*/ 1 h 30"/>
                    <a:gd name="T22" fmla="*/ 2 w 40"/>
                    <a:gd name="T23" fmla="*/ 1 h 30"/>
                    <a:gd name="T24" fmla="*/ 3 w 40"/>
                    <a:gd name="T25" fmla="*/ 2 h 30"/>
                    <a:gd name="T26" fmla="*/ 4 w 40"/>
                    <a:gd name="T27" fmla="*/ 2 h 30"/>
                    <a:gd name="T28" fmla="*/ 4 w 40"/>
                    <a:gd name="T29" fmla="*/ 3 h 30"/>
                    <a:gd name="T30" fmla="*/ 4 w 40"/>
                    <a:gd name="T31" fmla="*/ 3 h 30"/>
                    <a:gd name="T32" fmla="*/ 4 w 40"/>
                    <a:gd name="T33" fmla="*/ 3 h 30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40" h="30">
                      <a:moveTo>
                        <a:pt x="40" y="30"/>
                      </a:moveTo>
                      <a:lnTo>
                        <a:pt x="33" y="28"/>
                      </a:lnTo>
                      <a:lnTo>
                        <a:pt x="26" y="25"/>
                      </a:lnTo>
                      <a:lnTo>
                        <a:pt x="21" y="22"/>
                      </a:lnTo>
                      <a:lnTo>
                        <a:pt x="15" y="19"/>
                      </a:lnTo>
                      <a:lnTo>
                        <a:pt x="11" y="16"/>
                      </a:lnTo>
                      <a:lnTo>
                        <a:pt x="6" y="11"/>
                      </a:lnTo>
                      <a:lnTo>
                        <a:pt x="3" y="6"/>
                      </a:lnTo>
                      <a:lnTo>
                        <a:pt x="0" y="0"/>
                      </a:lnTo>
                      <a:lnTo>
                        <a:pt x="8" y="2"/>
                      </a:lnTo>
                      <a:lnTo>
                        <a:pt x="15" y="6"/>
                      </a:lnTo>
                      <a:lnTo>
                        <a:pt x="22" y="10"/>
                      </a:lnTo>
                      <a:lnTo>
                        <a:pt x="27" y="15"/>
                      </a:lnTo>
                      <a:lnTo>
                        <a:pt x="33" y="19"/>
                      </a:lnTo>
                      <a:lnTo>
                        <a:pt x="36" y="23"/>
                      </a:lnTo>
                      <a:lnTo>
                        <a:pt x="39" y="27"/>
                      </a:lnTo>
                      <a:lnTo>
                        <a:pt x="40" y="3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49" name="Freeform 153">
                  <a:extLst>
                    <a:ext uri="{FF2B5EF4-FFF2-40B4-BE49-F238E27FC236}">
                      <a16:creationId xmlns:a16="http://schemas.microsoft.com/office/drawing/2014/main" id="{888B0836-C9FE-4DCB-8E72-7F736965B4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4" y="2789"/>
                  <a:ext cx="20" cy="26"/>
                </a:xfrm>
                <a:custGeom>
                  <a:avLst/>
                  <a:gdLst>
                    <a:gd name="T0" fmla="*/ 8 w 74"/>
                    <a:gd name="T1" fmla="*/ 8 h 80"/>
                    <a:gd name="T2" fmla="*/ 7 w 74"/>
                    <a:gd name="T3" fmla="*/ 8 h 80"/>
                    <a:gd name="T4" fmla="*/ 7 w 74"/>
                    <a:gd name="T5" fmla="*/ 7 h 80"/>
                    <a:gd name="T6" fmla="*/ 7 w 74"/>
                    <a:gd name="T7" fmla="*/ 7 h 80"/>
                    <a:gd name="T8" fmla="*/ 7 w 74"/>
                    <a:gd name="T9" fmla="*/ 6 h 80"/>
                    <a:gd name="T10" fmla="*/ 6 w 74"/>
                    <a:gd name="T11" fmla="*/ 5 h 80"/>
                    <a:gd name="T12" fmla="*/ 5 w 74"/>
                    <a:gd name="T13" fmla="*/ 4 h 80"/>
                    <a:gd name="T14" fmla="*/ 4 w 74"/>
                    <a:gd name="T15" fmla="*/ 3 h 80"/>
                    <a:gd name="T16" fmla="*/ 3 w 74"/>
                    <a:gd name="T17" fmla="*/ 2 h 80"/>
                    <a:gd name="T18" fmla="*/ 2 w 74"/>
                    <a:gd name="T19" fmla="*/ 1 h 80"/>
                    <a:gd name="T20" fmla="*/ 1 w 74"/>
                    <a:gd name="T21" fmla="*/ 0 h 80"/>
                    <a:gd name="T22" fmla="*/ 1 w 74"/>
                    <a:gd name="T23" fmla="*/ 1 h 80"/>
                    <a:gd name="T24" fmla="*/ 0 w 74"/>
                    <a:gd name="T25" fmla="*/ 1 h 80"/>
                    <a:gd name="T26" fmla="*/ 0 w 74"/>
                    <a:gd name="T27" fmla="*/ 2 h 80"/>
                    <a:gd name="T28" fmla="*/ 0 w 74"/>
                    <a:gd name="T29" fmla="*/ 2 h 80"/>
                    <a:gd name="T30" fmla="*/ 0 w 74"/>
                    <a:gd name="T31" fmla="*/ 3 h 80"/>
                    <a:gd name="T32" fmla="*/ 0 w 74"/>
                    <a:gd name="T33" fmla="*/ 3 h 80"/>
                    <a:gd name="T34" fmla="*/ 0 w 74"/>
                    <a:gd name="T35" fmla="*/ 4 h 80"/>
                    <a:gd name="T36" fmla="*/ 1 w 74"/>
                    <a:gd name="T37" fmla="*/ 4 h 80"/>
                    <a:gd name="T38" fmla="*/ 1 w 74"/>
                    <a:gd name="T39" fmla="*/ 5 h 80"/>
                    <a:gd name="T40" fmla="*/ 2 w 74"/>
                    <a:gd name="T41" fmla="*/ 6 h 80"/>
                    <a:gd name="T42" fmla="*/ 2 w 74"/>
                    <a:gd name="T43" fmla="*/ 6 h 80"/>
                    <a:gd name="T44" fmla="*/ 3 w 74"/>
                    <a:gd name="T45" fmla="*/ 7 h 80"/>
                    <a:gd name="T46" fmla="*/ 3 w 74"/>
                    <a:gd name="T47" fmla="*/ 7 h 80"/>
                    <a:gd name="T48" fmla="*/ 4 w 74"/>
                    <a:gd name="T49" fmla="*/ 7 h 80"/>
                    <a:gd name="T50" fmla="*/ 5 w 74"/>
                    <a:gd name="T51" fmla="*/ 7 h 80"/>
                    <a:gd name="T52" fmla="*/ 5 w 74"/>
                    <a:gd name="T53" fmla="*/ 8 h 80"/>
                    <a:gd name="T54" fmla="*/ 6 w 74"/>
                    <a:gd name="T55" fmla="*/ 8 h 80"/>
                    <a:gd name="T56" fmla="*/ 6 w 74"/>
                    <a:gd name="T57" fmla="*/ 8 h 80"/>
                    <a:gd name="T58" fmla="*/ 7 w 74"/>
                    <a:gd name="T59" fmla="*/ 8 h 80"/>
                    <a:gd name="T60" fmla="*/ 8 w 74"/>
                    <a:gd name="T61" fmla="*/ 8 h 8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74" h="80">
                      <a:moveTo>
                        <a:pt x="74" y="80"/>
                      </a:moveTo>
                      <a:lnTo>
                        <a:pt x="72" y="73"/>
                      </a:lnTo>
                      <a:lnTo>
                        <a:pt x="71" y="66"/>
                      </a:lnTo>
                      <a:lnTo>
                        <a:pt x="69" y="60"/>
                      </a:lnTo>
                      <a:lnTo>
                        <a:pt x="66" y="53"/>
                      </a:lnTo>
                      <a:lnTo>
                        <a:pt x="58" y="42"/>
                      </a:lnTo>
                      <a:lnTo>
                        <a:pt x="48" y="33"/>
                      </a:lnTo>
                      <a:lnTo>
                        <a:pt x="38" y="25"/>
                      </a:lnTo>
                      <a:lnTo>
                        <a:pt x="29" y="17"/>
                      </a:lnTo>
                      <a:lnTo>
                        <a:pt x="20" y="9"/>
                      </a:lnTo>
                      <a:lnTo>
                        <a:pt x="13" y="0"/>
                      </a:lnTo>
                      <a:lnTo>
                        <a:pt x="9" y="5"/>
                      </a:lnTo>
                      <a:lnTo>
                        <a:pt x="4" y="10"/>
                      </a:lnTo>
                      <a:lnTo>
                        <a:pt x="1" y="14"/>
                      </a:lnTo>
                      <a:lnTo>
                        <a:pt x="0" y="19"/>
                      </a:lnTo>
                      <a:lnTo>
                        <a:pt x="0" y="25"/>
                      </a:lnTo>
                      <a:lnTo>
                        <a:pt x="2" y="30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4" y="51"/>
                      </a:lnTo>
                      <a:lnTo>
                        <a:pt x="19" y="56"/>
                      </a:lnTo>
                      <a:lnTo>
                        <a:pt x="24" y="61"/>
                      </a:lnTo>
                      <a:lnTo>
                        <a:pt x="30" y="66"/>
                      </a:lnTo>
                      <a:lnTo>
                        <a:pt x="35" y="69"/>
                      </a:lnTo>
                      <a:lnTo>
                        <a:pt x="42" y="72"/>
                      </a:lnTo>
                      <a:lnTo>
                        <a:pt x="47" y="75"/>
                      </a:lnTo>
                      <a:lnTo>
                        <a:pt x="54" y="77"/>
                      </a:lnTo>
                      <a:lnTo>
                        <a:pt x="60" y="79"/>
                      </a:lnTo>
                      <a:lnTo>
                        <a:pt x="67" y="80"/>
                      </a:lnTo>
                      <a:lnTo>
                        <a:pt x="74" y="8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50" name="Freeform 154">
                  <a:extLst>
                    <a:ext uri="{FF2B5EF4-FFF2-40B4-BE49-F238E27FC236}">
                      <a16:creationId xmlns:a16="http://schemas.microsoft.com/office/drawing/2014/main" id="{E1008A95-4508-46A7-B95D-C17947AFFC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55" y="2785"/>
                  <a:ext cx="21" cy="27"/>
                </a:xfrm>
                <a:custGeom>
                  <a:avLst/>
                  <a:gdLst>
                    <a:gd name="T0" fmla="*/ 5 w 86"/>
                    <a:gd name="T1" fmla="*/ 9 h 80"/>
                    <a:gd name="T2" fmla="*/ 8 w 86"/>
                    <a:gd name="T3" fmla="*/ 9 h 80"/>
                    <a:gd name="T4" fmla="*/ 8 w 86"/>
                    <a:gd name="T5" fmla="*/ 7 h 80"/>
                    <a:gd name="T6" fmla="*/ 7 w 86"/>
                    <a:gd name="T7" fmla="*/ 7 h 80"/>
                    <a:gd name="T8" fmla="*/ 7 w 86"/>
                    <a:gd name="T9" fmla="*/ 6 h 80"/>
                    <a:gd name="T10" fmla="*/ 6 w 86"/>
                    <a:gd name="T11" fmla="*/ 6 h 80"/>
                    <a:gd name="T12" fmla="*/ 5 w 86"/>
                    <a:gd name="T13" fmla="*/ 6 h 80"/>
                    <a:gd name="T14" fmla="*/ 5 w 86"/>
                    <a:gd name="T15" fmla="*/ 5 h 80"/>
                    <a:gd name="T16" fmla="*/ 4 w 86"/>
                    <a:gd name="T17" fmla="*/ 4 h 80"/>
                    <a:gd name="T18" fmla="*/ 3 w 86"/>
                    <a:gd name="T19" fmla="*/ 3 h 80"/>
                    <a:gd name="T20" fmla="*/ 2 w 86"/>
                    <a:gd name="T21" fmla="*/ 2 h 80"/>
                    <a:gd name="T22" fmla="*/ 1 w 86"/>
                    <a:gd name="T23" fmla="*/ 1 h 80"/>
                    <a:gd name="T24" fmla="*/ 0 w 86"/>
                    <a:gd name="T25" fmla="*/ 0 h 80"/>
                    <a:gd name="T26" fmla="*/ 0 w 86"/>
                    <a:gd name="T27" fmla="*/ 1 h 80"/>
                    <a:gd name="T28" fmla="*/ 1 w 86"/>
                    <a:gd name="T29" fmla="*/ 2 h 80"/>
                    <a:gd name="T30" fmla="*/ 1 w 86"/>
                    <a:gd name="T31" fmla="*/ 4 h 80"/>
                    <a:gd name="T32" fmla="*/ 2 w 86"/>
                    <a:gd name="T33" fmla="*/ 5 h 80"/>
                    <a:gd name="T34" fmla="*/ 2 w 86"/>
                    <a:gd name="T35" fmla="*/ 6 h 80"/>
                    <a:gd name="T36" fmla="*/ 3 w 86"/>
                    <a:gd name="T37" fmla="*/ 8 h 80"/>
                    <a:gd name="T38" fmla="*/ 4 w 86"/>
                    <a:gd name="T39" fmla="*/ 8 h 80"/>
                    <a:gd name="T40" fmla="*/ 4 w 86"/>
                    <a:gd name="T41" fmla="*/ 9 h 80"/>
                    <a:gd name="T42" fmla="*/ 5 w 86"/>
                    <a:gd name="T43" fmla="*/ 9 h 80"/>
                    <a:gd name="T44" fmla="*/ 5 w 86"/>
                    <a:gd name="T45" fmla="*/ 9 h 80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86" h="80">
                      <a:moveTo>
                        <a:pt x="52" y="80"/>
                      </a:moveTo>
                      <a:lnTo>
                        <a:pt x="86" y="80"/>
                      </a:lnTo>
                      <a:lnTo>
                        <a:pt x="86" y="61"/>
                      </a:lnTo>
                      <a:lnTo>
                        <a:pt x="79" y="59"/>
                      </a:lnTo>
                      <a:lnTo>
                        <a:pt x="72" y="56"/>
                      </a:lnTo>
                      <a:lnTo>
                        <a:pt x="67" y="53"/>
                      </a:lnTo>
                      <a:lnTo>
                        <a:pt x="61" y="49"/>
                      </a:lnTo>
                      <a:lnTo>
                        <a:pt x="51" y="41"/>
                      </a:lnTo>
                      <a:lnTo>
                        <a:pt x="43" y="33"/>
                      </a:lnTo>
                      <a:lnTo>
                        <a:pt x="34" y="25"/>
                      </a:lnTo>
                      <a:lnTo>
                        <a:pt x="24" y="16"/>
                      </a:lnTo>
                      <a:lnTo>
                        <a:pt x="13" y="7"/>
                      </a:lnTo>
                      <a:lnTo>
                        <a:pt x="0" y="0"/>
                      </a:lnTo>
                      <a:lnTo>
                        <a:pt x="1" y="8"/>
                      </a:lnTo>
                      <a:lnTo>
                        <a:pt x="5" y="20"/>
                      </a:lnTo>
                      <a:lnTo>
                        <a:pt x="11" y="32"/>
                      </a:lnTo>
                      <a:lnTo>
                        <a:pt x="18" y="44"/>
                      </a:lnTo>
                      <a:lnTo>
                        <a:pt x="27" y="57"/>
                      </a:lnTo>
                      <a:lnTo>
                        <a:pt x="36" y="67"/>
                      </a:lnTo>
                      <a:lnTo>
                        <a:pt x="40" y="72"/>
                      </a:lnTo>
                      <a:lnTo>
                        <a:pt x="45" y="76"/>
                      </a:lnTo>
                      <a:lnTo>
                        <a:pt x="49" y="79"/>
                      </a:lnTo>
                      <a:lnTo>
                        <a:pt x="52" y="8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51" name="Freeform 155">
                  <a:extLst>
                    <a:ext uri="{FF2B5EF4-FFF2-40B4-BE49-F238E27FC236}">
                      <a16:creationId xmlns:a16="http://schemas.microsoft.com/office/drawing/2014/main" id="{B7D7D81D-6D98-4FFF-93CA-ECB5604375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0" y="2825"/>
                  <a:ext cx="25" cy="11"/>
                </a:xfrm>
                <a:custGeom>
                  <a:avLst/>
                  <a:gdLst>
                    <a:gd name="T0" fmla="*/ 0 w 74"/>
                    <a:gd name="T1" fmla="*/ 1 h 31"/>
                    <a:gd name="T2" fmla="*/ 0 w 74"/>
                    <a:gd name="T3" fmla="*/ 1 h 31"/>
                    <a:gd name="T4" fmla="*/ 1 w 74"/>
                    <a:gd name="T5" fmla="*/ 2 h 31"/>
                    <a:gd name="T6" fmla="*/ 1 w 74"/>
                    <a:gd name="T7" fmla="*/ 2 h 31"/>
                    <a:gd name="T8" fmla="*/ 2 w 74"/>
                    <a:gd name="T9" fmla="*/ 2 h 31"/>
                    <a:gd name="T10" fmla="*/ 2 w 74"/>
                    <a:gd name="T11" fmla="*/ 3 h 31"/>
                    <a:gd name="T12" fmla="*/ 3 w 74"/>
                    <a:gd name="T13" fmla="*/ 3 h 31"/>
                    <a:gd name="T14" fmla="*/ 3 w 74"/>
                    <a:gd name="T15" fmla="*/ 4 h 31"/>
                    <a:gd name="T16" fmla="*/ 4 w 74"/>
                    <a:gd name="T17" fmla="*/ 4 h 31"/>
                    <a:gd name="T18" fmla="*/ 5 w 74"/>
                    <a:gd name="T19" fmla="*/ 4 h 31"/>
                    <a:gd name="T20" fmla="*/ 7 w 74"/>
                    <a:gd name="T21" fmla="*/ 4 h 31"/>
                    <a:gd name="T22" fmla="*/ 7 w 74"/>
                    <a:gd name="T23" fmla="*/ 4 h 31"/>
                    <a:gd name="T24" fmla="*/ 8 w 74"/>
                    <a:gd name="T25" fmla="*/ 4 h 31"/>
                    <a:gd name="T26" fmla="*/ 8 w 74"/>
                    <a:gd name="T27" fmla="*/ 4 h 31"/>
                    <a:gd name="T28" fmla="*/ 8 w 74"/>
                    <a:gd name="T29" fmla="*/ 3 h 31"/>
                    <a:gd name="T30" fmla="*/ 7 w 74"/>
                    <a:gd name="T31" fmla="*/ 2 h 31"/>
                    <a:gd name="T32" fmla="*/ 6 w 74"/>
                    <a:gd name="T33" fmla="*/ 2 h 31"/>
                    <a:gd name="T34" fmla="*/ 6 w 74"/>
                    <a:gd name="T35" fmla="*/ 1 h 31"/>
                    <a:gd name="T36" fmla="*/ 5 w 74"/>
                    <a:gd name="T37" fmla="*/ 1 h 31"/>
                    <a:gd name="T38" fmla="*/ 5 w 74"/>
                    <a:gd name="T39" fmla="*/ 1 h 31"/>
                    <a:gd name="T40" fmla="*/ 5 w 74"/>
                    <a:gd name="T41" fmla="*/ 0 h 31"/>
                    <a:gd name="T42" fmla="*/ 4 w 74"/>
                    <a:gd name="T43" fmla="*/ 0 h 31"/>
                    <a:gd name="T44" fmla="*/ 3 w 74"/>
                    <a:gd name="T45" fmla="*/ 0 h 31"/>
                    <a:gd name="T46" fmla="*/ 2 w 74"/>
                    <a:gd name="T47" fmla="*/ 0 h 31"/>
                    <a:gd name="T48" fmla="*/ 2 w 74"/>
                    <a:gd name="T49" fmla="*/ 0 h 31"/>
                    <a:gd name="T50" fmla="*/ 2 w 74"/>
                    <a:gd name="T51" fmla="*/ 0 h 31"/>
                    <a:gd name="T52" fmla="*/ 1 w 74"/>
                    <a:gd name="T53" fmla="*/ 0 h 31"/>
                    <a:gd name="T54" fmla="*/ 1 w 74"/>
                    <a:gd name="T55" fmla="*/ 0 h 31"/>
                    <a:gd name="T56" fmla="*/ 0 w 74"/>
                    <a:gd name="T57" fmla="*/ 1 h 31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74" h="31">
                      <a:moveTo>
                        <a:pt x="0" y="7"/>
                      </a:moveTo>
                      <a:lnTo>
                        <a:pt x="3" y="11"/>
                      </a:lnTo>
                      <a:lnTo>
                        <a:pt x="5" y="15"/>
                      </a:lnTo>
                      <a:lnTo>
                        <a:pt x="9" y="18"/>
                      </a:lnTo>
                      <a:lnTo>
                        <a:pt x="14" y="21"/>
                      </a:lnTo>
                      <a:lnTo>
                        <a:pt x="18" y="24"/>
                      </a:lnTo>
                      <a:lnTo>
                        <a:pt x="23" y="26"/>
                      </a:lnTo>
                      <a:lnTo>
                        <a:pt x="29" y="28"/>
                      </a:lnTo>
                      <a:lnTo>
                        <a:pt x="34" y="29"/>
                      </a:lnTo>
                      <a:lnTo>
                        <a:pt x="47" y="31"/>
                      </a:lnTo>
                      <a:lnTo>
                        <a:pt x="58" y="31"/>
                      </a:lnTo>
                      <a:lnTo>
                        <a:pt x="63" y="30"/>
                      </a:lnTo>
                      <a:lnTo>
                        <a:pt x="67" y="29"/>
                      </a:lnTo>
                      <a:lnTo>
                        <a:pt x="71" y="27"/>
                      </a:lnTo>
                      <a:lnTo>
                        <a:pt x="74" y="25"/>
                      </a:lnTo>
                      <a:lnTo>
                        <a:pt x="64" y="18"/>
                      </a:lnTo>
                      <a:lnTo>
                        <a:pt x="55" y="13"/>
                      </a:lnTo>
                      <a:lnTo>
                        <a:pt x="51" y="10"/>
                      </a:lnTo>
                      <a:lnTo>
                        <a:pt x="47" y="8"/>
                      </a:lnTo>
                      <a:lnTo>
                        <a:pt x="43" y="5"/>
                      </a:lnTo>
                      <a:lnTo>
                        <a:pt x="41" y="0"/>
                      </a:lnTo>
                      <a:lnTo>
                        <a:pt x="33" y="1"/>
                      </a:lnTo>
                      <a:lnTo>
                        <a:pt x="28" y="1"/>
                      </a:lnTo>
                      <a:lnTo>
                        <a:pt x="22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52" name="Freeform 156">
                  <a:extLst>
                    <a:ext uri="{FF2B5EF4-FFF2-40B4-BE49-F238E27FC236}">
                      <a16:creationId xmlns:a16="http://schemas.microsoft.com/office/drawing/2014/main" id="{96FA0718-1F82-47CB-AA1B-54241DEB54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62" y="2819"/>
                  <a:ext cx="6" cy="1"/>
                </a:xfrm>
                <a:custGeom>
                  <a:avLst/>
                  <a:gdLst>
                    <a:gd name="T0" fmla="*/ 2 w 20"/>
                    <a:gd name="T1" fmla="*/ 0 h 1"/>
                    <a:gd name="T2" fmla="*/ 0 w 20"/>
                    <a:gd name="T3" fmla="*/ 0 h 1"/>
                    <a:gd name="T4" fmla="*/ 1 w 20"/>
                    <a:gd name="T5" fmla="*/ 0 h 1"/>
                    <a:gd name="T6" fmla="*/ 2 w 20"/>
                    <a:gd name="T7" fmla="*/ 0 h 1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0" h="1">
                      <a:moveTo>
                        <a:pt x="20" y="0"/>
                      </a:moveTo>
                      <a:lnTo>
                        <a:pt x="0" y="0"/>
                      </a:lnTo>
                      <a:lnTo>
                        <a:pt x="10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53" name="Freeform 157">
                  <a:extLst>
                    <a:ext uri="{FF2B5EF4-FFF2-40B4-BE49-F238E27FC236}">
                      <a16:creationId xmlns:a16="http://schemas.microsoft.com/office/drawing/2014/main" id="{A38FC0EF-B400-4568-A470-5D722420C7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09" y="2769"/>
                  <a:ext cx="32" cy="21"/>
                </a:xfrm>
                <a:custGeom>
                  <a:avLst/>
                  <a:gdLst>
                    <a:gd name="T0" fmla="*/ 1 w 100"/>
                    <a:gd name="T1" fmla="*/ 3 h 65"/>
                    <a:gd name="T2" fmla="*/ 4 w 100"/>
                    <a:gd name="T3" fmla="*/ 4 h 65"/>
                    <a:gd name="T4" fmla="*/ 6 w 100"/>
                    <a:gd name="T5" fmla="*/ 6 h 65"/>
                    <a:gd name="T6" fmla="*/ 7 w 100"/>
                    <a:gd name="T7" fmla="*/ 6 h 65"/>
                    <a:gd name="T8" fmla="*/ 9 w 100"/>
                    <a:gd name="T9" fmla="*/ 7 h 65"/>
                    <a:gd name="T10" fmla="*/ 9 w 100"/>
                    <a:gd name="T11" fmla="*/ 7 h 65"/>
                    <a:gd name="T12" fmla="*/ 9 w 100"/>
                    <a:gd name="T13" fmla="*/ 7 h 65"/>
                    <a:gd name="T14" fmla="*/ 10 w 100"/>
                    <a:gd name="T15" fmla="*/ 7 h 65"/>
                    <a:gd name="T16" fmla="*/ 10 w 100"/>
                    <a:gd name="T17" fmla="*/ 6 h 65"/>
                    <a:gd name="T18" fmla="*/ 10 w 100"/>
                    <a:gd name="T19" fmla="*/ 6 h 65"/>
                    <a:gd name="T20" fmla="*/ 9 w 100"/>
                    <a:gd name="T21" fmla="*/ 6 h 65"/>
                    <a:gd name="T22" fmla="*/ 9 w 100"/>
                    <a:gd name="T23" fmla="*/ 5 h 65"/>
                    <a:gd name="T24" fmla="*/ 8 w 100"/>
                    <a:gd name="T25" fmla="*/ 5 h 65"/>
                    <a:gd name="T26" fmla="*/ 7 w 100"/>
                    <a:gd name="T27" fmla="*/ 4 h 65"/>
                    <a:gd name="T28" fmla="*/ 6 w 100"/>
                    <a:gd name="T29" fmla="*/ 2 h 65"/>
                    <a:gd name="T30" fmla="*/ 5 w 100"/>
                    <a:gd name="T31" fmla="*/ 2 h 65"/>
                    <a:gd name="T32" fmla="*/ 5 w 100"/>
                    <a:gd name="T33" fmla="*/ 1 h 65"/>
                    <a:gd name="T34" fmla="*/ 4 w 100"/>
                    <a:gd name="T35" fmla="*/ 0 h 65"/>
                    <a:gd name="T36" fmla="*/ 4 w 100"/>
                    <a:gd name="T37" fmla="*/ 0 h 65"/>
                    <a:gd name="T38" fmla="*/ 3 w 100"/>
                    <a:gd name="T39" fmla="*/ 0 h 65"/>
                    <a:gd name="T40" fmla="*/ 2 w 100"/>
                    <a:gd name="T41" fmla="*/ 0 h 65"/>
                    <a:gd name="T42" fmla="*/ 1 w 100"/>
                    <a:gd name="T43" fmla="*/ 0 h 65"/>
                    <a:gd name="T44" fmla="*/ 0 w 100"/>
                    <a:gd name="T45" fmla="*/ 1 h 65"/>
                    <a:gd name="T46" fmla="*/ 1 w 100"/>
                    <a:gd name="T47" fmla="*/ 3 h 6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100" h="65">
                      <a:moveTo>
                        <a:pt x="7" y="25"/>
                      </a:moveTo>
                      <a:lnTo>
                        <a:pt x="35" y="40"/>
                      </a:lnTo>
                      <a:lnTo>
                        <a:pt x="61" y="55"/>
                      </a:lnTo>
                      <a:lnTo>
                        <a:pt x="72" y="60"/>
                      </a:lnTo>
                      <a:lnTo>
                        <a:pt x="83" y="65"/>
                      </a:lnTo>
                      <a:lnTo>
                        <a:pt x="87" y="65"/>
                      </a:lnTo>
                      <a:lnTo>
                        <a:pt x="91" y="65"/>
                      </a:lnTo>
                      <a:lnTo>
                        <a:pt x="96" y="65"/>
                      </a:lnTo>
                      <a:lnTo>
                        <a:pt x="100" y="62"/>
                      </a:lnTo>
                      <a:lnTo>
                        <a:pt x="94" y="60"/>
                      </a:lnTo>
                      <a:lnTo>
                        <a:pt x="88" y="56"/>
                      </a:lnTo>
                      <a:lnTo>
                        <a:pt x="83" y="52"/>
                      </a:lnTo>
                      <a:lnTo>
                        <a:pt x="78" y="46"/>
                      </a:lnTo>
                      <a:lnTo>
                        <a:pt x="67" y="34"/>
                      </a:lnTo>
                      <a:lnTo>
                        <a:pt x="57" y="21"/>
                      </a:lnTo>
                      <a:lnTo>
                        <a:pt x="52" y="15"/>
                      </a:lnTo>
                      <a:lnTo>
                        <a:pt x="46" y="10"/>
                      </a:lnTo>
                      <a:lnTo>
                        <a:pt x="40" y="4"/>
                      </a:lnTo>
                      <a:lnTo>
                        <a:pt x="33" y="1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10" y="2"/>
                      </a:lnTo>
                      <a:lnTo>
                        <a:pt x="0" y="6"/>
                      </a:lnTo>
                      <a:lnTo>
                        <a:pt x="7" y="25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54" name="Freeform 158">
                  <a:extLst>
                    <a:ext uri="{FF2B5EF4-FFF2-40B4-BE49-F238E27FC236}">
                      <a16:creationId xmlns:a16="http://schemas.microsoft.com/office/drawing/2014/main" id="{5F642C12-FACF-429F-9A8E-9E908ED9EC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79" y="2898"/>
                  <a:ext cx="24" cy="34"/>
                </a:xfrm>
                <a:custGeom>
                  <a:avLst/>
                  <a:gdLst>
                    <a:gd name="T0" fmla="*/ 7 w 79"/>
                    <a:gd name="T1" fmla="*/ 9 h 104"/>
                    <a:gd name="T2" fmla="*/ 5 w 79"/>
                    <a:gd name="T3" fmla="*/ 7 h 104"/>
                    <a:gd name="T4" fmla="*/ 4 w 79"/>
                    <a:gd name="T5" fmla="*/ 4 h 104"/>
                    <a:gd name="T6" fmla="*/ 3 w 79"/>
                    <a:gd name="T7" fmla="*/ 2 h 104"/>
                    <a:gd name="T8" fmla="*/ 1 w 79"/>
                    <a:gd name="T9" fmla="*/ 0 h 104"/>
                    <a:gd name="T10" fmla="*/ 1 w 79"/>
                    <a:gd name="T11" fmla="*/ 2 h 104"/>
                    <a:gd name="T12" fmla="*/ 0 w 79"/>
                    <a:gd name="T13" fmla="*/ 4 h 104"/>
                    <a:gd name="T14" fmla="*/ 0 w 79"/>
                    <a:gd name="T15" fmla="*/ 4 h 104"/>
                    <a:gd name="T16" fmla="*/ 0 w 79"/>
                    <a:gd name="T17" fmla="*/ 5 h 104"/>
                    <a:gd name="T18" fmla="*/ 0 w 79"/>
                    <a:gd name="T19" fmla="*/ 6 h 104"/>
                    <a:gd name="T20" fmla="*/ 0 w 79"/>
                    <a:gd name="T21" fmla="*/ 7 h 104"/>
                    <a:gd name="T22" fmla="*/ 0 w 79"/>
                    <a:gd name="T23" fmla="*/ 7 h 104"/>
                    <a:gd name="T24" fmla="*/ 0 w 79"/>
                    <a:gd name="T25" fmla="*/ 8 h 104"/>
                    <a:gd name="T26" fmla="*/ 1 w 79"/>
                    <a:gd name="T27" fmla="*/ 9 h 104"/>
                    <a:gd name="T28" fmla="*/ 1 w 79"/>
                    <a:gd name="T29" fmla="*/ 9 h 104"/>
                    <a:gd name="T30" fmla="*/ 1 w 79"/>
                    <a:gd name="T31" fmla="*/ 9 h 104"/>
                    <a:gd name="T32" fmla="*/ 2 w 79"/>
                    <a:gd name="T33" fmla="*/ 9 h 104"/>
                    <a:gd name="T34" fmla="*/ 2 w 79"/>
                    <a:gd name="T35" fmla="*/ 10 h 104"/>
                    <a:gd name="T36" fmla="*/ 3 w 79"/>
                    <a:gd name="T37" fmla="*/ 10 h 104"/>
                    <a:gd name="T38" fmla="*/ 4 w 79"/>
                    <a:gd name="T39" fmla="*/ 10 h 104"/>
                    <a:gd name="T40" fmla="*/ 5 w 79"/>
                    <a:gd name="T41" fmla="*/ 10 h 104"/>
                    <a:gd name="T42" fmla="*/ 6 w 79"/>
                    <a:gd name="T43" fmla="*/ 11 h 104"/>
                    <a:gd name="T44" fmla="*/ 7 w 79"/>
                    <a:gd name="T45" fmla="*/ 11 h 104"/>
                    <a:gd name="T46" fmla="*/ 7 w 79"/>
                    <a:gd name="T47" fmla="*/ 9 h 104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79" h="104">
                      <a:moveTo>
                        <a:pt x="72" y="85"/>
                      </a:moveTo>
                      <a:lnTo>
                        <a:pt x="56" y="61"/>
                      </a:lnTo>
                      <a:lnTo>
                        <a:pt x="43" y="41"/>
                      </a:lnTo>
                      <a:lnTo>
                        <a:pt x="29" y="20"/>
                      </a:lnTo>
                      <a:lnTo>
                        <a:pt x="12" y="0"/>
                      </a:lnTo>
                      <a:lnTo>
                        <a:pt x="6" y="16"/>
                      </a:lnTo>
                      <a:lnTo>
                        <a:pt x="2" y="33"/>
                      </a:lnTo>
                      <a:lnTo>
                        <a:pt x="0" y="40"/>
                      </a:lnTo>
                      <a:lnTo>
                        <a:pt x="0" y="48"/>
                      </a:lnTo>
                      <a:lnTo>
                        <a:pt x="0" y="55"/>
                      </a:lnTo>
                      <a:lnTo>
                        <a:pt x="0" y="62"/>
                      </a:lnTo>
                      <a:lnTo>
                        <a:pt x="1" y="68"/>
                      </a:lnTo>
                      <a:lnTo>
                        <a:pt x="3" y="74"/>
                      </a:lnTo>
                      <a:lnTo>
                        <a:pt x="6" y="79"/>
                      </a:lnTo>
                      <a:lnTo>
                        <a:pt x="10" y="83"/>
                      </a:lnTo>
                      <a:lnTo>
                        <a:pt x="14" y="88"/>
                      </a:lnTo>
                      <a:lnTo>
                        <a:pt x="20" y="90"/>
                      </a:lnTo>
                      <a:lnTo>
                        <a:pt x="25" y="92"/>
                      </a:lnTo>
                      <a:lnTo>
                        <a:pt x="33" y="92"/>
                      </a:lnTo>
                      <a:lnTo>
                        <a:pt x="43" y="93"/>
                      </a:lnTo>
                      <a:lnTo>
                        <a:pt x="54" y="96"/>
                      </a:lnTo>
                      <a:lnTo>
                        <a:pt x="65" y="100"/>
                      </a:lnTo>
                      <a:lnTo>
                        <a:pt x="79" y="104"/>
                      </a:lnTo>
                      <a:lnTo>
                        <a:pt x="72" y="85"/>
                      </a:lnTo>
                    </a:path>
                  </a:pathLst>
                </a:custGeom>
                <a:solidFill>
                  <a:schemeClr val="bg2">
                    <a:lumMod val="60000"/>
                    <a:lumOff val="40000"/>
                  </a:schemeClr>
                </a:solidFill>
                <a:ln w="9525" cmpd="sng">
                  <a:solidFill>
                    <a:schemeClr val="bg2">
                      <a:lumMod val="60000"/>
                      <a:lumOff val="40000"/>
                    </a:schemeClr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652" name="Freeform 159">
                <a:extLst>
                  <a:ext uri="{FF2B5EF4-FFF2-40B4-BE49-F238E27FC236}">
                    <a16:creationId xmlns:a16="http://schemas.microsoft.com/office/drawing/2014/main" id="{4567C1CA-A7D5-47C1-B415-FCBF78AF9D5A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auto">
              <a:xfrm>
                <a:off x="4257652" y="4378767"/>
                <a:ext cx="14479" cy="61528"/>
              </a:xfrm>
              <a:custGeom>
                <a:avLst/>
                <a:gdLst>
                  <a:gd name="T0" fmla="*/ 4574028 w 27"/>
                  <a:gd name="T1" fmla="*/ 0 h 19"/>
                  <a:gd name="T2" fmla="*/ 4574028 w 27"/>
                  <a:gd name="T3" fmla="*/ 102620090 h 19"/>
                  <a:gd name="T4" fmla="*/ 4574028 w 27"/>
                  <a:gd name="T5" fmla="*/ 162480834 h 19"/>
                  <a:gd name="T6" fmla="*/ 1524539 w 27"/>
                  <a:gd name="T7" fmla="*/ 162480834 h 19"/>
                  <a:gd name="T8" fmla="*/ 0 w 27"/>
                  <a:gd name="T9" fmla="*/ 162480834 h 19"/>
                  <a:gd name="T10" fmla="*/ 1524539 w 27"/>
                  <a:gd name="T11" fmla="*/ 102620090 h 19"/>
                  <a:gd name="T12" fmla="*/ 4574028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53" name="Freeform 160">
                <a:extLst>
                  <a:ext uri="{FF2B5EF4-FFF2-40B4-BE49-F238E27FC236}">
                    <a16:creationId xmlns:a16="http://schemas.microsoft.com/office/drawing/2014/main" id="{2BF3DA1A-AFC0-4070-91BF-FF2E9E1BDF54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auto">
              <a:xfrm>
                <a:off x="4167160" y="4535226"/>
                <a:ext cx="16288" cy="65046"/>
              </a:xfrm>
              <a:custGeom>
                <a:avLst/>
                <a:gdLst>
                  <a:gd name="T0" fmla="*/ 0 w 39"/>
                  <a:gd name="T1" fmla="*/ 0 h 35"/>
                  <a:gd name="T2" fmla="*/ 5234537 w 39"/>
                  <a:gd name="T3" fmla="*/ 0 h 35"/>
                  <a:gd name="T4" fmla="*/ 4831909 w 39"/>
                  <a:gd name="T5" fmla="*/ 23996469 h 35"/>
                  <a:gd name="T6" fmla="*/ 4429280 w 39"/>
                  <a:gd name="T7" fmla="*/ 50657760 h 35"/>
                  <a:gd name="T8" fmla="*/ 3624023 w 39"/>
                  <a:gd name="T9" fmla="*/ 74654229 h 35"/>
                  <a:gd name="T10" fmla="*/ 2952853 w 39"/>
                  <a:gd name="T11" fmla="*/ 90651330 h 35"/>
                  <a:gd name="T12" fmla="*/ 2550225 w 39"/>
                  <a:gd name="T13" fmla="*/ 93317786 h 35"/>
                  <a:gd name="T14" fmla="*/ 2147596 w 39"/>
                  <a:gd name="T15" fmla="*/ 93317786 h 35"/>
                  <a:gd name="T16" fmla="*/ 1744968 w 39"/>
                  <a:gd name="T17" fmla="*/ 90651330 h 35"/>
                  <a:gd name="T18" fmla="*/ 1476427 w 39"/>
                  <a:gd name="T19" fmla="*/ 82653596 h 35"/>
                  <a:gd name="T20" fmla="*/ 939711 w 39"/>
                  <a:gd name="T21" fmla="*/ 69321317 h 35"/>
                  <a:gd name="T22" fmla="*/ 671170 w 39"/>
                  <a:gd name="T23" fmla="*/ 53324216 h 35"/>
                  <a:gd name="T24" fmla="*/ 268541 w 39"/>
                  <a:gd name="T25" fmla="*/ 29327747 h 35"/>
                  <a:gd name="T26" fmla="*/ 0 w 39"/>
                  <a:gd name="T27" fmla="*/ 0 h 35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39" h="35">
                    <a:moveTo>
                      <a:pt x="0" y="0"/>
                    </a:moveTo>
                    <a:lnTo>
                      <a:pt x="39" y="0"/>
                    </a:lnTo>
                    <a:lnTo>
                      <a:pt x="36" y="9"/>
                    </a:lnTo>
                    <a:lnTo>
                      <a:pt x="33" y="19"/>
                    </a:lnTo>
                    <a:lnTo>
                      <a:pt x="27" y="28"/>
                    </a:lnTo>
                    <a:lnTo>
                      <a:pt x="22" y="34"/>
                    </a:lnTo>
                    <a:lnTo>
                      <a:pt x="19" y="35"/>
                    </a:lnTo>
                    <a:lnTo>
                      <a:pt x="16" y="35"/>
                    </a:lnTo>
                    <a:lnTo>
                      <a:pt x="13" y="34"/>
                    </a:lnTo>
                    <a:lnTo>
                      <a:pt x="11" y="31"/>
                    </a:lnTo>
                    <a:lnTo>
                      <a:pt x="7" y="26"/>
                    </a:lnTo>
                    <a:lnTo>
                      <a:pt x="5" y="20"/>
                    </a:lnTo>
                    <a:lnTo>
                      <a:pt x="2" y="1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54" name="Freeform 161">
                <a:extLst>
                  <a:ext uri="{FF2B5EF4-FFF2-40B4-BE49-F238E27FC236}">
                    <a16:creationId xmlns:a16="http://schemas.microsoft.com/office/drawing/2014/main" id="{969FCE38-67C6-4A1C-B1D3-B185839661D1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auto">
              <a:xfrm>
                <a:off x="6362340" y="2653585"/>
                <a:ext cx="879575" cy="372690"/>
              </a:xfrm>
              <a:custGeom>
                <a:avLst/>
                <a:gdLst>
                  <a:gd name="T0" fmla="*/ 5962683 w 1688"/>
                  <a:gd name="T1" fmla="*/ 59909146 h 630"/>
                  <a:gd name="T2" fmla="*/ 16025384 w 1688"/>
                  <a:gd name="T3" fmla="*/ 69061727 h 630"/>
                  <a:gd name="T4" fmla="*/ 28882729 w 1688"/>
                  <a:gd name="T5" fmla="*/ 73222231 h 630"/>
                  <a:gd name="T6" fmla="*/ 35590908 w 1688"/>
                  <a:gd name="T7" fmla="*/ 77937293 h 630"/>
                  <a:gd name="T8" fmla="*/ 44349097 w 1688"/>
                  <a:gd name="T9" fmla="*/ 91804936 h 630"/>
                  <a:gd name="T10" fmla="*/ 47144172 w 1688"/>
                  <a:gd name="T11" fmla="*/ 96797014 h 630"/>
                  <a:gd name="T12" fmla="*/ 47330655 w 1688"/>
                  <a:gd name="T13" fmla="*/ 107059239 h 630"/>
                  <a:gd name="T14" fmla="*/ 50870795 w 1688"/>
                  <a:gd name="T15" fmla="*/ 113161486 h 630"/>
                  <a:gd name="T16" fmla="*/ 63542089 w 1688"/>
                  <a:gd name="T17" fmla="*/ 115380246 h 630"/>
                  <a:gd name="T18" fmla="*/ 86275653 w 1688"/>
                  <a:gd name="T19" fmla="*/ 125364928 h 630"/>
                  <a:gd name="T20" fmla="*/ 101742022 w 1688"/>
                  <a:gd name="T21" fmla="*/ 130079990 h 630"/>
                  <a:gd name="T22" fmla="*/ 107145689 w 1688"/>
                  <a:gd name="T23" fmla="*/ 141451331 h 630"/>
                  <a:gd name="T24" fmla="*/ 115903879 w 1688"/>
                  <a:gd name="T25" fmla="*/ 150326897 h 630"/>
                  <a:gd name="T26" fmla="*/ 124848118 w 1688"/>
                  <a:gd name="T27" fmla="*/ 153932842 h 630"/>
                  <a:gd name="T28" fmla="*/ 170874261 w 1688"/>
                  <a:gd name="T29" fmla="*/ 159757020 h 630"/>
                  <a:gd name="T30" fmla="*/ 193235292 w 1688"/>
                  <a:gd name="T31" fmla="*/ 170296787 h 630"/>
                  <a:gd name="T32" fmla="*/ 208142214 w 1688"/>
                  <a:gd name="T33" fmla="*/ 174734307 h 630"/>
                  <a:gd name="T34" fmla="*/ 215595891 w 1688"/>
                  <a:gd name="T35" fmla="*/ 170019245 h 630"/>
                  <a:gd name="T36" fmla="*/ 250441734 w 1688"/>
                  <a:gd name="T37" fmla="*/ 156428618 h 630"/>
                  <a:gd name="T38" fmla="*/ 259944988 w 1688"/>
                  <a:gd name="T39" fmla="*/ 141451331 h 630"/>
                  <a:gd name="T40" fmla="*/ 261435983 w 1688"/>
                  <a:gd name="T41" fmla="*/ 133962951 h 630"/>
                  <a:gd name="T42" fmla="*/ 258267943 w 1688"/>
                  <a:gd name="T43" fmla="*/ 126197029 h 630"/>
                  <a:gd name="T44" fmla="*/ 255286386 w 1688"/>
                  <a:gd name="T45" fmla="*/ 115102703 h 630"/>
                  <a:gd name="T46" fmla="*/ 279324462 w 1688"/>
                  <a:gd name="T47" fmla="*/ 109278525 h 630"/>
                  <a:gd name="T48" fmla="*/ 297026891 w 1688"/>
                  <a:gd name="T49" fmla="*/ 95133339 h 630"/>
                  <a:gd name="T50" fmla="*/ 307648176 w 1688"/>
                  <a:gd name="T51" fmla="*/ 90140735 h 630"/>
                  <a:gd name="T52" fmla="*/ 314542838 w 1688"/>
                  <a:gd name="T53" fmla="*/ 82374812 h 630"/>
                  <a:gd name="T54" fmla="*/ 308580155 w 1688"/>
                  <a:gd name="T55" fmla="*/ 77382208 h 630"/>
                  <a:gd name="T56" fmla="*/ 301685493 w 1688"/>
                  <a:gd name="T57" fmla="*/ 69893828 h 630"/>
                  <a:gd name="T58" fmla="*/ 294976882 w 1688"/>
                  <a:gd name="T59" fmla="*/ 68784185 h 630"/>
                  <a:gd name="T60" fmla="*/ 289386732 w 1688"/>
                  <a:gd name="T61" fmla="*/ 71558030 h 630"/>
                  <a:gd name="T62" fmla="*/ 278951930 w 1688"/>
                  <a:gd name="T63" fmla="*/ 71002945 h 630"/>
                  <a:gd name="T64" fmla="*/ 271498253 w 1688"/>
                  <a:gd name="T65" fmla="*/ 65178766 h 630"/>
                  <a:gd name="T66" fmla="*/ 267212183 w 1688"/>
                  <a:gd name="T67" fmla="*/ 51865681 h 630"/>
                  <a:gd name="T68" fmla="*/ 254727371 w 1688"/>
                  <a:gd name="T69" fmla="*/ 34392092 h 630"/>
                  <a:gd name="T70" fmla="*/ 239633967 w 1688"/>
                  <a:gd name="T71" fmla="*/ 33282976 h 630"/>
                  <a:gd name="T72" fmla="*/ 234788883 w 1688"/>
                  <a:gd name="T73" fmla="*/ 40771356 h 630"/>
                  <a:gd name="T74" fmla="*/ 230316763 w 1688"/>
                  <a:gd name="T75" fmla="*/ 45763960 h 630"/>
                  <a:gd name="T76" fmla="*/ 217645900 w 1688"/>
                  <a:gd name="T77" fmla="*/ 46318518 h 630"/>
                  <a:gd name="T78" fmla="*/ 194539372 w 1688"/>
                  <a:gd name="T79" fmla="*/ 46318518 h 630"/>
                  <a:gd name="T80" fmla="*/ 183731605 w 1688"/>
                  <a:gd name="T81" fmla="*/ 38829612 h 630"/>
                  <a:gd name="T82" fmla="*/ 171805808 w 1688"/>
                  <a:gd name="T83" fmla="*/ 29954573 h 630"/>
                  <a:gd name="T84" fmla="*/ 158761982 w 1688"/>
                  <a:gd name="T85" fmla="*/ 27735813 h 630"/>
                  <a:gd name="T86" fmla="*/ 149258727 w 1688"/>
                  <a:gd name="T87" fmla="*/ 31618774 h 630"/>
                  <a:gd name="T88" fmla="*/ 137891945 w 1688"/>
                  <a:gd name="T89" fmla="*/ 32173333 h 630"/>
                  <a:gd name="T90" fmla="*/ 128947705 w 1688"/>
                  <a:gd name="T91" fmla="*/ 28012829 h 630"/>
                  <a:gd name="T92" fmla="*/ 123357556 w 1688"/>
                  <a:gd name="T93" fmla="*/ 18860248 h 630"/>
                  <a:gd name="T94" fmla="*/ 83108045 w 1688"/>
                  <a:gd name="T95" fmla="*/ 1941744 h 630"/>
                  <a:gd name="T96" fmla="*/ 83108045 w 1688"/>
                  <a:gd name="T97" fmla="*/ 12203442 h 630"/>
                  <a:gd name="T98" fmla="*/ 87766216 w 1688"/>
                  <a:gd name="T99" fmla="*/ 21911108 h 630"/>
                  <a:gd name="T100" fmla="*/ 91306788 w 1688"/>
                  <a:gd name="T101" fmla="*/ 29399488 h 630"/>
                  <a:gd name="T102" fmla="*/ 57206442 w 1688"/>
                  <a:gd name="T103" fmla="*/ 33837534 h 630"/>
                  <a:gd name="T104" fmla="*/ 54784332 w 1688"/>
                  <a:gd name="T105" fmla="*/ 24129868 h 630"/>
                  <a:gd name="T106" fmla="*/ 41926555 w 1688"/>
                  <a:gd name="T107" fmla="*/ 26903713 h 630"/>
                  <a:gd name="T108" fmla="*/ 34472878 w 1688"/>
                  <a:gd name="T109" fmla="*/ 24407410 h 630"/>
                  <a:gd name="T110" fmla="*/ 25715121 w 1688"/>
                  <a:gd name="T111" fmla="*/ 26903713 h 630"/>
                  <a:gd name="T112" fmla="*/ 12671294 w 1688"/>
                  <a:gd name="T113" fmla="*/ 39661713 h 630"/>
                  <a:gd name="T114" fmla="*/ 5776632 w 1688"/>
                  <a:gd name="T115" fmla="*/ 41880999 h 630"/>
                  <a:gd name="T116" fmla="*/ 745497 w 1688"/>
                  <a:gd name="T117" fmla="*/ 46873077 h 63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1688" h="630">
                    <a:moveTo>
                      <a:pt x="0" y="180"/>
                    </a:moveTo>
                    <a:lnTo>
                      <a:pt x="7" y="190"/>
                    </a:lnTo>
                    <a:lnTo>
                      <a:pt x="15" y="199"/>
                    </a:lnTo>
                    <a:lnTo>
                      <a:pt x="22" y="208"/>
                    </a:lnTo>
                    <a:lnTo>
                      <a:pt x="32" y="216"/>
                    </a:lnTo>
                    <a:lnTo>
                      <a:pt x="41" y="224"/>
                    </a:lnTo>
                    <a:lnTo>
                      <a:pt x="51" y="232"/>
                    </a:lnTo>
                    <a:lnTo>
                      <a:pt x="62" y="238"/>
                    </a:lnTo>
                    <a:lnTo>
                      <a:pt x="74" y="244"/>
                    </a:lnTo>
                    <a:lnTo>
                      <a:pt x="86" y="249"/>
                    </a:lnTo>
                    <a:lnTo>
                      <a:pt x="99" y="253"/>
                    </a:lnTo>
                    <a:lnTo>
                      <a:pt x="112" y="257"/>
                    </a:lnTo>
                    <a:lnTo>
                      <a:pt x="126" y="260"/>
                    </a:lnTo>
                    <a:lnTo>
                      <a:pt x="140" y="262"/>
                    </a:lnTo>
                    <a:lnTo>
                      <a:pt x="155" y="264"/>
                    </a:lnTo>
                    <a:lnTo>
                      <a:pt x="171" y="265"/>
                    </a:lnTo>
                    <a:lnTo>
                      <a:pt x="187" y="266"/>
                    </a:lnTo>
                    <a:lnTo>
                      <a:pt x="187" y="270"/>
                    </a:lnTo>
                    <a:lnTo>
                      <a:pt x="189" y="276"/>
                    </a:lnTo>
                    <a:lnTo>
                      <a:pt x="191" y="281"/>
                    </a:lnTo>
                    <a:lnTo>
                      <a:pt x="196" y="288"/>
                    </a:lnTo>
                    <a:lnTo>
                      <a:pt x="205" y="300"/>
                    </a:lnTo>
                    <a:lnTo>
                      <a:pt x="215" y="312"/>
                    </a:lnTo>
                    <a:lnTo>
                      <a:pt x="227" y="323"/>
                    </a:lnTo>
                    <a:lnTo>
                      <a:pt x="238" y="331"/>
                    </a:lnTo>
                    <a:lnTo>
                      <a:pt x="242" y="335"/>
                    </a:lnTo>
                    <a:lnTo>
                      <a:pt x="246" y="337"/>
                    </a:lnTo>
                    <a:lnTo>
                      <a:pt x="251" y="340"/>
                    </a:lnTo>
                    <a:lnTo>
                      <a:pt x="253" y="340"/>
                    </a:lnTo>
                    <a:lnTo>
                      <a:pt x="253" y="349"/>
                    </a:lnTo>
                    <a:lnTo>
                      <a:pt x="253" y="358"/>
                    </a:lnTo>
                    <a:lnTo>
                      <a:pt x="253" y="365"/>
                    </a:lnTo>
                    <a:lnTo>
                      <a:pt x="253" y="370"/>
                    </a:lnTo>
                    <a:lnTo>
                      <a:pt x="253" y="379"/>
                    </a:lnTo>
                    <a:lnTo>
                      <a:pt x="254" y="386"/>
                    </a:lnTo>
                    <a:lnTo>
                      <a:pt x="256" y="394"/>
                    </a:lnTo>
                    <a:lnTo>
                      <a:pt x="260" y="402"/>
                    </a:lnTo>
                    <a:lnTo>
                      <a:pt x="262" y="404"/>
                    </a:lnTo>
                    <a:lnTo>
                      <a:pt x="266" y="406"/>
                    </a:lnTo>
                    <a:lnTo>
                      <a:pt x="273" y="408"/>
                    </a:lnTo>
                    <a:lnTo>
                      <a:pt x="280" y="410"/>
                    </a:lnTo>
                    <a:lnTo>
                      <a:pt x="296" y="413"/>
                    </a:lnTo>
                    <a:lnTo>
                      <a:pt x="307" y="414"/>
                    </a:lnTo>
                    <a:lnTo>
                      <a:pt x="323" y="414"/>
                    </a:lnTo>
                    <a:lnTo>
                      <a:pt x="341" y="416"/>
                    </a:lnTo>
                    <a:lnTo>
                      <a:pt x="356" y="419"/>
                    </a:lnTo>
                    <a:lnTo>
                      <a:pt x="373" y="422"/>
                    </a:lnTo>
                    <a:lnTo>
                      <a:pt x="403" y="431"/>
                    </a:lnTo>
                    <a:lnTo>
                      <a:pt x="433" y="441"/>
                    </a:lnTo>
                    <a:lnTo>
                      <a:pt x="463" y="452"/>
                    </a:lnTo>
                    <a:lnTo>
                      <a:pt x="490" y="461"/>
                    </a:lnTo>
                    <a:lnTo>
                      <a:pt x="504" y="464"/>
                    </a:lnTo>
                    <a:lnTo>
                      <a:pt x="518" y="467"/>
                    </a:lnTo>
                    <a:lnTo>
                      <a:pt x="532" y="469"/>
                    </a:lnTo>
                    <a:lnTo>
                      <a:pt x="546" y="469"/>
                    </a:lnTo>
                    <a:lnTo>
                      <a:pt x="548" y="477"/>
                    </a:lnTo>
                    <a:lnTo>
                      <a:pt x="554" y="485"/>
                    </a:lnTo>
                    <a:lnTo>
                      <a:pt x="559" y="493"/>
                    </a:lnTo>
                    <a:lnTo>
                      <a:pt x="566" y="501"/>
                    </a:lnTo>
                    <a:lnTo>
                      <a:pt x="575" y="510"/>
                    </a:lnTo>
                    <a:lnTo>
                      <a:pt x="583" y="517"/>
                    </a:lnTo>
                    <a:lnTo>
                      <a:pt x="592" y="524"/>
                    </a:lnTo>
                    <a:lnTo>
                      <a:pt x="602" y="531"/>
                    </a:lnTo>
                    <a:lnTo>
                      <a:pt x="612" y="537"/>
                    </a:lnTo>
                    <a:lnTo>
                      <a:pt x="622" y="542"/>
                    </a:lnTo>
                    <a:lnTo>
                      <a:pt x="633" y="547"/>
                    </a:lnTo>
                    <a:lnTo>
                      <a:pt x="643" y="550"/>
                    </a:lnTo>
                    <a:lnTo>
                      <a:pt x="653" y="553"/>
                    </a:lnTo>
                    <a:lnTo>
                      <a:pt x="661" y="555"/>
                    </a:lnTo>
                    <a:lnTo>
                      <a:pt x="670" y="555"/>
                    </a:lnTo>
                    <a:lnTo>
                      <a:pt x="679" y="555"/>
                    </a:lnTo>
                    <a:lnTo>
                      <a:pt x="738" y="568"/>
                    </a:lnTo>
                    <a:lnTo>
                      <a:pt x="904" y="568"/>
                    </a:lnTo>
                    <a:lnTo>
                      <a:pt x="910" y="572"/>
                    </a:lnTo>
                    <a:lnTo>
                      <a:pt x="917" y="576"/>
                    </a:lnTo>
                    <a:lnTo>
                      <a:pt x="928" y="580"/>
                    </a:lnTo>
                    <a:lnTo>
                      <a:pt x="940" y="585"/>
                    </a:lnTo>
                    <a:lnTo>
                      <a:pt x="970" y="595"/>
                    </a:lnTo>
                    <a:lnTo>
                      <a:pt x="1003" y="605"/>
                    </a:lnTo>
                    <a:lnTo>
                      <a:pt x="1037" y="614"/>
                    </a:lnTo>
                    <a:lnTo>
                      <a:pt x="1070" y="623"/>
                    </a:lnTo>
                    <a:lnTo>
                      <a:pt x="1084" y="626"/>
                    </a:lnTo>
                    <a:lnTo>
                      <a:pt x="1097" y="628"/>
                    </a:lnTo>
                    <a:lnTo>
                      <a:pt x="1108" y="629"/>
                    </a:lnTo>
                    <a:lnTo>
                      <a:pt x="1117" y="630"/>
                    </a:lnTo>
                    <a:lnTo>
                      <a:pt x="1121" y="629"/>
                    </a:lnTo>
                    <a:lnTo>
                      <a:pt x="1127" y="627"/>
                    </a:lnTo>
                    <a:lnTo>
                      <a:pt x="1134" y="625"/>
                    </a:lnTo>
                    <a:lnTo>
                      <a:pt x="1140" y="622"/>
                    </a:lnTo>
                    <a:lnTo>
                      <a:pt x="1157" y="613"/>
                    </a:lnTo>
                    <a:lnTo>
                      <a:pt x="1174" y="603"/>
                    </a:lnTo>
                    <a:lnTo>
                      <a:pt x="1209" y="583"/>
                    </a:lnTo>
                    <a:lnTo>
                      <a:pt x="1237" y="568"/>
                    </a:lnTo>
                    <a:lnTo>
                      <a:pt x="1337" y="568"/>
                    </a:lnTo>
                    <a:lnTo>
                      <a:pt x="1344" y="564"/>
                    </a:lnTo>
                    <a:lnTo>
                      <a:pt x="1355" y="556"/>
                    </a:lnTo>
                    <a:lnTo>
                      <a:pt x="1366" y="546"/>
                    </a:lnTo>
                    <a:lnTo>
                      <a:pt x="1377" y="534"/>
                    </a:lnTo>
                    <a:lnTo>
                      <a:pt x="1387" y="522"/>
                    </a:lnTo>
                    <a:lnTo>
                      <a:pt x="1395" y="510"/>
                    </a:lnTo>
                    <a:lnTo>
                      <a:pt x="1398" y="503"/>
                    </a:lnTo>
                    <a:lnTo>
                      <a:pt x="1400" y="497"/>
                    </a:lnTo>
                    <a:lnTo>
                      <a:pt x="1403" y="492"/>
                    </a:lnTo>
                    <a:lnTo>
                      <a:pt x="1403" y="487"/>
                    </a:lnTo>
                    <a:lnTo>
                      <a:pt x="1403" y="483"/>
                    </a:lnTo>
                    <a:lnTo>
                      <a:pt x="1401" y="479"/>
                    </a:lnTo>
                    <a:lnTo>
                      <a:pt x="1399" y="475"/>
                    </a:lnTo>
                    <a:lnTo>
                      <a:pt x="1397" y="471"/>
                    </a:lnTo>
                    <a:lnTo>
                      <a:pt x="1392" y="463"/>
                    </a:lnTo>
                    <a:lnTo>
                      <a:pt x="1386" y="455"/>
                    </a:lnTo>
                    <a:lnTo>
                      <a:pt x="1379" y="445"/>
                    </a:lnTo>
                    <a:lnTo>
                      <a:pt x="1374" y="434"/>
                    </a:lnTo>
                    <a:lnTo>
                      <a:pt x="1373" y="429"/>
                    </a:lnTo>
                    <a:lnTo>
                      <a:pt x="1371" y="422"/>
                    </a:lnTo>
                    <a:lnTo>
                      <a:pt x="1370" y="415"/>
                    </a:lnTo>
                    <a:lnTo>
                      <a:pt x="1370" y="408"/>
                    </a:lnTo>
                    <a:lnTo>
                      <a:pt x="1483" y="408"/>
                    </a:lnTo>
                    <a:lnTo>
                      <a:pt x="1486" y="404"/>
                    </a:lnTo>
                    <a:lnTo>
                      <a:pt x="1491" y="399"/>
                    </a:lnTo>
                    <a:lnTo>
                      <a:pt x="1499" y="394"/>
                    </a:lnTo>
                    <a:lnTo>
                      <a:pt x="1508" y="388"/>
                    </a:lnTo>
                    <a:lnTo>
                      <a:pt x="1529" y="376"/>
                    </a:lnTo>
                    <a:lnTo>
                      <a:pt x="1551" y="364"/>
                    </a:lnTo>
                    <a:lnTo>
                      <a:pt x="1574" y="352"/>
                    </a:lnTo>
                    <a:lnTo>
                      <a:pt x="1594" y="343"/>
                    </a:lnTo>
                    <a:lnTo>
                      <a:pt x="1608" y="335"/>
                    </a:lnTo>
                    <a:lnTo>
                      <a:pt x="1616" y="333"/>
                    </a:lnTo>
                    <a:lnTo>
                      <a:pt x="1628" y="332"/>
                    </a:lnTo>
                    <a:lnTo>
                      <a:pt x="1640" y="329"/>
                    </a:lnTo>
                    <a:lnTo>
                      <a:pt x="1651" y="325"/>
                    </a:lnTo>
                    <a:lnTo>
                      <a:pt x="1662" y="319"/>
                    </a:lnTo>
                    <a:lnTo>
                      <a:pt x="1670" y="314"/>
                    </a:lnTo>
                    <a:lnTo>
                      <a:pt x="1679" y="308"/>
                    </a:lnTo>
                    <a:lnTo>
                      <a:pt x="1685" y="302"/>
                    </a:lnTo>
                    <a:lnTo>
                      <a:pt x="1688" y="297"/>
                    </a:lnTo>
                    <a:lnTo>
                      <a:pt x="1680" y="294"/>
                    </a:lnTo>
                    <a:lnTo>
                      <a:pt x="1674" y="291"/>
                    </a:lnTo>
                    <a:lnTo>
                      <a:pt x="1667" y="288"/>
                    </a:lnTo>
                    <a:lnTo>
                      <a:pt x="1661" y="284"/>
                    </a:lnTo>
                    <a:lnTo>
                      <a:pt x="1656" y="279"/>
                    </a:lnTo>
                    <a:lnTo>
                      <a:pt x="1652" y="275"/>
                    </a:lnTo>
                    <a:lnTo>
                      <a:pt x="1650" y="270"/>
                    </a:lnTo>
                    <a:lnTo>
                      <a:pt x="1648" y="266"/>
                    </a:lnTo>
                    <a:lnTo>
                      <a:pt x="1632" y="258"/>
                    </a:lnTo>
                    <a:lnTo>
                      <a:pt x="1619" y="252"/>
                    </a:lnTo>
                    <a:lnTo>
                      <a:pt x="1613" y="250"/>
                    </a:lnTo>
                    <a:lnTo>
                      <a:pt x="1608" y="249"/>
                    </a:lnTo>
                    <a:lnTo>
                      <a:pt x="1602" y="248"/>
                    </a:lnTo>
                    <a:lnTo>
                      <a:pt x="1596" y="247"/>
                    </a:lnTo>
                    <a:lnTo>
                      <a:pt x="1583" y="248"/>
                    </a:lnTo>
                    <a:lnTo>
                      <a:pt x="1574" y="249"/>
                    </a:lnTo>
                    <a:lnTo>
                      <a:pt x="1567" y="251"/>
                    </a:lnTo>
                    <a:lnTo>
                      <a:pt x="1563" y="253"/>
                    </a:lnTo>
                    <a:lnTo>
                      <a:pt x="1558" y="256"/>
                    </a:lnTo>
                    <a:lnTo>
                      <a:pt x="1553" y="258"/>
                    </a:lnTo>
                    <a:lnTo>
                      <a:pt x="1546" y="259"/>
                    </a:lnTo>
                    <a:lnTo>
                      <a:pt x="1535" y="259"/>
                    </a:lnTo>
                    <a:lnTo>
                      <a:pt x="1521" y="259"/>
                    </a:lnTo>
                    <a:lnTo>
                      <a:pt x="1509" y="258"/>
                    </a:lnTo>
                    <a:lnTo>
                      <a:pt x="1497" y="256"/>
                    </a:lnTo>
                    <a:lnTo>
                      <a:pt x="1487" y="253"/>
                    </a:lnTo>
                    <a:lnTo>
                      <a:pt x="1478" y="249"/>
                    </a:lnTo>
                    <a:lnTo>
                      <a:pt x="1471" y="245"/>
                    </a:lnTo>
                    <a:lnTo>
                      <a:pt x="1463" y="240"/>
                    </a:lnTo>
                    <a:lnTo>
                      <a:pt x="1457" y="235"/>
                    </a:lnTo>
                    <a:lnTo>
                      <a:pt x="1452" y="228"/>
                    </a:lnTo>
                    <a:lnTo>
                      <a:pt x="1448" y="220"/>
                    </a:lnTo>
                    <a:lnTo>
                      <a:pt x="1443" y="213"/>
                    </a:lnTo>
                    <a:lnTo>
                      <a:pt x="1440" y="205"/>
                    </a:lnTo>
                    <a:lnTo>
                      <a:pt x="1434" y="187"/>
                    </a:lnTo>
                    <a:lnTo>
                      <a:pt x="1429" y="167"/>
                    </a:lnTo>
                    <a:lnTo>
                      <a:pt x="1422" y="136"/>
                    </a:lnTo>
                    <a:lnTo>
                      <a:pt x="1412" y="134"/>
                    </a:lnTo>
                    <a:lnTo>
                      <a:pt x="1385" y="127"/>
                    </a:lnTo>
                    <a:lnTo>
                      <a:pt x="1367" y="124"/>
                    </a:lnTo>
                    <a:lnTo>
                      <a:pt x="1347" y="121"/>
                    </a:lnTo>
                    <a:lnTo>
                      <a:pt x="1326" y="119"/>
                    </a:lnTo>
                    <a:lnTo>
                      <a:pt x="1303" y="118"/>
                    </a:lnTo>
                    <a:lnTo>
                      <a:pt x="1294" y="119"/>
                    </a:lnTo>
                    <a:lnTo>
                      <a:pt x="1286" y="120"/>
                    </a:lnTo>
                    <a:lnTo>
                      <a:pt x="1281" y="123"/>
                    </a:lnTo>
                    <a:lnTo>
                      <a:pt x="1275" y="126"/>
                    </a:lnTo>
                    <a:lnTo>
                      <a:pt x="1267" y="134"/>
                    </a:lnTo>
                    <a:lnTo>
                      <a:pt x="1262" y="142"/>
                    </a:lnTo>
                    <a:lnTo>
                      <a:pt x="1260" y="147"/>
                    </a:lnTo>
                    <a:lnTo>
                      <a:pt x="1257" y="151"/>
                    </a:lnTo>
                    <a:lnTo>
                      <a:pt x="1252" y="156"/>
                    </a:lnTo>
                    <a:lnTo>
                      <a:pt x="1248" y="159"/>
                    </a:lnTo>
                    <a:lnTo>
                      <a:pt x="1242" y="162"/>
                    </a:lnTo>
                    <a:lnTo>
                      <a:pt x="1236" y="165"/>
                    </a:lnTo>
                    <a:lnTo>
                      <a:pt x="1227" y="166"/>
                    </a:lnTo>
                    <a:lnTo>
                      <a:pt x="1217" y="167"/>
                    </a:lnTo>
                    <a:lnTo>
                      <a:pt x="1199" y="167"/>
                    </a:lnTo>
                    <a:lnTo>
                      <a:pt x="1184" y="167"/>
                    </a:lnTo>
                    <a:lnTo>
                      <a:pt x="1168" y="167"/>
                    </a:lnTo>
                    <a:lnTo>
                      <a:pt x="1150" y="167"/>
                    </a:lnTo>
                    <a:lnTo>
                      <a:pt x="1130" y="167"/>
                    </a:lnTo>
                    <a:lnTo>
                      <a:pt x="1106" y="167"/>
                    </a:lnTo>
                    <a:lnTo>
                      <a:pt x="1078" y="167"/>
                    </a:lnTo>
                    <a:lnTo>
                      <a:pt x="1044" y="167"/>
                    </a:lnTo>
                    <a:lnTo>
                      <a:pt x="1034" y="164"/>
                    </a:lnTo>
                    <a:lnTo>
                      <a:pt x="1025" y="160"/>
                    </a:lnTo>
                    <a:lnTo>
                      <a:pt x="1015" y="156"/>
                    </a:lnTo>
                    <a:lnTo>
                      <a:pt x="1005" y="151"/>
                    </a:lnTo>
                    <a:lnTo>
                      <a:pt x="986" y="140"/>
                    </a:lnTo>
                    <a:lnTo>
                      <a:pt x="967" y="129"/>
                    </a:lnTo>
                    <a:lnTo>
                      <a:pt x="956" y="123"/>
                    </a:lnTo>
                    <a:lnTo>
                      <a:pt x="945" y="118"/>
                    </a:lnTo>
                    <a:lnTo>
                      <a:pt x="934" y="112"/>
                    </a:lnTo>
                    <a:lnTo>
                      <a:pt x="922" y="108"/>
                    </a:lnTo>
                    <a:lnTo>
                      <a:pt x="908" y="104"/>
                    </a:lnTo>
                    <a:lnTo>
                      <a:pt x="895" y="102"/>
                    </a:lnTo>
                    <a:lnTo>
                      <a:pt x="880" y="100"/>
                    </a:lnTo>
                    <a:lnTo>
                      <a:pt x="865" y="99"/>
                    </a:lnTo>
                    <a:lnTo>
                      <a:pt x="852" y="100"/>
                    </a:lnTo>
                    <a:lnTo>
                      <a:pt x="841" y="102"/>
                    </a:lnTo>
                    <a:lnTo>
                      <a:pt x="832" y="105"/>
                    </a:lnTo>
                    <a:lnTo>
                      <a:pt x="822" y="108"/>
                    </a:lnTo>
                    <a:lnTo>
                      <a:pt x="811" y="112"/>
                    </a:lnTo>
                    <a:lnTo>
                      <a:pt x="801" y="114"/>
                    </a:lnTo>
                    <a:lnTo>
                      <a:pt x="790" y="118"/>
                    </a:lnTo>
                    <a:lnTo>
                      <a:pt x="778" y="118"/>
                    </a:lnTo>
                    <a:lnTo>
                      <a:pt x="765" y="118"/>
                    </a:lnTo>
                    <a:lnTo>
                      <a:pt x="753" y="117"/>
                    </a:lnTo>
                    <a:lnTo>
                      <a:pt x="740" y="116"/>
                    </a:lnTo>
                    <a:lnTo>
                      <a:pt x="729" y="114"/>
                    </a:lnTo>
                    <a:lnTo>
                      <a:pt x="720" y="111"/>
                    </a:lnTo>
                    <a:lnTo>
                      <a:pt x="710" y="108"/>
                    </a:lnTo>
                    <a:lnTo>
                      <a:pt x="701" y="105"/>
                    </a:lnTo>
                    <a:lnTo>
                      <a:pt x="692" y="101"/>
                    </a:lnTo>
                    <a:lnTo>
                      <a:pt x="686" y="96"/>
                    </a:lnTo>
                    <a:lnTo>
                      <a:pt x="678" y="90"/>
                    </a:lnTo>
                    <a:lnTo>
                      <a:pt x="672" y="84"/>
                    </a:lnTo>
                    <a:lnTo>
                      <a:pt x="667" y="76"/>
                    </a:lnTo>
                    <a:lnTo>
                      <a:pt x="662" y="68"/>
                    </a:lnTo>
                    <a:lnTo>
                      <a:pt x="658" y="58"/>
                    </a:lnTo>
                    <a:lnTo>
                      <a:pt x="655" y="49"/>
                    </a:lnTo>
                    <a:lnTo>
                      <a:pt x="652" y="38"/>
                    </a:lnTo>
                    <a:lnTo>
                      <a:pt x="459" y="0"/>
                    </a:lnTo>
                    <a:lnTo>
                      <a:pt x="446" y="7"/>
                    </a:lnTo>
                    <a:lnTo>
                      <a:pt x="446" y="16"/>
                    </a:lnTo>
                    <a:lnTo>
                      <a:pt x="446" y="23"/>
                    </a:lnTo>
                    <a:lnTo>
                      <a:pt x="446" y="30"/>
                    </a:lnTo>
                    <a:lnTo>
                      <a:pt x="446" y="38"/>
                    </a:lnTo>
                    <a:lnTo>
                      <a:pt x="446" y="44"/>
                    </a:lnTo>
                    <a:lnTo>
                      <a:pt x="448" y="50"/>
                    </a:lnTo>
                    <a:lnTo>
                      <a:pt x="451" y="55"/>
                    </a:lnTo>
                    <a:lnTo>
                      <a:pt x="454" y="61"/>
                    </a:lnTo>
                    <a:lnTo>
                      <a:pt x="463" y="71"/>
                    </a:lnTo>
                    <a:lnTo>
                      <a:pt x="471" y="79"/>
                    </a:lnTo>
                    <a:lnTo>
                      <a:pt x="476" y="84"/>
                    </a:lnTo>
                    <a:lnTo>
                      <a:pt x="480" y="89"/>
                    </a:lnTo>
                    <a:lnTo>
                      <a:pt x="485" y="94"/>
                    </a:lnTo>
                    <a:lnTo>
                      <a:pt x="488" y="100"/>
                    </a:lnTo>
                    <a:lnTo>
                      <a:pt x="490" y="106"/>
                    </a:lnTo>
                    <a:lnTo>
                      <a:pt x="492" y="113"/>
                    </a:lnTo>
                    <a:lnTo>
                      <a:pt x="493" y="122"/>
                    </a:lnTo>
                    <a:lnTo>
                      <a:pt x="492" y="130"/>
                    </a:lnTo>
                    <a:lnTo>
                      <a:pt x="313" y="130"/>
                    </a:lnTo>
                    <a:lnTo>
                      <a:pt x="307" y="122"/>
                    </a:lnTo>
                    <a:lnTo>
                      <a:pt x="300" y="113"/>
                    </a:lnTo>
                    <a:lnTo>
                      <a:pt x="298" y="108"/>
                    </a:lnTo>
                    <a:lnTo>
                      <a:pt x="296" y="102"/>
                    </a:lnTo>
                    <a:lnTo>
                      <a:pt x="294" y="95"/>
                    </a:lnTo>
                    <a:lnTo>
                      <a:pt x="294" y="87"/>
                    </a:lnTo>
                    <a:lnTo>
                      <a:pt x="279" y="87"/>
                    </a:lnTo>
                    <a:lnTo>
                      <a:pt x="266" y="87"/>
                    </a:lnTo>
                    <a:lnTo>
                      <a:pt x="240" y="99"/>
                    </a:lnTo>
                    <a:lnTo>
                      <a:pt x="233" y="99"/>
                    </a:lnTo>
                    <a:lnTo>
                      <a:pt x="225" y="97"/>
                    </a:lnTo>
                    <a:lnTo>
                      <a:pt x="219" y="95"/>
                    </a:lnTo>
                    <a:lnTo>
                      <a:pt x="211" y="93"/>
                    </a:lnTo>
                    <a:lnTo>
                      <a:pt x="204" y="91"/>
                    </a:lnTo>
                    <a:lnTo>
                      <a:pt x="195" y="89"/>
                    </a:lnTo>
                    <a:lnTo>
                      <a:pt x="185" y="88"/>
                    </a:lnTo>
                    <a:lnTo>
                      <a:pt x="174" y="87"/>
                    </a:lnTo>
                    <a:lnTo>
                      <a:pt x="164" y="88"/>
                    </a:lnTo>
                    <a:lnTo>
                      <a:pt x="155" y="90"/>
                    </a:lnTo>
                    <a:lnTo>
                      <a:pt x="146" y="93"/>
                    </a:lnTo>
                    <a:lnTo>
                      <a:pt x="138" y="97"/>
                    </a:lnTo>
                    <a:lnTo>
                      <a:pt x="122" y="106"/>
                    </a:lnTo>
                    <a:lnTo>
                      <a:pt x="107" y="118"/>
                    </a:lnTo>
                    <a:lnTo>
                      <a:pt x="92" y="129"/>
                    </a:lnTo>
                    <a:lnTo>
                      <a:pt x="76" y="139"/>
                    </a:lnTo>
                    <a:lnTo>
                      <a:pt x="68" y="143"/>
                    </a:lnTo>
                    <a:lnTo>
                      <a:pt x="60" y="146"/>
                    </a:lnTo>
                    <a:lnTo>
                      <a:pt x="50" y="148"/>
                    </a:lnTo>
                    <a:lnTo>
                      <a:pt x="41" y="149"/>
                    </a:lnTo>
                    <a:lnTo>
                      <a:pt x="37" y="149"/>
                    </a:lnTo>
                    <a:lnTo>
                      <a:pt x="31" y="151"/>
                    </a:lnTo>
                    <a:lnTo>
                      <a:pt x="25" y="153"/>
                    </a:lnTo>
                    <a:lnTo>
                      <a:pt x="18" y="157"/>
                    </a:lnTo>
                    <a:lnTo>
                      <a:pt x="11" y="161"/>
                    </a:lnTo>
                    <a:lnTo>
                      <a:pt x="6" y="166"/>
                    </a:lnTo>
                    <a:lnTo>
                      <a:pt x="4" y="169"/>
                    </a:lnTo>
                    <a:lnTo>
                      <a:pt x="3" y="173"/>
                    </a:lnTo>
                    <a:lnTo>
                      <a:pt x="1" y="177"/>
                    </a:lnTo>
                    <a:lnTo>
                      <a:pt x="0" y="18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55" name="Freeform 162">
                <a:extLst>
                  <a:ext uri="{FF2B5EF4-FFF2-40B4-BE49-F238E27FC236}">
                    <a16:creationId xmlns:a16="http://schemas.microsoft.com/office/drawing/2014/main" id="{B584B18D-88E5-4503-B7DF-E7B93BD0AD7D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auto">
              <a:xfrm>
                <a:off x="1906687" y="4865725"/>
                <a:ext cx="396352" cy="467621"/>
              </a:xfrm>
              <a:custGeom>
                <a:avLst/>
                <a:gdLst>
                  <a:gd name="T0" fmla="*/ 4886695 w 758"/>
                  <a:gd name="T1" fmla="*/ 21897013 h 795"/>
                  <a:gd name="T2" fmla="*/ 9209373 w 758"/>
                  <a:gd name="T3" fmla="*/ 24086504 h 795"/>
                  <a:gd name="T4" fmla="*/ 13532051 w 758"/>
                  <a:gd name="T5" fmla="*/ 29561019 h 795"/>
                  <a:gd name="T6" fmla="*/ 16538981 w 758"/>
                  <a:gd name="T7" fmla="*/ 36677784 h 795"/>
                  <a:gd name="T8" fmla="*/ 17478864 w 758"/>
                  <a:gd name="T9" fmla="*/ 46257661 h 795"/>
                  <a:gd name="T10" fmla="*/ 15787249 w 758"/>
                  <a:gd name="T11" fmla="*/ 50910790 h 795"/>
                  <a:gd name="T12" fmla="*/ 15223666 w 758"/>
                  <a:gd name="T13" fmla="*/ 56111160 h 795"/>
                  <a:gd name="T14" fmla="*/ 16538981 w 758"/>
                  <a:gd name="T15" fmla="*/ 65691038 h 795"/>
                  <a:gd name="T16" fmla="*/ 17854730 w 758"/>
                  <a:gd name="T17" fmla="*/ 76092302 h 795"/>
                  <a:gd name="T18" fmla="*/ 15599532 w 758"/>
                  <a:gd name="T19" fmla="*/ 84303551 h 795"/>
                  <a:gd name="T20" fmla="*/ 15223666 w 758"/>
                  <a:gd name="T21" fmla="*/ 96347064 h 795"/>
                  <a:gd name="T22" fmla="*/ 17478864 w 758"/>
                  <a:gd name="T23" fmla="*/ 106748328 h 795"/>
                  <a:gd name="T24" fmla="*/ 18606462 w 758"/>
                  <a:gd name="T25" fmla="*/ 113590949 h 795"/>
                  <a:gd name="T26" fmla="*/ 14659650 w 758"/>
                  <a:gd name="T27" fmla="*/ 125086697 h 795"/>
                  <a:gd name="T28" fmla="*/ 21237526 w 758"/>
                  <a:gd name="T29" fmla="*/ 144794218 h 795"/>
                  <a:gd name="T30" fmla="*/ 25936071 w 758"/>
                  <a:gd name="T31" fmla="*/ 157932739 h 795"/>
                  <a:gd name="T32" fmla="*/ 27439969 w 758"/>
                  <a:gd name="T33" fmla="*/ 170249874 h 795"/>
                  <a:gd name="T34" fmla="*/ 28567568 w 758"/>
                  <a:gd name="T35" fmla="*/ 180376994 h 795"/>
                  <a:gd name="T36" fmla="*/ 35145444 w 758"/>
                  <a:gd name="T37" fmla="*/ 202000385 h 795"/>
                  <a:gd name="T38" fmla="*/ 40219854 w 758"/>
                  <a:gd name="T39" fmla="*/ 214043899 h 795"/>
                  <a:gd name="T40" fmla="*/ 43227218 w 758"/>
                  <a:gd name="T41" fmla="*/ 217328399 h 795"/>
                  <a:gd name="T42" fmla="*/ 47174030 w 758"/>
                  <a:gd name="T43" fmla="*/ 216233391 h 795"/>
                  <a:gd name="T44" fmla="*/ 54315922 w 758"/>
                  <a:gd name="T45" fmla="*/ 208295763 h 795"/>
                  <a:gd name="T46" fmla="*/ 60893798 w 758"/>
                  <a:gd name="T47" fmla="*/ 204189877 h 795"/>
                  <a:gd name="T48" fmla="*/ 66719941 w 758"/>
                  <a:gd name="T49" fmla="*/ 204737643 h 795"/>
                  <a:gd name="T50" fmla="*/ 72922384 w 758"/>
                  <a:gd name="T51" fmla="*/ 210759399 h 795"/>
                  <a:gd name="T52" fmla="*/ 78560378 w 758"/>
                  <a:gd name="T53" fmla="*/ 213496134 h 795"/>
                  <a:gd name="T54" fmla="*/ 82131324 w 758"/>
                  <a:gd name="T55" fmla="*/ 207474377 h 795"/>
                  <a:gd name="T56" fmla="*/ 89837232 w 758"/>
                  <a:gd name="T57" fmla="*/ 203916256 h 795"/>
                  <a:gd name="T58" fmla="*/ 98670739 w 758"/>
                  <a:gd name="T59" fmla="*/ 170249874 h 795"/>
                  <a:gd name="T60" fmla="*/ 101301802 w 758"/>
                  <a:gd name="T61" fmla="*/ 164228117 h 795"/>
                  <a:gd name="T62" fmla="*/ 108067828 w 758"/>
                  <a:gd name="T63" fmla="*/ 159848610 h 795"/>
                  <a:gd name="T64" fmla="*/ 124982675 w 758"/>
                  <a:gd name="T65" fmla="*/ 156837731 h 795"/>
                  <a:gd name="T66" fmla="*/ 129117637 w 758"/>
                  <a:gd name="T67" fmla="*/ 158479981 h 795"/>
                  <a:gd name="T68" fmla="*/ 132312717 w 758"/>
                  <a:gd name="T69" fmla="*/ 160122231 h 795"/>
                  <a:gd name="T70" fmla="*/ 139830475 w 758"/>
                  <a:gd name="T71" fmla="*/ 156837731 h 795"/>
                  <a:gd name="T72" fmla="*/ 142273389 w 758"/>
                  <a:gd name="T73" fmla="*/ 148078717 h 795"/>
                  <a:gd name="T74" fmla="*/ 141333940 w 758"/>
                  <a:gd name="T75" fmla="*/ 136582969 h 795"/>
                  <a:gd name="T76" fmla="*/ 136447246 w 758"/>
                  <a:gd name="T77" fmla="*/ 126455326 h 795"/>
                  <a:gd name="T78" fmla="*/ 133440316 w 758"/>
                  <a:gd name="T79" fmla="*/ 119065463 h 795"/>
                  <a:gd name="T80" fmla="*/ 126110274 w 758"/>
                  <a:gd name="T81" fmla="*/ 109759207 h 795"/>
                  <a:gd name="T82" fmla="*/ 118968382 w 758"/>
                  <a:gd name="T83" fmla="*/ 109211441 h 795"/>
                  <a:gd name="T84" fmla="*/ 113706255 w 758"/>
                  <a:gd name="T85" fmla="*/ 103463829 h 795"/>
                  <a:gd name="T86" fmla="*/ 110887041 w 758"/>
                  <a:gd name="T87" fmla="*/ 95525678 h 795"/>
                  <a:gd name="T88" fmla="*/ 109947159 w 758"/>
                  <a:gd name="T89" fmla="*/ 85124937 h 795"/>
                  <a:gd name="T90" fmla="*/ 109571293 w 758"/>
                  <a:gd name="T91" fmla="*/ 73628665 h 795"/>
                  <a:gd name="T92" fmla="*/ 105248614 w 758"/>
                  <a:gd name="T93" fmla="*/ 66238803 h 795"/>
                  <a:gd name="T94" fmla="*/ 94535776 w 758"/>
                  <a:gd name="T95" fmla="*/ 56111160 h 795"/>
                  <a:gd name="T96" fmla="*/ 82695340 w 758"/>
                  <a:gd name="T97" fmla="*/ 48720774 h 795"/>
                  <a:gd name="T98" fmla="*/ 73674117 w 758"/>
                  <a:gd name="T99" fmla="*/ 45709896 h 795"/>
                  <a:gd name="T100" fmla="*/ 67471674 w 758"/>
                  <a:gd name="T101" fmla="*/ 44067646 h 795"/>
                  <a:gd name="T102" fmla="*/ 62021397 w 758"/>
                  <a:gd name="T103" fmla="*/ 39688662 h 795"/>
                  <a:gd name="T104" fmla="*/ 57698718 w 758"/>
                  <a:gd name="T105" fmla="*/ 33392761 h 795"/>
                  <a:gd name="T106" fmla="*/ 54879505 w 758"/>
                  <a:gd name="T107" fmla="*/ 25181512 h 795"/>
                  <a:gd name="T108" fmla="*/ 52436157 w 758"/>
                  <a:gd name="T109" fmla="*/ 5200370 h 795"/>
                  <a:gd name="T110" fmla="*/ 49053361 w 758"/>
                  <a:gd name="T111" fmla="*/ 821386 h 795"/>
                  <a:gd name="T112" fmla="*/ 42663202 w 758"/>
                  <a:gd name="T113" fmla="*/ 821386 h 795"/>
                  <a:gd name="T114" fmla="*/ 32514380 w 758"/>
                  <a:gd name="T115" fmla="*/ 8211249 h 795"/>
                  <a:gd name="T116" fmla="*/ 22365125 w 758"/>
                  <a:gd name="T117" fmla="*/ 18065271 h 795"/>
                  <a:gd name="T118" fmla="*/ 0 w 758"/>
                  <a:gd name="T119" fmla="*/ 21897013 h 795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758" h="795">
                    <a:moveTo>
                      <a:pt x="0" y="80"/>
                    </a:moveTo>
                    <a:lnTo>
                      <a:pt x="10" y="80"/>
                    </a:lnTo>
                    <a:lnTo>
                      <a:pt x="20" y="80"/>
                    </a:lnTo>
                    <a:lnTo>
                      <a:pt x="26" y="80"/>
                    </a:lnTo>
                    <a:lnTo>
                      <a:pt x="31" y="81"/>
                    </a:lnTo>
                    <a:lnTo>
                      <a:pt x="37" y="83"/>
                    </a:lnTo>
                    <a:lnTo>
                      <a:pt x="43" y="85"/>
                    </a:lnTo>
                    <a:lnTo>
                      <a:pt x="49" y="88"/>
                    </a:lnTo>
                    <a:lnTo>
                      <a:pt x="55" y="92"/>
                    </a:lnTo>
                    <a:lnTo>
                      <a:pt x="61" y="97"/>
                    </a:lnTo>
                    <a:lnTo>
                      <a:pt x="66" y="102"/>
                    </a:lnTo>
                    <a:lnTo>
                      <a:pt x="72" y="108"/>
                    </a:lnTo>
                    <a:lnTo>
                      <a:pt x="77" y="113"/>
                    </a:lnTo>
                    <a:lnTo>
                      <a:pt x="82" y="120"/>
                    </a:lnTo>
                    <a:lnTo>
                      <a:pt x="86" y="127"/>
                    </a:lnTo>
                    <a:lnTo>
                      <a:pt x="88" y="134"/>
                    </a:lnTo>
                    <a:lnTo>
                      <a:pt x="92" y="142"/>
                    </a:lnTo>
                    <a:lnTo>
                      <a:pt x="93" y="152"/>
                    </a:lnTo>
                    <a:lnTo>
                      <a:pt x="94" y="161"/>
                    </a:lnTo>
                    <a:lnTo>
                      <a:pt x="93" y="169"/>
                    </a:lnTo>
                    <a:lnTo>
                      <a:pt x="92" y="175"/>
                    </a:lnTo>
                    <a:lnTo>
                      <a:pt x="89" y="180"/>
                    </a:lnTo>
                    <a:lnTo>
                      <a:pt x="87" y="183"/>
                    </a:lnTo>
                    <a:lnTo>
                      <a:pt x="84" y="186"/>
                    </a:lnTo>
                    <a:lnTo>
                      <a:pt x="82" y="190"/>
                    </a:lnTo>
                    <a:lnTo>
                      <a:pt x="81" y="193"/>
                    </a:lnTo>
                    <a:lnTo>
                      <a:pt x="81" y="197"/>
                    </a:lnTo>
                    <a:lnTo>
                      <a:pt x="81" y="205"/>
                    </a:lnTo>
                    <a:lnTo>
                      <a:pt x="82" y="214"/>
                    </a:lnTo>
                    <a:lnTo>
                      <a:pt x="83" y="221"/>
                    </a:lnTo>
                    <a:lnTo>
                      <a:pt x="84" y="227"/>
                    </a:lnTo>
                    <a:lnTo>
                      <a:pt x="88" y="240"/>
                    </a:lnTo>
                    <a:lnTo>
                      <a:pt x="94" y="252"/>
                    </a:lnTo>
                    <a:lnTo>
                      <a:pt x="97" y="262"/>
                    </a:lnTo>
                    <a:lnTo>
                      <a:pt x="100" y="271"/>
                    </a:lnTo>
                    <a:lnTo>
                      <a:pt x="95" y="278"/>
                    </a:lnTo>
                    <a:lnTo>
                      <a:pt x="92" y="285"/>
                    </a:lnTo>
                    <a:lnTo>
                      <a:pt x="88" y="293"/>
                    </a:lnTo>
                    <a:lnTo>
                      <a:pt x="85" y="300"/>
                    </a:lnTo>
                    <a:lnTo>
                      <a:pt x="83" y="308"/>
                    </a:lnTo>
                    <a:lnTo>
                      <a:pt x="82" y="318"/>
                    </a:lnTo>
                    <a:lnTo>
                      <a:pt x="81" y="328"/>
                    </a:lnTo>
                    <a:lnTo>
                      <a:pt x="81" y="339"/>
                    </a:lnTo>
                    <a:lnTo>
                      <a:pt x="81" y="352"/>
                    </a:lnTo>
                    <a:lnTo>
                      <a:pt x="83" y="363"/>
                    </a:lnTo>
                    <a:lnTo>
                      <a:pt x="85" y="374"/>
                    </a:lnTo>
                    <a:lnTo>
                      <a:pt x="88" y="382"/>
                    </a:lnTo>
                    <a:lnTo>
                      <a:pt x="93" y="390"/>
                    </a:lnTo>
                    <a:lnTo>
                      <a:pt x="97" y="396"/>
                    </a:lnTo>
                    <a:lnTo>
                      <a:pt x="101" y="402"/>
                    </a:lnTo>
                    <a:lnTo>
                      <a:pt x="107" y="407"/>
                    </a:lnTo>
                    <a:lnTo>
                      <a:pt x="99" y="415"/>
                    </a:lnTo>
                    <a:lnTo>
                      <a:pt x="94" y="424"/>
                    </a:lnTo>
                    <a:lnTo>
                      <a:pt x="89" y="433"/>
                    </a:lnTo>
                    <a:lnTo>
                      <a:pt x="85" y="441"/>
                    </a:lnTo>
                    <a:lnTo>
                      <a:pt x="78" y="457"/>
                    </a:lnTo>
                    <a:lnTo>
                      <a:pt x="73" y="474"/>
                    </a:lnTo>
                    <a:lnTo>
                      <a:pt x="88" y="493"/>
                    </a:lnTo>
                    <a:lnTo>
                      <a:pt x="101" y="511"/>
                    </a:lnTo>
                    <a:lnTo>
                      <a:pt x="113" y="529"/>
                    </a:lnTo>
                    <a:lnTo>
                      <a:pt x="124" y="548"/>
                    </a:lnTo>
                    <a:lnTo>
                      <a:pt x="130" y="558"/>
                    </a:lnTo>
                    <a:lnTo>
                      <a:pt x="134" y="567"/>
                    </a:lnTo>
                    <a:lnTo>
                      <a:pt x="138" y="577"/>
                    </a:lnTo>
                    <a:lnTo>
                      <a:pt x="141" y="588"/>
                    </a:lnTo>
                    <a:lnTo>
                      <a:pt x="143" y="599"/>
                    </a:lnTo>
                    <a:lnTo>
                      <a:pt x="145" y="611"/>
                    </a:lnTo>
                    <a:lnTo>
                      <a:pt x="146" y="622"/>
                    </a:lnTo>
                    <a:lnTo>
                      <a:pt x="146" y="634"/>
                    </a:lnTo>
                    <a:lnTo>
                      <a:pt x="148" y="640"/>
                    </a:lnTo>
                    <a:lnTo>
                      <a:pt x="149" y="648"/>
                    </a:lnTo>
                    <a:lnTo>
                      <a:pt x="152" y="659"/>
                    </a:lnTo>
                    <a:lnTo>
                      <a:pt x="156" y="670"/>
                    </a:lnTo>
                    <a:lnTo>
                      <a:pt x="166" y="696"/>
                    </a:lnTo>
                    <a:lnTo>
                      <a:pt x="179" y="724"/>
                    </a:lnTo>
                    <a:lnTo>
                      <a:pt x="187" y="738"/>
                    </a:lnTo>
                    <a:lnTo>
                      <a:pt x="194" y="750"/>
                    </a:lnTo>
                    <a:lnTo>
                      <a:pt x="201" y="763"/>
                    </a:lnTo>
                    <a:lnTo>
                      <a:pt x="208" y="774"/>
                    </a:lnTo>
                    <a:lnTo>
                      <a:pt x="214" y="782"/>
                    </a:lnTo>
                    <a:lnTo>
                      <a:pt x="221" y="789"/>
                    </a:lnTo>
                    <a:lnTo>
                      <a:pt x="224" y="792"/>
                    </a:lnTo>
                    <a:lnTo>
                      <a:pt x="228" y="793"/>
                    </a:lnTo>
                    <a:lnTo>
                      <a:pt x="230" y="794"/>
                    </a:lnTo>
                    <a:lnTo>
                      <a:pt x="233" y="795"/>
                    </a:lnTo>
                    <a:lnTo>
                      <a:pt x="239" y="794"/>
                    </a:lnTo>
                    <a:lnTo>
                      <a:pt x="244" y="793"/>
                    </a:lnTo>
                    <a:lnTo>
                      <a:pt x="251" y="790"/>
                    </a:lnTo>
                    <a:lnTo>
                      <a:pt x="256" y="787"/>
                    </a:lnTo>
                    <a:lnTo>
                      <a:pt x="266" y="780"/>
                    </a:lnTo>
                    <a:lnTo>
                      <a:pt x="278" y="771"/>
                    </a:lnTo>
                    <a:lnTo>
                      <a:pt x="289" y="761"/>
                    </a:lnTo>
                    <a:lnTo>
                      <a:pt x="302" y="753"/>
                    </a:lnTo>
                    <a:lnTo>
                      <a:pt x="309" y="750"/>
                    </a:lnTo>
                    <a:lnTo>
                      <a:pt x="317" y="747"/>
                    </a:lnTo>
                    <a:lnTo>
                      <a:pt x="324" y="746"/>
                    </a:lnTo>
                    <a:lnTo>
                      <a:pt x="332" y="745"/>
                    </a:lnTo>
                    <a:lnTo>
                      <a:pt x="341" y="746"/>
                    </a:lnTo>
                    <a:lnTo>
                      <a:pt x="348" y="747"/>
                    </a:lnTo>
                    <a:lnTo>
                      <a:pt x="355" y="748"/>
                    </a:lnTo>
                    <a:lnTo>
                      <a:pt x="361" y="750"/>
                    </a:lnTo>
                    <a:lnTo>
                      <a:pt x="371" y="756"/>
                    </a:lnTo>
                    <a:lnTo>
                      <a:pt x="380" y="763"/>
                    </a:lnTo>
                    <a:lnTo>
                      <a:pt x="388" y="770"/>
                    </a:lnTo>
                    <a:lnTo>
                      <a:pt x="395" y="777"/>
                    </a:lnTo>
                    <a:lnTo>
                      <a:pt x="403" y="783"/>
                    </a:lnTo>
                    <a:lnTo>
                      <a:pt x="412" y="789"/>
                    </a:lnTo>
                    <a:lnTo>
                      <a:pt x="418" y="780"/>
                    </a:lnTo>
                    <a:lnTo>
                      <a:pt x="422" y="773"/>
                    </a:lnTo>
                    <a:lnTo>
                      <a:pt x="427" y="767"/>
                    </a:lnTo>
                    <a:lnTo>
                      <a:pt x="432" y="761"/>
                    </a:lnTo>
                    <a:lnTo>
                      <a:pt x="437" y="758"/>
                    </a:lnTo>
                    <a:lnTo>
                      <a:pt x="443" y="754"/>
                    </a:lnTo>
                    <a:lnTo>
                      <a:pt x="448" y="752"/>
                    </a:lnTo>
                    <a:lnTo>
                      <a:pt x="454" y="750"/>
                    </a:lnTo>
                    <a:lnTo>
                      <a:pt x="478" y="745"/>
                    </a:lnTo>
                    <a:lnTo>
                      <a:pt x="505" y="739"/>
                    </a:lnTo>
                    <a:lnTo>
                      <a:pt x="525" y="647"/>
                    </a:lnTo>
                    <a:lnTo>
                      <a:pt x="525" y="637"/>
                    </a:lnTo>
                    <a:lnTo>
                      <a:pt x="525" y="622"/>
                    </a:lnTo>
                    <a:lnTo>
                      <a:pt x="526" y="616"/>
                    </a:lnTo>
                    <a:lnTo>
                      <a:pt x="529" y="610"/>
                    </a:lnTo>
                    <a:lnTo>
                      <a:pt x="533" y="604"/>
                    </a:lnTo>
                    <a:lnTo>
                      <a:pt x="539" y="600"/>
                    </a:lnTo>
                    <a:lnTo>
                      <a:pt x="547" y="594"/>
                    </a:lnTo>
                    <a:lnTo>
                      <a:pt x="555" y="590"/>
                    </a:lnTo>
                    <a:lnTo>
                      <a:pt x="565" y="587"/>
                    </a:lnTo>
                    <a:lnTo>
                      <a:pt x="575" y="584"/>
                    </a:lnTo>
                    <a:lnTo>
                      <a:pt x="597" y="579"/>
                    </a:lnTo>
                    <a:lnTo>
                      <a:pt x="621" y="575"/>
                    </a:lnTo>
                    <a:lnTo>
                      <a:pt x="644" y="574"/>
                    </a:lnTo>
                    <a:lnTo>
                      <a:pt x="665" y="573"/>
                    </a:lnTo>
                    <a:lnTo>
                      <a:pt x="671" y="573"/>
                    </a:lnTo>
                    <a:lnTo>
                      <a:pt x="678" y="575"/>
                    </a:lnTo>
                    <a:lnTo>
                      <a:pt x="682" y="577"/>
                    </a:lnTo>
                    <a:lnTo>
                      <a:pt x="687" y="579"/>
                    </a:lnTo>
                    <a:lnTo>
                      <a:pt x="691" y="581"/>
                    </a:lnTo>
                    <a:lnTo>
                      <a:pt x="695" y="583"/>
                    </a:lnTo>
                    <a:lnTo>
                      <a:pt x="700" y="585"/>
                    </a:lnTo>
                    <a:lnTo>
                      <a:pt x="704" y="585"/>
                    </a:lnTo>
                    <a:lnTo>
                      <a:pt x="738" y="598"/>
                    </a:lnTo>
                    <a:lnTo>
                      <a:pt x="738" y="589"/>
                    </a:lnTo>
                    <a:lnTo>
                      <a:pt x="740" y="581"/>
                    </a:lnTo>
                    <a:lnTo>
                      <a:pt x="744" y="573"/>
                    </a:lnTo>
                    <a:lnTo>
                      <a:pt x="748" y="566"/>
                    </a:lnTo>
                    <a:lnTo>
                      <a:pt x="751" y="559"/>
                    </a:lnTo>
                    <a:lnTo>
                      <a:pt x="755" y="550"/>
                    </a:lnTo>
                    <a:lnTo>
                      <a:pt x="757" y="541"/>
                    </a:lnTo>
                    <a:lnTo>
                      <a:pt x="758" y="530"/>
                    </a:lnTo>
                    <a:lnTo>
                      <a:pt x="757" y="518"/>
                    </a:lnTo>
                    <a:lnTo>
                      <a:pt x="756" y="508"/>
                    </a:lnTo>
                    <a:lnTo>
                      <a:pt x="752" y="499"/>
                    </a:lnTo>
                    <a:lnTo>
                      <a:pt x="749" y="492"/>
                    </a:lnTo>
                    <a:lnTo>
                      <a:pt x="740" y="478"/>
                    </a:lnTo>
                    <a:lnTo>
                      <a:pt x="731" y="467"/>
                    </a:lnTo>
                    <a:lnTo>
                      <a:pt x="726" y="462"/>
                    </a:lnTo>
                    <a:lnTo>
                      <a:pt x="722" y="456"/>
                    </a:lnTo>
                    <a:lnTo>
                      <a:pt x="716" y="450"/>
                    </a:lnTo>
                    <a:lnTo>
                      <a:pt x="713" y="443"/>
                    </a:lnTo>
                    <a:lnTo>
                      <a:pt x="710" y="435"/>
                    </a:lnTo>
                    <a:lnTo>
                      <a:pt x="706" y="424"/>
                    </a:lnTo>
                    <a:lnTo>
                      <a:pt x="705" y="413"/>
                    </a:lnTo>
                    <a:lnTo>
                      <a:pt x="704" y="401"/>
                    </a:lnTo>
                    <a:lnTo>
                      <a:pt x="671" y="401"/>
                    </a:lnTo>
                    <a:lnTo>
                      <a:pt x="660" y="403"/>
                    </a:lnTo>
                    <a:lnTo>
                      <a:pt x="650" y="403"/>
                    </a:lnTo>
                    <a:lnTo>
                      <a:pt x="641" y="402"/>
                    </a:lnTo>
                    <a:lnTo>
                      <a:pt x="633" y="399"/>
                    </a:lnTo>
                    <a:lnTo>
                      <a:pt x="625" y="395"/>
                    </a:lnTo>
                    <a:lnTo>
                      <a:pt x="617" y="390"/>
                    </a:lnTo>
                    <a:lnTo>
                      <a:pt x="611" y="384"/>
                    </a:lnTo>
                    <a:lnTo>
                      <a:pt x="605" y="378"/>
                    </a:lnTo>
                    <a:lnTo>
                      <a:pt x="601" y="370"/>
                    </a:lnTo>
                    <a:lnTo>
                      <a:pt x="597" y="363"/>
                    </a:lnTo>
                    <a:lnTo>
                      <a:pt x="593" y="356"/>
                    </a:lnTo>
                    <a:lnTo>
                      <a:pt x="590" y="349"/>
                    </a:lnTo>
                    <a:lnTo>
                      <a:pt x="586" y="336"/>
                    </a:lnTo>
                    <a:lnTo>
                      <a:pt x="585" y="327"/>
                    </a:lnTo>
                    <a:lnTo>
                      <a:pt x="585" y="321"/>
                    </a:lnTo>
                    <a:lnTo>
                      <a:pt x="585" y="311"/>
                    </a:lnTo>
                    <a:lnTo>
                      <a:pt x="585" y="297"/>
                    </a:lnTo>
                    <a:lnTo>
                      <a:pt x="585" y="278"/>
                    </a:lnTo>
                    <a:lnTo>
                      <a:pt x="585" y="274"/>
                    </a:lnTo>
                    <a:lnTo>
                      <a:pt x="583" y="269"/>
                    </a:lnTo>
                    <a:lnTo>
                      <a:pt x="581" y="265"/>
                    </a:lnTo>
                    <a:lnTo>
                      <a:pt x="578" y="260"/>
                    </a:lnTo>
                    <a:lnTo>
                      <a:pt x="570" y="251"/>
                    </a:lnTo>
                    <a:lnTo>
                      <a:pt x="560" y="242"/>
                    </a:lnTo>
                    <a:lnTo>
                      <a:pt x="548" y="233"/>
                    </a:lnTo>
                    <a:lnTo>
                      <a:pt x="534" y="223"/>
                    </a:lnTo>
                    <a:lnTo>
                      <a:pt x="520" y="215"/>
                    </a:lnTo>
                    <a:lnTo>
                      <a:pt x="503" y="205"/>
                    </a:lnTo>
                    <a:lnTo>
                      <a:pt x="487" y="197"/>
                    </a:lnTo>
                    <a:lnTo>
                      <a:pt x="470" y="190"/>
                    </a:lnTo>
                    <a:lnTo>
                      <a:pt x="455" y="183"/>
                    </a:lnTo>
                    <a:lnTo>
                      <a:pt x="440" y="178"/>
                    </a:lnTo>
                    <a:lnTo>
                      <a:pt x="425" y="173"/>
                    </a:lnTo>
                    <a:lnTo>
                      <a:pt x="412" y="170"/>
                    </a:lnTo>
                    <a:lnTo>
                      <a:pt x="401" y="167"/>
                    </a:lnTo>
                    <a:lnTo>
                      <a:pt x="392" y="167"/>
                    </a:lnTo>
                    <a:lnTo>
                      <a:pt x="384" y="166"/>
                    </a:lnTo>
                    <a:lnTo>
                      <a:pt x="375" y="165"/>
                    </a:lnTo>
                    <a:lnTo>
                      <a:pt x="367" y="164"/>
                    </a:lnTo>
                    <a:lnTo>
                      <a:pt x="359" y="161"/>
                    </a:lnTo>
                    <a:lnTo>
                      <a:pt x="351" y="158"/>
                    </a:lnTo>
                    <a:lnTo>
                      <a:pt x="344" y="155"/>
                    </a:lnTo>
                    <a:lnTo>
                      <a:pt x="336" y="151"/>
                    </a:lnTo>
                    <a:lnTo>
                      <a:pt x="330" y="145"/>
                    </a:lnTo>
                    <a:lnTo>
                      <a:pt x="323" y="140"/>
                    </a:lnTo>
                    <a:lnTo>
                      <a:pt x="318" y="135"/>
                    </a:lnTo>
                    <a:lnTo>
                      <a:pt x="312" y="129"/>
                    </a:lnTo>
                    <a:lnTo>
                      <a:pt x="307" y="122"/>
                    </a:lnTo>
                    <a:lnTo>
                      <a:pt x="302" y="115"/>
                    </a:lnTo>
                    <a:lnTo>
                      <a:pt x="299" y="108"/>
                    </a:lnTo>
                    <a:lnTo>
                      <a:pt x="296" y="101"/>
                    </a:lnTo>
                    <a:lnTo>
                      <a:pt x="292" y="92"/>
                    </a:lnTo>
                    <a:lnTo>
                      <a:pt x="289" y="63"/>
                    </a:lnTo>
                    <a:lnTo>
                      <a:pt x="285" y="32"/>
                    </a:lnTo>
                    <a:lnTo>
                      <a:pt x="283" y="25"/>
                    </a:lnTo>
                    <a:lnTo>
                      <a:pt x="279" y="19"/>
                    </a:lnTo>
                    <a:lnTo>
                      <a:pt x="276" y="14"/>
                    </a:lnTo>
                    <a:lnTo>
                      <a:pt x="272" y="9"/>
                    </a:lnTo>
                    <a:lnTo>
                      <a:pt x="267" y="6"/>
                    </a:lnTo>
                    <a:lnTo>
                      <a:pt x="261" y="3"/>
                    </a:lnTo>
                    <a:lnTo>
                      <a:pt x="254" y="1"/>
                    </a:lnTo>
                    <a:lnTo>
                      <a:pt x="246" y="0"/>
                    </a:lnTo>
                    <a:lnTo>
                      <a:pt x="236" y="1"/>
                    </a:lnTo>
                    <a:lnTo>
                      <a:pt x="227" y="3"/>
                    </a:lnTo>
                    <a:lnTo>
                      <a:pt x="218" y="5"/>
                    </a:lnTo>
                    <a:lnTo>
                      <a:pt x="208" y="9"/>
                    </a:lnTo>
                    <a:lnTo>
                      <a:pt x="190" y="18"/>
                    </a:lnTo>
                    <a:lnTo>
                      <a:pt x="173" y="30"/>
                    </a:lnTo>
                    <a:lnTo>
                      <a:pt x="155" y="43"/>
                    </a:lnTo>
                    <a:lnTo>
                      <a:pt x="138" y="55"/>
                    </a:lnTo>
                    <a:lnTo>
                      <a:pt x="129" y="60"/>
                    </a:lnTo>
                    <a:lnTo>
                      <a:pt x="119" y="66"/>
                    </a:lnTo>
                    <a:lnTo>
                      <a:pt x="110" y="70"/>
                    </a:lnTo>
                    <a:lnTo>
                      <a:pt x="100" y="74"/>
                    </a:lnTo>
                    <a:lnTo>
                      <a:pt x="20" y="80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56" name="Freeform 163">
                <a:extLst>
                  <a:ext uri="{FF2B5EF4-FFF2-40B4-BE49-F238E27FC236}">
                    <a16:creationId xmlns:a16="http://schemas.microsoft.com/office/drawing/2014/main" id="{E8AB18B7-1486-4DC0-AFB3-C2AB9D40C33A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auto">
              <a:xfrm>
                <a:off x="2163682" y="4224065"/>
                <a:ext cx="144786" cy="242600"/>
              </a:xfrm>
              <a:custGeom>
                <a:avLst/>
                <a:gdLst>
                  <a:gd name="T0" fmla="*/ 42796825 w 273"/>
                  <a:gd name="T1" fmla="*/ 38074539 h 414"/>
                  <a:gd name="T2" fmla="*/ 40514130 w 273"/>
                  <a:gd name="T3" fmla="*/ 36170551 h 414"/>
                  <a:gd name="T4" fmla="*/ 38231871 w 273"/>
                  <a:gd name="T5" fmla="*/ 32907019 h 414"/>
                  <a:gd name="T6" fmla="*/ 36139328 w 273"/>
                  <a:gd name="T7" fmla="*/ 28555643 h 414"/>
                  <a:gd name="T8" fmla="*/ 34807828 w 273"/>
                  <a:gd name="T9" fmla="*/ 26108255 h 414"/>
                  <a:gd name="T10" fmla="*/ 33476765 w 273"/>
                  <a:gd name="T11" fmla="*/ 25292111 h 414"/>
                  <a:gd name="T12" fmla="*/ 31764526 w 273"/>
                  <a:gd name="T13" fmla="*/ 25564333 h 414"/>
                  <a:gd name="T14" fmla="*/ 30623614 w 273"/>
                  <a:gd name="T15" fmla="*/ 27467799 h 414"/>
                  <a:gd name="T16" fmla="*/ 29101963 w 273"/>
                  <a:gd name="T17" fmla="*/ 23388645 h 414"/>
                  <a:gd name="T18" fmla="*/ 27009420 w 273"/>
                  <a:gd name="T19" fmla="*/ 14685893 h 414"/>
                  <a:gd name="T20" fmla="*/ 25107465 w 273"/>
                  <a:gd name="T21" fmla="*/ 9790596 h 414"/>
                  <a:gd name="T22" fmla="*/ 23395661 w 273"/>
                  <a:gd name="T23" fmla="*/ 6798764 h 414"/>
                  <a:gd name="T24" fmla="*/ 21112966 w 273"/>
                  <a:gd name="T25" fmla="*/ 3807454 h 414"/>
                  <a:gd name="T26" fmla="*/ 18259816 w 273"/>
                  <a:gd name="T27" fmla="*/ 1359544 h 414"/>
                  <a:gd name="T28" fmla="*/ 15216513 w 273"/>
                  <a:gd name="T29" fmla="*/ 1903466 h 414"/>
                  <a:gd name="T30" fmla="*/ 13124406 w 273"/>
                  <a:gd name="T31" fmla="*/ 5166998 h 414"/>
                  <a:gd name="T32" fmla="*/ 11983059 w 273"/>
                  <a:gd name="T33" fmla="*/ 6798764 h 414"/>
                  <a:gd name="T34" fmla="*/ 10841711 w 273"/>
                  <a:gd name="T35" fmla="*/ 8702752 h 414"/>
                  <a:gd name="T36" fmla="*/ 10651559 w 273"/>
                  <a:gd name="T37" fmla="*/ 11422362 h 414"/>
                  <a:gd name="T38" fmla="*/ 11031863 w 273"/>
                  <a:gd name="T39" fmla="*/ 16045438 h 414"/>
                  <a:gd name="T40" fmla="*/ 9890952 w 273"/>
                  <a:gd name="T41" fmla="*/ 21212957 h 414"/>
                  <a:gd name="T42" fmla="*/ 6276757 w 273"/>
                  <a:gd name="T43" fmla="*/ 24476489 h 414"/>
                  <a:gd name="T44" fmla="*/ 3233455 w 273"/>
                  <a:gd name="T45" fmla="*/ 28283943 h 414"/>
                  <a:gd name="T46" fmla="*/ 761044 w 273"/>
                  <a:gd name="T47" fmla="*/ 32091397 h 414"/>
                  <a:gd name="T48" fmla="*/ 7608257 w 273"/>
                  <a:gd name="T49" fmla="*/ 53848276 h 414"/>
                  <a:gd name="T50" fmla="*/ 13885014 w 273"/>
                  <a:gd name="T51" fmla="*/ 55751742 h 414"/>
                  <a:gd name="T52" fmla="*/ 15977557 w 273"/>
                  <a:gd name="T53" fmla="*/ 57111286 h 414"/>
                  <a:gd name="T54" fmla="*/ 17689360 w 273"/>
                  <a:gd name="T55" fmla="*/ 59286974 h 414"/>
                  <a:gd name="T56" fmla="*/ 18830708 w 273"/>
                  <a:gd name="T57" fmla="*/ 61462662 h 414"/>
                  <a:gd name="T58" fmla="*/ 19591315 w 273"/>
                  <a:gd name="T59" fmla="*/ 64454494 h 414"/>
                  <a:gd name="T60" fmla="*/ 20162207 w 273"/>
                  <a:gd name="T61" fmla="*/ 72069402 h 414"/>
                  <a:gd name="T62" fmla="*/ 19591315 w 273"/>
                  <a:gd name="T63" fmla="*/ 75876856 h 414"/>
                  <a:gd name="T64" fmla="*/ 18259816 w 273"/>
                  <a:gd name="T65" fmla="*/ 79684309 h 414"/>
                  <a:gd name="T66" fmla="*/ 16928316 w 273"/>
                  <a:gd name="T67" fmla="*/ 83491763 h 414"/>
                  <a:gd name="T68" fmla="*/ 16357861 w 273"/>
                  <a:gd name="T69" fmla="*/ 87299217 h 414"/>
                  <a:gd name="T70" fmla="*/ 17309056 w 273"/>
                  <a:gd name="T71" fmla="*/ 93282359 h 414"/>
                  <a:gd name="T72" fmla="*/ 20352359 w 273"/>
                  <a:gd name="T73" fmla="*/ 101712889 h 414"/>
                  <a:gd name="T74" fmla="*/ 22254314 w 273"/>
                  <a:gd name="T75" fmla="*/ 105792564 h 414"/>
                  <a:gd name="T76" fmla="*/ 24537009 w 273"/>
                  <a:gd name="T77" fmla="*/ 109056096 h 414"/>
                  <a:gd name="T78" fmla="*/ 26819268 w 273"/>
                  <a:gd name="T79" fmla="*/ 111775706 h 414"/>
                  <a:gd name="T80" fmla="*/ 29101963 w 273"/>
                  <a:gd name="T81" fmla="*/ 112591329 h 414"/>
                  <a:gd name="T82" fmla="*/ 40894870 w 273"/>
                  <a:gd name="T83" fmla="*/ 108239953 h 414"/>
                  <a:gd name="T84" fmla="*/ 48503126 w 273"/>
                  <a:gd name="T85" fmla="*/ 104704721 h 414"/>
                  <a:gd name="T86" fmla="*/ 50785385 w 273"/>
                  <a:gd name="T87" fmla="*/ 102529033 h 414"/>
                  <a:gd name="T88" fmla="*/ 51926732 w 273"/>
                  <a:gd name="T89" fmla="*/ 100625045 h 414"/>
                  <a:gd name="T90" fmla="*/ 51165689 w 273"/>
                  <a:gd name="T91" fmla="*/ 95729747 h 414"/>
                  <a:gd name="T92" fmla="*/ 50024777 w 273"/>
                  <a:gd name="T93" fmla="*/ 91106671 h 414"/>
                  <a:gd name="T94" fmla="*/ 46030279 w 273"/>
                  <a:gd name="T95" fmla="*/ 84035685 h 414"/>
                  <a:gd name="T96" fmla="*/ 42225933 w 273"/>
                  <a:gd name="T97" fmla="*/ 76692478 h 414"/>
                  <a:gd name="T98" fmla="*/ 40894870 w 273"/>
                  <a:gd name="T99" fmla="*/ 72341102 h 414"/>
                  <a:gd name="T100" fmla="*/ 40323978 w 273"/>
                  <a:gd name="T101" fmla="*/ 67174104 h 414"/>
                  <a:gd name="T102" fmla="*/ 40894870 w 273"/>
                  <a:gd name="T103" fmla="*/ 58471352 h 414"/>
                  <a:gd name="T104" fmla="*/ 42225933 w 273"/>
                  <a:gd name="T105" fmla="*/ 51672588 h 414"/>
                  <a:gd name="T106" fmla="*/ 43747584 w 273"/>
                  <a:gd name="T107" fmla="*/ 45417225 h 414"/>
                  <a:gd name="T108" fmla="*/ 44128324 w 273"/>
                  <a:gd name="T109" fmla="*/ 38618461 h 41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273" h="414">
                    <a:moveTo>
                      <a:pt x="232" y="142"/>
                    </a:moveTo>
                    <a:lnTo>
                      <a:pt x="225" y="140"/>
                    </a:lnTo>
                    <a:lnTo>
                      <a:pt x="219" y="137"/>
                    </a:lnTo>
                    <a:lnTo>
                      <a:pt x="213" y="133"/>
                    </a:lnTo>
                    <a:lnTo>
                      <a:pt x="209" y="130"/>
                    </a:lnTo>
                    <a:lnTo>
                      <a:pt x="201" y="121"/>
                    </a:lnTo>
                    <a:lnTo>
                      <a:pt x="195" y="113"/>
                    </a:lnTo>
                    <a:lnTo>
                      <a:pt x="190" y="105"/>
                    </a:lnTo>
                    <a:lnTo>
                      <a:pt x="185" y="99"/>
                    </a:lnTo>
                    <a:lnTo>
                      <a:pt x="183" y="96"/>
                    </a:lnTo>
                    <a:lnTo>
                      <a:pt x="179" y="95"/>
                    </a:lnTo>
                    <a:lnTo>
                      <a:pt x="176" y="93"/>
                    </a:lnTo>
                    <a:lnTo>
                      <a:pt x="173" y="93"/>
                    </a:lnTo>
                    <a:lnTo>
                      <a:pt x="167" y="94"/>
                    </a:lnTo>
                    <a:lnTo>
                      <a:pt x="164" y="97"/>
                    </a:lnTo>
                    <a:lnTo>
                      <a:pt x="161" y="101"/>
                    </a:lnTo>
                    <a:lnTo>
                      <a:pt x="159" y="105"/>
                    </a:lnTo>
                    <a:lnTo>
                      <a:pt x="153" y="86"/>
                    </a:lnTo>
                    <a:lnTo>
                      <a:pt x="147" y="68"/>
                    </a:lnTo>
                    <a:lnTo>
                      <a:pt x="142" y="54"/>
                    </a:lnTo>
                    <a:lnTo>
                      <a:pt x="135" y="41"/>
                    </a:lnTo>
                    <a:lnTo>
                      <a:pt x="132" y="36"/>
                    </a:lnTo>
                    <a:lnTo>
                      <a:pt x="128" y="30"/>
                    </a:lnTo>
                    <a:lnTo>
                      <a:pt x="123" y="25"/>
                    </a:lnTo>
                    <a:lnTo>
                      <a:pt x="118" y="20"/>
                    </a:lnTo>
                    <a:lnTo>
                      <a:pt x="111" y="14"/>
                    </a:lnTo>
                    <a:lnTo>
                      <a:pt x="103" y="9"/>
                    </a:lnTo>
                    <a:lnTo>
                      <a:pt x="96" y="5"/>
                    </a:lnTo>
                    <a:lnTo>
                      <a:pt x="86" y="0"/>
                    </a:lnTo>
                    <a:lnTo>
                      <a:pt x="80" y="7"/>
                    </a:lnTo>
                    <a:lnTo>
                      <a:pt x="73" y="15"/>
                    </a:lnTo>
                    <a:lnTo>
                      <a:pt x="69" y="19"/>
                    </a:lnTo>
                    <a:lnTo>
                      <a:pt x="66" y="23"/>
                    </a:lnTo>
                    <a:lnTo>
                      <a:pt x="63" y="25"/>
                    </a:lnTo>
                    <a:lnTo>
                      <a:pt x="60" y="25"/>
                    </a:lnTo>
                    <a:lnTo>
                      <a:pt x="57" y="32"/>
                    </a:lnTo>
                    <a:lnTo>
                      <a:pt x="57" y="37"/>
                    </a:lnTo>
                    <a:lnTo>
                      <a:pt x="56" y="42"/>
                    </a:lnTo>
                    <a:lnTo>
                      <a:pt x="57" y="47"/>
                    </a:lnTo>
                    <a:lnTo>
                      <a:pt x="58" y="59"/>
                    </a:lnTo>
                    <a:lnTo>
                      <a:pt x="60" y="75"/>
                    </a:lnTo>
                    <a:lnTo>
                      <a:pt x="52" y="78"/>
                    </a:lnTo>
                    <a:lnTo>
                      <a:pt x="43" y="83"/>
                    </a:lnTo>
                    <a:lnTo>
                      <a:pt x="33" y="90"/>
                    </a:lnTo>
                    <a:lnTo>
                      <a:pt x="24" y="97"/>
                    </a:lnTo>
                    <a:lnTo>
                      <a:pt x="17" y="104"/>
                    </a:lnTo>
                    <a:lnTo>
                      <a:pt x="9" y="111"/>
                    </a:lnTo>
                    <a:lnTo>
                      <a:pt x="4" y="118"/>
                    </a:lnTo>
                    <a:lnTo>
                      <a:pt x="0" y="123"/>
                    </a:lnTo>
                    <a:lnTo>
                      <a:pt x="40" y="198"/>
                    </a:lnTo>
                    <a:lnTo>
                      <a:pt x="57" y="201"/>
                    </a:lnTo>
                    <a:lnTo>
                      <a:pt x="73" y="205"/>
                    </a:lnTo>
                    <a:lnTo>
                      <a:pt x="78" y="207"/>
                    </a:lnTo>
                    <a:lnTo>
                      <a:pt x="84" y="210"/>
                    </a:lnTo>
                    <a:lnTo>
                      <a:pt x="89" y="214"/>
                    </a:lnTo>
                    <a:lnTo>
                      <a:pt x="93" y="218"/>
                    </a:lnTo>
                    <a:lnTo>
                      <a:pt x="96" y="222"/>
                    </a:lnTo>
                    <a:lnTo>
                      <a:pt x="99" y="226"/>
                    </a:lnTo>
                    <a:lnTo>
                      <a:pt x="101" y="231"/>
                    </a:lnTo>
                    <a:lnTo>
                      <a:pt x="103" y="237"/>
                    </a:lnTo>
                    <a:lnTo>
                      <a:pt x="106" y="251"/>
                    </a:lnTo>
                    <a:lnTo>
                      <a:pt x="106" y="265"/>
                    </a:lnTo>
                    <a:lnTo>
                      <a:pt x="106" y="272"/>
                    </a:lnTo>
                    <a:lnTo>
                      <a:pt x="103" y="279"/>
                    </a:lnTo>
                    <a:lnTo>
                      <a:pt x="100" y="286"/>
                    </a:lnTo>
                    <a:lnTo>
                      <a:pt x="96" y="293"/>
                    </a:lnTo>
                    <a:lnTo>
                      <a:pt x="93" y="301"/>
                    </a:lnTo>
                    <a:lnTo>
                      <a:pt x="89" y="307"/>
                    </a:lnTo>
                    <a:lnTo>
                      <a:pt x="87" y="314"/>
                    </a:lnTo>
                    <a:lnTo>
                      <a:pt x="86" y="321"/>
                    </a:lnTo>
                    <a:lnTo>
                      <a:pt x="88" y="330"/>
                    </a:lnTo>
                    <a:lnTo>
                      <a:pt x="91" y="343"/>
                    </a:lnTo>
                    <a:lnTo>
                      <a:pt x="98" y="359"/>
                    </a:lnTo>
                    <a:lnTo>
                      <a:pt x="107" y="374"/>
                    </a:lnTo>
                    <a:lnTo>
                      <a:pt x="112" y="382"/>
                    </a:lnTo>
                    <a:lnTo>
                      <a:pt x="117" y="389"/>
                    </a:lnTo>
                    <a:lnTo>
                      <a:pt x="122" y="395"/>
                    </a:lnTo>
                    <a:lnTo>
                      <a:pt x="129" y="401"/>
                    </a:lnTo>
                    <a:lnTo>
                      <a:pt x="134" y="406"/>
                    </a:lnTo>
                    <a:lnTo>
                      <a:pt x="141" y="411"/>
                    </a:lnTo>
                    <a:lnTo>
                      <a:pt x="146" y="413"/>
                    </a:lnTo>
                    <a:lnTo>
                      <a:pt x="153" y="414"/>
                    </a:lnTo>
                    <a:lnTo>
                      <a:pt x="174" y="410"/>
                    </a:lnTo>
                    <a:lnTo>
                      <a:pt x="215" y="398"/>
                    </a:lnTo>
                    <a:lnTo>
                      <a:pt x="236" y="392"/>
                    </a:lnTo>
                    <a:lnTo>
                      <a:pt x="255" y="385"/>
                    </a:lnTo>
                    <a:lnTo>
                      <a:pt x="262" y="381"/>
                    </a:lnTo>
                    <a:lnTo>
                      <a:pt x="267" y="377"/>
                    </a:lnTo>
                    <a:lnTo>
                      <a:pt x="271" y="374"/>
                    </a:lnTo>
                    <a:lnTo>
                      <a:pt x="273" y="370"/>
                    </a:lnTo>
                    <a:lnTo>
                      <a:pt x="271" y="361"/>
                    </a:lnTo>
                    <a:lnTo>
                      <a:pt x="269" y="352"/>
                    </a:lnTo>
                    <a:lnTo>
                      <a:pt x="267" y="343"/>
                    </a:lnTo>
                    <a:lnTo>
                      <a:pt x="263" y="335"/>
                    </a:lnTo>
                    <a:lnTo>
                      <a:pt x="253" y="321"/>
                    </a:lnTo>
                    <a:lnTo>
                      <a:pt x="242" y="309"/>
                    </a:lnTo>
                    <a:lnTo>
                      <a:pt x="231" y="295"/>
                    </a:lnTo>
                    <a:lnTo>
                      <a:pt x="222" y="282"/>
                    </a:lnTo>
                    <a:lnTo>
                      <a:pt x="218" y="274"/>
                    </a:lnTo>
                    <a:lnTo>
                      <a:pt x="215" y="266"/>
                    </a:lnTo>
                    <a:lnTo>
                      <a:pt x="213" y="257"/>
                    </a:lnTo>
                    <a:lnTo>
                      <a:pt x="212" y="247"/>
                    </a:lnTo>
                    <a:lnTo>
                      <a:pt x="213" y="229"/>
                    </a:lnTo>
                    <a:lnTo>
                      <a:pt x="215" y="215"/>
                    </a:lnTo>
                    <a:lnTo>
                      <a:pt x="219" y="202"/>
                    </a:lnTo>
                    <a:lnTo>
                      <a:pt x="222" y="190"/>
                    </a:lnTo>
                    <a:lnTo>
                      <a:pt x="226" y="178"/>
                    </a:lnTo>
                    <a:lnTo>
                      <a:pt x="230" y="167"/>
                    </a:lnTo>
                    <a:lnTo>
                      <a:pt x="232" y="155"/>
                    </a:lnTo>
                    <a:lnTo>
                      <a:pt x="232" y="142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657" name="Group 164">
                <a:extLst>
                  <a:ext uri="{FF2B5EF4-FFF2-40B4-BE49-F238E27FC236}">
                    <a16:creationId xmlns:a16="http://schemas.microsoft.com/office/drawing/2014/main" id="{6F387CD1-9384-4086-BAC2-DBD062CE4983}"/>
                  </a:ext>
                </a:extLst>
              </p:cNvPr>
              <p:cNvGrpSpPr>
                <a:grpSpLocks/>
              </p:cNvGrpSpPr>
              <p:nvPr>
                <p:custDataLst>
                  <p:tags r:id="rId95"/>
                </p:custDataLst>
              </p:nvPr>
            </p:nvGrpSpPr>
            <p:grpSpPr bwMode="auto">
              <a:xfrm>
                <a:off x="1819804" y="4039032"/>
                <a:ext cx="390505" cy="451569"/>
                <a:chOff x="1486" y="2412"/>
                <a:chExt cx="244" cy="256"/>
              </a:xfrm>
            </p:grpSpPr>
            <p:sp>
              <p:nvSpPr>
                <p:cNvPr id="1042" name="Freeform 165">
                  <a:extLst>
                    <a:ext uri="{FF2B5EF4-FFF2-40B4-BE49-F238E27FC236}">
                      <a16:creationId xmlns:a16="http://schemas.microsoft.com/office/drawing/2014/main" id="{3201E330-2066-4BF9-9EA2-E38216A4F6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9" y="2457"/>
                  <a:ext cx="18" cy="7"/>
                </a:xfrm>
                <a:custGeom>
                  <a:avLst/>
                  <a:gdLst>
                    <a:gd name="T0" fmla="*/ 0 w 54"/>
                    <a:gd name="T1" fmla="*/ 0 h 22"/>
                    <a:gd name="T2" fmla="*/ 0 w 54"/>
                    <a:gd name="T3" fmla="*/ 2 h 22"/>
                    <a:gd name="T4" fmla="*/ 1 w 54"/>
                    <a:gd name="T5" fmla="*/ 2 h 22"/>
                    <a:gd name="T6" fmla="*/ 1 w 54"/>
                    <a:gd name="T7" fmla="*/ 2 h 22"/>
                    <a:gd name="T8" fmla="*/ 2 w 54"/>
                    <a:gd name="T9" fmla="*/ 2 h 22"/>
                    <a:gd name="T10" fmla="*/ 2 w 54"/>
                    <a:gd name="T11" fmla="*/ 2 h 22"/>
                    <a:gd name="T12" fmla="*/ 3 w 54"/>
                    <a:gd name="T13" fmla="*/ 2 h 22"/>
                    <a:gd name="T14" fmla="*/ 3 w 54"/>
                    <a:gd name="T15" fmla="*/ 2 h 22"/>
                    <a:gd name="T16" fmla="*/ 3 w 54"/>
                    <a:gd name="T17" fmla="*/ 2 h 22"/>
                    <a:gd name="T18" fmla="*/ 4 w 54"/>
                    <a:gd name="T19" fmla="*/ 2 h 22"/>
                    <a:gd name="T20" fmla="*/ 4 w 54"/>
                    <a:gd name="T21" fmla="*/ 2 h 22"/>
                    <a:gd name="T22" fmla="*/ 5 w 54"/>
                    <a:gd name="T23" fmla="*/ 1 h 22"/>
                    <a:gd name="T24" fmla="*/ 5 w 54"/>
                    <a:gd name="T25" fmla="*/ 1 h 22"/>
                    <a:gd name="T26" fmla="*/ 6 w 54"/>
                    <a:gd name="T27" fmla="*/ 1 h 22"/>
                    <a:gd name="T28" fmla="*/ 4 w 54"/>
                    <a:gd name="T29" fmla="*/ 1 h 22"/>
                    <a:gd name="T30" fmla="*/ 2 w 54"/>
                    <a:gd name="T31" fmla="*/ 0 h 22"/>
                    <a:gd name="T32" fmla="*/ 1 w 54"/>
                    <a:gd name="T33" fmla="*/ 0 h 22"/>
                    <a:gd name="T34" fmla="*/ 0 w 54"/>
                    <a:gd name="T35" fmla="*/ 0 h 2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54" h="22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6" y="20"/>
                      </a:lnTo>
                      <a:lnTo>
                        <a:pt x="10" y="21"/>
                      </a:lnTo>
                      <a:lnTo>
                        <a:pt x="14" y="22"/>
                      </a:lnTo>
                      <a:lnTo>
                        <a:pt x="20" y="22"/>
                      </a:lnTo>
                      <a:lnTo>
                        <a:pt x="23" y="22"/>
                      </a:lnTo>
                      <a:lnTo>
                        <a:pt x="27" y="21"/>
                      </a:lnTo>
                      <a:lnTo>
                        <a:pt x="31" y="20"/>
                      </a:lnTo>
                      <a:lnTo>
                        <a:pt x="33" y="18"/>
                      </a:lnTo>
                      <a:lnTo>
                        <a:pt x="35" y="16"/>
                      </a:lnTo>
                      <a:lnTo>
                        <a:pt x="41" y="12"/>
                      </a:lnTo>
                      <a:lnTo>
                        <a:pt x="47" y="8"/>
                      </a:lnTo>
                      <a:lnTo>
                        <a:pt x="54" y="6"/>
                      </a:lnTo>
                      <a:lnTo>
                        <a:pt x="36" y="5"/>
                      </a:lnTo>
                      <a:lnTo>
                        <a:pt x="20" y="3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43" name="Freeform 166">
                  <a:extLst>
                    <a:ext uri="{FF2B5EF4-FFF2-40B4-BE49-F238E27FC236}">
                      <a16:creationId xmlns:a16="http://schemas.microsoft.com/office/drawing/2014/main" id="{D09515AB-81FA-45E5-A2D5-A6ED1FB5DAD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" y="2412"/>
                  <a:ext cx="2" cy="8"/>
                </a:xfrm>
                <a:custGeom>
                  <a:avLst/>
                  <a:gdLst>
                    <a:gd name="T0" fmla="*/ 1 w 6"/>
                    <a:gd name="T1" fmla="*/ 3 h 24"/>
                    <a:gd name="T2" fmla="*/ 1 w 6"/>
                    <a:gd name="T3" fmla="*/ 0 h 24"/>
                    <a:gd name="T4" fmla="*/ 0 w 6"/>
                    <a:gd name="T5" fmla="*/ 0 h 24"/>
                    <a:gd name="T6" fmla="*/ 0 w 6"/>
                    <a:gd name="T7" fmla="*/ 0 h 24"/>
                    <a:gd name="T8" fmla="*/ 0 w 6"/>
                    <a:gd name="T9" fmla="*/ 1 h 24"/>
                    <a:gd name="T10" fmla="*/ 0 w 6"/>
                    <a:gd name="T11" fmla="*/ 1 h 24"/>
                    <a:gd name="T12" fmla="*/ 0 w 6"/>
                    <a:gd name="T13" fmla="*/ 2 h 24"/>
                    <a:gd name="T14" fmla="*/ 0 w 6"/>
                    <a:gd name="T15" fmla="*/ 2 h 24"/>
                    <a:gd name="T16" fmla="*/ 0 w 6"/>
                    <a:gd name="T17" fmla="*/ 3 h 24"/>
                    <a:gd name="T18" fmla="*/ 1 w 6"/>
                    <a:gd name="T19" fmla="*/ 3 h 24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</a:gdLst>
                  <a:ahLst/>
                  <a:cxnLst>
                    <a:cxn ang="T20">
                      <a:pos x="T0" y="T1"/>
                    </a:cxn>
                    <a:cxn ang="T21">
                      <a:pos x="T2" y="T3"/>
                    </a:cxn>
                    <a:cxn ang="T22">
                      <a:pos x="T4" y="T5"/>
                    </a:cxn>
                    <a:cxn ang="T23">
                      <a:pos x="T6" y="T7"/>
                    </a:cxn>
                    <a:cxn ang="T24">
                      <a:pos x="T8" y="T9"/>
                    </a:cxn>
                    <a:cxn ang="T25">
                      <a:pos x="T10" y="T11"/>
                    </a:cxn>
                    <a:cxn ang="T26">
                      <a:pos x="T12" y="T13"/>
                    </a:cxn>
                    <a:cxn ang="T27">
                      <a:pos x="T14" y="T15"/>
                    </a:cxn>
                    <a:cxn ang="T28">
                      <a:pos x="T16" y="T17"/>
                    </a:cxn>
                    <a:cxn ang="T29">
                      <a:pos x="T18" y="T19"/>
                    </a:cxn>
                  </a:cxnLst>
                  <a:rect l="0" t="0" r="r" b="b"/>
                  <a:pathLst>
                    <a:path w="6" h="24">
                      <a:moveTo>
                        <a:pt x="6" y="24"/>
                      </a:moveTo>
                      <a:lnTo>
                        <a:pt x="6" y="0"/>
                      </a:lnTo>
                      <a:lnTo>
                        <a:pt x="4" y="1"/>
                      </a:lnTo>
                      <a:lnTo>
                        <a:pt x="1" y="3"/>
                      </a:lnTo>
                      <a:lnTo>
                        <a:pt x="0" y="7"/>
                      </a:lnTo>
                      <a:lnTo>
                        <a:pt x="0" y="12"/>
                      </a:lnTo>
                      <a:lnTo>
                        <a:pt x="0" y="16"/>
                      </a:lnTo>
                      <a:lnTo>
                        <a:pt x="1" y="20"/>
                      </a:lnTo>
                      <a:lnTo>
                        <a:pt x="4" y="23"/>
                      </a:lnTo>
                      <a:lnTo>
                        <a:pt x="6" y="2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44" name="Freeform 167">
                  <a:extLst>
                    <a:ext uri="{FF2B5EF4-FFF2-40B4-BE49-F238E27FC236}">
                      <a16:creationId xmlns:a16="http://schemas.microsoft.com/office/drawing/2014/main" id="{1B24A84F-6C5C-436F-A5A3-EFE6427BDE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57" y="2438"/>
                  <a:ext cx="8" cy="4"/>
                </a:xfrm>
                <a:custGeom>
                  <a:avLst/>
                  <a:gdLst>
                    <a:gd name="T0" fmla="*/ 0 w 27"/>
                    <a:gd name="T1" fmla="*/ 1 h 12"/>
                    <a:gd name="T2" fmla="*/ 2 w 27"/>
                    <a:gd name="T3" fmla="*/ 1 h 12"/>
                    <a:gd name="T4" fmla="*/ 1 w 27"/>
                    <a:gd name="T5" fmla="*/ 0 h 12"/>
                    <a:gd name="T6" fmla="*/ 0 w 27"/>
                    <a:gd name="T7" fmla="*/ 1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27" h="12">
                      <a:moveTo>
                        <a:pt x="0" y="12"/>
                      </a:moveTo>
                      <a:lnTo>
                        <a:pt x="27" y="12"/>
                      </a:lnTo>
                      <a:lnTo>
                        <a:pt x="14" y="0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45" name="Freeform 168">
                  <a:extLst>
                    <a:ext uri="{FF2B5EF4-FFF2-40B4-BE49-F238E27FC236}">
                      <a16:creationId xmlns:a16="http://schemas.microsoft.com/office/drawing/2014/main" id="{B58B633A-649E-48E8-8B0F-A6D060EA6B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6" y="2444"/>
                  <a:ext cx="244" cy="224"/>
                </a:xfrm>
                <a:custGeom>
                  <a:avLst/>
                  <a:gdLst>
                    <a:gd name="T0" fmla="*/ 1 w 743"/>
                    <a:gd name="T1" fmla="*/ 23 h 672"/>
                    <a:gd name="T2" fmla="*/ 5 w 743"/>
                    <a:gd name="T3" fmla="*/ 30 h 672"/>
                    <a:gd name="T4" fmla="*/ 13 w 743"/>
                    <a:gd name="T5" fmla="*/ 33 h 672"/>
                    <a:gd name="T6" fmla="*/ 18 w 743"/>
                    <a:gd name="T7" fmla="*/ 35 h 672"/>
                    <a:gd name="T8" fmla="*/ 21 w 743"/>
                    <a:gd name="T9" fmla="*/ 38 h 672"/>
                    <a:gd name="T10" fmla="*/ 32 w 743"/>
                    <a:gd name="T11" fmla="*/ 42 h 672"/>
                    <a:gd name="T12" fmla="*/ 31 w 743"/>
                    <a:gd name="T13" fmla="*/ 47 h 672"/>
                    <a:gd name="T14" fmla="*/ 33 w 743"/>
                    <a:gd name="T15" fmla="*/ 57 h 672"/>
                    <a:gd name="T16" fmla="*/ 33 w 743"/>
                    <a:gd name="T17" fmla="*/ 59 h 672"/>
                    <a:gd name="T18" fmla="*/ 33 w 743"/>
                    <a:gd name="T19" fmla="*/ 63 h 672"/>
                    <a:gd name="T20" fmla="*/ 35 w 743"/>
                    <a:gd name="T21" fmla="*/ 69 h 672"/>
                    <a:gd name="T22" fmla="*/ 40 w 743"/>
                    <a:gd name="T23" fmla="*/ 73 h 672"/>
                    <a:gd name="T24" fmla="*/ 45 w 743"/>
                    <a:gd name="T25" fmla="*/ 75 h 672"/>
                    <a:gd name="T26" fmla="*/ 50 w 743"/>
                    <a:gd name="T27" fmla="*/ 73 h 672"/>
                    <a:gd name="T28" fmla="*/ 55 w 743"/>
                    <a:gd name="T29" fmla="*/ 69 h 672"/>
                    <a:gd name="T30" fmla="*/ 56 w 743"/>
                    <a:gd name="T31" fmla="*/ 65 h 672"/>
                    <a:gd name="T32" fmla="*/ 52 w 743"/>
                    <a:gd name="T33" fmla="*/ 52 h 672"/>
                    <a:gd name="T34" fmla="*/ 62 w 743"/>
                    <a:gd name="T35" fmla="*/ 56 h 672"/>
                    <a:gd name="T36" fmla="*/ 65 w 743"/>
                    <a:gd name="T37" fmla="*/ 53 h 672"/>
                    <a:gd name="T38" fmla="*/ 70 w 743"/>
                    <a:gd name="T39" fmla="*/ 49 h 672"/>
                    <a:gd name="T40" fmla="*/ 72 w 743"/>
                    <a:gd name="T41" fmla="*/ 49 h 672"/>
                    <a:gd name="T42" fmla="*/ 74 w 743"/>
                    <a:gd name="T43" fmla="*/ 48 h 672"/>
                    <a:gd name="T44" fmla="*/ 72 w 743"/>
                    <a:gd name="T45" fmla="*/ 36 h 672"/>
                    <a:gd name="T46" fmla="*/ 77 w 743"/>
                    <a:gd name="T47" fmla="*/ 33 h 672"/>
                    <a:gd name="T48" fmla="*/ 77 w 743"/>
                    <a:gd name="T49" fmla="*/ 28 h 672"/>
                    <a:gd name="T50" fmla="*/ 78 w 743"/>
                    <a:gd name="T51" fmla="*/ 26 h 672"/>
                    <a:gd name="T52" fmla="*/ 78 w 743"/>
                    <a:gd name="T53" fmla="*/ 24 h 672"/>
                    <a:gd name="T54" fmla="*/ 76 w 743"/>
                    <a:gd name="T55" fmla="*/ 22 h 672"/>
                    <a:gd name="T56" fmla="*/ 74 w 743"/>
                    <a:gd name="T57" fmla="*/ 19 h 672"/>
                    <a:gd name="T58" fmla="*/ 72 w 743"/>
                    <a:gd name="T59" fmla="*/ 16 h 672"/>
                    <a:gd name="T60" fmla="*/ 69 w 743"/>
                    <a:gd name="T61" fmla="*/ 17 h 672"/>
                    <a:gd name="T62" fmla="*/ 68 w 743"/>
                    <a:gd name="T63" fmla="*/ 15 h 672"/>
                    <a:gd name="T64" fmla="*/ 65 w 743"/>
                    <a:gd name="T65" fmla="*/ 13 h 672"/>
                    <a:gd name="T66" fmla="*/ 63 w 743"/>
                    <a:gd name="T67" fmla="*/ 11 h 672"/>
                    <a:gd name="T68" fmla="*/ 58 w 743"/>
                    <a:gd name="T69" fmla="*/ 8 h 672"/>
                    <a:gd name="T70" fmla="*/ 53 w 743"/>
                    <a:gd name="T71" fmla="*/ 10 h 672"/>
                    <a:gd name="T72" fmla="*/ 51 w 743"/>
                    <a:gd name="T73" fmla="*/ 11 h 672"/>
                    <a:gd name="T74" fmla="*/ 47 w 743"/>
                    <a:gd name="T75" fmla="*/ 13 h 672"/>
                    <a:gd name="T76" fmla="*/ 45 w 743"/>
                    <a:gd name="T77" fmla="*/ 12 h 672"/>
                    <a:gd name="T78" fmla="*/ 42 w 743"/>
                    <a:gd name="T79" fmla="*/ 11 h 672"/>
                    <a:gd name="T80" fmla="*/ 39 w 743"/>
                    <a:gd name="T81" fmla="*/ 9 h 672"/>
                    <a:gd name="T82" fmla="*/ 34 w 743"/>
                    <a:gd name="T83" fmla="*/ 9 h 672"/>
                    <a:gd name="T84" fmla="*/ 32 w 743"/>
                    <a:gd name="T85" fmla="*/ 10 h 672"/>
                    <a:gd name="T86" fmla="*/ 27 w 743"/>
                    <a:gd name="T87" fmla="*/ 10 h 672"/>
                    <a:gd name="T88" fmla="*/ 25 w 743"/>
                    <a:gd name="T89" fmla="*/ 6 h 672"/>
                    <a:gd name="T90" fmla="*/ 19 w 743"/>
                    <a:gd name="T91" fmla="*/ 2 h 672"/>
                    <a:gd name="T92" fmla="*/ 16 w 743"/>
                    <a:gd name="T93" fmla="*/ 1 h 672"/>
                    <a:gd name="T94" fmla="*/ 15 w 743"/>
                    <a:gd name="T95" fmla="*/ 5 h 672"/>
                    <a:gd name="T96" fmla="*/ 13 w 743"/>
                    <a:gd name="T97" fmla="*/ 8 h 672"/>
                    <a:gd name="T98" fmla="*/ 13 w 743"/>
                    <a:gd name="T99" fmla="*/ 15 h 672"/>
                    <a:gd name="T100" fmla="*/ 11 w 743"/>
                    <a:gd name="T101" fmla="*/ 22 h 672"/>
                    <a:gd name="T102" fmla="*/ 10 w 743"/>
                    <a:gd name="T103" fmla="*/ 21 h 672"/>
                    <a:gd name="T104" fmla="*/ 8 w 743"/>
                    <a:gd name="T105" fmla="*/ 20 h 672"/>
                    <a:gd name="T106" fmla="*/ 6 w 743"/>
                    <a:gd name="T107" fmla="*/ 19 h 672"/>
                    <a:gd name="T108" fmla="*/ 6 w 743"/>
                    <a:gd name="T109" fmla="*/ 13 h 672"/>
                    <a:gd name="T110" fmla="*/ 8 w 743"/>
                    <a:gd name="T111" fmla="*/ 7 h 672"/>
                    <a:gd name="T112" fmla="*/ 11 w 743"/>
                    <a:gd name="T113" fmla="*/ 2 h 672"/>
                    <a:gd name="T114" fmla="*/ 6 w 743"/>
                    <a:gd name="T115" fmla="*/ 3 h 672"/>
                    <a:gd name="T116" fmla="*/ 2 w 743"/>
                    <a:gd name="T117" fmla="*/ 8 h 672"/>
                    <a:gd name="T118" fmla="*/ 0 w 743"/>
                    <a:gd name="T119" fmla="*/ 13 h 672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0" t="0" r="r" b="b"/>
                  <a:pathLst>
                    <a:path w="743" h="672">
                      <a:moveTo>
                        <a:pt x="0" y="143"/>
                      </a:moveTo>
                      <a:lnTo>
                        <a:pt x="0" y="160"/>
                      </a:lnTo>
                      <a:lnTo>
                        <a:pt x="2" y="177"/>
                      </a:lnTo>
                      <a:lnTo>
                        <a:pt x="5" y="194"/>
                      </a:lnTo>
                      <a:lnTo>
                        <a:pt x="9" y="208"/>
                      </a:lnTo>
                      <a:lnTo>
                        <a:pt x="15" y="222"/>
                      </a:lnTo>
                      <a:lnTo>
                        <a:pt x="22" y="235"/>
                      </a:lnTo>
                      <a:lnTo>
                        <a:pt x="29" y="246"/>
                      </a:lnTo>
                      <a:lnTo>
                        <a:pt x="39" y="257"/>
                      </a:lnTo>
                      <a:lnTo>
                        <a:pt x="50" y="266"/>
                      </a:lnTo>
                      <a:lnTo>
                        <a:pt x="61" y="274"/>
                      </a:lnTo>
                      <a:lnTo>
                        <a:pt x="74" y="280"/>
                      </a:lnTo>
                      <a:lnTo>
                        <a:pt x="89" y="286"/>
                      </a:lnTo>
                      <a:lnTo>
                        <a:pt x="104" y="291"/>
                      </a:lnTo>
                      <a:lnTo>
                        <a:pt x="121" y="294"/>
                      </a:lnTo>
                      <a:lnTo>
                        <a:pt x="139" y="296"/>
                      </a:lnTo>
                      <a:lnTo>
                        <a:pt x="159" y="297"/>
                      </a:lnTo>
                      <a:lnTo>
                        <a:pt x="160" y="302"/>
                      </a:lnTo>
                      <a:lnTo>
                        <a:pt x="162" y="309"/>
                      </a:lnTo>
                      <a:lnTo>
                        <a:pt x="166" y="316"/>
                      </a:lnTo>
                      <a:lnTo>
                        <a:pt x="171" y="323"/>
                      </a:lnTo>
                      <a:lnTo>
                        <a:pt x="177" y="331"/>
                      </a:lnTo>
                      <a:lnTo>
                        <a:pt x="184" y="337"/>
                      </a:lnTo>
                      <a:lnTo>
                        <a:pt x="191" y="342"/>
                      </a:lnTo>
                      <a:lnTo>
                        <a:pt x="198" y="346"/>
                      </a:lnTo>
                      <a:lnTo>
                        <a:pt x="311" y="346"/>
                      </a:lnTo>
                      <a:lnTo>
                        <a:pt x="308" y="357"/>
                      </a:lnTo>
                      <a:lnTo>
                        <a:pt x="305" y="365"/>
                      </a:lnTo>
                      <a:lnTo>
                        <a:pt x="300" y="372"/>
                      </a:lnTo>
                      <a:lnTo>
                        <a:pt x="296" y="379"/>
                      </a:lnTo>
                      <a:lnTo>
                        <a:pt x="292" y="385"/>
                      </a:lnTo>
                      <a:lnTo>
                        <a:pt x="288" y="391"/>
                      </a:lnTo>
                      <a:lnTo>
                        <a:pt x="286" y="399"/>
                      </a:lnTo>
                      <a:lnTo>
                        <a:pt x="285" y="408"/>
                      </a:lnTo>
                      <a:lnTo>
                        <a:pt x="286" y="420"/>
                      </a:lnTo>
                      <a:lnTo>
                        <a:pt x="289" y="435"/>
                      </a:lnTo>
                      <a:lnTo>
                        <a:pt x="293" y="451"/>
                      </a:lnTo>
                      <a:lnTo>
                        <a:pt x="298" y="467"/>
                      </a:lnTo>
                      <a:lnTo>
                        <a:pt x="307" y="495"/>
                      </a:lnTo>
                      <a:lnTo>
                        <a:pt x="311" y="513"/>
                      </a:lnTo>
                      <a:lnTo>
                        <a:pt x="310" y="517"/>
                      </a:lnTo>
                      <a:lnTo>
                        <a:pt x="309" y="522"/>
                      </a:lnTo>
                      <a:lnTo>
                        <a:pt x="307" y="526"/>
                      </a:lnTo>
                      <a:lnTo>
                        <a:pt x="305" y="531"/>
                      </a:lnTo>
                      <a:lnTo>
                        <a:pt x="303" y="535"/>
                      </a:lnTo>
                      <a:lnTo>
                        <a:pt x="300" y="540"/>
                      </a:lnTo>
                      <a:lnTo>
                        <a:pt x="298" y="544"/>
                      </a:lnTo>
                      <a:lnTo>
                        <a:pt x="298" y="549"/>
                      </a:lnTo>
                      <a:lnTo>
                        <a:pt x="299" y="557"/>
                      </a:lnTo>
                      <a:lnTo>
                        <a:pt x="302" y="566"/>
                      </a:lnTo>
                      <a:lnTo>
                        <a:pt x="305" y="577"/>
                      </a:lnTo>
                      <a:lnTo>
                        <a:pt x="309" y="587"/>
                      </a:lnTo>
                      <a:lnTo>
                        <a:pt x="315" y="597"/>
                      </a:lnTo>
                      <a:lnTo>
                        <a:pt x="321" y="607"/>
                      </a:lnTo>
                      <a:lnTo>
                        <a:pt x="328" y="617"/>
                      </a:lnTo>
                      <a:lnTo>
                        <a:pt x="337" y="627"/>
                      </a:lnTo>
                      <a:lnTo>
                        <a:pt x="344" y="637"/>
                      </a:lnTo>
                      <a:lnTo>
                        <a:pt x="353" y="645"/>
                      </a:lnTo>
                      <a:lnTo>
                        <a:pt x="362" y="653"/>
                      </a:lnTo>
                      <a:lnTo>
                        <a:pt x="371" y="659"/>
                      </a:lnTo>
                      <a:lnTo>
                        <a:pt x="379" y="664"/>
                      </a:lnTo>
                      <a:lnTo>
                        <a:pt x="388" y="669"/>
                      </a:lnTo>
                      <a:lnTo>
                        <a:pt x="397" y="671"/>
                      </a:lnTo>
                      <a:lnTo>
                        <a:pt x="405" y="672"/>
                      </a:lnTo>
                      <a:lnTo>
                        <a:pt x="415" y="671"/>
                      </a:lnTo>
                      <a:lnTo>
                        <a:pt x="424" y="670"/>
                      </a:lnTo>
                      <a:lnTo>
                        <a:pt x="435" y="667"/>
                      </a:lnTo>
                      <a:lnTo>
                        <a:pt x="445" y="663"/>
                      </a:lnTo>
                      <a:lnTo>
                        <a:pt x="455" y="658"/>
                      </a:lnTo>
                      <a:lnTo>
                        <a:pt x="465" y="653"/>
                      </a:lnTo>
                      <a:lnTo>
                        <a:pt x="475" y="647"/>
                      </a:lnTo>
                      <a:lnTo>
                        <a:pt x="484" y="641"/>
                      </a:lnTo>
                      <a:lnTo>
                        <a:pt x="493" y="634"/>
                      </a:lnTo>
                      <a:lnTo>
                        <a:pt x="500" y="627"/>
                      </a:lnTo>
                      <a:lnTo>
                        <a:pt x="507" y="619"/>
                      </a:lnTo>
                      <a:lnTo>
                        <a:pt x="512" y="612"/>
                      </a:lnTo>
                      <a:lnTo>
                        <a:pt x="518" y="605"/>
                      </a:lnTo>
                      <a:lnTo>
                        <a:pt x="521" y="599"/>
                      </a:lnTo>
                      <a:lnTo>
                        <a:pt x="523" y="592"/>
                      </a:lnTo>
                      <a:lnTo>
                        <a:pt x="524" y="586"/>
                      </a:lnTo>
                      <a:lnTo>
                        <a:pt x="518" y="574"/>
                      </a:lnTo>
                      <a:lnTo>
                        <a:pt x="504" y="551"/>
                      </a:lnTo>
                      <a:lnTo>
                        <a:pt x="487" y="528"/>
                      </a:lnTo>
                      <a:lnTo>
                        <a:pt x="477" y="513"/>
                      </a:lnTo>
                      <a:lnTo>
                        <a:pt x="477" y="469"/>
                      </a:lnTo>
                      <a:lnTo>
                        <a:pt x="504" y="469"/>
                      </a:lnTo>
                      <a:lnTo>
                        <a:pt x="518" y="476"/>
                      </a:lnTo>
                      <a:lnTo>
                        <a:pt x="541" y="484"/>
                      </a:lnTo>
                      <a:lnTo>
                        <a:pt x="564" y="493"/>
                      </a:lnTo>
                      <a:lnTo>
                        <a:pt x="577" y="500"/>
                      </a:lnTo>
                      <a:lnTo>
                        <a:pt x="578" y="496"/>
                      </a:lnTo>
                      <a:lnTo>
                        <a:pt x="580" y="493"/>
                      </a:lnTo>
                      <a:lnTo>
                        <a:pt x="584" y="489"/>
                      </a:lnTo>
                      <a:lnTo>
                        <a:pt x="589" y="485"/>
                      </a:lnTo>
                      <a:lnTo>
                        <a:pt x="600" y="477"/>
                      </a:lnTo>
                      <a:lnTo>
                        <a:pt x="614" y="469"/>
                      </a:lnTo>
                      <a:lnTo>
                        <a:pt x="629" y="461"/>
                      </a:lnTo>
                      <a:lnTo>
                        <a:pt x="642" y="453"/>
                      </a:lnTo>
                      <a:lnTo>
                        <a:pt x="647" y="449"/>
                      </a:lnTo>
                      <a:lnTo>
                        <a:pt x="652" y="445"/>
                      </a:lnTo>
                      <a:lnTo>
                        <a:pt x="655" y="442"/>
                      </a:lnTo>
                      <a:lnTo>
                        <a:pt x="657" y="438"/>
                      </a:lnTo>
                      <a:lnTo>
                        <a:pt x="662" y="440"/>
                      </a:lnTo>
                      <a:lnTo>
                        <a:pt x="666" y="441"/>
                      </a:lnTo>
                      <a:lnTo>
                        <a:pt x="669" y="441"/>
                      </a:lnTo>
                      <a:lnTo>
                        <a:pt x="674" y="441"/>
                      </a:lnTo>
                      <a:lnTo>
                        <a:pt x="677" y="440"/>
                      </a:lnTo>
                      <a:lnTo>
                        <a:pt x="679" y="439"/>
                      </a:lnTo>
                      <a:lnTo>
                        <a:pt x="681" y="437"/>
                      </a:lnTo>
                      <a:lnTo>
                        <a:pt x="685" y="435"/>
                      </a:lnTo>
                      <a:lnTo>
                        <a:pt x="691" y="424"/>
                      </a:lnTo>
                      <a:lnTo>
                        <a:pt x="697" y="414"/>
                      </a:lnTo>
                      <a:lnTo>
                        <a:pt x="657" y="339"/>
                      </a:lnTo>
                      <a:lnTo>
                        <a:pt x="661" y="334"/>
                      </a:lnTo>
                      <a:lnTo>
                        <a:pt x="666" y="327"/>
                      </a:lnTo>
                      <a:lnTo>
                        <a:pt x="674" y="320"/>
                      </a:lnTo>
                      <a:lnTo>
                        <a:pt x="681" y="313"/>
                      </a:lnTo>
                      <a:lnTo>
                        <a:pt x="690" y="306"/>
                      </a:lnTo>
                      <a:lnTo>
                        <a:pt x="700" y="299"/>
                      </a:lnTo>
                      <a:lnTo>
                        <a:pt x="709" y="294"/>
                      </a:lnTo>
                      <a:lnTo>
                        <a:pt x="717" y="291"/>
                      </a:lnTo>
                      <a:lnTo>
                        <a:pt x="715" y="275"/>
                      </a:lnTo>
                      <a:lnTo>
                        <a:pt x="714" y="263"/>
                      </a:lnTo>
                      <a:lnTo>
                        <a:pt x="713" y="258"/>
                      </a:lnTo>
                      <a:lnTo>
                        <a:pt x="714" y="253"/>
                      </a:lnTo>
                      <a:lnTo>
                        <a:pt x="714" y="248"/>
                      </a:lnTo>
                      <a:lnTo>
                        <a:pt x="717" y="241"/>
                      </a:lnTo>
                      <a:lnTo>
                        <a:pt x="720" y="241"/>
                      </a:lnTo>
                      <a:lnTo>
                        <a:pt x="723" y="239"/>
                      </a:lnTo>
                      <a:lnTo>
                        <a:pt x="726" y="235"/>
                      </a:lnTo>
                      <a:lnTo>
                        <a:pt x="730" y="231"/>
                      </a:lnTo>
                      <a:lnTo>
                        <a:pt x="737" y="223"/>
                      </a:lnTo>
                      <a:lnTo>
                        <a:pt x="743" y="216"/>
                      </a:lnTo>
                      <a:lnTo>
                        <a:pt x="735" y="215"/>
                      </a:lnTo>
                      <a:lnTo>
                        <a:pt x="728" y="213"/>
                      </a:lnTo>
                      <a:lnTo>
                        <a:pt x="721" y="210"/>
                      </a:lnTo>
                      <a:lnTo>
                        <a:pt x="714" y="207"/>
                      </a:lnTo>
                      <a:lnTo>
                        <a:pt x="709" y="204"/>
                      </a:lnTo>
                      <a:lnTo>
                        <a:pt x="703" y="200"/>
                      </a:lnTo>
                      <a:lnTo>
                        <a:pt x="700" y="196"/>
                      </a:lnTo>
                      <a:lnTo>
                        <a:pt x="696" y="191"/>
                      </a:lnTo>
                      <a:lnTo>
                        <a:pt x="692" y="186"/>
                      </a:lnTo>
                      <a:lnTo>
                        <a:pt x="690" y="181"/>
                      </a:lnTo>
                      <a:lnTo>
                        <a:pt x="688" y="174"/>
                      </a:lnTo>
                      <a:lnTo>
                        <a:pt x="686" y="168"/>
                      </a:lnTo>
                      <a:lnTo>
                        <a:pt x="684" y="156"/>
                      </a:lnTo>
                      <a:lnTo>
                        <a:pt x="684" y="143"/>
                      </a:lnTo>
                      <a:lnTo>
                        <a:pt x="679" y="143"/>
                      </a:lnTo>
                      <a:lnTo>
                        <a:pt x="675" y="144"/>
                      </a:lnTo>
                      <a:lnTo>
                        <a:pt x="670" y="145"/>
                      </a:lnTo>
                      <a:lnTo>
                        <a:pt x="667" y="146"/>
                      </a:lnTo>
                      <a:lnTo>
                        <a:pt x="662" y="150"/>
                      </a:lnTo>
                      <a:lnTo>
                        <a:pt x="657" y="155"/>
                      </a:lnTo>
                      <a:lnTo>
                        <a:pt x="646" y="154"/>
                      </a:lnTo>
                      <a:lnTo>
                        <a:pt x="639" y="152"/>
                      </a:lnTo>
                      <a:lnTo>
                        <a:pt x="636" y="150"/>
                      </a:lnTo>
                      <a:lnTo>
                        <a:pt x="634" y="148"/>
                      </a:lnTo>
                      <a:lnTo>
                        <a:pt x="632" y="146"/>
                      </a:lnTo>
                      <a:lnTo>
                        <a:pt x="631" y="144"/>
                      </a:lnTo>
                      <a:lnTo>
                        <a:pt x="630" y="134"/>
                      </a:lnTo>
                      <a:lnTo>
                        <a:pt x="630" y="124"/>
                      </a:lnTo>
                      <a:lnTo>
                        <a:pt x="624" y="124"/>
                      </a:lnTo>
                      <a:lnTo>
                        <a:pt x="618" y="121"/>
                      </a:lnTo>
                      <a:lnTo>
                        <a:pt x="610" y="119"/>
                      </a:lnTo>
                      <a:lnTo>
                        <a:pt x="602" y="115"/>
                      </a:lnTo>
                      <a:lnTo>
                        <a:pt x="595" y="111"/>
                      </a:lnTo>
                      <a:lnTo>
                        <a:pt x="589" y="106"/>
                      </a:lnTo>
                      <a:lnTo>
                        <a:pt x="587" y="103"/>
                      </a:lnTo>
                      <a:lnTo>
                        <a:pt x="585" y="100"/>
                      </a:lnTo>
                      <a:lnTo>
                        <a:pt x="584" y="97"/>
                      </a:lnTo>
                      <a:lnTo>
                        <a:pt x="584" y="93"/>
                      </a:lnTo>
                      <a:lnTo>
                        <a:pt x="587" y="83"/>
                      </a:lnTo>
                      <a:lnTo>
                        <a:pt x="590" y="69"/>
                      </a:lnTo>
                      <a:lnTo>
                        <a:pt x="544" y="69"/>
                      </a:lnTo>
                      <a:lnTo>
                        <a:pt x="536" y="75"/>
                      </a:lnTo>
                      <a:lnTo>
                        <a:pt x="530" y="80"/>
                      </a:lnTo>
                      <a:lnTo>
                        <a:pt x="523" y="83"/>
                      </a:lnTo>
                      <a:lnTo>
                        <a:pt x="518" y="85"/>
                      </a:lnTo>
                      <a:lnTo>
                        <a:pt x="505" y="87"/>
                      </a:lnTo>
                      <a:lnTo>
                        <a:pt x="490" y="87"/>
                      </a:lnTo>
                      <a:lnTo>
                        <a:pt x="485" y="88"/>
                      </a:lnTo>
                      <a:lnTo>
                        <a:pt x="478" y="92"/>
                      </a:lnTo>
                      <a:lnTo>
                        <a:pt x="475" y="94"/>
                      </a:lnTo>
                      <a:lnTo>
                        <a:pt x="473" y="97"/>
                      </a:lnTo>
                      <a:lnTo>
                        <a:pt x="472" y="101"/>
                      </a:lnTo>
                      <a:lnTo>
                        <a:pt x="471" y="105"/>
                      </a:lnTo>
                      <a:lnTo>
                        <a:pt x="457" y="111"/>
                      </a:lnTo>
                      <a:lnTo>
                        <a:pt x="444" y="117"/>
                      </a:lnTo>
                      <a:lnTo>
                        <a:pt x="439" y="117"/>
                      </a:lnTo>
                      <a:lnTo>
                        <a:pt x="434" y="116"/>
                      </a:lnTo>
                      <a:lnTo>
                        <a:pt x="430" y="115"/>
                      </a:lnTo>
                      <a:lnTo>
                        <a:pt x="426" y="113"/>
                      </a:lnTo>
                      <a:lnTo>
                        <a:pt x="422" y="110"/>
                      </a:lnTo>
                      <a:lnTo>
                        <a:pt x="420" y="107"/>
                      </a:lnTo>
                      <a:lnTo>
                        <a:pt x="418" y="104"/>
                      </a:lnTo>
                      <a:lnTo>
                        <a:pt x="418" y="99"/>
                      </a:lnTo>
                      <a:lnTo>
                        <a:pt x="410" y="103"/>
                      </a:lnTo>
                      <a:lnTo>
                        <a:pt x="404" y="104"/>
                      </a:lnTo>
                      <a:lnTo>
                        <a:pt x="398" y="104"/>
                      </a:lnTo>
                      <a:lnTo>
                        <a:pt x="393" y="102"/>
                      </a:lnTo>
                      <a:lnTo>
                        <a:pt x="388" y="98"/>
                      </a:lnTo>
                      <a:lnTo>
                        <a:pt x="384" y="93"/>
                      </a:lnTo>
                      <a:lnTo>
                        <a:pt x="381" y="88"/>
                      </a:lnTo>
                      <a:lnTo>
                        <a:pt x="378" y="81"/>
                      </a:lnTo>
                      <a:lnTo>
                        <a:pt x="359" y="83"/>
                      </a:lnTo>
                      <a:lnTo>
                        <a:pt x="340" y="86"/>
                      </a:lnTo>
                      <a:lnTo>
                        <a:pt x="331" y="86"/>
                      </a:lnTo>
                      <a:lnTo>
                        <a:pt x="323" y="86"/>
                      </a:lnTo>
                      <a:lnTo>
                        <a:pt x="320" y="86"/>
                      </a:lnTo>
                      <a:lnTo>
                        <a:pt x="317" y="85"/>
                      </a:lnTo>
                      <a:lnTo>
                        <a:pt x="314" y="83"/>
                      </a:lnTo>
                      <a:lnTo>
                        <a:pt x="311" y="81"/>
                      </a:lnTo>
                      <a:lnTo>
                        <a:pt x="305" y="86"/>
                      </a:lnTo>
                      <a:lnTo>
                        <a:pt x="298" y="89"/>
                      </a:lnTo>
                      <a:lnTo>
                        <a:pt x="291" y="92"/>
                      </a:lnTo>
                      <a:lnTo>
                        <a:pt x="285" y="93"/>
                      </a:lnTo>
                      <a:lnTo>
                        <a:pt x="275" y="93"/>
                      </a:lnTo>
                      <a:lnTo>
                        <a:pt x="265" y="93"/>
                      </a:lnTo>
                      <a:lnTo>
                        <a:pt x="258" y="93"/>
                      </a:lnTo>
                      <a:lnTo>
                        <a:pt x="252" y="93"/>
                      </a:lnTo>
                      <a:lnTo>
                        <a:pt x="251" y="83"/>
                      </a:lnTo>
                      <a:lnTo>
                        <a:pt x="249" y="73"/>
                      </a:lnTo>
                      <a:lnTo>
                        <a:pt x="244" y="65"/>
                      </a:lnTo>
                      <a:lnTo>
                        <a:pt x="240" y="58"/>
                      </a:lnTo>
                      <a:lnTo>
                        <a:pt x="233" y="52"/>
                      </a:lnTo>
                      <a:lnTo>
                        <a:pt x="227" y="47"/>
                      </a:lnTo>
                      <a:lnTo>
                        <a:pt x="219" y="42"/>
                      </a:lnTo>
                      <a:lnTo>
                        <a:pt x="211" y="38"/>
                      </a:lnTo>
                      <a:lnTo>
                        <a:pt x="195" y="30"/>
                      </a:lnTo>
                      <a:lnTo>
                        <a:pt x="179" y="22"/>
                      </a:lnTo>
                      <a:lnTo>
                        <a:pt x="171" y="18"/>
                      </a:lnTo>
                      <a:lnTo>
                        <a:pt x="164" y="13"/>
                      </a:lnTo>
                      <a:lnTo>
                        <a:pt x="158" y="7"/>
                      </a:lnTo>
                      <a:lnTo>
                        <a:pt x="152" y="0"/>
                      </a:lnTo>
                      <a:lnTo>
                        <a:pt x="148" y="10"/>
                      </a:lnTo>
                      <a:lnTo>
                        <a:pt x="146" y="20"/>
                      </a:lnTo>
                      <a:lnTo>
                        <a:pt x="146" y="31"/>
                      </a:lnTo>
                      <a:lnTo>
                        <a:pt x="146" y="44"/>
                      </a:lnTo>
                      <a:lnTo>
                        <a:pt x="140" y="44"/>
                      </a:lnTo>
                      <a:lnTo>
                        <a:pt x="136" y="46"/>
                      </a:lnTo>
                      <a:lnTo>
                        <a:pt x="131" y="49"/>
                      </a:lnTo>
                      <a:lnTo>
                        <a:pt x="127" y="52"/>
                      </a:lnTo>
                      <a:lnTo>
                        <a:pt x="124" y="57"/>
                      </a:lnTo>
                      <a:lnTo>
                        <a:pt x="121" y="62"/>
                      </a:lnTo>
                      <a:lnTo>
                        <a:pt x="119" y="69"/>
                      </a:lnTo>
                      <a:lnTo>
                        <a:pt x="119" y="75"/>
                      </a:lnTo>
                      <a:lnTo>
                        <a:pt x="119" y="96"/>
                      </a:lnTo>
                      <a:lnTo>
                        <a:pt x="119" y="108"/>
                      </a:lnTo>
                      <a:lnTo>
                        <a:pt x="119" y="118"/>
                      </a:lnTo>
                      <a:lnTo>
                        <a:pt x="119" y="137"/>
                      </a:lnTo>
                      <a:lnTo>
                        <a:pt x="116" y="150"/>
                      </a:lnTo>
                      <a:lnTo>
                        <a:pt x="109" y="169"/>
                      </a:lnTo>
                      <a:lnTo>
                        <a:pt x="107" y="180"/>
                      </a:lnTo>
                      <a:lnTo>
                        <a:pt x="105" y="188"/>
                      </a:lnTo>
                      <a:lnTo>
                        <a:pt x="104" y="194"/>
                      </a:lnTo>
                      <a:lnTo>
                        <a:pt x="105" y="198"/>
                      </a:lnTo>
                      <a:lnTo>
                        <a:pt x="99" y="197"/>
                      </a:lnTo>
                      <a:lnTo>
                        <a:pt x="93" y="194"/>
                      </a:lnTo>
                      <a:lnTo>
                        <a:pt x="90" y="193"/>
                      </a:lnTo>
                      <a:lnTo>
                        <a:pt x="87" y="190"/>
                      </a:lnTo>
                      <a:lnTo>
                        <a:pt x="86" y="188"/>
                      </a:lnTo>
                      <a:lnTo>
                        <a:pt x="85" y="186"/>
                      </a:lnTo>
                      <a:lnTo>
                        <a:pt x="80" y="186"/>
                      </a:lnTo>
                      <a:lnTo>
                        <a:pt x="74" y="185"/>
                      </a:lnTo>
                      <a:lnTo>
                        <a:pt x="70" y="184"/>
                      </a:lnTo>
                      <a:lnTo>
                        <a:pt x="67" y="182"/>
                      </a:lnTo>
                      <a:lnTo>
                        <a:pt x="63" y="179"/>
                      </a:lnTo>
                      <a:lnTo>
                        <a:pt x="60" y="176"/>
                      </a:lnTo>
                      <a:lnTo>
                        <a:pt x="58" y="173"/>
                      </a:lnTo>
                      <a:lnTo>
                        <a:pt x="57" y="169"/>
                      </a:lnTo>
                      <a:lnTo>
                        <a:pt x="54" y="161"/>
                      </a:lnTo>
                      <a:lnTo>
                        <a:pt x="52" y="152"/>
                      </a:lnTo>
                      <a:lnTo>
                        <a:pt x="52" y="142"/>
                      </a:lnTo>
                      <a:lnTo>
                        <a:pt x="52" y="131"/>
                      </a:lnTo>
                      <a:lnTo>
                        <a:pt x="52" y="119"/>
                      </a:lnTo>
                      <a:lnTo>
                        <a:pt x="54" y="109"/>
                      </a:lnTo>
                      <a:lnTo>
                        <a:pt x="56" y="100"/>
                      </a:lnTo>
                      <a:lnTo>
                        <a:pt x="59" y="91"/>
                      </a:lnTo>
                      <a:lnTo>
                        <a:pt x="65" y="76"/>
                      </a:lnTo>
                      <a:lnTo>
                        <a:pt x="73" y="61"/>
                      </a:lnTo>
                      <a:lnTo>
                        <a:pt x="81" y="49"/>
                      </a:lnTo>
                      <a:lnTo>
                        <a:pt x="89" y="36"/>
                      </a:lnTo>
                      <a:lnTo>
                        <a:pt x="92" y="29"/>
                      </a:lnTo>
                      <a:lnTo>
                        <a:pt x="95" y="22"/>
                      </a:lnTo>
                      <a:lnTo>
                        <a:pt x="97" y="15"/>
                      </a:lnTo>
                      <a:lnTo>
                        <a:pt x="98" y="7"/>
                      </a:lnTo>
                      <a:lnTo>
                        <a:pt x="85" y="12"/>
                      </a:lnTo>
                      <a:lnTo>
                        <a:pt x="73" y="18"/>
                      </a:lnTo>
                      <a:lnTo>
                        <a:pt x="62" y="24"/>
                      </a:lnTo>
                      <a:lnTo>
                        <a:pt x="52" y="30"/>
                      </a:lnTo>
                      <a:lnTo>
                        <a:pt x="43" y="37"/>
                      </a:lnTo>
                      <a:lnTo>
                        <a:pt x="35" y="44"/>
                      </a:lnTo>
                      <a:lnTo>
                        <a:pt x="28" y="52"/>
                      </a:lnTo>
                      <a:lnTo>
                        <a:pt x="22" y="60"/>
                      </a:lnTo>
                      <a:lnTo>
                        <a:pt x="16" y="70"/>
                      </a:lnTo>
                      <a:lnTo>
                        <a:pt x="12" y="79"/>
                      </a:lnTo>
                      <a:lnTo>
                        <a:pt x="7" y="89"/>
                      </a:lnTo>
                      <a:lnTo>
                        <a:pt x="4" y="99"/>
                      </a:lnTo>
                      <a:lnTo>
                        <a:pt x="2" y="109"/>
                      </a:lnTo>
                      <a:lnTo>
                        <a:pt x="1" y="120"/>
                      </a:lnTo>
                      <a:lnTo>
                        <a:pt x="0" y="131"/>
                      </a:lnTo>
                      <a:lnTo>
                        <a:pt x="0" y="14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658" name="Freeform 169">
                <a:extLst>
                  <a:ext uri="{FF2B5EF4-FFF2-40B4-BE49-F238E27FC236}">
                    <a16:creationId xmlns:a16="http://schemas.microsoft.com/office/drawing/2014/main" id="{B09E2CF0-325F-436B-8A68-D2403F1536C5}"/>
                  </a:ext>
                </a:extLst>
              </p:cNvPr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auto">
              <a:xfrm>
                <a:off x="7873684" y="5771081"/>
                <a:ext cx="39816" cy="12305"/>
              </a:xfrm>
              <a:custGeom>
                <a:avLst/>
                <a:gdLst>
                  <a:gd name="T0" fmla="*/ 0 w 79"/>
                  <a:gd name="T1" fmla="*/ 5368545 h 23"/>
                  <a:gd name="T2" fmla="*/ 3553589 w 79"/>
                  <a:gd name="T3" fmla="*/ 3034542 h 23"/>
                  <a:gd name="T4" fmla="*/ 7268339 w 79"/>
                  <a:gd name="T5" fmla="*/ 933891 h 23"/>
                  <a:gd name="T6" fmla="*/ 9045133 w 79"/>
                  <a:gd name="T7" fmla="*/ 233352 h 23"/>
                  <a:gd name="T8" fmla="*/ 10498801 w 79"/>
                  <a:gd name="T9" fmla="*/ 0 h 23"/>
                  <a:gd name="T10" fmla="*/ 11145054 w 79"/>
                  <a:gd name="T11" fmla="*/ 0 h 23"/>
                  <a:gd name="T12" fmla="*/ 11952870 w 79"/>
                  <a:gd name="T13" fmla="*/ 233352 h 23"/>
                  <a:gd name="T14" fmla="*/ 12437158 w 79"/>
                  <a:gd name="T15" fmla="*/ 466704 h 23"/>
                  <a:gd name="T16" fmla="*/ 12760285 w 79"/>
                  <a:gd name="T17" fmla="*/ 933891 h 23"/>
                  <a:gd name="T18" fmla="*/ 12437158 w 79"/>
                  <a:gd name="T19" fmla="*/ 1867299 h 23"/>
                  <a:gd name="T20" fmla="*/ 12114032 w 79"/>
                  <a:gd name="T21" fmla="*/ 3034542 h 23"/>
                  <a:gd name="T22" fmla="*/ 11629744 w 79"/>
                  <a:gd name="T23" fmla="*/ 3734598 h 23"/>
                  <a:gd name="T24" fmla="*/ 10983491 w 79"/>
                  <a:gd name="T25" fmla="*/ 4434654 h 23"/>
                  <a:gd name="T26" fmla="*/ 10337639 w 79"/>
                  <a:gd name="T27" fmla="*/ 4901841 h 23"/>
                  <a:gd name="T28" fmla="*/ 9529823 w 79"/>
                  <a:gd name="T29" fmla="*/ 5135193 h 23"/>
                  <a:gd name="T30" fmla="*/ 8560845 w 79"/>
                  <a:gd name="T31" fmla="*/ 5368545 h 23"/>
                  <a:gd name="T32" fmla="*/ 7429902 w 79"/>
                  <a:gd name="T33" fmla="*/ 5368545 h 23"/>
                  <a:gd name="T34" fmla="*/ 5976234 w 79"/>
                  <a:gd name="T35" fmla="*/ 5368545 h 23"/>
                  <a:gd name="T36" fmla="*/ 5168820 w 79"/>
                  <a:gd name="T37" fmla="*/ 4901841 h 23"/>
                  <a:gd name="T38" fmla="*/ 4199440 w 79"/>
                  <a:gd name="T39" fmla="*/ 4668489 h 23"/>
                  <a:gd name="T40" fmla="*/ 3715152 w 79"/>
                  <a:gd name="T41" fmla="*/ 4434654 h 23"/>
                  <a:gd name="T42" fmla="*/ 3068899 w 79"/>
                  <a:gd name="T43" fmla="*/ 4201302 h 23"/>
                  <a:gd name="T44" fmla="*/ 2261484 w 79"/>
                  <a:gd name="T45" fmla="*/ 4201302 h 23"/>
                  <a:gd name="T46" fmla="*/ 1453668 w 79"/>
                  <a:gd name="T47" fmla="*/ 4668489 h 23"/>
                  <a:gd name="T48" fmla="*/ 0 w 79"/>
                  <a:gd name="T49" fmla="*/ 5368545 h 2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23">
                    <a:moveTo>
                      <a:pt x="0" y="23"/>
                    </a:moveTo>
                    <a:lnTo>
                      <a:pt x="22" y="13"/>
                    </a:lnTo>
                    <a:lnTo>
                      <a:pt x="45" y="4"/>
                    </a:lnTo>
                    <a:lnTo>
                      <a:pt x="56" y="1"/>
                    </a:lnTo>
                    <a:lnTo>
                      <a:pt x="65" y="0"/>
                    </a:lnTo>
                    <a:lnTo>
                      <a:pt x="69" y="0"/>
                    </a:lnTo>
                    <a:lnTo>
                      <a:pt x="74" y="1"/>
                    </a:lnTo>
                    <a:lnTo>
                      <a:pt x="77" y="2"/>
                    </a:lnTo>
                    <a:lnTo>
                      <a:pt x="79" y="4"/>
                    </a:lnTo>
                    <a:lnTo>
                      <a:pt x="77" y="8"/>
                    </a:lnTo>
                    <a:lnTo>
                      <a:pt x="75" y="13"/>
                    </a:lnTo>
                    <a:lnTo>
                      <a:pt x="72" y="16"/>
                    </a:lnTo>
                    <a:lnTo>
                      <a:pt x="68" y="19"/>
                    </a:lnTo>
                    <a:lnTo>
                      <a:pt x="64" y="21"/>
                    </a:lnTo>
                    <a:lnTo>
                      <a:pt x="59" y="22"/>
                    </a:lnTo>
                    <a:lnTo>
                      <a:pt x="53" y="23"/>
                    </a:lnTo>
                    <a:lnTo>
                      <a:pt x="46" y="23"/>
                    </a:lnTo>
                    <a:lnTo>
                      <a:pt x="37" y="23"/>
                    </a:lnTo>
                    <a:lnTo>
                      <a:pt x="32" y="21"/>
                    </a:lnTo>
                    <a:lnTo>
                      <a:pt x="26" y="20"/>
                    </a:lnTo>
                    <a:lnTo>
                      <a:pt x="23" y="19"/>
                    </a:lnTo>
                    <a:lnTo>
                      <a:pt x="19" y="18"/>
                    </a:lnTo>
                    <a:lnTo>
                      <a:pt x="14" y="18"/>
                    </a:lnTo>
                    <a:lnTo>
                      <a:pt x="9" y="20"/>
                    </a:lnTo>
                    <a:lnTo>
                      <a:pt x="0" y="2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59" name="Freeform 170">
                <a:extLst>
                  <a:ext uri="{FF2B5EF4-FFF2-40B4-BE49-F238E27FC236}">
                    <a16:creationId xmlns:a16="http://schemas.microsoft.com/office/drawing/2014/main" id="{44C7593C-8B91-4F8D-A33E-3B50B7865BBC}"/>
                  </a:ext>
                </a:extLst>
              </p:cNvPr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auto">
              <a:xfrm>
                <a:off x="8014850" y="5920508"/>
                <a:ext cx="1809" cy="5274"/>
              </a:xfrm>
              <a:custGeom>
                <a:avLst/>
                <a:gdLst>
                  <a:gd name="T0" fmla="*/ 0 w 1588"/>
                  <a:gd name="T1" fmla="*/ 0 h 6"/>
                  <a:gd name="T2" fmla="*/ 0 w 1588"/>
                  <a:gd name="T3" fmla="*/ 3779441 h 6"/>
                  <a:gd name="T4" fmla="*/ 0 w 1588"/>
                  <a:gd name="T5" fmla="*/ 0 h 6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588" h="6">
                    <a:moveTo>
                      <a:pt x="0" y="0"/>
                    </a:moveTo>
                    <a:lnTo>
                      <a:pt x="0" y="6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0" name="Line 171">
                <a:extLst>
                  <a:ext uri="{FF2B5EF4-FFF2-40B4-BE49-F238E27FC236}">
                    <a16:creationId xmlns:a16="http://schemas.microsoft.com/office/drawing/2014/main" id="{8F943CD8-40E5-4E1F-B7E4-F241728F1C8C}"/>
                  </a:ext>
                </a:extLst>
              </p:cNvPr>
              <p:cNvSpPr>
                <a:spLocks noChangeShapeType="1"/>
              </p:cNvSpPr>
              <p:nvPr>
                <p:custDataLst>
                  <p:tags r:id="rId98"/>
                </p:custDataLst>
              </p:nvPr>
            </p:nvSpPr>
            <p:spPr bwMode="auto">
              <a:xfrm flipV="1">
                <a:off x="8123440" y="5918751"/>
                <a:ext cx="1809" cy="1406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1" name="Freeform 172">
                <a:extLst>
                  <a:ext uri="{FF2B5EF4-FFF2-40B4-BE49-F238E27FC236}">
                    <a16:creationId xmlns:a16="http://schemas.microsoft.com/office/drawing/2014/main" id="{AA56C31F-5612-49F4-B62D-3E9E2326D1A3}"/>
                  </a:ext>
                </a:extLst>
              </p:cNvPr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auto">
              <a:xfrm>
                <a:off x="8123440" y="5918751"/>
                <a:ext cx="3620" cy="17580"/>
              </a:xfrm>
              <a:custGeom>
                <a:avLst/>
                <a:gdLst>
                  <a:gd name="T0" fmla="*/ 0 w 5"/>
                  <a:gd name="T1" fmla="*/ 0 h 30"/>
                  <a:gd name="T2" fmla="*/ 806450 w 5"/>
                  <a:gd name="T3" fmla="*/ 279929 h 30"/>
                  <a:gd name="T4" fmla="*/ 1612900 w 5"/>
                  <a:gd name="T5" fmla="*/ 1120246 h 30"/>
                  <a:gd name="T6" fmla="*/ 2016125 w 5"/>
                  <a:gd name="T7" fmla="*/ 2239963 h 30"/>
                  <a:gd name="T8" fmla="*/ 2016125 w 5"/>
                  <a:gd name="T9" fmla="*/ 3640137 h 30"/>
                  <a:gd name="T10" fmla="*/ 2016125 w 5"/>
                  <a:gd name="T11" fmla="*/ 5040313 h 30"/>
                  <a:gd name="T12" fmla="*/ 1612900 w 5"/>
                  <a:gd name="T13" fmla="*/ 6440488 h 30"/>
                  <a:gd name="T14" fmla="*/ 806450 w 5"/>
                  <a:gd name="T15" fmla="*/ 7560204 h 30"/>
                  <a:gd name="T16" fmla="*/ 0 w 5"/>
                  <a:gd name="T17" fmla="*/ 8400521 h 3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" h="30">
                    <a:moveTo>
                      <a:pt x="0" y="0"/>
                    </a:moveTo>
                    <a:lnTo>
                      <a:pt x="2" y="1"/>
                    </a:lnTo>
                    <a:lnTo>
                      <a:pt x="4" y="4"/>
                    </a:lnTo>
                    <a:lnTo>
                      <a:pt x="5" y="8"/>
                    </a:lnTo>
                    <a:lnTo>
                      <a:pt x="5" y="13"/>
                    </a:lnTo>
                    <a:lnTo>
                      <a:pt x="5" y="18"/>
                    </a:lnTo>
                    <a:lnTo>
                      <a:pt x="4" y="23"/>
                    </a:lnTo>
                    <a:lnTo>
                      <a:pt x="2" y="27"/>
                    </a:lnTo>
                    <a:lnTo>
                      <a:pt x="0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2" name="Freeform 173">
                <a:extLst>
                  <a:ext uri="{FF2B5EF4-FFF2-40B4-BE49-F238E27FC236}">
                    <a16:creationId xmlns:a16="http://schemas.microsoft.com/office/drawing/2014/main" id="{465FE0A2-1607-4EBB-84D8-276F473308EA}"/>
                  </a:ext>
                </a:extLst>
              </p:cNvPr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auto">
              <a:xfrm>
                <a:off x="8483594" y="5322798"/>
                <a:ext cx="27148" cy="31644"/>
              </a:xfrm>
              <a:custGeom>
                <a:avLst/>
                <a:gdLst>
                  <a:gd name="T0" fmla="*/ 0 w 53"/>
                  <a:gd name="T1" fmla="*/ 3239366 h 55"/>
                  <a:gd name="T2" fmla="*/ 175703 w 53"/>
                  <a:gd name="T3" fmla="*/ 4588625 h 55"/>
                  <a:gd name="T4" fmla="*/ 879355 w 53"/>
                  <a:gd name="T5" fmla="*/ 5938405 h 55"/>
                  <a:gd name="T6" fmla="*/ 1582588 w 53"/>
                  <a:gd name="T7" fmla="*/ 7288184 h 55"/>
                  <a:gd name="T8" fmla="*/ 2637646 w 53"/>
                  <a:gd name="T9" fmla="*/ 8907607 h 55"/>
                  <a:gd name="T10" fmla="*/ 4572060 w 53"/>
                  <a:gd name="T11" fmla="*/ 11876809 h 55"/>
                  <a:gd name="T12" fmla="*/ 5802822 w 53"/>
                  <a:gd name="T13" fmla="*/ 14846011 h 55"/>
                  <a:gd name="T14" fmla="*/ 9319823 w 53"/>
                  <a:gd name="T15" fmla="*/ 14846011 h 55"/>
                  <a:gd name="T16" fmla="*/ 7034003 w 53"/>
                  <a:gd name="T17" fmla="*/ 11066838 h 55"/>
                  <a:gd name="T18" fmla="*/ 4923886 w 53"/>
                  <a:gd name="T19" fmla="*/ 7827991 h 55"/>
                  <a:gd name="T20" fmla="*/ 4044531 w 53"/>
                  <a:gd name="T21" fmla="*/ 6208568 h 55"/>
                  <a:gd name="T22" fmla="*/ 3340879 w 53"/>
                  <a:gd name="T23" fmla="*/ 4318981 h 55"/>
                  <a:gd name="T24" fmla="*/ 2813350 w 53"/>
                  <a:gd name="T25" fmla="*/ 2159231 h 55"/>
                  <a:gd name="T26" fmla="*/ 2461943 w 53"/>
                  <a:gd name="T27" fmla="*/ 0 h 55"/>
                  <a:gd name="T28" fmla="*/ 1230762 w 53"/>
                  <a:gd name="T29" fmla="*/ 1619423 h 55"/>
                  <a:gd name="T30" fmla="*/ 0 w 53"/>
                  <a:gd name="T31" fmla="*/ 3239366 h 5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55">
                    <a:moveTo>
                      <a:pt x="0" y="12"/>
                    </a:moveTo>
                    <a:lnTo>
                      <a:pt x="1" y="17"/>
                    </a:lnTo>
                    <a:lnTo>
                      <a:pt x="5" y="22"/>
                    </a:lnTo>
                    <a:lnTo>
                      <a:pt x="9" y="27"/>
                    </a:lnTo>
                    <a:lnTo>
                      <a:pt x="15" y="33"/>
                    </a:lnTo>
                    <a:lnTo>
                      <a:pt x="26" y="44"/>
                    </a:lnTo>
                    <a:lnTo>
                      <a:pt x="33" y="55"/>
                    </a:lnTo>
                    <a:lnTo>
                      <a:pt x="53" y="55"/>
                    </a:lnTo>
                    <a:lnTo>
                      <a:pt x="40" y="41"/>
                    </a:lnTo>
                    <a:lnTo>
                      <a:pt x="28" y="29"/>
                    </a:lnTo>
                    <a:lnTo>
                      <a:pt x="23" y="23"/>
                    </a:lnTo>
                    <a:lnTo>
                      <a:pt x="19" y="16"/>
                    </a:lnTo>
                    <a:lnTo>
                      <a:pt x="16" y="8"/>
                    </a:lnTo>
                    <a:lnTo>
                      <a:pt x="14" y="0"/>
                    </a:lnTo>
                    <a:lnTo>
                      <a:pt x="7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3" name="Freeform 174">
                <a:extLst>
                  <a:ext uri="{FF2B5EF4-FFF2-40B4-BE49-F238E27FC236}">
                    <a16:creationId xmlns:a16="http://schemas.microsoft.com/office/drawing/2014/main" id="{DCE6474C-37DB-402F-90B8-FED521596B87}"/>
                  </a:ext>
                </a:extLst>
              </p:cNvPr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auto">
              <a:xfrm>
                <a:off x="8490834" y="5240174"/>
                <a:ext cx="32577" cy="43949"/>
              </a:xfrm>
              <a:custGeom>
                <a:avLst/>
                <a:gdLst>
                  <a:gd name="T0" fmla="*/ 0 w 65"/>
                  <a:gd name="T1" fmla="*/ 8961021 h 75"/>
                  <a:gd name="T2" fmla="*/ 1551545 w 65"/>
                  <a:gd name="T3" fmla="*/ 12040810 h 75"/>
                  <a:gd name="T4" fmla="*/ 3447693 w 65"/>
                  <a:gd name="T5" fmla="*/ 15401590 h 75"/>
                  <a:gd name="T6" fmla="*/ 4481918 w 65"/>
                  <a:gd name="T7" fmla="*/ 17081715 h 75"/>
                  <a:gd name="T8" fmla="*/ 5516143 w 65"/>
                  <a:gd name="T9" fmla="*/ 18761841 h 75"/>
                  <a:gd name="T10" fmla="*/ 6722669 w 65"/>
                  <a:gd name="T11" fmla="*/ 19881571 h 75"/>
                  <a:gd name="T12" fmla="*/ 7929196 w 65"/>
                  <a:gd name="T13" fmla="*/ 21001831 h 75"/>
                  <a:gd name="T14" fmla="*/ 8791119 w 65"/>
                  <a:gd name="T15" fmla="*/ 17081715 h 75"/>
                  <a:gd name="T16" fmla="*/ 9998061 w 65"/>
                  <a:gd name="T17" fmla="*/ 13441003 h 75"/>
                  <a:gd name="T18" fmla="*/ 10514966 w 65"/>
                  <a:gd name="T19" fmla="*/ 11760877 h 75"/>
                  <a:gd name="T20" fmla="*/ 10859984 w 65"/>
                  <a:gd name="T21" fmla="*/ 10080752 h 75"/>
                  <a:gd name="T22" fmla="*/ 11204587 w 65"/>
                  <a:gd name="T23" fmla="*/ 8680559 h 75"/>
                  <a:gd name="T24" fmla="*/ 11204587 w 65"/>
                  <a:gd name="T25" fmla="*/ 7280896 h 75"/>
                  <a:gd name="T26" fmla="*/ 11204587 w 65"/>
                  <a:gd name="T27" fmla="*/ 5880703 h 75"/>
                  <a:gd name="T28" fmla="*/ 10859984 w 65"/>
                  <a:gd name="T29" fmla="*/ 5040376 h 75"/>
                  <a:gd name="T30" fmla="*/ 10514966 w 65"/>
                  <a:gd name="T31" fmla="*/ 3640183 h 75"/>
                  <a:gd name="T32" fmla="*/ 9998061 w 65"/>
                  <a:gd name="T33" fmla="*/ 2800385 h 75"/>
                  <a:gd name="T34" fmla="*/ 8791119 w 65"/>
                  <a:gd name="T35" fmla="*/ 1400193 h 75"/>
                  <a:gd name="T36" fmla="*/ 7929196 w 65"/>
                  <a:gd name="T37" fmla="*/ 0 h 75"/>
                  <a:gd name="T38" fmla="*/ 5860746 w 65"/>
                  <a:gd name="T39" fmla="*/ 0 h 75"/>
                  <a:gd name="T40" fmla="*/ 4481918 w 65"/>
                  <a:gd name="T41" fmla="*/ 0 h 75"/>
                  <a:gd name="T42" fmla="*/ 4309616 w 65"/>
                  <a:gd name="T43" fmla="*/ 559865 h 75"/>
                  <a:gd name="T44" fmla="*/ 4136900 w 65"/>
                  <a:gd name="T45" fmla="*/ 1960058 h 75"/>
                  <a:gd name="T46" fmla="*/ 3964598 w 65"/>
                  <a:gd name="T47" fmla="*/ 2520453 h 75"/>
                  <a:gd name="T48" fmla="*/ 3964598 w 65"/>
                  <a:gd name="T49" fmla="*/ 3080318 h 75"/>
                  <a:gd name="T50" fmla="*/ 4136900 w 65"/>
                  <a:gd name="T51" fmla="*/ 3360251 h 75"/>
                  <a:gd name="T52" fmla="*/ 4481918 w 65"/>
                  <a:gd name="T53" fmla="*/ 3640183 h 7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65" h="75">
                    <a:moveTo>
                      <a:pt x="0" y="32"/>
                    </a:moveTo>
                    <a:lnTo>
                      <a:pt x="9" y="43"/>
                    </a:lnTo>
                    <a:lnTo>
                      <a:pt x="20" y="55"/>
                    </a:lnTo>
                    <a:lnTo>
                      <a:pt x="26" y="61"/>
                    </a:lnTo>
                    <a:lnTo>
                      <a:pt x="32" y="67"/>
                    </a:lnTo>
                    <a:lnTo>
                      <a:pt x="39" y="71"/>
                    </a:lnTo>
                    <a:lnTo>
                      <a:pt x="46" y="75"/>
                    </a:lnTo>
                    <a:lnTo>
                      <a:pt x="51" y="61"/>
                    </a:lnTo>
                    <a:lnTo>
                      <a:pt x="58" y="48"/>
                    </a:lnTo>
                    <a:lnTo>
                      <a:pt x="61" y="42"/>
                    </a:lnTo>
                    <a:lnTo>
                      <a:pt x="63" y="36"/>
                    </a:lnTo>
                    <a:lnTo>
                      <a:pt x="65" y="31"/>
                    </a:lnTo>
                    <a:lnTo>
                      <a:pt x="65" y="26"/>
                    </a:lnTo>
                    <a:lnTo>
                      <a:pt x="65" y="21"/>
                    </a:lnTo>
                    <a:lnTo>
                      <a:pt x="63" y="18"/>
                    </a:lnTo>
                    <a:lnTo>
                      <a:pt x="61" y="13"/>
                    </a:lnTo>
                    <a:lnTo>
                      <a:pt x="58" y="10"/>
                    </a:lnTo>
                    <a:lnTo>
                      <a:pt x="51" y="5"/>
                    </a:lnTo>
                    <a:lnTo>
                      <a:pt x="46" y="0"/>
                    </a:lnTo>
                    <a:lnTo>
                      <a:pt x="34" y="0"/>
                    </a:lnTo>
                    <a:lnTo>
                      <a:pt x="26" y="0"/>
                    </a:lnTo>
                    <a:lnTo>
                      <a:pt x="25" y="2"/>
                    </a:lnTo>
                    <a:lnTo>
                      <a:pt x="24" y="7"/>
                    </a:lnTo>
                    <a:lnTo>
                      <a:pt x="23" y="9"/>
                    </a:lnTo>
                    <a:lnTo>
                      <a:pt x="23" y="11"/>
                    </a:lnTo>
                    <a:lnTo>
                      <a:pt x="24" y="12"/>
                    </a:lnTo>
                    <a:lnTo>
                      <a:pt x="26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4" name="Freeform 175">
                <a:extLst>
                  <a:ext uri="{FF2B5EF4-FFF2-40B4-BE49-F238E27FC236}">
                    <a16:creationId xmlns:a16="http://schemas.microsoft.com/office/drawing/2014/main" id="{94518AA6-B4C8-4D05-A5EC-0A1FF40095FD}"/>
                  </a:ext>
                </a:extLst>
              </p:cNvPr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auto">
              <a:xfrm>
                <a:off x="8461877" y="5213803"/>
                <a:ext cx="21718" cy="33402"/>
              </a:xfrm>
              <a:custGeom>
                <a:avLst/>
                <a:gdLst>
                  <a:gd name="T0" fmla="*/ 0 w 40"/>
                  <a:gd name="T1" fmla="*/ 14673327 h 62"/>
                  <a:gd name="T2" fmla="*/ 571913 w 40"/>
                  <a:gd name="T3" fmla="*/ 12306582 h 62"/>
                  <a:gd name="T4" fmla="*/ 1334173 w 40"/>
                  <a:gd name="T5" fmla="*/ 10176756 h 62"/>
                  <a:gd name="T6" fmla="*/ 2287216 w 40"/>
                  <a:gd name="T7" fmla="*/ 7810012 h 62"/>
                  <a:gd name="T8" fmla="*/ 3240260 w 40"/>
                  <a:gd name="T9" fmla="*/ 5916617 h 62"/>
                  <a:gd name="T10" fmla="*/ 4383650 w 40"/>
                  <a:gd name="T11" fmla="*/ 4023222 h 62"/>
                  <a:gd name="T12" fmla="*/ 5527476 w 40"/>
                  <a:gd name="T13" fmla="*/ 2129826 h 62"/>
                  <a:gd name="T14" fmla="*/ 6670866 w 40"/>
                  <a:gd name="T15" fmla="*/ 709780 h 62"/>
                  <a:gd name="T16" fmla="*/ 7623909 w 40"/>
                  <a:gd name="T17" fmla="*/ 0 h 6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40" h="62">
                    <a:moveTo>
                      <a:pt x="0" y="62"/>
                    </a:moveTo>
                    <a:lnTo>
                      <a:pt x="3" y="52"/>
                    </a:lnTo>
                    <a:lnTo>
                      <a:pt x="7" y="43"/>
                    </a:lnTo>
                    <a:lnTo>
                      <a:pt x="12" y="33"/>
                    </a:lnTo>
                    <a:lnTo>
                      <a:pt x="17" y="25"/>
                    </a:lnTo>
                    <a:lnTo>
                      <a:pt x="23" y="17"/>
                    </a:lnTo>
                    <a:lnTo>
                      <a:pt x="29" y="9"/>
                    </a:lnTo>
                    <a:lnTo>
                      <a:pt x="35" y="3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5" name="Freeform 176">
                <a:extLst>
                  <a:ext uri="{FF2B5EF4-FFF2-40B4-BE49-F238E27FC236}">
                    <a16:creationId xmlns:a16="http://schemas.microsoft.com/office/drawing/2014/main" id="{B62492FD-B9AD-4E25-A3E5-5558B1CCC89F}"/>
                  </a:ext>
                </a:extLst>
              </p:cNvPr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auto">
              <a:xfrm>
                <a:off x="8364146" y="5076682"/>
                <a:ext cx="83252" cy="154702"/>
              </a:xfrm>
              <a:custGeom>
                <a:avLst/>
                <a:gdLst>
                  <a:gd name="T0" fmla="*/ 29306293 w 159"/>
                  <a:gd name="T1" fmla="*/ 73649424 h 259"/>
                  <a:gd name="T2" fmla="*/ 29306293 w 159"/>
                  <a:gd name="T3" fmla="*/ 71374559 h 259"/>
                  <a:gd name="T4" fmla="*/ 29306293 w 159"/>
                  <a:gd name="T5" fmla="*/ 69383918 h 259"/>
                  <a:gd name="T6" fmla="*/ 29306293 w 159"/>
                  <a:gd name="T7" fmla="*/ 67109053 h 259"/>
                  <a:gd name="T8" fmla="*/ 29306293 w 159"/>
                  <a:gd name="T9" fmla="*/ 64834188 h 259"/>
                  <a:gd name="T10" fmla="*/ 29306293 w 159"/>
                  <a:gd name="T11" fmla="*/ 63696756 h 259"/>
                  <a:gd name="T12" fmla="*/ 29122115 w 159"/>
                  <a:gd name="T13" fmla="*/ 62275098 h 259"/>
                  <a:gd name="T14" fmla="*/ 28753328 w 159"/>
                  <a:gd name="T15" fmla="*/ 61137666 h 259"/>
                  <a:gd name="T16" fmla="*/ 28200363 w 159"/>
                  <a:gd name="T17" fmla="*/ 59716008 h 259"/>
                  <a:gd name="T18" fmla="*/ 26726076 w 159"/>
                  <a:gd name="T19" fmla="*/ 57440610 h 259"/>
                  <a:gd name="T20" fmla="*/ 24882572 w 159"/>
                  <a:gd name="T21" fmla="*/ 55450503 h 259"/>
                  <a:gd name="T22" fmla="*/ 22855320 w 159"/>
                  <a:gd name="T23" fmla="*/ 53744088 h 259"/>
                  <a:gd name="T24" fmla="*/ 20643459 w 159"/>
                  <a:gd name="T25" fmla="*/ 52322430 h 259"/>
                  <a:gd name="T26" fmla="*/ 18247420 w 159"/>
                  <a:gd name="T27" fmla="*/ 51184998 h 259"/>
                  <a:gd name="T28" fmla="*/ 16035560 w 159"/>
                  <a:gd name="T29" fmla="*/ 50900773 h 259"/>
                  <a:gd name="T30" fmla="*/ 15666773 w 159"/>
                  <a:gd name="T31" fmla="*/ 50616015 h 259"/>
                  <a:gd name="T32" fmla="*/ 15113808 w 159"/>
                  <a:gd name="T33" fmla="*/ 50331790 h 259"/>
                  <a:gd name="T34" fmla="*/ 14929629 w 159"/>
                  <a:gd name="T35" fmla="*/ 49763340 h 259"/>
                  <a:gd name="T36" fmla="*/ 14745451 w 159"/>
                  <a:gd name="T37" fmla="*/ 49194357 h 259"/>
                  <a:gd name="T38" fmla="*/ 14745451 w 159"/>
                  <a:gd name="T39" fmla="*/ 47488475 h 259"/>
                  <a:gd name="T40" fmla="*/ 14929629 w 159"/>
                  <a:gd name="T41" fmla="*/ 45782060 h 259"/>
                  <a:gd name="T42" fmla="*/ 15666773 w 159"/>
                  <a:gd name="T43" fmla="*/ 42085537 h 259"/>
                  <a:gd name="T44" fmla="*/ 16035560 w 159"/>
                  <a:gd name="T45" fmla="*/ 40379122 h 259"/>
                  <a:gd name="T46" fmla="*/ 13454912 w 159"/>
                  <a:gd name="T47" fmla="*/ 40094897 h 259"/>
                  <a:gd name="T48" fmla="*/ 10874695 w 159"/>
                  <a:gd name="T49" fmla="*/ 39525914 h 259"/>
                  <a:gd name="T50" fmla="*/ 8847013 w 159"/>
                  <a:gd name="T51" fmla="*/ 38388482 h 259"/>
                  <a:gd name="T52" fmla="*/ 7372725 w 159"/>
                  <a:gd name="T53" fmla="*/ 36682599 h 259"/>
                  <a:gd name="T54" fmla="*/ 5713830 w 159"/>
                  <a:gd name="T55" fmla="*/ 34407734 h 259"/>
                  <a:gd name="T56" fmla="*/ 4423721 w 159"/>
                  <a:gd name="T57" fmla="*/ 32132869 h 259"/>
                  <a:gd name="T58" fmla="*/ 3317791 w 159"/>
                  <a:gd name="T59" fmla="*/ 29573779 h 259"/>
                  <a:gd name="T60" fmla="*/ 2396039 w 159"/>
                  <a:gd name="T61" fmla="*/ 26729931 h 259"/>
                  <a:gd name="T62" fmla="*/ 1658895 w 159"/>
                  <a:gd name="T63" fmla="*/ 23886083 h 259"/>
                  <a:gd name="T64" fmla="*/ 1290109 w 159"/>
                  <a:gd name="T65" fmla="*/ 20758544 h 259"/>
                  <a:gd name="T66" fmla="*/ 921752 w 159"/>
                  <a:gd name="T67" fmla="*/ 17061488 h 259"/>
                  <a:gd name="T68" fmla="*/ 368787 w 159"/>
                  <a:gd name="T69" fmla="*/ 13649191 h 259"/>
                  <a:gd name="T70" fmla="*/ 0 w 159"/>
                  <a:gd name="T71" fmla="*/ 7108820 h 259"/>
                  <a:gd name="T72" fmla="*/ 0 w 159"/>
                  <a:gd name="T73" fmla="*/ 0 h 25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59" h="259">
                    <a:moveTo>
                      <a:pt x="159" y="259"/>
                    </a:moveTo>
                    <a:lnTo>
                      <a:pt x="159" y="251"/>
                    </a:lnTo>
                    <a:lnTo>
                      <a:pt x="159" y="244"/>
                    </a:lnTo>
                    <a:lnTo>
                      <a:pt x="159" y="236"/>
                    </a:lnTo>
                    <a:lnTo>
                      <a:pt x="159" y="228"/>
                    </a:lnTo>
                    <a:lnTo>
                      <a:pt x="159" y="224"/>
                    </a:lnTo>
                    <a:lnTo>
                      <a:pt x="158" y="219"/>
                    </a:lnTo>
                    <a:lnTo>
                      <a:pt x="156" y="215"/>
                    </a:lnTo>
                    <a:lnTo>
                      <a:pt x="153" y="210"/>
                    </a:lnTo>
                    <a:lnTo>
                      <a:pt x="145" y="202"/>
                    </a:lnTo>
                    <a:lnTo>
                      <a:pt x="135" y="195"/>
                    </a:lnTo>
                    <a:lnTo>
                      <a:pt x="124" y="189"/>
                    </a:lnTo>
                    <a:lnTo>
                      <a:pt x="112" y="184"/>
                    </a:lnTo>
                    <a:lnTo>
                      <a:pt x="99" y="180"/>
                    </a:lnTo>
                    <a:lnTo>
                      <a:pt x="87" y="179"/>
                    </a:lnTo>
                    <a:lnTo>
                      <a:pt x="85" y="178"/>
                    </a:lnTo>
                    <a:lnTo>
                      <a:pt x="82" y="177"/>
                    </a:lnTo>
                    <a:lnTo>
                      <a:pt x="81" y="175"/>
                    </a:lnTo>
                    <a:lnTo>
                      <a:pt x="80" y="173"/>
                    </a:lnTo>
                    <a:lnTo>
                      <a:pt x="80" y="167"/>
                    </a:lnTo>
                    <a:lnTo>
                      <a:pt x="81" y="161"/>
                    </a:lnTo>
                    <a:lnTo>
                      <a:pt x="85" y="148"/>
                    </a:lnTo>
                    <a:lnTo>
                      <a:pt x="87" y="142"/>
                    </a:lnTo>
                    <a:lnTo>
                      <a:pt x="73" y="141"/>
                    </a:lnTo>
                    <a:lnTo>
                      <a:pt x="59" y="139"/>
                    </a:lnTo>
                    <a:lnTo>
                      <a:pt x="48" y="135"/>
                    </a:lnTo>
                    <a:lnTo>
                      <a:pt x="40" y="129"/>
                    </a:lnTo>
                    <a:lnTo>
                      <a:pt x="31" y="121"/>
                    </a:lnTo>
                    <a:lnTo>
                      <a:pt x="24" y="113"/>
                    </a:lnTo>
                    <a:lnTo>
                      <a:pt x="18" y="104"/>
                    </a:lnTo>
                    <a:lnTo>
                      <a:pt x="13" y="94"/>
                    </a:lnTo>
                    <a:lnTo>
                      <a:pt x="9" y="84"/>
                    </a:lnTo>
                    <a:lnTo>
                      <a:pt x="7" y="73"/>
                    </a:lnTo>
                    <a:lnTo>
                      <a:pt x="5" y="60"/>
                    </a:lnTo>
                    <a:lnTo>
                      <a:pt x="2" y="48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6" name="Line 177">
                <a:extLst>
                  <a:ext uri="{FF2B5EF4-FFF2-40B4-BE49-F238E27FC236}">
                    <a16:creationId xmlns:a16="http://schemas.microsoft.com/office/drawing/2014/main" id="{58354E1C-C3F2-449F-ABC8-6F8EE47E6B9C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04"/>
                </p:custDataLst>
              </p:nvPr>
            </p:nvSpPr>
            <p:spPr bwMode="auto">
              <a:xfrm flipH="1" flipV="1">
                <a:off x="8356907" y="5038006"/>
                <a:ext cx="7239" cy="38675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7" name="Freeform 178">
                <a:extLst>
                  <a:ext uri="{FF2B5EF4-FFF2-40B4-BE49-F238E27FC236}">
                    <a16:creationId xmlns:a16="http://schemas.microsoft.com/office/drawing/2014/main" id="{7A62E0A6-DF20-4AA3-A979-224749E15070}"/>
                  </a:ext>
                </a:extLst>
              </p:cNvPr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auto">
              <a:xfrm>
                <a:off x="8356907" y="5020426"/>
                <a:ext cx="7239" cy="17580"/>
              </a:xfrm>
              <a:custGeom>
                <a:avLst/>
                <a:gdLst>
                  <a:gd name="T0" fmla="*/ 0 w 13"/>
                  <a:gd name="T1" fmla="*/ 10080625 h 25"/>
                  <a:gd name="T2" fmla="*/ 238369 w 13"/>
                  <a:gd name="T3" fmla="*/ 7661275 h 25"/>
                  <a:gd name="T4" fmla="*/ 954454 w 13"/>
                  <a:gd name="T5" fmla="*/ 5241925 h 25"/>
                  <a:gd name="T6" fmla="*/ 1908908 w 13"/>
                  <a:gd name="T7" fmla="*/ 2419350 h 25"/>
                  <a:gd name="T8" fmla="*/ 3101731 w 13"/>
                  <a:gd name="T9" fmla="*/ 0 h 2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3" h="25">
                    <a:moveTo>
                      <a:pt x="0" y="25"/>
                    </a:moveTo>
                    <a:lnTo>
                      <a:pt x="1" y="19"/>
                    </a:lnTo>
                    <a:lnTo>
                      <a:pt x="4" y="13"/>
                    </a:lnTo>
                    <a:lnTo>
                      <a:pt x="8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8" name="Line 179">
                <a:extLst>
                  <a:ext uri="{FF2B5EF4-FFF2-40B4-BE49-F238E27FC236}">
                    <a16:creationId xmlns:a16="http://schemas.microsoft.com/office/drawing/2014/main" id="{C1D8EEDF-8BA7-4C9F-AD05-2B7F5D31C4A4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06"/>
                </p:custDataLst>
              </p:nvPr>
            </p:nvSpPr>
            <p:spPr bwMode="auto">
              <a:xfrm flipV="1">
                <a:off x="8364146" y="5006363"/>
                <a:ext cx="0" cy="14064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69" name="Freeform 180">
                <a:extLst>
                  <a:ext uri="{FF2B5EF4-FFF2-40B4-BE49-F238E27FC236}">
                    <a16:creationId xmlns:a16="http://schemas.microsoft.com/office/drawing/2014/main" id="{8B2B3240-8168-461E-9F5F-F24F3A33127A}"/>
                  </a:ext>
                </a:extLst>
              </p:cNvPr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auto">
              <a:xfrm>
                <a:off x="8309851" y="4930770"/>
                <a:ext cx="54295" cy="75592"/>
              </a:xfrm>
              <a:custGeom>
                <a:avLst/>
                <a:gdLst>
                  <a:gd name="T0" fmla="*/ 21194974 w 100"/>
                  <a:gd name="T1" fmla="*/ 36142729 h 123"/>
                  <a:gd name="T2" fmla="*/ 19075385 w 100"/>
                  <a:gd name="T3" fmla="*/ 35848925 h 123"/>
                  <a:gd name="T4" fmla="*/ 16108236 w 100"/>
                  <a:gd name="T5" fmla="*/ 34967514 h 123"/>
                  <a:gd name="T6" fmla="*/ 12717077 w 100"/>
                  <a:gd name="T7" fmla="*/ 33497954 h 123"/>
                  <a:gd name="T8" fmla="*/ 9113682 w 100"/>
                  <a:gd name="T9" fmla="*/ 31441328 h 123"/>
                  <a:gd name="T10" fmla="*/ 7206328 w 100"/>
                  <a:gd name="T11" fmla="*/ 30266113 h 123"/>
                  <a:gd name="T12" fmla="*/ 5722523 w 100"/>
                  <a:gd name="T13" fmla="*/ 29090357 h 123"/>
                  <a:gd name="T14" fmla="*/ 4239179 w 100"/>
                  <a:gd name="T15" fmla="*/ 27621338 h 123"/>
                  <a:gd name="T16" fmla="*/ 2755374 w 100"/>
                  <a:gd name="T17" fmla="*/ 26152320 h 123"/>
                  <a:gd name="T18" fmla="*/ 1695580 w 100"/>
                  <a:gd name="T19" fmla="*/ 24682760 h 123"/>
                  <a:gd name="T20" fmla="*/ 848020 w 100"/>
                  <a:gd name="T21" fmla="*/ 23213741 h 123"/>
                  <a:gd name="T22" fmla="*/ 211775 w 100"/>
                  <a:gd name="T23" fmla="*/ 21450377 h 123"/>
                  <a:gd name="T24" fmla="*/ 0 w 100"/>
                  <a:gd name="T25" fmla="*/ 19981359 h 123"/>
                  <a:gd name="T26" fmla="*/ 424010 w 100"/>
                  <a:gd name="T27" fmla="*/ 16161370 h 123"/>
                  <a:gd name="T28" fmla="*/ 1483805 w 100"/>
                  <a:gd name="T29" fmla="*/ 10578558 h 123"/>
                  <a:gd name="T30" fmla="*/ 2331364 w 100"/>
                  <a:gd name="T31" fmla="*/ 4995204 h 123"/>
                  <a:gd name="T32" fmla="*/ 2755374 w 100"/>
                  <a:gd name="T33" fmla="*/ 0 h 12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100" h="123">
                    <a:moveTo>
                      <a:pt x="100" y="123"/>
                    </a:moveTo>
                    <a:lnTo>
                      <a:pt x="90" y="122"/>
                    </a:lnTo>
                    <a:lnTo>
                      <a:pt x="76" y="119"/>
                    </a:lnTo>
                    <a:lnTo>
                      <a:pt x="60" y="114"/>
                    </a:lnTo>
                    <a:lnTo>
                      <a:pt x="43" y="107"/>
                    </a:lnTo>
                    <a:lnTo>
                      <a:pt x="34" y="103"/>
                    </a:lnTo>
                    <a:lnTo>
                      <a:pt x="27" y="99"/>
                    </a:lnTo>
                    <a:lnTo>
                      <a:pt x="20" y="94"/>
                    </a:lnTo>
                    <a:lnTo>
                      <a:pt x="13" y="89"/>
                    </a:lnTo>
                    <a:lnTo>
                      <a:pt x="8" y="84"/>
                    </a:lnTo>
                    <a:lnTo>
                      <a:pt x="4" y="79"/>
                    </a:lnTo>
                    <a:lnTo>
                      <a:pt x="1" y="73"/>
                    </a:lnTo>
                    <a:lnTo>
                      <a:pt x="0" y="68"/>
                    </a:lnTo>
                    <a:lnTo>
                      <a:pt x="2" y="55"/>
                    </a:lnTo>
                    <a:lnTo>
                      <a:pt x="7" y="36"/>
                    </a:lnTo>
                    <a:lnTo>
                      <a:pt x="11" y="17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0" name="Freeform 181">
                <a:extLst>
                  <a:ext uri="{FF2B5EF4-FFF2-40B4-BE49-F238E27FC236}">
                    <a16:creationId xmlns:a16="http://schemas.microsoft.com/office/drawing/2014/main" id="{4E62A3CB-6AD3-452C-B46E-356D8F4128EA}"/>
                  </a:ext>
                </a:extLst>
              </p:cNvPr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auto">
              <a:xfrm>
                <a:off x="8326140" y="4867483"/>
                <a:ext cx="1809" cy="56255"/>
              </a:xfrm>
              <a:custGeom>
                <a:avLst/>
                <a:gdLst>
                  <a:gd name="T0" fmla="*/ 503714 w 5"/>
                  <a:gd name="T1" fmla="*/ 0 h 99"/>
                  <a:gd name="T2" fmla="*/ 403098 w 5"/>
                  <a:gd name="T3" fmla="*/ 8952089 h 99"/>
                  <a:gd name="T4" fmla="*/ 100616 w 5"/>
                  <a:gd name="T5" fmla="*/ 15535051 h 99"/>
                  <a:gd name="T6" fmla="*/ 0 w 5"/>
                  <a:gd name="T7" fmla="*/ 18167927 h 99"/>
                  <a:gd name="T8" fmla="*/ 0 w 5"/>
                  <a:gd name="T9" fmla="*/ 20537568 h 99"/>
                  <a:gd name="T10" fmla="*/ 201549 w 5"/>
                  <a:gd name="T11" fmla="*/ 22907208 h 99"/>
                  <a:gd name="T12" fmla="*/ 503714 w 5"/>
                  <a:gd name="T13" fmla="*/ 26067071 h 9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" h="99">
                    <a:moveTo>
                      <a:pt x="5" y="0"/>
                    </a:moveTo>
                    <a:lnTo>
                      <a:pt x="4" y="34"/>
                    </a:lnTo>
                    <a:lnTo>
                      <a:pt x="1" y="59"/>
                    </a:lnTo>
                    <a:lnTo>
                      <a:pt x="0" y="69"/>
                    </a:lnTo>
                    <a:lnTo>
                      <a:pt x="0" y="78"/>
                    </a:lnTo>
                    <a:lnTo>
                      <a:pt x="2" y="87"/>
                    </a:lnTo>
                    <a:lnTo>
                      <a:pt x="5" y="9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1" name="Freeform 182">
                <a:extLst>
                  <a:ext uri="{FF2B5EF4-FFF2-40B4-BE49-F238E27FC236}">
                    <a16:creationId xmlns:a16="http://schemas.microsoft.com/office/drawing/2014/main" id="{5BDA0259-7EDF-487B-981E-4859F78CF523}"/>
                  </a:ext>
                </a:extLst>
              </p:cNvPr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auto">
              <a:xfrm>
                <a:off x="8333380" y="4860451"/>
                <a:ext cx="10859" cy="40433"/>
              </a:xfrm>
              <a:custGeom>
                <a:avLst/>
                <a:gdLst>
                  <a:gd name="T0" fmla="*/ 4499712 w 14"/>
                  <a:gd name="T1" fmla="*/ 0 h 68"/>
                  <a:gd name="T2" fmla="*/ 2571021 w 14"/>
                  <a:gd name="T3" fmla="*/ 4612862 h 68"/>
                  <a:gd name="T4" fmla="*/ 1285794 w 14"/>
                  <a:gd name="T5" fmla="*/ 9514061 h 68"/>
                  <a:gd name="T6" fmla="*/ 642897 w 14"/>
                  <a:gd name="T7" fmla="*/ 14991935 h 68"/>
                  <a:gd name="T8" fmla="*/ 0 w 14"/>
                  <a:gd name="T9" fmla="*/ 19604796 h 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" h="68">
                    <a:moveTo>
                      <a:pt x="14" y="0"/>
                    </a:moveTo>
                    <a:lnTo>
                      <a:pt x="8" y="16"/>
                    </a:lnTo>
                    <a:lnTo>
                      <a:pt x="4" y="33"/>
                    </a:lnTo>
                    <a:lnTo>
                      <a:pt x="2" y="52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2" name="Freeform 183">
                <a:extLst>
                  <a:ext uri="{FF2B5EF4-FFF2-40B4-BE49-F238E27FC236}">
                    <a16:creationId xmlns:a16="http://schemas.microsoft.com/office/drawing/2014/main" id="{7EF60E5A-9070-4FDD-8D24-C7FD71A712B5}"/>
                  </a:ext>
                </a:extLst>
              </p:cNvPr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auto">
              <a:xfrm>
                <a:off x="8353287" y="4839356"/>
                <a:ext cx="1810" cy="24612"/>
              </a:xfrm>
              <a:custGeom>
                <a:avLst/>
                <a:gdLst>
                  <a:gd name="T0" fmla="*/ 0 w 1587"/>
                  <a:gd name="T1" fmla="*/ 0 h 43"/>
                  <a:gd name="T2" fmla="*/ 0 w 1587"/>
                  <a:gd name="T3" fmla="*/ 3472785 h 43"/>
                  <a:gd name="T4" fmla="*/ 0 w 1587"/>
                  <a:gd name="T5" fmla="*/ 6945571 h 43"/>
                  <a:gd name="T6" fmla="*/ 0 w 1587"/>
                  <a:gd name="T7" fmla="*/ 9884440 h 43"/>
                  <a:gd name="T8" fmla="*/ 0 w 1587"/>
                  <a:gd name="T9" fmla="*/ 11487224 h 4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7" h="43">
                    <a:moveTo>
                      <a:pt x="0" y="0"/>
                    </a:moveTo>
                    <a:lnTo>
                      <a:pt x="0" y="13"/>
                    </a:lnTo>
                    <a:lnTo>
                      <a:pt x="0" y="26"/>
                    </a:lnTo>
                    <a:lnTo>
                      <a:pt x="0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3" name="Line 184">
                <a:extLst>
                  <a:ext uri="{FF2B5EF4-FFF2-40B4-BE49-F238E27FC236}">
                    <a16:creationId xmlns:a16="http://schemas.microsoft.com/office/drawing/2014/main" id="{D3089FF5-2168-4655-B9D5-1EC3E4A37838}"/>
                  </a:ext>
                </a:extLst>
              </p:cNvPr>
              <p:cNvSpPr>
                <a:spLocks noChangeShapeType="1"/>
              </p:cNvSpPr>
              <p:nvPr>
                <p:custDataLst>
                  <p:tags r:id="rId111"/>
                </p:custDataLst>
              </p:nvPr>
            </p:nvSpPr>
            <p:spPr bwMode="auto">
              <a:xfrm flipV="1">
                <a:off x="8353287" y="4860451"/>
                <a:ext cx="1810" cy="3516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4" name="Freeform 185">
                <a:extLst>
                  <a:ext uri="{FF2B5EF4-FFF2-40B4-BE49-F238E27FC236}">
                    <a16:creationId xmlns:a16="http://schemas.microsoft.com/office/drawing/2014/main" id="{FD5BC687-7E12-4C95-ADF7-4154EF64ADF5}"/>
                  </a:ext>
                </a:extLst>
              </p:cNvPr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auto">
              <a:xfrm>
                <a:off x="8333380" y="4842872"/>
                <a:ext cx="1809" cy="17580"/>
              </a:xfrm>
              <a:custGeom>
                <a:avLst/>
                <a:gdLst>
                  <a:gd name="T0" fmla="*/ 0 w 1587"/>
                  <a:gd name="T1" fmla="*/ 8129536 h 31"/>
                  <a:gd name="T2" fmla="*/ 0 w 1587"/>
                  <a:gd name="T3" fmla="*/ 5769282 h 31"/>
                  <a:gd name="T4" fmla="*/ 0 w 1587"/>
                  <a:gd name="T5" fmla="*/ 3933415 h 31"/>
                  <a:gd name="T6" fmla="*/ 0 w 1587"/>
                  <a:gd name="T7" fmla="*/ 2098060 h 31"/>
                  <a:gd name="T8" fmla="*/ 0 w 158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587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5"/>
                    </a:lnTo>
                    <a:lnTo>
                      <a:pt x="0" y="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5" name="Freeform 186">
                <a:extLst>
                  <a:ext uri="{FF2B5EF4-FFF2-40B4-BE49-F238E27FC236}">
                    <a16:creationId xmlns:a16="http://schemas.microsoft.com/office/drawing/2014/main" id="{D2056B9E-C5FB-4E97-B8B5-FCBD92A71EB9}"/>
                  </a:ext>
                </a:extLst>
              </p:cNvPr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auto">
              <a:xfrm>
                <a:off x="7996752" y="5953910"/>
                <a:ext cx="117638" cy="98446"/>
              </a:xfrm>
              <a:custGeom>
                <a:avLst/>
                <a:gdLst>
                  <a:gd name="T0" fmla="*/ 3519272 w 225"/>
                  <a:gd name="T1" fmla="*/ 43190134 h 167"/>
                  <a:gd name="T2" fmla="*/ 1296755 w 225"/>
                  <a:gd name="T3" fmla="*/ 38816118 h 167"/>
                  <a:gd name="T4" fmla="*/ 0 w 225"/>
                  <a:gd name="T5" fmla="*/ 35535868 h 167"/>
                  <a:gd name="T6" fmla="*/ 185066 w 225"/>
                  <a:gd name="T7" fmla="*/ 29522251 h 167"/>
                  <a:gd name="T8" fmla="*/ 2037450 w 225"/>
                  <a:gd name="T9" fmla="*/ 18588258 h 167"/>
                  <a:gd name="T10" fmla="*/ 4445464 w 225"/>
                  <a:gd name="T11" fmla="*/ 10660551 h 167"/>
                  <a:gd name="T12" fmla="*/ 6297848 w 225"/>
                  <a:gd name="T13" fmla="*/ 5740176 h 167"/>
                  <a:gd name="T14" fmla="*/ 8150232 w 225"/>
                  <a:gd name="T15" fmla="*/ 2459926 h 167"/>
                  <a:gd name="T16" fmla="*/ 10002617 w 225"/>
                  <a:gd name="T17" fmla="*/ 273441 h 167"/>
                  <a:gd name="T18" fmla="*/ 12040067 w 225"/>
                  <a:gd name="T19" fmla="*/ 273441 h 167"/>
                  <a:gd name="T20" fmla="*/ 14077517 w 225"/>
                  <a:gd name="T21" fmla="*/ 819801 h 167"/>
                  <a:gd name="T22" fmla="*/ 16300465 w 225"/>
                  <a:gd name="T23" fmla="*/ 2187008 h 167"/>
                  <a:gd name="T24" fmla="*/ 18523412 w 225"/>
                  <a:gd name="T25" fmla="*/ 4646934 h 167"/>
                  <a:gd name="T26" fmla="*/ 20745928 w 225"/>
                  <a:gd name="T27" fmla="*/ 6560500 h 167"/>
                  <a:gd name="T28" fmla="*/ 23709571 w 225"/>
                  <a:gd name="T29" fmla="*/ 6560500 h 167"/>
                  <a:gd name="T30" fmla="*/ 26858710 w 225"/>
                  <a:gd name="T31" fmla="*/ 5193816 h 167"/>
                  <a:gd name="T32" fmla="*/ 30563479 w 225"/>
                  <a:gd name="T33" fmla="*/ 1913566 h 167"/>
                  <a:gd name="T34" fmla="*/ 41677354 w 225"/>
                  <a:gd name="T35" fmla="*/ 0 h 167"/>
                  <a:gd name="T36" fmla="*/ 39824969 w 225"/>
                  <a:gd name="T37" fmla="*/ 6013618 h 167"/>
                  <a:gd name="T38" fmla="*/ 37231890 w 225"/>
                  <a:gd name="T39" fmla="*/ 11207434 h 167"/>
                  <a:gd name="T40" fmla="*/ 31119108 w 225"/>
                  <a:gd name="T41" fmla="*/ 19681500 h 167"/>
                  <a:gd name="T42" fmla="*/ 25561955 w 225"/>
                  <a:gd name="T43" fmla="*/ 27335243 h 167"/>
                  <a:gd name="T44" fmla="*/ 23895068 w 225"/>
                  <a:gd name="T45" fmla="*/ 31162376 h 167"/>
                  <a:gd name="T46" fmla="*/ 23339439 w 225"/>
                  <a:gd name="T47" fmla="*/ 35535868 h 167"/>
                  <a:gd name="T48" fmla="*/ 22783809 w 225"/>
                  <a:gd name="T49" fmla="*/ 34442626 h 167"/>
                  <a:gd name="T50" fmla="*/ 22227750 w 225"/>
                  <a:gd name="T51" fmla="*/ 31982177 h 167"/>
                  <a:gd name="T52" fmla="*/ 19634670 w 225"/>
                  <a:gd name="T53" fmla="*/ 33075942 h 167"/>
                  <a:gd name="T54" fmla="*/ 17967783 w 225"/>
                  <a:gd name="T55" fmla="*/ 34989508 h 167"/>
                  <a:gd name="T56" fmla="*/ 14818643 w 225"/>
                  <a:gd name="T57" fmla="*/ 39636442 h 167"/>
                  <a:gd name="T58" fmla="*/ 13151325 w 225"/>
                  <a:gd name="T59" fmla="*/ 41822927 h 167"/>
                  <a:gd name="T60" fmla="*/ 11113875 w 225"/>
                  <a:gd name="T61" fmla="*/ 43736493 h 167"/>
                  <a:gd name="T62" fmla="*/ 8520795 w 225"/>
                  <a:gd name="T63" fmla="*/ 45103177 h 167"/>
                  <a:gd name="T64" fmla="*/ 4816027 w 225"/>
                  <a:gd name="T65" fmla="*/ 45650060 h 16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25" h="167">
                    <a:moveTo>
                      <a:pt x="26" y="167"/>
                    </a:moveTo>
                    <a:lnTo>
                      <a:pt x="19" y="158"/>
                    </a:lnTo>
                    <a:lnTo>
                      <a:pt x="10" y="148"/>
                    </a:lnTo>
                    <a:lnTo>
                      <a:pt x="7" y="142"/>
                    </a:lnTo>
                    <a:lnTo>
                      <a:pt x="3" y="136"/>
                    </a:lnTo>
                    <a:lnTo>
                      <a:pt x="0" y="130"/>
                    </a:lnTo>
                    <a:lnTo>
                      <a:pt x="0" y="123"/>
                    </a:lnTo>
                    <a:lnTo>
                      <a:pt x="1" y="108"/>
                    </a:lnTo>
                    <a:lnTo>
                      <a:pt x="5" y="89"/>
                    </a:lnTo>
                    <a:lnTo>
                      <a:pt x="11" y="68"/>
                    </a:lnTo>
                    <a:lnTo>
                      <a:pt x="20" y="48"/>
                    </a:lnTo>
                    <a:lnTo>
                      <a:pt x="24" y="39"/>
                    </a:lnTo>
                    <a:lnTo>
                      <a:pt x="28" y="29"/>
                    </a:lnTo>
                    <a:lnTo>
                      <a:pt x="34" y="21"/>
                    </a:lnTo>
                    <a:lnTo>
                      <a:pt x="38" y="14"/>
                    </a:lnTo>
                    <a:lnTo>
                      <a:pt x="44" y="9"/>
                    </a:lnTo>
                    <a:lnTo>
                      <a:pt x="49" y="4"/>
                    </a:lnTo>
                    <a:lnTo>
                      <a:pt x="54" y="1"/>
                    </a:lnTo>
                    <a:lnTo>
                      <a:pt x="59" y="0"/>
                    </a:lnTo>
                    <a:lnTo>
                      <a:pt x="65" y="1"/>
                    </a:lnTo>
                    <a:lnTo>
                      <a:pt x="70" y="1"/>
                    </a:lnTo>
                    <a:lnTo>
                      <a:pt x="76" y="3"/>
                    </a:lnTo>
                    <a:lnTo>
                      <a:pt x="80" y="4"/>
                    </a:lnTo>
                    <a:lnTo>
                      <a:pt x="88" y="8"/>
                    </a:lnTo>
                    <a:lnTo>
                      <a:pt x="94" y="13"/>
                    </a:lnTo>
                    <a:lnTo>
                      <a:pt x="100" y="17"/>
                    </a:lnTo>
                    <a:lnTo>
                      <a:pt x="106" y="21"/>
                    </a:lnTo>
                    <a:lnTo>
                      <a:pt x="112" y="24"/>
                    </a:lnTo>
                    <a:lnTo>
                      <a:pt x="120" y="25"/>
                    </a:lnTo>
                    <a:lnTo>
                      <a:pt x="128" y="24"/>
                    </a:lnTo>
                    <a:lnTo>
                      <a:pt x="137" y="22"/>
                    </a:lnTo>
                    <a:lnTo>
                      <a:pt x="145" y="19"/>
                    </a:lnTo>
                    <a:lnTo>
                      <a:pt x="151" y="15"/>
                    </a:lnTo>
                    <a:lnTo>
                      <a:pt x="165" y="7"/>
                    </a:lnTo>
                    <a:lnTo>
                      <a:pt x="179" y="0"/>
                    </a:lnTo>
                    <a:lnTo>
                      <a:pt x="225" y="0"/>
                    </a:lnTo>
                    <a:lnTo>
                      <a:pt x="221" y="11"/>
                    </a:lnTo>
                    <a:lnTo>
                      <a:pt x="215" y="22"/>
                    </a:lnTo>
                    <a:lnTo>
                      <a:pt x="209" y="31"/>
                    </a:lnTo>
                    <a:lnTo>
                      <a:pt x="201" y="41"/>
                    </a:lnTo>
                    <a:lnTo>
                      <a:pt x="185" y="57"/>
                    </a:lnTo>
                    <a:lnTo>
                      <a:pt x="168" y="72"/>
                    </a:lnTo>
                    <a:lnTo>
                      <a:pt x="151" y="86"/>
                    </a:lnTo>
                    <a:lnTo>
                      <a:pt x="138" y="100"/>
                    </a:lnTo>
                    <a:lnTo>
                      <a:pt x="133" y="107"/>
                    </a:lnTo>
                    <a:lnTo>
                      <a:pt x="129" y="114"/>
                    </a:lnTo>
                    <a:lnTo>
                      <a:pt x="126" y="122"/>
                    </a:lnTo>
                    <a:lnTo>
                      <a:pt x="126" y="130"/>
                    </a:lnTo>
                    <a:lnTo>
                      <a:pt x="125" y="129"/>
                    </a:lnTo>
                    <a:lnTo>
                      <a:pt x="123" y="126"/>
                    </a:lnTo>
                    <a:lnTo>
                      <a:pt x="120" y="122"/>
                    </a:lnTo>
                    <a:lnTo>
                      <a:pt x="120" y="117"/>
                    </a:lnTo>
                    <a:lnTo>
                      <a:pt x="112" y="119"/>
                    </a:lnTo>
                    <a:lnTo>
                      <a:pt x="106" y="121"/>
                    </a:lnTo>
                    <a:lnTo>
                      <a:pt x="101" y="124"/>
                    </a:lnTo>
                    <a:lnTo>
                      <a:pt x="97" y="128"/>
                    </a:lnTo>
                    <a:lnTo>
                      <a:pt x="88" y="135"/>
                    </a:lnTo>
                    <a:lnTo>
                      <a:pt x="80" y="145"/>
                    </a:lnTo>
                    <a:lnTo>
                      <a:pt x="76" y="149"/>
                    </a:lnTo>
                    <a:lnTo>
                      <a:pt x="71" y="153"/>
                    </a:lnTo>
                    <a:lnTo>
                      <a:pt x="66" y="157"/>
                    </a:lnTo>
                    <a:lnTo>
                      <a:pt x="60" y="160"/>
                    </a:lnTo>
                    <a:lnTo>
                      <a:pt x="54" y="163"/>
                    </a:lnTo>
                    <a:lnTo>
                      <a:pt x="46" y="165"/>
                    </a:lnTo>
                    <a:lnTo>
                      <a:pt x="36" y="166"/>
                    </a:lnTo>
                    <a:lnTo>
                      <a:pt x="26" y="16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6" name="Freeform 187">
                <a:extLst>
                  <a:ext uri="{FF2B5EF4-FFF2-40B4-BE49-F238E27FC236}">
                    <a16:creationId xmlns:a16="http://schemas.microsoft.com/office/drawing/2014/main" id="{6635BFB5-9F35-4096-9910-8793053EB269}"/>
                  </a:ext>
                </a:extLst>
              </p:cNvPr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auto">
              <a:xfrm>
                <a:off x="8163256" y="5076682"/>
                <a:ext cx="3620" cy="19338"/>
              </a:xfrm>
              <a:custGeom>
                <a:avLst/>
                <a:gdLst>
                  <a:gd name="T0" fmla="*/ 0 w 7"/>
                  <a:gd name="T1" fmla="*/ 9837302 h 31"/>
                  <a:gd name="T2" fmla="*/ 1028700 w 7"/>
                  <a:gd name="T3" fmla="*/ 6981257 h 31"/>
                  <a:gd name="T4" fmla="*/ 1234168 w 7"/>
                  <a:gd name="T5" fmla="*/ 4125211 h 31"/>
                  <a:gd name="T6" fmla="*/ 1440089 w 7"/>
                  <a:gd name="T7" fmla="*/ 1904030 h 31"/>
                  <a:gd name="T8" fmla="*/ 1440089 w 7"/>
                  <a:gd name="T9" fmla="*/ 0 h 31"/>
                  <a:gd name="T10" fmla="*/ 1234168 w 7"/>
                  <a:gd name="T11" fmla="*/ 1904030 h 31"/>
                  <a:gd name="T12" fmla="*/ 822779 w 7"/>
                  <a:gd name="T13" fmla="*/ 4125211 h 31"/>
                  <a:gd name="T14" fmla="*/ 205921 w 7"/>
                  <a:gd name="T15" fmla="*/ 6981257 h 31"/>
                  <a:gd name="T16" fmla="*/ 0 w 7"/>
                  <a:gd name="T17" fmla="*/ 9837302 h 3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7" h="31">
                    <a:moveTo>
                      <a:pt x="0" y="31"/>
                    </a:moveTo>
                    <a:lnTo>
                      <a:pt x="5" y="22"/>
                    </a:lnTo>
                    <a:lnTo>
                      <a:pt x="6" y="13"/>
                    </a:lnTo>
                    <a:lnTo>
                      <a:pt x="7" y="6"/>
                    </a:lnTo>
                    <a:lnTo>
                      <a:pt x="7" y="0"/>
                    </a:lnTo>
                    <a:lnTo>
                      <a:pt x="6" y="6"/>
                    </a:lnTo>
                    <a:lnTo>
                      <a:pt x="4" y="13"/>
                    </a:lnTo>
                    <a:lnTo>
                      <a:pt x="1" y="22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7" name="Freeform 188">
                <a:extLst>
                  <a:ext uri="{FF2B5EF4-FFF2-40B4-BE49-F238E27FC236}">
                    <a16:creationId xmlns:a16="http://schemas.microsoft.com/office/drawing/2014/main" id="{39CBCFFC-D913-467C-B5C7-870300BF505D}"/>
                  </a:ext>
                </a:extLst>
              </p:cNvPr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auto">
              <a:xfrm>
                <a:off x="8083624" y="4988783"/>
                <a:ext cx="18098" cy="17580"/>
              </a:xfrm>
              <a:custGeom>
                <a:avLst/>
                <a:gdLst>
                  <a:gd name="T0" fmla="*/ 7636837 w 33"/>
                  <a:gd name="T1" fmla="*/ 8129536 h 31"/>
                  <a:gd name="T2" fmla="*/ 7636837 w 33"/>
                  <a:gd name="T3" fmla="*/ 0 h 31"/>
                  <a:gd name="T4" fmla="*/ 6248496 w 33"/>
                  <a:gd name="T5" fmla="*/ 0 h 31"/>
                  <a:gd name="T6" fmla="*/ 5091064 w 33"/>
                  <a:gd name="T7" fmla="*/ 524387 h 31"/>
                  <a:gd name="T8" fmla="*/ 3702723 w 33"/>
                  <a:gd name="T9" fmla="*/ 1310968 h 31"/>
                  <a:gd name="T10" fmla="*/ 2545773 w 33"/>
                  <a:gd name="T11" fmla="*/ 2098060 h 31"/>
                  <a:gd name="T12" fmla="*/ 1388341 w 33"/>
                  <a:gd name="T13" fmla="*/ 3146835 h 31"/>
                  <a:gd name="T14" fmla="*/ 694170 w 33"/>
                  <a:gd name="T15" fmla="*/ 4196121 h 31"/>
                  <a:gd name="T16" fmla="*/ 231390 w 33"/>
                  <a:gd name="T17" fmla="*/ 5507089 h 31"/>
                  <a:gd name="T18" fmla="*/ 0 w 33"/>
                  <a:gd name="T19" fmla="*/ 6555863 h 31"/>
                  <a:gd name="T20" fmla="*/ 231390 w 33"/>
                  <a:gd name="T21" fmla="*/ 7080762 h 31"/>
                  <a:gd name="T22" fmla="*/ 694170 w 33"/>
                  <a:gd name="T23" fmla="*/ 7605149 h 31"/>
                  <a:gd name="T24" fmla="*/ 1388341 w 33"/>
                  <a:gd name="T25" fmla="*/ 7867343 h 31"/>
                  <a:gd name="T26" fmla="*/ 2545773 w 33"/>
                  <a:gd name="T27" fmla="*/ 7867343 h 31"/>
                  <a:gd name="T28" fmla="*/ 5091064 w 33"/>
                  <a:gd name="T29" fmla="*/ 8129536 h 31"/>
                  <a:gd name="T30" fmla="*/ 7636837 w 33"/>
                  <a:gd name="T31" fmla="*/ 8129536 h 3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3" h="31">
                    <a:moveTo>
                      <a:pt x="33" y="31"/>
                    </a:moveTo>
                    <a:lnTo>
                      <a:pt x="33" y="0"/>
                    </a:lnTo>
                    <a:lnTo>
                      <a:pt x="27" y="0"/>
                    </a:lnTo>
                    <a:lnTo>
                      <a:pt x="22" y="2"/>
                    </a:lnTo>
                    <a:lnTo>
                      <a:pt x="16" y="5"/>
                    </a:lnTo>
                    <a:lnTo>
                      <a:pt x="11" y="8"/>
                    </a:lnTo>
                    <a:lnTo>
                      <a:pt x="6" y="12"/>
                    </a:lnTo>
                    <a:lnTo>
                      <a:pt x="3" y="16"/>
                    </a:lnTo>
                    <a:lnTo>
                      <a:pt x="1" y="21"/>
                    </a:lnTo>
                    <a:lnTo>
                      <a:pt x="0" y="25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6" y="30"/>
                    </a:lnTo>
                    <a:lnTo>
                      <a:pt x="11" y="30"/>
                    </a:lnTo>
                    <a:lnTo>
                      <a:pt x="22" y="31"/>
                    </a:lnTo>
                    <a:lnTo>
                      <a:pt x="33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8" name="Freeform 189">
                <a:extLst>
                  <a:ext uri="{FF2B5EF4-FFF2-40B4-BE49-F238E27FC236}">
                    <a16:creationId xmlns:a16="http://schemas.microsoft.com/office/drawing/2014/main" id="{00E3A0F7-A598-428D-8361-E957334FC3DA}"/>
                  </a:ext>
                </a:extLst>
              </p:cNvPr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auto">
              <a:xfrm>
                <a:off x="8101722" y="4890336"/>
                <a:ext cx="3620" cy="10548"/>
              </a:xfrm>
              <a:custGeom>
                <a:avLst/>
                <a:gdLst>
                  <a:gd name="T0" fmla="*/ 0 w 13"/>
                  <a:gd name="T1" fmla="*/ 4775033 h 19"/>
                  <a:gd name="T2" fmla="*/ 119185 w 13"/>
                  <a:gd name="T3" fmla="*/ 4523874 h 19"/>
                  <a:gd name="T4" fmla="*/ 298206 w 13"/>
                  <a:gd name="T5" fmla="*/ 4272213 h 19"/>
                  <a:gd name="T6" fmla="*/ 417635 w 13"/>
                  <a:gd name="T7" fmla="*/ 3769895 h 19"/>
                  <a:gd name="T8" fmla="*/ 477227 w 13"/>
                  <a:gd name="T9" fmla="*/ 3015916 h 19"/>
                  <a:gd name="T10" fmla="*/ 715840 w 13"/>
                  <a:gd name="T11" fmla="*/ 1507958 h 19"/>
                  <a:gd name="T12" fmla="*/ 775433 w 13"/>
                  <a:gd name="T13" fmla="*/ 0 h 19"/>
                  <a:gd name="T14" fmla="*/ 0 w 13"/>
                  <a:gd name="T15" fmla="*/ 4775033 h 1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13" h="19">
                    <a:moveTo>
                      <a:pt x="0" y="19"/>
                    </a:moveTo>
                    <a:lnTo>
                      <a:pt x="2" y="18"/>
                    </a:lnTo>
                    <a:lnTo>
                      <a:pt x="5" y="17"/>
                    </a:lnTo>
                    <a:lnTo>
                      <a:pt x="7" y="15"/>
                    </a:lnTo>
                    <a:lnTo>
                      <a:pt x="8" y="12"/>
                    </a:lnTo>
                    <a:lnTo>
                      <a:pt x="12" y="6"/>
                    </a:lnTo>
                    <a:lnTo>
                      <a:pt x="13" y="0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79" name="Freeform 190">
                <a:extLst>
                  <a:ext uri="{FF2B5EF4-FFF2-40B4-BE49-F238E27FC236}">
                    <a16:creationId xmlns:a16="http://schemas.microsoft.com/office/drawing/2014/main" id="{B5FC16BE-BC1E-4A79-88DF-2AC10BBDD27C}"/>
                  </a:ext>
                </a:extLst>
              </p:cNvPr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auto">
              <a:xfrm>
                <a:off x="7909880" y="4893852"/>
                <a:ext cx="43436" cy="24612"/>
              </a:xfrm>
              <a:custGeom>
                <a:avLst/>
                <a:gdLst>
                  <a:gd name="T0" fmla="*/ 9511166 w 87"/>
                  <a:gd name="T1" fmla="*/ 11760729 h 42"/>
                  <a:gd name="T2" fmla="*/ 10391651 w 87"/>
                  <a:gd name="T3" fmla="*/ 11760729 h 42"/>
                  <a:gd name="T4" fmla="*/ 11272136 w 87"/>
                  <a:gd name="T5" fmla="*/ 11480800 h 42"/>
                  <a:gd name="T6" fmla="*/ 11976775 w 87"/>
                  <a:gd name="T7" fmla="*/ 11200871 h 42"/>
                  <a:gd name="T8" fmla="*/ 12505150 w 87"/>
                  <a:gd name="T9" fmla="*/ 10640483 h 42"/>
                  <a:gd name="T10" fmla="*/ 13209790 w 87"/>
                  <a:gd name="T11" fmla="*/ 9520767 h 42"/>
                  <a:gd name="T12" fmla="*/ 13738165 w 87"/>
                  <a:gd name="T13" fmla="*/ 7840662 h 42"/>
                  <a:gd name="T14" fmla="*/ 13914429 w 87"/>
                  <a:gd name="T15" fmla="*/ 6160558 h 42"/>
                  <a:gd name="T16" fmla="*/ 14090275 w 87"/>
                  <a:gd name="T17" fmla="*/ 4480454 h 42"/>
                  <a:gd name="T18" fmla="*/ 14442804 w 87"/>
                  <a:gd name="T19" fmla="*/ 3080279 h 42"/>
                  <a:gd name="T20" fmla="*/ 15323289 w 87"/>
                  <a:gd name="T21" fmla="*/ 1680104 h 42"/>
                  <a:gd name="T22" fmla="*/ 13561900 w 87"/>
                  <a:gd name="T23" fmla="*/ 559858 h 42"/>
                  <a:gd name="T24" fmla="*/ 11800511 w 87"/>
                  <a:gd name="T25" fmla="*/ 0 h 42"/>
                  <a:gd name="T26" fmla="*/ 10039541 w 87"/>
                  <a:gd name="T27" fmla="*/ 0 h 42"/>
                  <a:gd name="T28" fmla="*/ 8278152 w 87"/>
                  <a:gd name="T29" fmla="*/ 0 h 42"/>
                  <a:gd name="T30" fmla="*/ 7045137 w 87"/>
                  <a:gd name="T31" fmla="*/ 0 h 42"/>
                  <a:gd name="T32" fmla="*/ 5636278 w 87"/>
                  <a:gd name="T33" fmla="*/ 559858 h 42"/>
                  <a:gd name="T34" fmla="*/ 4403263 w 87"/>
                  <a:gd name="T35" fmla="*/ 1120246 h 42"/>
                  <a:gd name="T36" fmla="*/ 3346514 w 87"/>
                  <a:gd name="T37" fmla="*/ 1680104 h 42"/>
                  <a:gd name="T38" fmla="*/ 1408860 w 87"/>
                  <a:gd name="T39" fmla="*/ 3360208 h 42"/>
                  <a:gd name="T40" fmla="*/ 0 w 87"/>
                  <a:gd name="T41" fmla="*/ 5040313 h 42"/>
                  <a:gd name="T42" fmla="*/ 1937234 w 87"/>
                  <a:gd name="T43" fmla="*/ 6720417 h 42"/>
                  <a:gd name="T44" fmla="*/ 4755373 w 87"/>
                  <a:gd name="T45" fmla="*/ 8960379 h 42"/>
                  <a:gd name="T46" fmla="*/ 7573512 w 87"/>
                  <a:gd name="T47" fmla="*/ 10920942 h 42"/>
                  <a:gd name="T48" fmla="*/ 9511166 w 87"/>
                  <a:gd name="T49" fmla="*/ 11760729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87" h="42">
                    <a:moveTo>
                      <a:pt x="54" y="42"/>
                    </a:moveTo>
                    <a:lnTo>
                      <a:pt x="59" y="42"/>
                    </a:lnTo>
                    <a:lnTo>
                      <a:pt x="64" y="41"/>
                    </a:lnTo>
                    <a:lnTo>
                      <a:pt x="68" y="40"/>
                    </a:lnTo>
                    <a:lnTo>
                      <a:pt x="71" y="38"/>
                    </a:lnTo>
                    <a:lnTo>
                      <a:pt x="75" y="34"/>
                    </a:lnTo>
                    <a:lnTo>
                      <a:pt x="78" y="28"/>
                    </a:lnTo>
                    <a:lnTo>
                      <a:pt x="79" y="22"/>
                    </a:lnTo>
                    <a:lnTo>
                      <a:pt x="80" y="16"/>
                    </a:lnTo>
                    <a:lnTo>
                      <a:pt x="82" y="11"/>
                    </a:lnTo>
                    <a:lnTo>
                      <a:pt x="87" y="6"/>
                    </a:lnTo>
                    <a:lnTo>
                      <a:pt x="77" y="2"/>
                    </a:lnTo>
                    <a:lnTo>
                      <a:pt x="67" y="0"/>
                    </a:lnTo>
                    <a:lnTo>
                      <a:pt x="57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2" y="2"/>
                    </a:lnTo>
                    <a:lnTo>
                      <a:pt x="25" y="4"/>
                    </a:lnTo>
                    <a:lnTo>
                      <a:pt x="19" y="6"/>
                    </a:lnTo>
                    <a:lnTo>
                      <a:pt x="8" y="12"/>
                    </a:lnTo>
                    <a:lnTo>
                      <a:pt x="0" y="18"/>
                    </a:lnTo>
                    <a:lnTo>
                      <a:pt x="11" y="24"/>
                    </a:lnTo>
                    <a:lnTo>
                      <a:pt x="27" y="32"/>
                    </a:lnTo>
                    <a:lnTo>
                      <a:pt x="43" y="39"/>
                    </a:lnTo>
                    <a:lnTo>
                      <a:pt x="54" y="4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0" name="Freeform 191">
                <a:extLst>
                  <a:ext uri="{FF2B5EF4-FFF2-40B4-BE49-F238E27FC236}">
                    <a16:creationId xmlns:a16="http://schemas.microsoft.com/office/drawing/2014/main" id="{F1BD4CE6-0DB7-4156-B4D8-F27FCF190E4F}"/>
                  </a:ext>
                </a:extLst>
              </p:cNvPr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auto">
              <a:xfrm>
                <a:off x="8203072" y="5415971"/>
                <a:ext cx="1809" cy="15821"/>
              </a:xfrm>
              <a:custGeom>
                <a:avLst/>
                <a:gdLst>
                  <a:gd name="T0" fmla="*/ 0 w 7"/>
                  <a:gd name="T1" fmla="*/ 0 h 31"/>
                  <a:gd name="T2" fmla="*/ 359796 w 7"/>
                  <a:gd name="T3" fmla="*/ 0 h 31"/>
                  <a:gd name="T4" fmla="*/ 359796 w 7"/>
                  <a:gd name="T5" fmla="*/ 3823653 h 31"/>
                  <a:gd name="T6" fmla="*/ 0 w 7"/>
                  <a:gd name="T7" fmla="*/ 6585385 h 31"/>
                  <a:gd name="T8" fmla="*/ 0 w 7"/>
                  <a:gd name="T9" fmla="*/ 0 h 3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7" h="31">
                    <a:moveTo>
                      <a:pt x="0" y="0"/>
                    </a:moveTo>
                    <a:lnTo>
                      <a:pt x="7" y="0"/>
                    </a:lnTo>
                    <a:lnTo>
                      <a:pt x="7" y="18"/>
                    </a:lnTo>
                    <a:lnTo>
                      <a:pt x="0" y="31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1" name="Freeform 192">
                <a:extLst>
                  <a:ext uri="{FF2B5EF4-FFF2-40B4-BE49-F238E27FC236}">
                    <a16:creationId xmlns:a16="http://schemas.microsoft.com/office/drawing/2014/main" id="{5FCC5793-18B2-4EBC-897C-26DC223102D0}"/>
                  </a:ext>
                </a:extLst>
              </p:cNvPr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auto">
              <a:xfrm>
                <a:off x="7283680" y="4860451"/>
                <a:ext cx="1228871" cy="1021382"/>
              </a:xfrm>
              <a:custGeom>
                <a:avLst/>
                <a:gdLst>
                  <a:gd name="T0" fmla="*/ 40874512 w 2332"/>
                  <a:gd name="T1" fmla="*/ 194556139 h 1731"/>
                  <a:gd name="T2" fmla="*/ 62076149 w 2332"/>
                  <a:gd name="T3" fmla="*/ 178595232 h 1731"/>
                  <a:gd name="T4" fmla="*/ 83086363 w 2332"/>
                  <a:gd name="T5" fmla="*/ 166762255 h 1731"/>
                  <a:gd name="T6" fmla="*/ 115557051 w 2332"/>
                  <a:gd name="T7" fmla="*/ 156855539 h 1731"/>
                  <a:gd name="T8" fmla="*/ 129308921 w 2332"/>
                  <a:gd name="T9" fmla="*/ 120256036 h 1731"/>
                  <a:gd name="T10" fmla="*/ 144780539 w 2332"/>
                  <a:gd name="T11" fmla="*/ 120806322 h 1731"/>
                  <a:gd name="T12" fmla="*/ 149746614 w 2332"/>
                  <a:gd name="T13" fmla="*/ 99892320 h 1731"/>
                  <a:gd name="T14" fmla="*/ 165408781 w 2332"/>
                  <a:gd name="T15" fmla="*/ 86958771 h 1731"/>
                  <a:gd name="T16" fmla="*/ 179352074 w 2332"/>
                  <a:gd name="T17" fmla="*/ 67695626 h 1731"/>
                  <a:gd name="T18" fmla="*/ 196160158 w 2332"/>
                  <a:gd name="T19" fmla="*/ 61366554 h 1731"/>
                  <a:gd name="T20" fmla="*/ 205901320 w 2332"/>
                  <a:gd name="T21" fmla="*/ 78152627 h 1731"/>
                  <a:gd name="T22" fmla="*/ 216788400 w 2332"/>
                  <a:gd name="T23" fmla="*/ 74300103 h 1731"/>
                  <a:gd name="T24" fmla="*/ 224619702 w 2332"/>
                  <a:gd name="T25" fmla="*/ 47331910 h 1731"/>
                  <a:gd name="T26" fmla="*/ 252124316 w 2332"/>
                  <a:gd name="T27" fmla="*/ 32196694 h 1731"/>
                  <a:gd name="T28" fmla="*/ 255180092 w 2332"/>
                  <a:gd name="T29" fmla="*/ 11282692 h 1731"/>
                  <a:gd name="T30" fmla="*/ 273516502 w 2332"/>
                  <a:gd name="T31" fmla="*/ 29444741 h 1731"/>
                  <a:gd name="T32" fmla="*/ 294908688 w 2332"/>
                  <a:gd name="T33" fmla="*/ 32196694 h 1731"/>
                  <a:gd name="T34" fmla="*/ 279819478 w 2332"/>
                  <a:gd name="T35" fmla="*/ 72098436 h 1731"/>
                  <a:gd name="T36" fmla="*/ 288223739 w 2332"/>
                  <a:gd name="T37" fmla="*/ 91636986 h 1731"/>
                  <a:gd name="T38" fmla="*/ 302167032 w 2332"/>
                  <a:gd name="T39" fmla="*/ 97415772 h 1731"/>
                  <a:gd name="T40" fmla="*/ 318593144 w 2332"/>
                  <a:gd name="T41" fmla="*/ 116403512 h 1731"/>
                  <a:gd name="T42" fmla="*/ 336929553 w 2332"/>
                  <a:gd name="T43" fmla="*/ 113651559 h 1731"/>
                  <a:gd name="T44" fmla="*/ 349535506 w 2332"/>
                  <a:gd name="T45" fmla="*/ 56412934 h 1731"/>
                  <a:gd name="T46" fmla="*/ 363669785 w 2332"/>
                  <a:gd name="T47" fmla="*/ 2751953 h 1731"/>
                  <a:gd name="T48" fmla="*/ 369208818 w 2332"/>
                  <a:gd name="T49" fmla="*/ 22014573 h 1731"/>
                  <a:gd name="T50" fmla="*/ 371310102 w 2332"/>
                  <a:gd name="T51" fmla="*/ 48432481 h 1731"/>
                  <a:gd name="T52" fmla="*/ 379331953 w 2332"/>
                  <a:gd name="T53" fmla="*/ 66044244 h 1731"/>
                  <a:gd name="T54" fmla="*/ 389646511 w 2332"/>
                  <a:gd name="T55" fmla="*/ 118054369 h 1731"/>
                  <a:gd name="T56" fmla="*/ 399005701 w 2332"/>
                  <a:gd name="T57" fmla="*/ 148600205 h 1731"/>
                  <a:gd name="T58" fmla="*/ 413139543 w 2332"/>
                  <a:gd name="T59" fmla="*/ 188777352 h 1731"/>
                  <a:gd name="T60" fmla="*/ 423836073 w 2332"/>
                  <a:gd name="T61" fmla="*/ 211617616 h 1731"/>
                  <a:gd name="T62" fmla="*/ 445419246 w 2332"/>
                  <a:gd name="T63" fmla="*/ 245465167 h 1731"/>
                  <a:gd name="T64" fmla="*/ 434723153 w 2332"/>
                  <a:gd name="T65" fmla="*/ 304079768 h 1731"/>
                  <a:gd name="T66" fmla="*/ 398623292 w 2332"/>
                  <a:gd name="T67" fmla="*/ 374802752 h 1731"/>
                  <a:gd name="T68" fmla="*/ 382961125 w 2332"/>
                  <a:gd name="T69" fmla="*/ 394065373 h 1731"/>
                  <a:gd name="T70" fmla="*/ 351063832 w 2332"/>
                  <a:gd name="T71" fmla="*/ 437820163 h 1731"/>
                  <a:gd name="T72" fmla="*/ 334064325 w 2332"/>
                  <a:gd name="T73" fmla="*/ 461210713 h 1731"/>
                  <a:gd name="T74" fmla="*/ 303503934 w 2332"/>
                  <a:gd name="T75" fmla="*/ 474969952 h 1731"/>
                  <a:gd name="T76" fmla="*/ 289751627 w 2332"/>
                  <a:gd name="T77" fmla="*/ 465888928 h 1731"/>
                  <a:gd name="T78" fmla="*/ 269314372 w 2332"/>
                  <a:gd name="T79" fmla="*/ 475795643 h 1731"/>
                  <a:gd name="T80" fmla="*/ 247731199 w 2332"/>
                  <a:gd name="T81" fmla="*/ 465888928 h 1731"/>
                  <a:gd name="T82" fmla="*/ 244293013 w 2332"/>
                  <a:gd name="T83" fmla="*/ 444149235 h 1731"/>
                  <a:gd name="T84" fmla="*/ 241236800 w 2332"/>
                  <a:gd name="T85" fmla="*/ 417181042 h 1731"/>
                  <a:gd name="T86" fmla="*/ 233978892 w 2332"/>
                  <a:gd name="T87" fmla="*/ 412778232 h 1731"/>
                  <a:gd name="T88" fmla="*/ 244483999 w 2332"/>
                  <a:gd name="T89" fmla="*/ 380306133 h 1731"/>
                  <a:gd name="T90" fmla="*/ 207811181 w 2332"/>
                  <a:gd name="T91" fmla="*/ 374802752 h 1731"/>
                  <a:gd name="T92" fmla="*/ 183554204 w 2332"/>
                  <a:gd name="T93" fmla="*/ 352787654 h 1731"/>
                  <a:gd name="T94" fmla="*/ 144016158 w 2332"/>
                  <a:gd name="T95" fmla="*/ 364070346 h 1731"/>
                  <a:gd name="T96" fmla="*/ 96838670 w 2332"/>
                  <a:gd name="T97" fmla="*/ 390488254 h 1731"/>
                  <a:gd name="T98" fmla="*/ 40874512 w 2332"/>
                  <a:gd name="T99" fmla="*/ 405348064 h 1731"/>
                  <a:gd name="T100" fmla="*/ 10505107 w 2332"/>
                  <a:gd name="T101" fmla="*/ 410026279 h 1731"/>
                  <a:gd name="T102" fmla="*/ 381972 w 2332"/>
                  <a:gd name="T103" fmla="*/ 391588825 h 1731"/>
                  <a:gd name="T104" fmla="*/ 18527395 w 2332"/>
                  <a:gd name="T105" fmla="*/ 369849132 h 1731"/>
                  <a:gd name="T106" fmla="*/ 14325265 w 2332"/>
                  <a:gd name="T107" fmla="*/ 341504963 h 1731"/>
                  <a:gd name="T108" fmla="*/ 21583172 w 2332"/>
                  <a:gd name="T109" fmla="*/ 321966937 h 1731"/>
                  <a:gd name="T110" fmla="*/ 11078065 w 2332"/>
                  <a:gd name="T111" fmla="*/ 259499812 h 1731"/>
                  <a:gd name="T112" fmla="*/ 21583172 w 2332"/>
                  <a:gd name="T113" fmla="*/ 265278598 h 1731"/>
                  <a:gd name="T114" fmla="*/ 20246270 w 2332"/>
                  <a:gd name="T115" fmla="*/ 237209833 h 1731"/>
                  <a:gd name="T116" fmla="*/ 28077572 w 2332"/>
                  <a:gd name="T117" fmla="*/ 210517045 h 173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332" h="1731">
                    <a:moveTo>
                      <a:pt x="153" y="721"/>
                    </a:moveTo>
                    <a:lnTo>
                      <a:pt x="156" y="727"/>
                    </a:lnTo>
                    <a:lnTo>
                      <a:pt x="159" y="732"/>
                    </a:lnTo>
                    <a:lnTo>
                      <a:pt x="162" y="735"/>
                    </a:lnTo>
                    <a:lnTo>
                      <a:pt x="167" y="738"/>
                    </a:lnTo>
                    <a:lnTo>
                      <a:pt x="173" y="744"/>
                    </a:lnTo>
                    <a:lnTo>
                      <a:pt x="180" y="751"/>
                    </a:lnTo>
                    <a:lnTo>
                      <a:pt x="189" y="744"/>
                    </a:lnTo>
                    <a:lnTo>
                      <a:pt x="195" y="737"/>
                    </a:lnTo>
                    <a:lnTo>
                      <a:pt x="201" y="729"/>
                    </a:lnTo>
                    <a:lnTo>
                      <a:pt x="205" y="722"/>
                    </a:lnTo>
                    <a:lnTo>
                      <a:pt x="210" y="714"/>
                    </a:lnTo>
                    <a:lnTo>
                      <a:pt x="214" y="707"/>
                    </a:lnTo>
                    <a:lnTo>
                      <a:pt x="219" y="701"/>
                    </a:lnTo>
                    <a:lnTo>
                      <a:pt x="226" y="696"/>
                    </a:lnTo>
                    <a:lnTo>
                      <a:pt x="234" y="690"/>
                    </a:lnTo>
                    <a:lnTo>
                      <a:pt x="241" y="685"/>
                    </a:lnTo>
                    <a:lnTo>
                      <a:pt x="249" y="680"/>
                    </a:lnTo>
                    <a:lnTo>
                      <a:pt x="258" y="677"/>
                    </a:lnTo>
                    <a:lnTo>
                      <a:pt x="274" y="672"/>
                    </a:lnTo>
                    <a:lnTo>
                      <a:pt x="290" y="667"/>
                    </a:lnTo>
                    <a:lnTo>
                      <a:pt x="297" y="665"/>
                    </a:lnTo>
                    <a:lnTo>
                      <a:pt x="305" y="661"/>
                    </a:lnTo>
                    <a:lnTo>
                      <a:pt x="312" y="658"/>
                    </a:lnTo>
                    <a:lnTo>
                      <a:pt x="318" y="654"/>
                    </a:lnTo>
                    <a:lnTo>
                      <a:pt x="325" y="649"/>
                    </a:lnTo>
                    <a:lnTo>
                      <a:pt x="330" y="644"/>
                    </a:lnTo>
                    <a:lnTo>
                      <a:pt x="335" y="637"/>
                    </a:lnTo>
                    <a:lnTo>
                      <a:pt x="339" y="628"/>
                    </a:lnTo>
                    <a:lnTo>
                      <a:pt x="360" y="631"/>
                    </a:lnTo>
                    <a:lnTo>
                      <a:pt x="370" y="631"/>
                    </a:lnTo>
                    <a:lnTo>
                      <a:pt x="375" y="629"/>
                    </a:lnTo>
                    <a:lnTo>
                      <a:pt x="385" y="628"/>
                    </a:lnTo>
                    <a:lnTo>
                      <a:pt x="393" y="628"/>
                    </a:lnTo>
                    <a:lnTo>
                      <a:pt x="400" y="627"/>
                    </a:lnTo>
                    <a:lnTo>
                      <a:pt x="405" y="624"/>
                    </a:lnTo>
                    <a:lnTo>
                      <a:pt x="412" y="622"/>
                    </a:lnTo>
                    <a:lnTo>
                      <a:pt x="423" y="615"/>
                    </a:lnTo>
                    <a:lnTo>
                      <a:pt x="435" y="606"/>
                    </a:lnTo>
                    <a:lnTo>
                      <a:pt x="447" y="598"/>
                    </a:lnTo>
                    <a:lnTo>
                      <a:pt x="461" y="592"/>
                    </a:lnTo>
                    <a:lnTo>
                      <a:pt x="469" y="589"/>
                    </a:lnTo>
                    <a:lnTo>
                      <a:pt x="478" y="587"/>
                    </a:lnTo>
                    <a:lnTo>
                      <a:pt x="487" y="585"/>
                    </a:lnTo>
                    <a:lnTo>
                      <a:pt x="498" y="585"/>
                    </a:lnTo>
                    <a:lnTo>
                      <a:pt x="520" y="585"/>
                    </a:lnTo>
                    <a:lnTo>
                      <a:pt x="544" y="584"/>
                    </a:lnTo>
                    <a:lnTo>
                      <a:pt x="558" y="584"/>
                    </a:lnTo>
                    <a:lnTo>
                      <a:pt x="570" y="582"/>
                    </a:lnTo>
                    <a:lnTo>
                      <a:pt x="581" y="581"/>
                    </a:lnTo>
                    <a:lnTo>
                      <a:pt x="592" y="579"/>
                    </a:lnTo>
                    <a:lnTo>
                      <a:pt x="605" y="570"/>
                    </a:lnTo>
                    <a:lnTo>
                      <a:pt x="619" y="558"/>
                    </a:lnTo>
                    <a:lnTo>
                      <a:pt x="635" y="542"/>
                    </a:lnTo>
                    <a:lnTo>
                      <a:pt x="650" y="525"/>
                    </a:lnTo>
                    <a:lnTo>
                      <a:pt x="664" y="508"/>
                    </a:lnTo>
                    <a:lnTo>
                      <a:pt x="677" y="490"/>
                    </a:lnTo>
                    <a:lnTo>
                      <a:pt x="688" y="475"/>
                    </a:lnTo>
                    <a:lnTo>
                      <a:pt x="698" y="462"/>
                    </a:lnTo>
                    <a:lnTo>
                      <a:pt x="695" y="461"/>
                    </a:lnTo>
                    <a:lnTo>
                      <a:pt x="693" y="459"/>
                    </a:lnTo>
                    <a:lnTo>
                      <a:pt x="691" y="456"/>
                    </a:lnTo>
                    <a:lnTo>
                      <a:pt x="688" y="452"/>
                    </a:lnTo>
                    <a:lnTo>
                      <a:pt x="683" y="444"/>
                    </a:lnTo>
                    <a:lnTo>
                      <a:pt x="677" y="437"/>
                    </a:lnTo>
                    <a:lnTo>
                      <a:pt x="688" y="432"/>
                    </a:lnTo>
                    <a:lnTo>
                      <a:pt x="697" y="426"/>
                    </a:lnTo>
                    <a:lnTo>
                      <a:pt x="705" y="419"/>
                    </a:lnTo>
                    <a:lnTo>
                      <a:pt x="710" y="413"/>
                    </a:lnTo>
                    <a:lnTo>
                      <a:pt x="716" y="406"/>
                    </a:lnTo>
                    <a:lnTo>
                      <a:pt x="721" y="399"/>
                    </a:lnTo>
                    <a:lnTo>
                      <a:pt x="729" y="393"/>
                    </a:lnTo>
                    <a:lnTo>
                      <a:pt x="738" y="388"/>
                    </a:lnTo>
                    <a:lnTo>
                      <a:pt x="739" y="399"/>
                    </a:lnTo>
                    <a:lnTo>
                      <a:pt x="741" y="409"/>
                    </a:lnTo>
                    <a:lnTo>
                      <a:pt x="744" y="418"/>
                    </a:lnTo>
                    <a:lnTo>
                      <a:pt x="749" y="425"/>
                    </a:lnTo>
                    <a:lnTo>
                      <a:pt x="758" y="439"/>
                    </a:lnTo>
                    <a:lnTo>
                      <a:pt x="764" y="450"/>
                    </a:lnTo>
                    <a:lnTo>
                      <a:pt x="768" y="437"/>
                    </a:lnTo>
                    <a:lnTo>
                      <a:pt x="770" y="428"/>
                    </a:lnTo>
                    <a:lnTo>
                      <a:pt x="771" y="418"/>
                    </a:lnTo>
                    <a:lnTo>
                      <a:pt x="771" y="406"/>
                    </a:lnTo>
                    <a:lnTo>
                      <a:pt x="775" y="402"/>
                    </a:lnTo>
                    <a:lnTo>
                      <a:pt x="776" y="397"/>
                    </a:lnTo>
                    <a:lnTo>
                      <a:pt x="777" y="391"/>
                    </a:lnTo>
                    <a:lnTo>
                      <a:pt x="777" y="385"/>
                    </a:lnTo>
                    <a:lnTo>
                      <a:pt x="777" y="379"/>
                    </a:lnTo>
                    <a:lnTo>
                      <a:pt x="778" y="373"/>
                    </a:lnTo>
                    <a:lnTo>
                      <a:pt x="781" y="368"/>
                    </a:lnTo>
                    <a:lnTo>
                      <a:pt x="784" y="363"/>
                    </a:lnTo>
                    <a:lnTo>
                      <a:pt x="787" y="370"/>
                    </a:lnTo>
                    <a:lnTo>
                      <a:pt x="790" y="381"/>
                    </a:lnTo>
                    <a:lnTo>
                      <a:pt x="838" y="381"/>
                    </a:lnTo>
                    <a:lnTo>
                      <a:pt x="833" y="369"/>
                    </a:lnTo>
                    <a:lnTo>
                      <a:pt x="832" y="358"/>
                    </a:lnTo>
                    <a:lnTo>
                      <a:pt x="831" y="349"/>
                    </a:lnTo>
                    <a:lnTo>
                      <a:pt x="832" y="341"/>
                    </a:lnTo>
                    <a:lnTo>
                      <a:pt x="835" y="327"/>
                    </a:lnTo>
                    <a:lnTo>
                      <a:pt x="838" y="314"/>
                    </a:lnTo>
                    <a:lnTo>
                      <a:pt x="852" y="315"/>
                    </a:lnTo>
                    <a:lnTo>
                      <a:pt x="860" y="316"/>
                    </a:lnTo>
                    <a:lnTo>
                      <a:pt x="863" y="316"/>
                    </a:lnTo>
                    <a:lnTo>
                      <a:pt x="866" y="316"/>
                    </a:lnTo>
                    <a:lnTo>
                      <a:pt x="871" y="315"/>
                    </a:lnTo>
                    <a:lnTo>
                      <a:pt x="877" y="314"/>
                    </a:lnTo>
                    <a:lnTo>
                      <a:pt x="885" y="295"/>
                    </a:lnTo>
                    <a:lnTo>
                      <a:pt x="891" y="281"/>
                    </a:lnTo>
                    <a:lnTo>
                      <a:pt x="898" y="268"/>
                    </a:lnTo>
                    <a:lnTo>
                      <a:pt x="910" y="252"/>
                    </a:lnTo>
                    <a:lnTo>
                      <a:pt x="916" y="255"/>
                    </a:lnTo>
                    <a:lnTo>
                      <a:pt x="921" y="256"/>
                    </a:lnTo>
                    <a:lnTo>
                      <a:pt x="925" y="256"/>
                    </a:lnTo>
                    <a:lnTo>
                      <a:pt x="930" y="255"/>
                    </a:lnTo>
                    <a:lnTo>
                      <a:pt x="933" y="253"/>
                    </a:lnTo>
                    <a:lnTo>
                      <a:pt x="935" y="250"/>
                    </a:lnTo>
                    <a:lnTo>
                      <a:pt x="939" y="246"/>
                    </a:lnTo>
                    <a:lnTo>
                      <a:pt x="940" y="242"/>
                    </a:lnTo>
                    <a:lnTo>
                      <a:pt x="946" y="224"/>
                    </a:lnTo>
                    <a:lnTo>
                      <a:pt x="951" y="209"/>
                    </a:lnTo>
                    <a:lnTo>
                      <a:pt x="957" y="212"/>
                    </a:lnTo>
                    <a:lnTo>
                      <a:pt x="965" y="214"/>
                    </a:lnTo>
                    <a:lnTo>
                      <a:pt x="973" y="215"/>
                    </a:lnTo>
                    <a:lnTo>
                      <a:pt x="980" y="214"/>
                    </a:lnTo>
                    <a:lnTo>
                      <a:pt x="989" y="214"/>
                    </a:lnTo>
                    <a:lnTo>
                      <a:pt x="998" y="213"/>
                    </a:lnTo>
                    <a:lnTo>
                      <a:pt x="1007" y="213"/>
                    </a:lnTo>
                    <a:lnTo>
                      <a:pt x="1017" y="215"/>
                    </a:lnTo>
                    <a:lnTo>
                      <a:pt x="1022" y="219"/>
                    </a:lnTo>
                    <a:lnTo>
                      <a:pt x="1027" y="223"/>
                    </a:lnTo>
                    <a:lnTo>
                      <a:pt x="1031" y="227"/>
                    </a:lnTo>
                    <a:lnTo>
                      <a:pt x="1033" y="232"/>
                    </a:lnTo>
                    <a:lnTo>
                      <a:pt x="1037" y="244"/>
                    </a:lnTo>
                    <a:lnTo>
                      <a:pt x="1040" y="257"/>
                    </a:lnTo>
                    <a:lnTo>
                      <a:pt x="1043" y="269"/>
                    </a:lnTo>
                    <a:lnTo>
                      <a:pt x="1046" y="280"/>
                    </a:lnTo>
                    <a:lnTo>
                      <a:pt x="1050" y="284"/>
                    </a:lnTo>
                    <a:lnTo>
                      <a:pt x="1053" y="287"/>
                    </a:lnTo>
                    <a:lnTo>
                      <a:pt x="1057" y="289"/>
                    </a:lnTo>
                    <a:lnTo>
                      <a:pt x="1063" y="290"/>
                    </a:lnTo>
                    <a:lnTo>
                      <a:pt x="1069" y="289"/>
                    </a:lnTo>
                    <a:lnTo>
                      <a:pt x="1076" y="286"/>
                    </a:lnTo>
                    <a:lnTo>
                      <a:pt x="1078" y="284"/>
                    </a:lnTo>
                    <a:lnTo>
                      <a:pt x="1081" y="282"/>
                    </a:lnTo>
                    <a:lnTo>
                      <a:pt x="1083" y="280"/>
                    </a:lnTo>
                    <a:lnTo>
                      <a:pt x="1084" y="277"/>
                    </a:lnTo>
                    <a:lnTo>
                      <a:pt x="1088" y="279"/>
                    </a:lnTo>
                    <a:lnTo>
                      <a:pt x="1092" y="280"/>
                    </a:lnTo>
                    <a:lnTo>
                      <a:pt x="1096" y="280"/>
                    </a:lnTo>
                    <a:lnTo>
                      <a:pt x="1099" y="280"/>
                    </a:lnTo>
                    <a:lnTo>
                      <a:pt x="1104" y="278"/>
                    </a:lnTo>
                    <a:lnTo>
                      <a:pt x="1110" y="277"/>
                    </a:lnTo>
                    <a:lnTo>
                      <a:pt x="1120" y="277"/>
                    </a:lnTo>
                    <a:lnTo>
                      <a:pt x="1128" y="276"/>
                    </a:lnTo>
                    <a:lnTo>
                      <a:pt x="1133" y="274"/>
                    </a:lnTo>
                    <a:lnTo>
                      <a:pt x="1135" y="270"/>
                    </a:lnTo>
                    <a:lnTo>
                      <a:pt x="1136" y="261"/>
                    </a:lnTo>
                    <a:lnTo>
                      <a:pt x="1136" y="246"/>
                    </a:lnTo>
                    <a:lnTo>
                      <a:pt x="1136" y="240"/>
                    </a:lnTo>
                    <a:lnTo>
                      <a:pt x="1137" y="234"/>
                    </a:lnTo>
                    <a:lnTo>
                      <a:pt x="1140" y="228"/>
                    </a:lnTo>
                    <a:lnTo>
                      <a:pt x="1143" y="223"/>
                    </a:lnTo>
                    <a:lnTo>
                      <a:pt x="1148" y="212"/>
                    </a:lnTo>
                    <a:lnTo>
                      <a:pt x="1156" y="204"/>
                    </a:lnTo>
                    <a:lnTo>
                      <a:pt x="1164" y="195"/>
                    </a:lnTo>
                    <a:lnTo>
                      <a:pt x="1170" y="186"/>
                    </a:lnTo>
                    <a:lnTo>
                      <a:pt x="1173" y="182"/>
                    </a:lnTo>
                    <a:lnTo>
                      <a:pt x="1175" y="177"/>
                    </a:lnTo>
                    <a:lnTo>
                      <a:pt x="1176" y="172"/>
                    </a:lnTo>
                    <a:lnTo>
                      <a:pt x="1176" y="167"/>
                    </a:lnTo>
                    <a:lnTo>
                      <a:pt x="1189" y="154"/>
                    </a:lnTo>
                    <a:lnTo>
                      <a:pt x="1201" y="146"/>
                    </a:lnTo>
                    <a:lnTo>
                      <a:pt x="1213" y="139"/>
                    </a:lnTo>
                    <a:lnTo>
                      <a:pt x="1225" y="134"/>
                    </a:lnTo>
                    <a:lnTo>
                      <a:pt x="1237" y="131"/>
                    </a:lnTo>
                    <a:lnTo>
                      <a:pt x="1248" y="128"/>
                    </a:lnTo>
                    <a:lnTo>
                      <a:pt x="1259" y="127"/>
                    </a:lnTo>
                    <a:lnTo>
                      <a:pt x="1270" y="126"/>
                    </a:lnTo>
                    <a:lnTo>
                      <a:pt x="1289" y="125"/>
                    </a:lnTo>
                    <a:lnTo>
                      <a:pt x="1305" y="123"/>
                    </a:lnTo>
                    <a:lnTo>
                      <a:pt x="1313" y="121"/>
                    </a:lnTo>
                    <a:lnTo>
                      <a:pt x="1320" y="117"/>
                    </a:lnTo>
                    <a:lnTo>
                      <a:pt x="1324" y="112"/>
                    </a:lnTo>
                    <a:lnTo>
                      <a:pt x="1328" y="104"/>
                    </a:lnTo>
                    <a:lnTo>
                      <a:pt x="1322" y="94"/>
                    </a:lnTo>
                    <a:lnTo>
                      <a:pt x="1314" y="86"/>
                    </a:lnTo>
                    <a:lnTo>
                      <a:pt x="1308" y="80"/>
                    </a:lnTo>
                    <a:lnTo>
                      <a:pt x="1301" y="75"/>
                    </a:lnTo>
                    <a:lnTo>
                      <a:pt x="1297" y="69"/>
                    </a:lnTo>
                    <a:lnTo>
                      <a:pt x="1292" y="64"/>
                    </a:lnTo>
                    <a:lnTo>
                      <a:pt x="1290" y="58"/>
                    </a:lnTo>
                    <a:lnTo>
                      <a:pt x="1289" y="49"/>
                    </a:lnTo>
                    <a:lnTo>
                      <a:pt x="1305" y="48"/>
                    </a:lnTo>
                    <a:lnTo>
                      <a:pt x="1322" y="45"/>
                    </a:lnTo>
                    <a:lnTo>
                      <a:pt x="1336" y="41"/>
                    </a:lnTo>
                    <a:lnTo>
                      <a:pt x="1349" y="36"/>
                    </a:lnTo>
                    <a:lnTo>
                      <a:pt x="1352" y="46"/>
                    </a:lnTo>
                    <a:lnTo>
                      <a:pt x="1356" y="56"/>
                    </a:lnTo>
                    <a:lnTo>
                      <a:pt x="1360" y="64"/>
                    </a:lnTo>
                    <a:lnTo>
                      <a:pt x="1366" y="72"/>
                    </a:lnTo>
                    <a:lnTo>
                      <a:pt x="1372" y="78"/>
                    </a:lnTo>
                    <a:lnTo>
                      <a:pt x="1379" y="84"/>
                    </a:lnTo>
                    <a:lnTo>
                      <a:pt x="1387" y="90"/>
                    </a:lnTo>
                    <a:lnTo>
                      <a:pt x="1394" y="94"/>
                    </a:lnTo>
                    <a:lnTo>
                      <a:pt x="1403" y="98"/>
                    </a:lnTo>
                    <a:lnTo>
                      <a:pt x="1412" y="101"/>
                    </a:lnTo>
                    <a:lnTo>
                      <a:pt x="1422" y="104"/>
                    </a:lnTo>
                    <a:lnTo>
                      <a:pt x="1432" y="107"/>
                    </a:lnTo>
                    <a:lnTo>
                      <a:pt x="1443" y="109"/>
                    </a:lnTo>
                    <a:lnTo>
                      <a:pt x="1453" y="110"/>
                    </a:lnTo>
                    <a:lnTo>
                      <a:pt x="1464" y="111"/>
                    </a:lnTo>
                    <a:lnTo>
                      <a:pt x="1476" y="111"/>
                    </a:lnTo>
                    <a:lnTo>
                      <a:pt x="1481" y="110"/>
                    </a:lnTo>
                    <a:lnTo>
                      <a:pt x="1489" y="108"/>
                    </a:lnTo>
                    <a:lnTo>
                      <a:pt x="1499" y="105"/>
                    </a:lnTo>
                    <a:lnTo>
                      <a:pt x="1509" y="104"/>
                    </a:lnTo>
                    <a:lnTo>
                      <a:pt x="1514" y="109"/>
                    </a:lnTo>
                    <a:lnTo>
                      <a:pt x="1523" y="113"/>
                    </a:lnTo>
                    <a:lnTo>
                      <a:pt x="1532" y="116"/>
                    </a:lnTo>
                    <a:lnTo>
                      <a:pt x="1541" y="117"/>
                    </a:lnTo>
                    <a:lnTo>
                      <a:pt x="1544" y="117"/>
                    </a:lnTo>
                    <a:lnTo>
                      <a:pt x="1547" y="115"/>
                    </a:lnTo>
                    <a:lnTo>
                      <a:pt x="1549" y="113"/>
                    </a:lnTo>
                    <a:lnTo>
                      <a:pt x="1551" y="110"/>
                    </a:lnTo>
                    <a:lnTo>
                      <a:pt x="1557" y="103"/>
                    </a:lnTo>
                    <a:lnTo>
                      <a:pt x="1561" y="98"/>
                    </a:lnTo>
                    <a:lnTo>
                      <a:pt x="1561" y="135"/>
                    </a:lnTo>
                    <a:lnTo>
                      <a:pt x="1556" y="146"/>
                    </a:lnTo>
                    <a:lnTo>
                      <a:pt x="1545" y="163"/>
                    </a:lnTo>
                    <a:lnTo>
                      <a:pt x="1530" y="183"/>
                    </a:lnTo>
                    <a:lnTo>
                      <a:pt x="1513" y="205"/>
                    </a:lnTo>
                    <a:lnTo>
                      <a:pt x="1495" y="228"/>
                    </a:lnTo>
                    <a:lnTo>
                      <a:pt x="1479" y="247"/>
                    </a:lnTo>
                    <a:lnTo>
                      <a:pt x="1465" y="262"/>
                    </a:lnTo>
                    <a:lnTo>
                      <a:pt x="1455" y="270"/>
                    </a:lnTo>
                    <a:lnTo>
                      <a:pt x="1464" y="275"/>
                    </a:lnTo>
                    <a:lnTo>
                      <a:pt x="1470" y="278"/>
                    </a:lnTo>
                    <a:lnTo>
                      <a:pt x="1474" y="282"/>
                    </a:lnTo>
                    <a:lnTo>
                      <a:pt x="1479" y="286"/>
                    </a:lnTo>
                    <a:lnTo>
                      <a:pt x="1485" y="294"/>
                    </a:lnTo>
                    <a:lnTo>
                      <a:pt x="1489" y="302"/>
                    </a:lnTo>
                    <a:lnTo>
                      <a:pt x="1492" y="310"/>
                    </a:lnTo>
                    <a:lnTo>
                      <a:pt x="1495" y="317"/>
                    </a:lnTo>
                    <a:lnTo>
                      <a:pt x="1498" y="321"/>
                    </a:lnTo>
                    <a:lnTo>
                      <a:pt x="1500" y="325"/>
                    </a:lnTo>
                    <a:lnTo>
                      <a:pt x="1504" y="328"/>
                    </a:lnTo>
                    <a:lnTo>
                      <a:pt x="1509" y="333"/>
                    </a:lnTo>
                    <a:lnTo>
                      <a:pt x="1514" y="336"/>
                    </a:lnTo>
                    <a:lnTo>
                      <a:pt x="1520" y="338"/>
                    </a:lnTo>
                    <a:lnTo>
                      <a:pt x="1525" y="339"/>
                    </a:lnTo>
                    <a:lnTo>
                      <a:pt x="1532" y="338"/>
                    </a:lnTo>
                    <a:lnTo>
                      <a:pt x="1538" y="338"/>
                    </a:lnTo>
                    <a:lnTo>
                      <a:pt x="1544" y="337"/>
                    </a:lnTo>
                    <a:lnTo>
                      <a:pt x="1549" y="337"/>
                    </a:lnTo>
                    <a:lnTo>
                      <a:pt x="1555" y="339"/>
                    </a:lnTo>
                    <a:lnTo>
                      <a:pt x="1560" y="340"/>
                    </a:lnTo>
                    <a:lnTo>
                      <a:pt x="1566" y="342"/>
                    </a:lnTo>
                    <a:lnTo>
                      <a:pt x="1570" y="345"/>
                    </a:lnTo>
                    <a:lnTo>
                      <a:pt x="1574" y="347"/>
                    </a:lnTo>
                    <a:lnTo>
                      <a:pt x="1582" y="354"/>
                    </a:lnTo>
                    <a:lnTo>
                      <a:pt x="1588" y="361"/>
                    </a:lnTo>
                    <a:lnTo>
                      <a:pt x="1594" y="368"/>
                    </a:lnTo>
                    <a:lnTo>
                      <a:pt x="1602" y="376"/>
                    </a:lnTo>
                    <a:lnTo>
                      <a:pt x="1605" y="379"/>
                    </a:lnTo>
                    <a:lnTo>
                      <a:pt x="1611" y="382"/>
                    </a:lnTo>
                    <a:lnTo>
                      <a:pt x="1615" y="386"/>
                    </a:lnTo>
                    <a:lnTo>
                      <a:pt x="1622" y="388"/>
                    </a:lnTo>
                    <a:lnTo>
                      <a:pt x="1629" y="391"/>
                    </a:lnTo>
                    <a:lnTo>
                      <a:pt x="1637" y="394"/>
                    </a:lnTo>
                    <a:lnTo>
                      <a:pt x="1644" y="398"/>
                    </a:lnTo>
                    <a:lnTo>
                      <a:pt x="1649" y="403"/>
                    </a:lnTo>
                    <a:lnTo>
                      <a:pt x="1659" y="413"/>
                    </a:lnTo>
                    <a:lnTo>
                      <a:pt x="1668" y="423"/>
                    </a:lnTo>
                    <a:lnTo>
                      <a:pt x="1677" y="433"/>
                    </a:lnTo>
                    <a:lnTo>
                      <a:pt x="1686" y="442"/>
                    </a:lnTo>
                    <a:lnTo>
                      <a:pt x="1692" y="445"/>
                    </a:lnTo>
                    <a:lnTo>
                      <a:pt x="1698" y="448"/>
                    </a:lnTo>
                    <a:lnTo>
                      <a:pt x="1706" y="449"/>
                    </a:lnTo>
                    <a:lnTo>
                      <a:pt x="1714" y="450"/>
                    </a:lnTo>
                    <a:lnTo>
                      <a:pt x="1719" y="449"/>
                    </a:lnTo>
                    <a:lnTo>
                      <a:pt x="1724" y="448"/>
                    </a:lnTo>
                    <a:lnTo>
                      <a:pt x="1729" y="446"/>
                    </a:lnTo>
                    <a:lnTo>
                      <a:pt x="1735" y="444"/>
                    </a:lnTo>
                    <a:lnTo>
                      <a:pt x="1745" y="435"/>
                    </a:lnTo>
                    <a:lnTo>
                      <a:pt x="1754" y="425"/>
                    </a:lnTo>
                    <a:lnTo>
                      <a:pt x="1764" y="413"/>
                    </a:lnTo>
                    <a:lnTo>
                      <a:pt x="1773" y="400"/>
                    </a:lnTo>
                    <a:lnTo>
                      <a:pt x="1782" y="385"/>
                    </a:lnTo>
                    <a:lnTo>
                      <a:pt x="1791" y="368"/>
                    </a:lnTo>
                    <a:lnTo>
                      <a:pt x="1798" y="351"/>
                    </a:lnTo>
                    <a:lnTo>
                      <a:pt x="1805" y="334"/>
                    </a:lnTo>
                    <a:lnTo>
                      <a:pt x="1812" y="316"/>
                    </a:lnTo>
                    <a:lnTo>
                      <a:pt x="1817" y="299"/>
                    </a:lnTo>
                    <a:lnTo>
                      <a:pt x="1821" y="283"/>
                    </a:lnTo>
                    <a:lnTo>
                      <a:pt x="1825" y="266"/>
                    </a:lnTo>
                    <a:lnTo>
                      <a:pt x="1827" y="252"/>
                    </a:lnTo>
                    <a:lnTo>
                      <a:pt x="1827" y="240"/>
                    </a:lnTo>
                    <a:lnTo>
                      <a:pt x="1828" y="223"/>
                    </a:lnTo>
                    <a:lnTo>
                      <a:pt x="1830" y="205"/>
                    </a:lnTo>
                    <a:lnTo>
                      <a:pt x="1834" y="189"/>
                    </a:lnTo>
                    <a:lnTo>
                      <a:pt x="1839" y="174"/>
                    </a:lnTo>
                    <a:lnTo>
                      <a:pt x="1845" y="159"/>
                    </a:lnTo>
                    <a:lnTo>
                      <a:pt x="1850" y="145"/>
                    </a:lnTo>
                    <a:lnTo>
                      <a:pt x="1857" y="131"/>
                    </a:lnTo>
                    <a:lnTo>
                      <a:pt x="1863" y="118"/>
                    </a:lnTo>
                    <a:lnTo>
                      <a:pt x="1877" y="90"/>
                    </a:lnTo>
                    <a:lnTo>
                      <a:pt x="1888" y="63"/>
                    </a:lnTo>
                    <a:lnTo>
                      <a:pt x="1894" y="47"/>
                    </a:lnTo>
                    <a:lnTo>
                      <a:pt x="1897" y="32"/>
                    </a:lnTo>
                    <a:lnTo>
                      <a:pt x="1899" y="17"/>
                    </a:lnTo>
                    <a:lnTo>
                      <a:pt x="1901" y="0"/>
                    </a:lnTo>
                    <a:lnTo>
                      <a:pt x="1904" y="10"/>
                    </a:lnTo>
                    <a:lnTo>
                      <a:pt x="1909" y="21"/>
                    </a:lnTo>
                    <a:lnTo>
                      <a:pt x="1917" y="32"/>
                    </a:lnTo>
                    <a:lnTo>
                      <a:pt x="1925" y="43"/>
                    </a:lnTo>
                    <a:lnTo>
                      <a:pt x="1932" y="55"/>
                    </a:lnTo>
                    <a:lnTo>
                      <a:pt x="1940" y="63"/>
                    </a:lnTo>
                    <a:lnTo>
                      <a:pt x="1948" y="70"/>
                    </a:lnTo>
                    <a:lnTo>
                      <a:pt x="1953" y="74"/>
                    </a:lnTo>
                    <a:lnTo>
                      <a:pt x="1952" y="76"/>
                    </a:lnTo>
                    <a:lnTo>
                      <a:pt x="1950" y="77"/>
                    </a:lnTo>
                    <a:lnTo>
                      <a:pt x="1947" y="78"/>
                    </a:lnTo>
                    <a:lnTo>
                      <a:pt x="1943" y="79"/>
                    </a:lnTo>
                    <a:lnTo>
                      <a:pt x="1937" y="80"/>
                    </a:lnTo>
                    <a:lnTo>
                      <a:pt x="1933" y="80"/>
                    </a:lnTo>
                    <a:lnTo>
                      <a:pt x="1935" y="90"/>
                    </a:lnTo>
                    <a:lnTo>
                      <a:pt x="1937" y="98"/>
                    </a:lnTo>
                    <a:lnTo>
                      <a:pt x="1940" y="104"/>
                    </a:lnTo>
                    <a:lnTo>
                      <a:pt x="1943" y="110"/>
                    </a:lnTo>
                    <a:lnTo>
                      <a:pt x="1947" y="115"/>
                    </a:lnTo>
                    <a:lnTo>
                      <a:pt x="1950" y="121"/>
                    </a:lnTo>
                    <a:lnTo>
                      <a:pt x="1952" y="127"/>
                    </a:lnTo>
                    <a:lnTo>
                      <a:pt x="1953" y="135"/>
                    </a:lnTo>
                    <a:lnTo>
                      <a:pt x="1953" y="144"/>
                    </a:lnTo>
                    <a:lnTo>
                      <a:pt x="1951" y="152"/>
                    </a:lnTo>
                    <a:lnTo>
                      <a:pt x="1949" y="160"/>
                    </a:lnTo>
                    <a:lnTo>
                      <a:pt x="1947" y="169"/>
                    </a:lnTo>
                    <a:lnTo>
                      <a:pt x="1944" y="176"/>
                    </a:lnTo>
                    <a:lnTo>
                      <a:pt x="1942" y="183"/>
                    </a:lnTo>
                    <a:lnTo>
                      <a:pt x="1941" y="190"/>
                    </a:lnTo>
                    <a:lnTo>
                      <a:pt x="1940" y="197"/>
                    </a:lnTo>
                    <a:lnTo>
                      <a:pt x="1940" y="201"/>
                    </a:lnTo>
                    <a:lnTo>
                      <a:pt x="1941" y="206"/>
                    </a:lnTo>
                    <a:lnTo>
                      <a:pt x="1942" y="210"/>
                    </a:lnTo>
                    <a:lnTo>
                      <a:pt x="1944" y="214"/>
                    </a:lnTo>
                    <a:lnTo>
                      <a:pt x="1950" y="222"/>
                    </a:lnTo>
                    <a:lnTo>
                      <a:pt x="1955" y="228"/>
                    </a:lnTo>
                    <a:lnTo>
                      <a:pt x="1963" y="233"/>
                    </a:lnTo>
                    <a:lnTo>
                      <a:pt x="1971" y="237"/>
                    </a:lnTo>
                    <a:lnTo>
                      <a:pt x="1978" y="239"/>
                    </a:lnTo>
                    <a:lnTo>
                      <a:pt x="1986" y="240"/>
                    </a:lnTo>
                    <a:lnTo>
                      <a:pt x="1987" y="244"/>
                    </a:lnTo>
                    <a:lnTo>
                      <a:pt x="1989" y="248"/>
                    </a:lnTo>
                    <a:lnTo>
                      <a:pt x="1993" y="251"/>
                    </a:lnTo>
                    <a:lnTo>
                      <a:pt x="1997" y="254"/>
                    </a:lnTo>
                    <a:lnTo>
                      <a:pt x="2006" y="257"/>
                    </a:lnTo>
                    <a:lnTo>
                      <a:pt x="2014" y="258"/>
                    </a:lnTo>
                    <a:lnTo>
                      <a:pt x="2014" y="278"/>
                    </a:lnTo>
                    <a:lnTo>
                      <a:pt x="2015" y="297"/>
                    </a:lnTo>
                    <a:lnTo>
                      <a:pt x="2017" y="314"/>
                    </a:lnTo>
                    <a:lnTo>
                      <a:pt x="2019" y="332"/>
                    </a:lnTo>
                    <a:lnTo>
                      <a:pt x="2026" y="365"/>
                    </a:lnTo>
                    <a:lnTo>
                      <a:pt x="2033" y="398"/>
                    </a:lnTo>
                    <a:lnTo>
                      <a:pt x="2040" y="429"/>
                    </a:lnTo>
                    <a:lnTo>
                      <a:pt x="2047" y="461"/>
                    </a:lnTo>
                    <a:lnTo>
                      <a:pt x="2050" y="476"/>
                    </a:lnTo>
                    <a:lnTo>
                      <a:pt x="2051" y="491"/>
                    </a:lnTo>
                    <a:lnTo>
                      <a:pt x="2053" y="508"/>
                    </a:lnTo>
                    <a:lnTo>
                      <a:pt x="2053" y="523"/>
                    </a:lnTo>
                    <a:lnTo>
                      <a:pt x="2053" y="526"/>
                    </a:lnTo>
                    <a:lnTo>
                      <a:pt x="2054" y="528"/>
                    </a:lnTo>
                    <a:lnTo>
                      <a:pt x="2056" y="529"/>
                    </a:lnTo>
                    <a:lnTo>
                      <a:pt x="2060" y="531"/>
                    </a:lnTo>
                    <a:lnTo>
                      <a:pt x="2066" y="533"/>
                    </a:lnTo>
                    <a:lnTo>
                      <a:pt x="2074" y="536"/>
                    </a:lnTo>
                    <a:lnTo>
                      <a:pt x="2082" y="538"/>
                    </a:lnTo>
                    <a:lnTo>
                      <a:pt x="2089" y="540"/>
                    </a:lnTo>
                    <a:lnTo>
                      <a:pt x="2096" y="544"/>
                    </a:lnTo>
                    <a:lnTo>
                      <a:pt x="2099" y="548"/>
                    </a:lnTo>
                    <a:lnTo>
                      <a:pt x="2108" y="562"/>
                    </a:lnTo>
                    <a:lnTo>
                      <a:pt x="2116" y="574"/>
                    </a:lnTo>
                    <a:lnTo>
                      <a:pt x="2120" y="578"/>
                    </a:lnTo>
                    <a:lnTo>
                      <a:pt x="2123" y="582"/>
                    </a:lnTo>
                    <a:lnTo>
                      <a:pt x="2128" y="584"/>
                    </a:lnTo>
                    <a:lnTo>
                      <a:pt x="2133" y="585"/>
                    </a:lnTo>
                    <a:lnTo>
                      <a:pt x="2134" y="596"/>
                    </a:lnTo>
                    <a:lnTo>
                      <a:pt x="2139" y="615"/>
                    </a:lnTo>
                    <a:lnTo>
                      <a:pt x="2146" y="637"/>
                    </a:lnTo>
                    <a:lnTo>
                      <a:pt x="2154" y="661"/>
                    </a:lnTo>
                    <a:lnTo>
                      <a:pt x="2163" y="686"/>
                    </a:lnTo>
                    <a:lnTo>
                      <a:pt x="2172" y="707"/>
                    </a:lnTo>
                    <a:lnTo>
                      <a:pt x="2179" y="724"/>
                    </a:lnTo>
                    <a:lnTo>
                      <a:pt x="2186" y="733"/>
                    </a:lnTo>
                    <a:lnTo>
                      <a:pt x="2188" y="735"/>
                    </a:lnTo>
                    <a:lnTo>
                      <a:pt x="2194" y="737"/>
                    </a:lnTo>
                    <a:lnTo>
                      <a:pt x="2201" y="738"/>
                    </a:lnTo>
                    <a:lnTo>
                      <a:pt x="2211" y="739"/>
                    </a:lnTo>
                    <a:lnTo>
                      <a:pt x="2231" y="742"/>
                    </a:lnTo>
                    <a:lnTo>
                      <a:pt x="2245" y="745"/>
                    </a:lnTo>
                    <a:lnTo>
                      <a:pt x="2242" y="756"/>
                    </a:lnTo>
                    <a:lnTo>
                      <a:pt x="2238" y="762"/>
                    </a:lnTo>
                    <a:lnTo>
                      <a:pt x="2231" y="766"/>
                    </a:lnTo>
                    <a:lnTo>
                      <a:pt x="2219" y="769"/>
                    </a:lnTo>
                    <a:lnTo>
                      <a:pt x="2223" y="781"/>
                    </a:lnTo>
                    <a:lnTo>
                      <a:pt x="2228" y="790"/>
                    </a:lnTo>
                    <a:lnTo>
                      <a:pt x="2233" y="800"/>
                    </a:lnTo>
                    <a:lnTo>
                      <a:pt x="2239" y="809"/>
                    </a:lnTo>
                    <a:lnTo>
                      <a:pt x="2251" y="827"/>
                    </a:lnTo>
                    <a:lnTo>
                      <a:pt x="2263" y="846"/>
                    </a:lnTo>
                    <a:lnTo>
                      <a:pt x="2289" y="879"/>
                    </a:lnTo>
                    <a:lnTo>
                      <a:pt x="2312" y="912"/>
                    </a:lnTo>
                    <a:lnTo>
                      <a:pt x="2318" y="907"/>
                    </a:lnTo>
                    <a:lnTo>
                      <a:pt x="2324" y="902"/>
                    </a:lnTo>
                    <a:lnTo>
                      <a:pt x="2328" y="899"/>
                    </a:lnTo>
                    <a:lnTo>
                      <a:pt x="2330" y="896"/>
                    </a:lnTo>
                    <a:lnTo>
                      <a:pt x="2332" y="892"/>
                    </a:lnTo>
                    <a:lnTo>
                      <a:pt x="2332" y="887"/>
                    </a:lnTo>
                    <a:lnTo>
                      <a:pt x="2332" y="896"/>
                    </a:lnTo>
                    <a:lnTo>
                      <a:pt x="2332" y="903"/>
                    </a:lnTo>
                    <a:lnTo>
                      <a:pt x="2332" y="910"/>
                    </a:lnTo>
                    <a:lnTo>
                      <a:pt x="2332" y="918"/>
                    </a:lnTo>
                    <a:lnTo>
                      <a:pt x="2293" y="1010"/>
                    </a:lnTo>
                    <a:lnTo>
                      <a:pt x="2295" y="1024"/>
                    </a:lnTo>
                    <a:lnTo>
                      <a:pt x="2296" y="1038"/>
                    </a:lnTo>
                    <a:lnTo>
                      <a:pt x="2295" y="1051"/>
                    </a:lnTo>
                    <a:lnTo>
                      <a:pt x="2291" y="1066"/>
                    </a:lnTo>
                    <a:lnTo>
                      <a:pt x="2288" y="1079"/>
                    </a:lnTo>
                    <a:lnTo>
                      <a:pt x="2283" y="1092"/>
                    </a:lnTo>
                    <a:lnTo>
                      <a:pt x="2276" y="1105"/>
                    </a:lnTo>
                    <a:lnTo>
                      <a:pt x="2269" y="1118"/>
                    </a:lnTo>
                    <a:lnTo>
                      <a:pt x="2253" y="1143"/>
                    </a:lnTo>
                    <a:lnTo>
                      <a:pt x="2237" y="1167"/>
                    </a:lnTo>
                    <a:lnTo>
                      <a:pt x="2220" y="1188"/>
                    </a:lnTo>
                    <a:lnTo>
                      <a:pt x="2206" y="1207"/>
                    </a:lnTo>
                    <a:lnTo>
                      <a:pt x="2188" y="1233"/>
                    </a:lnTo>
                    <a:lnTo>
                      <a:pt x="2172" y="1260"/>
                    </a:lnTo>
                    <a:lnTo>
                      <a:pt x="2153" y="1289"/>
                    </a:lnTo>
                    <a:lnTo>
                      <a:pt x="2133" y="1317"/>
                    </a:lnTo>
                    <a:lnTo>
                      <a:pt x="2123" y="1329"/>
                    </a:lnTo>
                    <a:lnTo>
                      <a:pt x="2111" y="1342"/>
                    </a:lnTo>
                    <a:lnTo>
                      <a:pt x="2100" y="1352"/>
                    </a:lnTo>
                    <a:lnTo>
                      <a:pt x="2087" y="1362"/>
                    </a:lnTo>
                    <a:lnTo>
                      <a:pt x="2081" y="1366"/>
                    </a:lnTo>
                    <a:lnTo>
                      <a:pt x="2074" y="1369"/>
                    </a:lnTo>
                    <a:lnTo>
                      <a:pt x="2066" y="1372"/>
                    </a:lnTo>
                    <a:lnTo>
                      <a:pt x="2059" y="1375"/>
                    </a:lnTo>
                    <a:lnTo>
                      <a:pt x="2051" y="1377"/>
                    </a:lnTo>
                    <a:lnTo>
                      <a:pt x="2043" y="1378"/>
                    </a:lnTo>
                    <a:lnTo>
                      <a:pt x="2036" y="1379"/>
                    </a:lnTo>
                    <a:lnTo>
                      <a:pt x="2027" y="1380"/>
                    </a:lnTo>
                    <a:lnTo>
                      <a:pt x="2026" y="1393"/>
                    </a:lnTo>
                    <a:lnTo>
                      <a:pt x="2022" y="1404"/>
                    </a:lnTo>
                    <a:lnTo>
                      <a:pt x="2018" y="1414"/>
                    </a:lnTo>
                    <a:lnTo>
                      <a:pt x="2013" y="1423"/>
                    </a:lnTo>
                    <a:lnTo>
                      <a:pt x="2005" y="1432"/>
                    </a:lnTo>
                    <a:lnTo>
                      <a:pt x="1997" y="1440"/>
                    </a:lnTo>
                    <a:lnTo>
                      <a:pt x="1988" y="1449"/>
                    </a:lnTo>
                    <a:lnTo>
                      <a:pt x="1978" y="1456"/>
                    </a:lnTo>
                    <a:lnTo>
                      <a:pt x="1958" y="1470"/>
                    </a:lnTo>
                    <a:lnTo>
                      <a:pt x="1937" y="1483"/>
                    </a:lnTo>
                    <a:lnTo>
                      <a:pt x="1917" y="1495"/>
                    </a:lnTo>
                    <a:lnTo>
                      <a:pt x="1901" y="1510"/>
                    </a:lnTo>
                    <a:lnTo>
                      <a:pt x="1885" y="1525"/>
                    </a:lnTo>
                    <a:lnTo>
                      <a:pt x="1873" y="1539"/>
                    </a:lnTo>
                    <a:lnTo>
                      <a:pt x="1864" y="1553"/>
                    </a:lnTo>
                    <a:lnTo>
                      <a:pt x="1857" y="1565"/>
                    </a:lnTo>
                    <a:lnTo>
                      <a:pt x="1848" y="1578"/>
                    </a:lnTo>
                    <a:lnTo>
                      <a:pt x="1838" y="1591"/>
                    </a:lnTo>
                    <a:lnTo>
                      <a:pt x="1825" y="1604"/>
                    </a:lnTo>
                    <a:lnTo>
                      <a:pt x="1807" y="1621"/>
                    </a:lnTo>
                    <a:lnTo>
                      <a:pt x="1801" y="1630"/>
                    </a:lnTo>
                    <a:lnTo>
                      <a:pt x="1796" y="1639"/>
                    </a:lnTo>
                    <a:lnTo>
                      <a:pt x="1793" y="1648"/>
                    </a:lnTo>
                    <a:lnTo>
                      <a:pt x="1790" y="1657"/>
                    </a:lnTo>
                    <a:lnTo>
                      <a:pt x="1786" y="1665"/>
                    </a:lnTo>
                    <a:lnTo>
                      <a:pt x="1782" y="1671"/>
                    </a:lnTo>
                    <a:lnTo>
                      <a:pt x="1780" y="1673"/>
                    </a:lnTo>
                    <a:lnTo>
                      <a:pt x="1776" y="1675"/>
                    </a:lnTo>
                    <a:lnTo>
                      <a:pt x="1772" y="1676"/>
                    </a:lnTo>
                    <a:lnTo>
                      <a:pt x="1768" y="1676"/>
                    </a:lnTo>
                    <a:lnTo>
                      <a:pt x="1749" y="1676"/>
                    </a:lnTo>
                    <a:lnTo>
                      <a:pt x="1733" y="1676"/>
                    </a:lnTo>
                    <a:lnTo>
                      <a:pt x="1718" y="1676"/>
                    </a:lnTo>
                    <a:lnTo>
                      <a:pt x="1707" y="1676"/>
                    </a:lnTo>
                    <a:lnTo>
                      <a:pt x="1702" y="1676"/>
                    </a:lnTo>
                    <a:lnTo>
                      <a:pt x="1695" y="1678"/>
                    </a:lnTo>
                    <a:lnTo>
                      <a:pt x="1689" y="1680"/>
                    </a:lnTo>
                    <a:lnTo>
                      <a:pt x="1682" y="1683"/>
                    </a:lnTo>
                    <a:lnTo>
                      <a:pt x="1668" y="1690"/>
                    </a:lnTo>
                    <a:lnTo>
                      <a:pt x="1652" y="1699"/>
                    </a:lnTo>
                    <a:lnTo>
                      <a:pt x="1634" y="1708"/>
                    </a:lnTo>
                    <a:lnTo>
                      <a:pt x="1613" y="1717"/>
                    </a:lnTo>
                    <a:lnTo>
                      <a:pt x="1602" y="1722"/>
                    </a:lnTo>
                    <a:lnTo>
                      <a:pt x="1589" y="1726"/>
                    </a:lnTo>
                    <a:lnTo>
                      <a:pt x="1576" y="1729"/>
                    </a:lnTo>
                    <a:lnTo>
                      <a:pt x="1561" y="1731"/>
                    </a:lnTo>
                    <a:lnTo>
                      <a:pt x="1558" y="1725"/>
                    </a:lnTo>
                    <a:lnTo>
                      <a:pt x="1555" y="1718"/>
                    </a:lnTo>
                    <a:lnTo>
                      <a:pt x="1548" y="1718"/>
                    </a:lnTo>
                    <a:lnTo>
                      <a:pt x="1541" y="1717"/>
                    </a:lnTo>
                    <a:lnTo>
                      <a:pt x="1536" y="1715"/>
                    </a:lnTo>
                    <a:lnTo>
                      <a:pt x="1532" y="1713"/>
                    </a:lnTo>
                    <a:lnTo>
                      <a:pt x="1528" y="1711"/>
                    </a:lnTo>
                    <a:lnTo>
                      <a:pt x="1525" y="1708"/>
                    </a:lnTo>
                    <a:lnTo>
                      <a:pt x="1522" y="1705"/>
                    </a:lnTo>
                    <a:lnTo>
                      <a:pt x="1520" y="1701"/>
                    </a:lnTo>
                    <a:lnTo>
                      <a:pt x="1517" y="1693"/>
                    </a:lnTo>
                    <a:lnTo>
                      <a:pt x="1515" y="1685"/>
                    </a:lnTo>
                    <a:lnTo>
                      <a:pt x="1515" y="1677"/>
                    </a:lnTo>
                    <a:lnTo>
                      <a:pt x="1515" y="1670"/>
                    </a:lnTo>
                    <a:lnTo>
                      <a:pt x="1489" y="1690"/>
                    </a:lnTo>
                    <a:lnTo>
                      <a:pt x="1462" y="1709"/>
                    </a:lnTo>
                    <a:lnTo>
                      <a:pt x="1449" y="1718"/>
                    </a:lnTo>
                    <a:lnTo>
                      <a:pt x="1437" y="1725"/>
                    </a:lnTo>
                    <a:lnTo>
                      <a:pt x="1432" y="1728"/>
                    </a:lnTo>
                    <a:lnTo>
                      <a:pt x="1426" y="1730"/>
                    </a:lnTo>
                    <a:lnTo>
                      <a:pt x="1421" y="1731"/>
                    </a:lnTo>
                    <a:lnTo>
                      <a:pt x="1415" y="1731"/>
                    </a:lnTo>
                    <a:lnTo>
                      <a:pt x="1413" y="1731"/>
                    </a:lnTo>
                    <a:lnTo>
                      <a:pt x="1410" y="1729"/>
                    </a:lnTo>
                    <a:lnTo>
                      <a:pt x="1406" y="1727"/>
                    </a:lnTo>
                    <a:lnTo>
                      <a:pt x="1403" y="1725"/>
                    </a:lnTo>
                    <a:lnTo>
                      <a:pt x="1400" y="1722"/>
                    </a:lnTo>
                    <a:lnTo>
                      <a:pt x="1398" y="1718"/>
                    </a:lnTo>
                    <a:lnTo>
                      <a:pt x="1395" y="1715"/>
                    </a:lnTo>
                    <a:lnTo>
                      <a:pt x="1395" y="1712"/>
                    </a:lnTo>
                    <a:lnTo>
                      <a:pt x="1372" y="1711"/>
                    </a:lnTo>
                    <a:lnTo>
                      <a:pt x="1349" y="1709"/>
                    </a:lnTo>
                    <a:lnTo>
                      <a:pt x="1338" y="1707"/>
                    </a:lnTo>
                    <a:lnTo>
                      <a:pt x="1327" y="1704"/>
                    </a:lnTo>
                    <a:lnTo>
                      <a:pt x="1316" y="1701"/>
                    </a:lnTo>
                    <a:lnTo>
                      <a:pt x="1307" y="1697"/>
                    </a:lnTo>
                    <a:lnTo>
                      <a:pt x="1297" y="1693"/>
                    </a:lnTo>
                    <a:lnTo>
                      <a:pt x="1289" y="1688"/>
                    </a:lnTo>
                    <a:lnTo>
                      <a:pt x="1281" y="1683"/>
                    </a:lnTo>
                    <a:lnTo>
                      <a:pt x="1275" y="1677"/>
                    </a:lnTo>
                    <a:lnTo>
                      <a:pt x="1269" y="1670"/>
                    </a:lnTo>
                    <a:lnTo>
                      <a:pt x="1266" y="1662"/>
                    </a:lnTo>
                    <a:lnTo>
                      <a:pt x="1264" y="1653"/>
                    </a:lnTo>
                    <a:lnTo>
                      <a:pt x="1263" y="1645"/>
                    </a:lnTo>
                    <a:lnTo>
                      <a:pt x="1263" y="1639"/>
                    </a:lnTo>
                    <a:lnTo>
                      <a:pt x="1264" y="1635"/>
                    </a:lnTo>
                    <a:lnTo>
                      <a:pt x="1266" y="1631"/>
                    </a:lnTo>
                    <a:lnTo>
                      <a:pt x="1268" y="1627"/>
                    </a:lnTo>
                    <a:lnTo>
                      <a:pt x="1272" y="1620"/>
                    </a:lnTo>
                    <a:lnTo>
                      <a:pt x="1279" y="1614"/>
                    </a:lnTo>
                    <a:lnTo>
                      <a:pt x="1286" y="1609"/>
                    </a:lnTo>
                    <a:lnTo>
                      <a:pt x="1290" y="1601"/>
                    </a:lnTo>
                    <a:lnTo>
                      <a:pt x="1292" y="1597"/>
                    </a:lnTo>
                    <a:lnTo>
                      <a:pt x="1294" y="1593"/>
                    </a:lnTo>
                    <a:lnTo>
                      <a:pt x="1296" y="1589"/>
                    </a:lnTo>
                    <a:lnTo>
                      <a:pt x="1296" y="1583"/>
                    </a:lnTo>
                    <a:lnTo>
                      <a:pt x="1296" y="1546"/>
                    </a:lnTo>
                    <a:lnTo>
                      <a:pt x="1309" y="1528"/>
                    </a:lnTo>
                    <a:lnTo>
                      <a:pt x="1309" y="1522"/>
                    </a:lnTo>
                    <a:lnTo>
                      <a:pt x="1256" y="1522"/>
                    </a:lnTo>
                    <a:lnTo>
                      <a:pt x="1249" y="1534"/>
                    </a:lnTo>
                    <a:lnTo>
                      <a:pt x="1255" y="1525"/>
                    </a:lnTo>
                    <a:lnTo>
                      <a:pt x="1263" y="1516"/>
                    </a:lnTo>
                    <a:lnTo>
                      <a:pt x="1269" y="1509"/>
                    </a:lnTo>
                    <a:lnTo>
                      <a:pt x="1276" y="1504"/>
                    </a:lnTo>
                    <a:lnTo>
                      <a:pt x="1276" y="1460"/>
                    </a:lnTo>
                    <a:lnTo>
                      <a:pt x="1270" y="1462"/>
                    </a:lnTo>
                    <a:lnTo>
                      <a:pt x="1265" y="1464"/>
                    </a:lnTo>
                    <a:lnTo>
                      <a:pt x="1260" y="1466"/>
                    </a:lnTo>
                    <a:lnTo>
                      <a:pt x="1256" y="1469"/>
                    </a:lnTo>
                    <a:lnTo>
                      <a:pt x="1249" y="1475"/>
                    </a:lnTo>
                    <a:lnTo>
                      <a:pt x="1243" y="1481"/>
                    </a:lnTo>
                    <a:lnTo>
                      <a:pt x="1237" y="1488"/>
                    </a:lnTo>
                    <a:lnTo>
                      <a:pt x="1232" y="1494"/>
                    </a:lnTo>
                    <a:lnTo>
                      <a:pt x="1229" y="1498"/>
                    </a:lnTo>
                    <a:lnTo>
                      <a:pt x="1225" y="1500"/>
                    </a:lnTo>
                    <a:lnTo>
                      <a:pt x="1221" y="1502"/>
                    </a:lnTo>
                    <a:lnTo>
                      <a:pt x="1216" y="1504"/>
                    </a:lnTo>
                    <a:lnTo>
                      <a:pt x="1189" y="1504"/>
                    </a:lnTo>
                    <a:lnTo>
                      <a:pt x="1222" y="1472"/>
                    </a:lnTo>
                    <a:lnTo>
                      <a:pt x="1252" y="1442"/>
                    </a:lnTo>
                    <a:lnTo>
                      <a:pt x="1280" y="1411"/>
                    </a:lnTo>
                    <a:lnTo>
                      <a:pt x="1309" y="1380"/>
                    </a:lnTo>
                    <a:lnTo>
                      <a:pt x="1305" y="1378"/>
                    </a:lnTo>
                    <a:lnTo>
                      <a:pt x="1301" y="1377"/>
                    </a:lnTo>
                    <a:lnTo>
                      <a:pt x="1298" y="1376"/>
                    </a:lnTo>
                    <a:lnTo>
                      <a:pt x="1294" y="1376"/>
                    </a:lnTo>
                    <a:lnTo>
                      <a:pt x="1287" y="1378"/>
                    </a:lnTo>
                    <a:lnTo>
                      <a:pt x="1280" y="1382"/>
                    </a:lnTo>
                    <a:lnTo>
                      <a:pt x="1267" y="1392"/>
                    </a:lnTo>
                    <a:lnTo>
                      <a:pt x="1256" y="1399"/>
                    </a:lnTo>
                    <a:lnTo>
                      <a:pt x="1230" y="1418"/>
                    </a:lnTo>
                    <a:lnTo>
                      <a:pt x="1185" y="1450"/>
                    </a:lnTo>
                    <a:lnTo>
                      <a:pt x="1142" y="1478"/>
                    </a:lnTo>
                    <a:lnTo>
                      <a:pt x="1123" y="1490"/>
                    </a:lnTo>
                    <a:lnTo>
                      <a:pt x="1123" y="1380"/>
                    </a:lnTo>
                    <a:lnTo>
                      <a:pt x="1113" y="1379"/>
                    </a:lnTo>
                    <a:lnTo>
                      <a:pt x="1106" y="1377"/>
                    </a:lnTo>
                    <a:lnTo>
                      <a:pt x="1099" y="1375"/>
                    </a:lnTo>
                    <a:lnTo>
                      <a:pt x="1093" y="1371"/>
                    </a:lnTo>
                    <a:lnTo>
                      <a:pt x="1090" y="1367"/>
                    </a:lnTo>
                    <a:lnTo>
                      <a:pt x="1088" y="1362"/>
                    </a:lnTo>
                    <a:lnTo>
                      <a:pt x="1088" y="1356"/>
                    </a:lnTo>
                    <a:lnTo>
                      <a:pt x="1090" y="1349"/>
                    </a:lnTo>
                    <a:lnTo>
                      <a:pt x="1078" y="1338"/>
                    </a:lnTo>
                    <a:lnTo>
                      <a:pt x="1064" y="1325"/>
                    </a:lnTo>
                    <a:lnTo>
                      <a:pt x="1047" y="1314"/>
                    </a:lnTo>
                    <a:lnTo>
                      <a:pt x="1030" y="1304"/>
                    </a:lnTo>
                    <a:lnTo>
                      <a:pt x="1020" y="1299"/>
                    </a:lnTo>
                    <a:lnTo>
                      <a:pt x="1011" y="1295"/>
                    </a:lnTo>
                    <a:lnTo>
                      <a:pt x="1001" y="1291"/>
                    </a:lnTo>
                    <a:lnTo>
                      <a:pt x="990" y="1288"/>
                    </a:lnTo>
                    <a:lnTo>
                      <a:pt x="980" y="1285"/>
                    </a:lnTo>
                    <a:lnTo>
                      <a:pt x="971" y="1283"/>
                    </a:lnTo>
                    <a:lnTo>
                      <a:pt x="961" y="1282"/>
                    </a:lnTo>
                    <a:lnTo>
                      <a:pt x="951" y="1282"/>
                    </a:lnTo>
                    <a:lnTo>
                      <a:pt x="941" y="1283"/>
                    </a:lnTo>
                    <a:lnTo>
                      <a:pt x="931" y="1285"/>
                    </a:lnTo>
                    <a:lnTo>
                      <a:pt x="923" y="1289"/>
                    </a:lnTo>
                    <a:lnTo>
                      <a:pt x="917" y="1294"/>
                    </a:lnTo>
                    <a:lnTo>
                      <a:pt x="831" y="1294"/>
                    </a:lnTo>
                    <a:lnTo>
                      <a:pt x="819" y="1301"/>
                    </a:lnTo>
                    <a:lnTo>
                      <a:pt x="807" y="1307"/>
                    </a:lnTo>
                    <a:lnTo>
                      <a:pt x="796" y="1312"/>
                    </a:lnTo>
                    <a:lnTo>
                      <a:pt x="785" y="1316"/>
                    </a:lnTo>
                    <a:lnTo>
                      <a:pt x="775" y="1319"/>
                    </a:lnTo>
                    <a:lnTo>
                      <a:pt x="764" y="1321"/>
                    </a:lnTo>
                    <a:lnTo>
                      <a:pt x="754" y="1323"/>
                    </a:lnTo>
                    <a:lnTo>
                      <a:pt x="745" y="1324"/>
                    </a:lnTo>
                    <a:lnTo>
                      <a:pt x="726" y="1326"/>
                    </a:lnTo>
                    <a:lnTo>
                      <a:pt x="706" y="1328"/>
                    </a:lnTo>
                    <a:lnTo>
                      <a:pt x="686" y="1332"/>
                    </a:lnTo>
                    <a:lnTo>
                      <a:pt x="664" y="1337"/>
                    </a:lnTo>
                    <a:lnTo>
                      <a:pt x="636" y="1345"/>
                    </a:lnTo>
                    <a:lnTo>
                      <a:pt x="596" y="1356"/>
                    </a:lnTo>
                    <a:lnTo>
                      <a:pt x="577" y="1362"/>
                    </a:lnTo>
                    <a:lnTo>
                      <a:pt x="560" y="1369"/>
                    </a:lnTo>
                    <a:lnTo>
                      <a:pt x="547" y="1374"/>
                    </a:lnTo>
                    <a:lnTo>
                      <a:pt x="538" y="1380"/>
                    </a:lnTo>
                    <a:lnTo>
                      <a:pt x="521" y="1402"/>
                    </a:lnTo>
                    <a:lnTo>
                      <a:pt x="507" y="1419"/>
                    </a:lnTo>
                    <a:lnTo>
                      <a:pt x="501" y="1426"/>
                    </a:lnTo>
                    <a:lnTo>
                      <a:pt x="493" y="1431"/>
                    </a:lnTo>
                    <a:lnTo>
                      <a:pt x="488" y="1433"/>
                    </a:lnTo>
                    <a:lnTo>
                      <a:pt x="483" y="1434"/>
                    </a:lnTo>
                    <a:lnTo>
                      <a:pt x="478" y="1435"/>
                    </a:lnTo>
                    <a:lnTo>
                      <a:pt x="472" y="1435"/>
                    </a:lnTo>
                    <a:lnTo>
                      <a:pt x="306" y="1435"/>
                    </a:lnTo>
                    <a:lnTo>
                      <a:pt x="291" y="1439"/>
                    </a:lnTo>
                    <a:lnTo>
                      <a:pt x="277" y="1444"/>
                    </a:lnTo>
                    <a:lnTo>
                      <a:pt x="265" y="1448"/>
                    </a:lnTo>
                    <a:lnTo>
                      <a:pt x="254" y="1453"/>
                    </a:lnTo>
                    <a:lnTo>
                      <a:pt x="233" y="1463"/>
                    </a:lnTo>
                    <a:lnTo>
                      <a:pt x="214" y="1473"/>
                    </a:lnTo>
                    <a:lnTo>
                      <a:pt x="204" y="1478"/>
                    </a:lnTo>
                    <a:lnTo>
                      <a:pt x="193" y="1482"/>
                    </a:lnTo>
                    <a:lnTo>
                      <a:pt x="182" y="1486"/>
                    </a:lnTo>
                    <a:lnTo>
                      <a:pt x="170" y="1490"/>
                    </a:lnTo>
                    <a:lnTo>
                      <a:pt x="157" y="1493"/>
                    </a:lnTo>
                    <a:lnTo>
                      <a:pt x="142" y="1495"/>
                    </a:lnTo>
                    <a:lnTo>
                      <a:pt x="125" y="1496"/>
                    </a:lnTo>
                    <a:lnTo>
                      <a:pt x="106" y="1496"/>
                    </a:lnTo>
                    <a:lnTo>
                      <a:pt x="95" y="1496"/>
                    </a:lnTo>
                    <a:lnTo>
                      <a:pt x="84" y="1495"/>
                    </a:lnTo>
                    <a:lnTo>
                      <a:pt x="75" y="1494"/>
                    </a:lnTo>
                    <a:lnTo>
                      <a:pt x="65" y="1492"/>
                    </a:lnTo>
                    <a:lnTo>
                      <a:pt x="55" y="1490"/>
                    </a:lnTo>
                    <a:lnTo>
                      <a:pt x="46" y="1487"/>
                    </a:lnTo>
                    <a:lnTo>
                      <a:pt x="38" y="1483"/>
                    </a:lnTo>
                    <a:lnTo>
                      <a:pt x="31" y="1479"/>
                    </a:lnTo>
                    <a:lnTo>
                      <a:pt x="24" y="1475"/>
                    </a:lnTo>
                    <a:lnTo>
                      <a:pt x="19" y="1470"/>
                    </a:lnTo>
                    <a:lnTo>
                      <a:pt x="13" y="1464"/>
                    </a:lnTo>
                    <a:lnTo>
                      <a:pt x="9" y="1458"/>
                    </a:lnTo>
                    <a:lnTo>
                      <a:pt x="4" y="1452"/>
                    </a:lnTo>
                    <a:lnTo>
                      <a:pt x="2" y="1445"/>
                    </a:lnTo>
                    <a:lnTo>
                      <a:pt x="1" y="1437"/>
                    </a:lnTo>
                    <a:lnTo>
                      <a:pt x="0" y="1429"/>
                    </a:lnTo>
                    <a:lnTo>
                      <a:pt x="1" y="1426"/>
                    </a:lnTo>
                    <a:lnTo>
                      <a:pt x="2" y="1423"/>
                    </a:lnTo>
                    <a:lnTo>
                      <a:pt x="4" y="1421"/>
                    </a:lnTo>
                    <a:lnTo>
                      <a:pt x="6" y="1418"/>
                    </a:lnTo>
                    <a:lnTo>
                      <a:pt x="13" y="1415"/>
                    </a:lnTo>
                    <a:lnTo>
                      <a:pt x="22" y="1413"/>
                    </a:lnTo>
                    <a:lnTo>
                      <a:pt x="39" y="1411"/>
                    </a:lnTo>
                    <a:lnTo>
                      <a:pt x="54" y="1411"/>
                    </a:lnTo>
                    <a:lnTo>
                      <a:pt x="58" y="1408"/>
                    </a:lnTo>
                    <a:lnTo>
                      <a:pt x="64" y="1404"/>
                    </a:lnTo>
                    <a:lnTo>
                      <a:pt x="68" y="1399"/>
                    </a:lnTo>
                    <a:lnTo>
                      <a:pt x="72" y="1393"/>
                    </a:lnTo>
                    <a:lnTo>
                      <a:pt x="82" y="1378"/>
                    </a:lnTo>
                    <a:lnTo>
                      <a:pt x="90" y="1361"/>
                    </a:lnTo>
                    <a:lnTo>
                      <a:pt x="97" y="1344"/>
                    </a:lnTo>
                    <a:lnTo>
                      <a:pt x="102" y="1325"/>
                    </a:lnTo>
                    <a:lnTo>
                      <a:pt x="105" y="1309"/>
                    </a:lnTo>
                    <a:lnTo>
                      <a:pt x="106" y="1294"/>
                    </a:lnTo>
                    <a:lnTo>
                      <a:pt x="106" y="1288"/>
                    </a:lnTo>
                    <a:lnTo>
                      <a:pt x="105" y="1284"/>
                    </a:lnTo>
                    <a:lnTo>
                      <a:pt x="103" y="1279"/>
                    </a:lnTo>
                    <a:lnTo>
                      <a:pt x="101" y="1275"/>
                    </a:lnTo>
                    <a:lnTo>
                      <a:pt x="95" y="1267"/>
                    </a:lnTo>
                    <a:lnTo>
                      <a:pt x="90" y="1260"/>
                    </a:lnTo>
                    <a:lnTo>
                      <a:pt x="83" y="1254"/>
                    </a:lnTo>
                    <a:lnTo>
                      <a:pt x="79" y="1248"/>
                    </a:lnTo>
                    <a:lnTo>
                      <a:pt x="77" y="1244"/>
                    </a:lnTo>
                    <a:lnTo>
                      <a:pt x="75" y="1241"/>
                    </a:lnTo>
                    <a:lnTo>
                      <a:pt x="73" y="1237"/>
                    </a:lnTo>
                    <a:lnTo>
                      <a:pt x="73" y="1232"/>
                    </a:lnTo>
                    <a:lnTo>
                      <a:pt x="73" y="1225"/>
                    </a:lnTo>
                    <a:lnTo>
                      <a:pt x="75" y="1218"/>
                    </a:lnTo>
                    <a:lnTo>
                      <a:pt x="77" y="1212"/>
                    </a:lnTo>
                    <a:lnTo>
                      <a:pt x="79" y="1207"/>
                    </a:lnTo>
                    <a:lnTo>
                      <a:pt x="86" y="1200"/>
                    </a:lnTo>
                    <a:lnTo>
                      <a:pt x="93" y="1193"/>
                    </a:lnTo>
                    <a:lnTo>
                      <a:pt x="101" y="1188"/>
                    </a:lnTo>
                    <a:lnTo>
                      <a:pt x="106" y="1182"/>
                    </a:lnTo>
                    <a:lnTo>
                      <a:pt x="110" y="1179"/>
                    </a:lnTo>
                    <a:lnTo>
                      <a:pt x="112" y="1175"/>
                    </a:lnTo>
                    <a:lnTo>
                      <a:pt x="113" y="1170"/>
                    </a:lnTo>
                    <a:lnTo>
                      <a:pt x="113" y="1165"/>
                    </a:lnTo>
                    <a:lnTo>
                      <a:pt x="113" y="1150"/>
                    </a:lnTo>
                    <a:lnTo>
                      <a:pt x="111" y="1137"/>
                    </a:lnTo>
                    <a:lnTo>
                      <a:pt x="109" y="1123"/>
                    </a:lnTo>
                    <a:lnTo>
                      <a:pt x="105" y="1110"/>
                    </a:lnTo>
                    <a:lnTo>
                      <a:pt x="98" y="1082"/>
                    </a:lnTo>
                    <a:lnTo>
                      <a:pt x="88" y="1056"/>
                    </a:lnTo>
                    <a:lnTo>
                      <a:pt x="78" y="1030"/>
                    </a:lnTo>
                    <a:lnTo>
                      <a:pt x="68" y="1006"/>
                    </a:lnTo>
                    <a:lnTo>
                      <a:pt x="59" y="982"/>
                    </a:lnTo>
                    <a:lnTo>
                      <a:pt x="54" y="961"/>
                    </a:lnTo>
                    <a:lnTo>
                      <a:pt x="54" y="930"/>
                    </a:lnTo>
                    <a:lnTo>
                      <a:pt x="58" y="943"/>
                    </a:lnTo>
                    <a:lnTo>
                      <a:pt x="64" y="954"/>
                    </a:lnTo>
                    <a:lnTo>
                      <a:pt x="71" y="964"/>
                    </a:lnTo>
                    <a:lnTo>
                      <a:pt x="80" y="973"/>
                    </a:lnTo>
                    <a:lnTo>
                      <a:pt x="80" y="949"/>
                    </a:lnTo>
                    <a:lnTo>
                      <a:pt x="80" y="954"/>
                    </a:lnTo>
                    <a:lnTo>
                      <a:pt x="82" y="958"/>
                    </a:lnTo>
                    <a:lnTo>
                      <a:pt x="84" y="962"/>
                    </a:lnTo>
                    <a:lnTo>
                      <a:pt x="88" y="966"/>
                    </a:lnTo>
                    <a:lnTo>
                      <a:pt x="92" y="969"/>
                    </a:lnTo>
                    <a:lnTo>
                      <a:pt x="97" y="971"/>
                    </a:lnTo>
                    <a:lnTo>
                      <a:pt x="102" y="973"/>
                    </a:lnTo>
                    <a:lnTo>
                      <a:pt x="106" y="973"/>
                    </a:lnTo>
                    <a:lnTo>
                      <a:pt x="113" y="964"/>
                    </a:lnTo>
                    <a:lnTo>
                      <a:pt x="122" y="955"/>
                    </a:lnTo>
                    <a:lnTo>
                      <a:pt x="126" y="951"/>
                    </a:lnTo>
                    <a:lnTo>
                      <a:pt x="129" y="946"/>
                    </a:lnTo>
                    <a:lnTo>
                      <a:pt x="132" y="940"/>
                    </a:lnTo>
                    <a:lnTo>
                      <a:pt x="133" y="936"/>
                    </a:lnTo>
                    <a:lnTo>
                      <a:pt x="132" y="923"/>
                    </a:lnTo>
                    <a:lnTo>
                      <a:pt x="128" y="913"/>
                    </a:lnTo>
                    <a:lnTo>
                      <a:pt x="125" y="903"/>
                    </a:lnTo>
                    <a:lnTo>
                      <a:pt x="120" y="895"/>
                    </a:lnTo>
                    <a:lnTo>
                      <a:pt x="115" y="887"/>
                    </a:lnTo>
                    <a:lnTo>
                      <a:pt x="111" y="879"/>
                    </a:lnTo>
                    <a:lnTo>
                      <a:pt x="107" y="871"/>
                    </a:lnTo>
                    <a:lnTo>
                      <a:pt x="106" y="862"/>
                    </a:lnTo>
                    <a:lnTo>
                      <a:pt x="107" y="855"/>
                    </a:lnTo>
                    <a:lnTo>
                      <a:pt x="111" y="847"/>
                    </a:lnTo>
                    <a:lnTo>
                      <a:pt x="115" y="839"/>
                    </a:lnTo>
                    <a:lnTo>
                      <a:pt x="121" y="831"/>
                    </a:lnTo>
                    <a:lnTo>
                      <a:pt x="126" y="823"/>
                    </a:lnTo>
                    <a:lnTo>
                      <a:pt x="132" y="818"/>
                    </a:lnTo>
                    <a:lnTo>
                      <a:pt x="136" y="814"/>
                    </a:lnTo>
                    <a:lnTo>
                      <a:pt x="139" y="813"/>
                    </a:lnTo>
                    <a:lnTo>
                      <a:pt x="139" y="807"/>
                    </a:lnTo>
                    <a:lnTo>
                      <a:pt x="140" y="800"/>
                    </a:lnTo>
                    <a:lnTo>
                      <a:pt x="143" y="792"/>
                    </a:lnTo>
                    <a:lnTo>
                      <a:pt x="146" y="783"/>
                    </a:lnTo>
                    <a:lnTo>
                      <a:pt x="147" y="765"/>
                    </a:lnTo>
                    <a:lnTo>
                      <a:pt x="149" y="751"/>
                    </a:lnTo>
                    <a:lnTo>
                      <a:pt x="151" y="737"/>
                    </a:lnTo>
                    <a:lnTo>
                      <a:pt x="153" y="72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2" name="Freeform 193">
                <a:extLst>
                  <a:ext uri="{FF2B5EF4-FFF2-40B4-BE49-F238E27FC236}">
                    <a16:creationId xmlns:a16="http://schemas.microsoft.com/office/drawing/2014/main" id="{5DF623C4-64D7-4F9B-82E5-D53776EC5C80}"/>
                  </a:ext>
                </a:extLst>
              </p:cNvPr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auto">
              <a:xfrm>
                <a:off x="634380" y="3360900"/>
                <a:ext cx="807182" cy="653966"/>
              </a:xfrm>
              <a:custGeom>
                <a:avLst/>
                <a:gdLst>
                  <a:gd name="T0" fmla="*/ 235638210 w 1535"/>
                  <a:gd name="T1" fmla="*/ 253903210 h 1109"/>
                  <a:gd name="T2" fmla="*/ 246254101 w 1535"/>
                  <a:gd name="T3" fmla="*/ 269548971 h 1109"/>
                  <a:gd name="T4" fmla="*/ 231277692 w 1535"/>
                  <a:gd name="T5" fmla="*/ 274215508 h 1109"/>
                  <a:gd name="T6" fmla="*/ 223126158 w 1535"/>
                  <a:gd name="T7" fmla="*/ 300566485 h 1109"/>
                  <a:gd name="T8" fmla="*/ 201894376 w 1535"/>
                  <a:gd name="T9" fmla="*/ 276136716 h 1109"/>
                  <a:gd name="T10" fmla="*/ 188434461 w 1535"/>
                  <a:gd name="T11" fmla="*/ 277783914 h 1109"/>
                  <a:gd name="T12" fmla="*/ 173079255 w 1535"/>
                  <a:gd name="T13" fmla="*/ 285195257 h 1109"/>
                  <a:gd name="T14" fmla="*/ 149003448 w 1535"/>
                  <a:gd name="T15" fmla="*/ 266529632 h 1109"/>
                  <a:gd name="T16" fmla="*/ 122842518 w 1535"/>
                  <a:gd name="T17" fmla="*/ 251707470 h 1109"/>
                  <a:gd name="T18" fmla="*/ 111468162 w 1535"/>
                  <a:gd name="T19" fmla="*/ 242374919 h 1109"/>
                  <a:gd name="T20" fmla="*/ 101800134 w 1535"/>
                  <a:gd name="T21" fmla="*/ 229198907 h 1109"/>
                  <a:gd name="T22" fmla="*/ 91942272 w 1535"/>
                  <a:gd name="T23" fmla="*/ 226728634 h 1109"/>
                  <a:gd name="T24" fmla="*/ 83222107 w 1535"/>
                  <a:gd name="T25" fmla="*/ 207789000 h 1109"/>
                  <a:gd name="T26" fmla="*/ 88530052 w 1535"/>
                  <a:gd name="T27" fmla="*/ 193515380 h 1109"/>
                  <a:gd name="T28" fmla="*/ 85307231 w 1535"/>
                  <a:gd name="T29" fmla="*/ 164968663 h 1109"/>
                  <a:gd name="T30" fmla="*/ 66729204 w 1535"/>
                  <a:gd name="T31" fmla="*/ 128461536 h 1109"/>
                  <a:gd name="T32" fmla="*/ 57629807 w 1535"/>
                  <a:gd name="T33" fmla="*/ 116932722 h 1109"/>
                  <a:gd name="T34" fmla="*/ 55544683 w 1535"/>
                  <a:gd name="T35" fmla="*/ 101286960 h 1109"/>
                  <a:gd name="T36" fmla="*/ 41137340 w 1535"/>
                  <a:gd name="T37" fmla="*/ 68073706 h 1109"/>
                  <a:gd name="T38" fmla="*/ 31658710 w 1535"/>
                  <a:gd name="T39" fmla="*/ 20312299 h 1109"/>
                  <a:gd name="T40" fmla="*/ 15923837 w 1535"/>
                  <a:gd name="T41" fmla="*/ 28546717 h 1109"/>
                  <a:gd name="T42" fmla="*/ 21421616 w 1535"/>
                  <a:gd name="T43" fmla="*/ 60936896 h 1109"/>
                  <a:gd name="T44" fmla="*/ 28435889 w 1535"/>
                  <a:gd name="T45" fmla="*/ 89483613 h 1109"/>
                  <a:gd name="T46" fmla="*/ 37156054 w 1535"/>
                  <a:gd name="T47" fmla="*/ 110344978 h 1109"/>
                  <a:gd name="T48" fmla="*/ 37914519 w 1535"/>
                  <a:gd name="T49" fmla="*/ 127637937 h 1109"/>
                  <a:gd name="T50" fmla="*/ 40378875 w 1535"/>
                  <a:gd name="T51" fmla="*/ 143832765 h 1109"/>
                  <a:gd name="T52" fmla="*/ 49099040 w 1535"/>
                  <a:gd name="T53" fmla="*/ 156733720 h 1109"/>
                  <a:gd name="T54" fmla="*/ 40568274 w 1535"/>
                  <a:gd name="T55" fmla="*/ 163595998 h 1109"/>
                  <a:gd name="T56" fmla="*/ 36587423 w 1535"/>
                  <a:gd name="T57" fmla="*/ 148773835 h 1109"/>
                  <a:gd name="T58" fmla="*/ 22748711 w 1535"/>
                  <a:gd name="T59" fmla="*/ 130108210 h 1109"/>
                  <a:gd name="T60" fmla="*/ 27677424 w 1535"/>
                  <a:gd name="T61" fmla="*/ 115286048 h 1109"/>
                  <a:gd name="T62" fmla="*/ 16871700 w 1535"/>
                  <a:gd name="T63" fmla="*/ 100463361 h 1109"/>
                  <a:gd name="T64" fmla="*/ 5118547 w 1535"/>
                  <a:gd name="T65" fmla="*/ 84268534 h 1109"/>
                  <a:gd name="T66" fmla="*/ 12322219 w 1535"/>
                  <a:gd name="T67" fmla="*/ 79327464 h 1109"/>
                  <a:gd name="T68" fmla="*/ 12132820 w 1535"/>
                  <a:gd name="T69" fmla="*/ 61760495 h 1109"/>
                  <a:gd name="T70" fmla="*/ 1137261 w 1535"/>
                  <a:gd name="T71" fmla="*/ 32115122 h 1109"/>
                  <a:gd name="T72" fmla="*/ 7203671 w 1535"/>
                  <a:gd name="T73" fmla="*/ 1372665 h 1109"/>
                  <a:gd name="T74" fmla="*/ 39999643 w 1535"/>
                  <a:gd name="T75" fmla="*/ 4941070 h 1109"/>
                  <a:gd name="T76" fmla="*/ 68435532 w 1535"/>
                  <a:gd name="T77" fmla="*/ 20861365 h 1109"/>
                  <a:gd name="T78" fmla="*/ 94407064 w 1535"/>
                  <a:gd name="T79" fmla="*/ 15096696 h 1109"/>
                  <a:gd name="T80" fmla="*/ 112416025 w 1535"/>
                  <a:gd name="T81" fmla="*/ 14822686 h 1109"/>
                  <a:gd name="T82" fmla="*/ 119998929 w 1535"/>
                  <a:gd name="T83" fmla="*/ 30193915 h 1109"/>
                  <a:gd name="T84" fmla="*/ 132700379 w 1535"/>
                  <a:gd name="T85" fmla="*/ 59015165 h 1109"/>
                  <a:gd name="T86" fmla="*/ 142179009 w 1535"/>
                  <a:gd name="T87" fmla="*/ 52701954 h 1109"/>
                  <a:gd name="T88" fmla="*/ 155828323 w 1535"/>
                  <a:gd name="T89" fmla="*/ 48310474 h 1109"/>
                  <a:gd name="T90" fmla="*/ 166633612 w 1535"/>
                  <a:gd name="T91" fmla="*/ 66975574 h 1109"/>
                  <a:gd name="T92" fmla="*/ 171562761 w 1535"/>
                  <a:gd name="T93" fmla="*/ 99365229 h 1109"/>
                  <a:gd name="T94" fmla="*/ 182747283 w 1535"/>
                  <a:gd name="T95" fmla="*/ 111168577 h 1109"/>
                  <a:gd name="T96" fmla="*/ 185212075 w 1535"/>
                  <a:gd name="T97" fmla="*/ 125167664 h 1109"/>
                  <a:gd name="T98" fmla="*/ 176491474 w 1535"/>
                  <a:gd name="T99" fmla="*/ 135049281 h 1109"/>
                  <a:gd name="T100" fmla="*/ 173837719 w 1535"/>
                  <a:gd name="T101" fmla="*/ 174026680 h 1109"/>
                  <a:gd name="T102" fmla="*/ 181230789 w 1535"/>
                  <a:gd name="T103" fmla="*/ 217121550 h 1109"/>
                  <a:gd name="T104" fmla="*/ 199808816 w 1535"/>
                  <a:gd name="T105" fmla="*/ 240727721 h 1109"/>
                  <a:gd name="T106" fmla="*/ 221041034 w 1535"/>
                  <a:gd name="T107" fmla="*/ 233041845 h 1109"/>
                  <a:gd name="T108" fmla="*/ 236775472 w 1535"/>
                  <a:gd name="T109" fmla="*/ 233316378 h 1109"/>
                  <a:gd name="T110" fmla="*/ 245685471 w 1535"/>
                  <a:gd name="T111" fmla="*/ 203671529 h 1109"/>
                  <a:gd name="T112" fmla="*/ 253268374 w 1535"/>
                  <a:gd name="T113" fmla="*/ 190221508 h 1109"/>
                  <a:gd name="T114" fmla="*/ 285495280 w 1535"/>
                  <a:gd name="T115" fmla="*/ 186104036 h 1109"/>
                  <a:gd name="T116" fmla="*/ 284926649 w 1535"/>
                  <a:gd name="T117" fmla="*/ 200103124 h 1109"/>
                  <a:gd name="T118" fmla="*/ 278291608 w 1535"/>
                  <a:gd name="T119" fmla="*/ 225356493 h 1109"/>
                  <a:gd name="T120" fmla="*/ 259524183 w 1535"/>
                  <a:gd name="T121" fmla="*/ 243747060 h 1109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535" h="1109">
                    <a:moveTo>
                      <a:pt x="1336" y="888"/>
                    </a:moveTo>
                    <a:lnTo>
                      <a:pt x="1319" y="891"/>
                    </a:lnTo>
                    <a:lnTo>
                      <a:pt x="1287" y="901"/>
                    </a:lnTo>
                    <a:lnTo>
                      <a:pt x="1270" y="907"/>
                    </a:lnTo>
                    <a:lnTo>
                      <a:pt x="1256" y="913"/>
                    </a:lnTo>
                    <a:lnTo>
                      <a:pt x="1251" y="916"/>
                    </a:lnTo>
                    <a:lnTo>
                      <a:pt x="1246" y="919"/>
                    </a:lnTo>
                    <a:lnTo>
                      <a:pt x="1244" y="922"/>
                    </a:lnTo>
                    <a:lnTo>
                      <a:pt x="1243" y="925"/>
                    </a:lnTo>
                    <a:lnTo>
                      <a:pt x="1243" y="929"/>
                    </a:lnTo>
                    <a:lnTo>
                      <a:pt x="1244" y="933"/>
                    </a:lnTo>
                    <a:lnTo>
                      <a:pt x="1246" y="937"/>
                    </a:lnTo>
                    <a:lnTo>
                      <a:pt x="1248" y="940"/>
                    </a:lnTo>
                    <a:lnTo>
                      <a:pt x="1255" y="946"/>
                    </a:lnTo>
                    <a:lnTo>
                      <a:pt x="1263" y="951"/>
                    </a:lnTo>
                    <a:lnTo>
                      <a:pt x="1282" y="961"/>
                    </a:lnTo>
                    <a:lnTo>
                      <a:pt x="1302" y="973"/>
                    </a:lnTo>
                    <a:lnTo>
                      <a:pt x="1299" y="982"/>
                    </a:lnTo>
                    <a:lnTo>
                      <a:pt x="1294" y="988"/>
                    </a:lnTo>
                    <a:lnTo>
                      <a:pt x="1289" y="993"/>
                    </a:lnTo>
                    <a:lnTo>
                      <a:pt x="1282" y="996"/>
                    </a:lnTo>
                    <a:lnTo>
                      <a:pt x="1275" y="998"/>
                    </a:lnTo>
                    <a:lnTo>
                      <a:pt x="1267" y="999"/>
                    </a:lnTo>
                    <a:lnTo>
                      <a:pt x="1258" y="999"/>
                    </a:lnTo>
                    <a:lnTo>
                      <a:pt x="1251" y="999"/>
                    </a:lnTo>
                    <a:lnTo>
                      <a:pt x="1234" y="999"/>
                    </a:lnTo>
                    <a:lnTo>
                      <a:pt x="1220" y="999"/>
                    </a:lnTo>
                    <a:lnTo>
                      <a:pt x="1213" y="1000"/>
                    </a:lnTo>
                    <a:lnTo>
                      <a:pt x="1209" y="1002"/>
                    </a:lnTo>
                    <a:lnTo>
                      <a:pt x="1204" y="1006"/>
                    </a:lnTo>
                    <a:lnTo>
                      <a:pt x="1203" y="1011"/>
                    </a:lnTo>
                    <a:lnTo>
                      <a:pt x="1193" y="1036"/>
                    </a:lnTo>
                    <a:lnTo>
                      <a:pt x="1185" y="1058"/>
                    </a:lnTo>
                    <a:lnTo>
                      <a:pt x="1181" y="1069"/>
                    </a:lnTo>
                    <a:lnTo>
                      <a:pt x="1178" y="1080"/>
                    </a:lnTo>
                    <a:lnTo>
                      <a:pt x="1177" y="1095"/>
                    </a:lnTo>
                    <a:lnTo>
                      <a:pt x="1176" y="1109"/>
                    </a:lnTo>
                    <a:lnTo>
                      <a:pt x="1165" y="1100"/>
                    </a:lnTo>
                    <a:lnTo>
                      <a:pt x="1153" y="1091"/>
                    </a:lnTo>
                    <a:lnTo>
                      <a:pt x="1141" y="1081"/>
                    </a:lnTo>
                    <a:lnTo>
                      <a:pt x="1130" y="1072"/>
                    </a:lnTo>
                    <a:lnTo>
                      <a:pt x="1112" y="1051"/>
                    </a:lnTo>
                    <a:lnTo>
                      <a:pt x="1090" y="1026"/>
                    </a:lnTo>
                    <a:lnTo>
                      <a:pt x="1078" y="1015"/>
                    </a:lnTo>
                    <a:lnTo>
                      <a:pt x="1065" y="1006"/>
                    </a:lnTo>
                    <a:lnTo>
                      <a:pt x="1058" y="1003"/>
                    </a:lnTo>
                    <a:lnTo>
                      <a:pt x="1052" y="1001"/>
                    </a:lnTo>
                    <a:lnTo>
                      <a:pt x="1044" y="999"/>
                    </a:lnTo>
                    <a:lnTo>
                      <a:pt x="1036" y="998"/>
                    </a:lnTo>
                    <a:lnTo>
                      <a:pt x="1028" y="999"/>
                    </a:lnTo>
                    <a:lnTo>
                      <a:pt x="1019" y="1000"/>
                    </a:lnTo>
                    <a:lnTo>
                      <a:pt x="1011" y="1002"/>
                    </a:lnTo>
                    <a:lnTo>
                      <a:pt x="1006" y="1005"/>
                    </a:lnTo>
                    <a:lnTo>
                      <a:pt x="994" y="1012"/>
                    </a:lnTo>
                    <a:lnTo>
                      <a:pt x="984" y="1020"/>
                    </a:lnTo>
                    <a:lnTo>
                      <a:pt x="974" y="1027"/>
                    </a:lnTo>
                    <a:lnTo>
                      <a:pt x="962" y="1035"/>
                    </a:lnTo>
                    <a:lnTo>
                      <a:pt x="955" y="1038"/>
                    </a:lnTo>
                    <a:lnTo>
                      <a:pt x="949" y="1040"/>
                    </a:lnTo>
                    <a:lnTo>
                      <a:pt x="940" y="1041"/>
                    </a:lnTo>
                    <a:lnTo>
                      <a:pt x="930" y="1042"/>
                    </a:lnTo>
                    <a:lnTo>
                      <a:pt x="922" y="1041"/>
                    </a:lnTo>
                    <a:lnTo>
                      <a:pt x="913" y="1039"/>
                    </a:lnTo>
                    <a:lnTo>
                      <a:pt x="902" y="1037"/>
                    </a:lnTo>
                    <a:lnTo>
                      <a:pt x="891" y="1032"/>
                    </a:lnTo>
                    <a:lnTo>
                      <a:pt x="868" y="1023"/>
                    </a:lnTo>
                    <a:lnTo>
                      <a:pt x="845" y="1011"/>
                    </a:lnTo>
                    <a:lnTo>
                      <a:pt x="823" y="999"/>
                    </a:lnTo>
                    <a:lnTo>
                      <a:pt x="805" y="987"/>
                    </a:lnTo>
                    <a:lnTo>
                      <a:pt x="797" y="982"/>
                    </a:lnTo>
                    <a:lnTo>
                      <a:pt x="790" y="976"/>
                    </a:lnTo>
                    <a:lnTo>
                      <a:pt x="786" y="971"/>
                    </a:lnTo>
                    <a:lnTo>
                      <a:pt x="784" y="967"/>
                    </a:lnTo>
                    <a:lnTo>
                      <a:pt x="731" y="973"/>
                    </a:lnTo>
                    <a:lnTo>
                      <a:pt x="714" y="962"/>
                    </a:lnTo>
                    <a:lnTo>
                      <a:pt x="697" y="953"/>
                    </a:lnTo>
                    <a:lnTo>
                      <a:pt x="680" y="945"/>
                    </a:lnTo>
                    <a:lnTo>
                      <a:pt x="658" y="937"/>
                    </a:lnTo>
                    <a:lnTo>
                      <a:pt x="653" y="932"/>
                    </a:lnTo>
                    <a:lnTo>
                      <a:pt x="650" y="925"/>
                    </a:lnTo>
                    <a:lnTo>
                      <a:pt x="648" y="917"/>
                    </a:lnTo>
                    <a:lnTo>
                      <a:pt x="644" y="910"/>
                    </a:lnTo>
                    <a:lnTo>
                      <a:pt x="642" y="904"/>
                    </a:lnTo>
                    <a:lnTo>
                      <a:pt x="639" y="898"/>
                    </a:lnTo>
                    <a:lnTo>
                      <a:pt x="638" y="896"/>
                    </a:lnTo>
                    <a:lnTo>
                      <a:pt x="636" y="895"/>
                    </a:lnTo>
                    <a:lnTo>
                      <a:pt x="633" y="894"/>
                    </a:lnTo>
                    <a:lnTo>
                      <a:pt x="631" y="894"/>
                    </a:lnTo>
                    <a:lnTo>
                      <a:pt x="607" y="887"/>
                    </a:lnTo>
                    <a:lnTo>
                      <a:pt x="588" y="883"/>
                    </a:lnTo>
                    <a:lnTo>
                      <a:pt x="575" y="882"/>
                    </a:lnTo>
                    <a:lnTo>
                      <a:pt x="565" y="880"/>
                    </a:lnTo>
                    <a:lnTo>
                      <a:pt x="561" y="879"/>
                    </a:lnTo>
                    <a:lnTo>
                      <a:pt x="558" y="877"/>
                    </a:lnTo>
                    <a:lnTo>
                      <a:pt x="554" y="874"/>
                    </a:lnTo>
                    <a:lnTo>
                      <a:pt x="551" y="870"/>
                    </a:lnTo>
                    <a:lnTo>
                      <a:pt x="546" y="857"/>
                    </a:lnTo>
                    <a:lnTo>
                      <a:pt x="538" y="838"/>
                    </a:lnTo>
                    <a:lnTo>
                      <a:pt x="537" y="835"/>
                    </a:lnTo>
                    <a:lnTo>
                      <a:pt x="535" y="833"/>
                    </a:lnTo>
                    <a:lnTo>
                      <a:pt x="532" y="831"/>
                    </a:lnTo>
                    <a:lnTo>
                      <a:pt x="530" y="829"/>
                    </a:lnTo>
                    <a:lnTo>
                      <a:pt x="524" y="828"/>
                    </a:lnTo>
                    <a:lnTo>
                      <a:pt x="517" y="828"/>
                    </a:lnTo>
                    <a:lnTo>
                      <a:pt x="509" y="828"/>
                    </a:lnTo>
                    <a:lnTo>
                      <a:pt x="501" y="828"/>
                    </a:lnTo>
                    <a:lnTo>
                      <a:pt x="493" y="828"/>
                    </a:lnTo>
                    <a:lnTo>
                      <a:pt x="485" y="826"/>
                    </a:lnTo>
                    <a:lnTo>
                      <a:pt x="480" y="822"/>
                    </a:lnTo>
                    <a:lnTo>
                      <a:pt x="472" y="816"/>
                    </a:lnTo>
                    <a:lnTo>
                      <a:pt x="464" y="806"/>
                    </a:lnTo>
                    <a:lnTo>
                      <a:pt x="457" y="796"/>
                    </a:lnTo>
                    <a:lnTo>
                      <a:pt x="450" y="784"/>
                    </a:lnTo>
                    <a:lnTo>
                      <a:pt x="445" y="773"/>
                    </a:lnTo>
                    <a:lnTo>
                      <a:pt x="442" y="768"/>
                    </a:lnTo>
                    <a:lnTo>
                      <a:pt x="440" y="762"/>
                    </a:lnTo>
                    <a:lnTo>
                      <a:pt x="439" y="757"/>
                    </a:lnTo>
                    <a:lnTo>
                      <a:pt x="439" y="751"/>
                    </a:lnTo>
                    <a:lnTo>
                      <a:pt x="439" y="747"/>
                    </a:lnTo>
                    <a:lnTo>
                      <a:pt x="440" y="743"/>
                    </a:lnTo>
                    <a:lnTo>
                      <a:pt x="441" y="739"/>
                    </a:lnTo>
                    <a:lnTo>
                      <a:pt x="443" y="735"/>
                    </a:lnTo>
                    <a:lnTo>
                      <a:pt x="449" y="728"/>
                    </a:lnTo>
                    <a:lnTo>
                      <a:pt x="456" y="720"/>
                    </a:lnTo>
                    <a:lnTo>
                      <a:pt x="461" y="713"/>
                    </a:lnTo>
                    <a:lnTo>
                      <a:pt x="467" y="705"/>
                    </a:lnTo>
                    <a:lnTo>
                      <a:pt x="469" y="700"/>
                    </a:lnTo>
                    <a:lnTo>
                      <a:pt x="471" y="694"/>
                    </a:lnTo>
                    <a:lnTo>
                      <a:pt x="472" y="689"/>
                    </a:lnTo>
                    <a:lnTo>
                      <a:pt x="472" y="684"/>
                    </a:lnTo>
                    <a:lnTo>
                      <a:pt x="471" y="664"/>
                    </a:lnTo>
                    <a:lnTo>
                      <a:pt x="468" y="647"/>
                    </a:lnTo>
                    <a:lnTo>
                      <a:pt x="463" y="630"/>
                    </a:lnTo>
                    <a:lnTo>
                      <a:pt x="457" y="615"/>
                    </a:lnTo>
                    <a:lnTo>
                      <a:pt x="450" y="601"/>
                    </a:lnTo>
                    <a:lnTo>
                      <a:pt x="441" y="589"/>
                    </a:lnTo>
                    <a:lnTo>
                      <a:pt x="431" y="576"/>
                    </a:lnTo>
                    <a:lnTo>
                      <a:pt x="423" y="565"/>
                    </a:lnTo>
                    <a:lnTo>
                      <a:pt x="402" y="543"/>
                    </a:lnTo>
                    <a:lnTo>
                      <a:pt x="382" y="520"/>
                    </a:lnTo>
                    <a:lnTo>
                      <a:pt x="373" y="509"/>
                    </a:lnTo>
                    <a:lnTo>
                      <a:pt x="366" y="496"/>
                    </a:lnTo>
                    <a:lnTo>
                      <a:pt x="358" y="483"/>
                    </a:lnTo>
                    <a:lnTo>
                      <a:pt x="352" y="468"/>
                    </a:lnTo>
                    <a:lnTo>
                      <a:pt x="350" y="464"/>
                    </a:lnTo>
                    <a:lnTo>
                      <a:pt x="348" y="460"/>
                    </a:lnTo>
                    <a:lnTo>
                      <a:pt x="345" y="456"/>
                    </a:lnTo>
                    <a:lnTo>
                      <a:pt x="341" y="453"/>
                    </a:lnTo>
                    <a:lnTo>
                      <a:pt x="333" y="447"/>
                    </a:lnTo>
                    <a:lnTo>
                      <a:pt x="324" y="441"/>
                    </a:lnTo>
                    <a:lnTo>
                      <a:pt x="314" y="435"/>
                    </a:lnTo>
                    <a:lnTo>
                      <a:pt x="306" y="429"/>
                    </a:lnTo>
                    <a:lnTo>
                      <a:pt x="304" y="426"/>
                    </a:lnTo>
                    <a:lnTo>
                      <a:pt x="301" y="422"/>
                    </a:lnTo>
                    <a:lnTo>
                      <a:pt x="300" y="417"/>
                    </a:lnTo>
                    <a:lnTo>
                      <a:pt x="300" y="413"/>
                    </a:lnTo>
                    <a:lnTo>
                      <a:pt x="306" y="404"/>
                    </a:lnTo>
                    <a:lnTo>
                      <a:pt x="313" y="394"/>
                    </a:lnTo>
                    <a:lnTo>
                      <a:pt x="306" y="391"/>
                    </a:lnTo>
                    <a:lnTo>
                      <a:pt x="300" y="388"/>
                    </a:lnTo>
                    <a:lnTo>
                      <a:pt x="297" y="380"/>
                    </a:lnTo>
                    <a:lnTo>
                      <a:pt x="293" y="369"/>
                    </a:lnTo>
                    <a:lnTo>
                      <a:pt x="286" y="356"/>
                    </a:lnTo>
                    <a:lnTo>
                      <a:pt x="279" y="344"/>
                    </a:lnTo>
                    <a:lnTo>
                      <a:pt x="262" y="321"/>
                    </a:lnTo>
                    <a:lnTo>
                      <a:pt x="252" y="308"/>
                    </a:lnTo>
                    <a:lnTo>
                      <a:pt x="245" y="291"/>
                    </a:lnTo>
                    <a:lnTo>
                      <a:pt x="238" y="278"/>
                    </a:lnTo>
                    <a:lnTo>
                      <a:pt x="230" y="267"/>
                    </a:lnTo>
                    <a:lnTo>
                      <a:pt x="224" y="258"/>
                    </a:lnTo>
                    <a:lnTo>
                      <a:pt x="217" y="248"/>
                    </a:lnTo>
                    <a:lnTo>
                      <a:pt x="211" y="239"/>
                    </a:lnTo>
                    <a:lnTo>
                      <a:pt x="205" y="228"/>
                    </a:lnTo>
                    <a:lnTo>
                      <a:pt x="200" y="216"/>
                    </a:lnTo>
                    <a:lnTo>
                      <a:pt x="193" y="195"/>
                    </a:lnTo>
                    <a:lnTo>
                      <a:pt x="187" y="176"/>
                    </a:lnTo>
                    <a:lnTo>
                      <a:pt x="182" y="158"/>
                    </a:lnTo>
                    <a:lnTo>
                      <a:pt x="178" y="140"/>
                    </a:lnTo>
                    <a:lnTo>
                      <a:pt x="171" y="107"/>
                    </a:lnTo>
                    <a:lnTo>
                      <a:pt x="167" y="74"/>
                    </a:lnTo>
                    <a:lnTo>
                      <a:pt x="155" y="74"/>
                    </a:lnTo>
                    <a:lnTo>
                      <a:pt x="146" y="73"/>
                    </a:lnTo>
                    <a:lnTo>
                      <a:pt x="138" y="71"/>
                    </a:lnTo>
                    <a:lnTo>
                      <a:pt x="132" y="69"/>
                    </a:lnTo>
                    <a:lnTo>
                      <a:pt x="120" y="64"/>
                    </a:lnTo>
                    <a:lnTo>
                      <a:pt x="106" y="56"/>
                    </a:lnTo>
                    <a:lnTo>
                      <a:pt x="97" y="74"/>
                    </a:lnTo>
                    <a:lnTo>
                      <a:pt x="89" y="94"/>
                    </a:lnTo>
                    <a:lnTo>
                      <a:pt x="84" y="104"/>
                    </a:lnTo>
                    <a:lnTo>
                      <a:pt x="82" y="114"/>
                    </a:lnTo>
                    <a:lnTo>
                      <a:pt x="80" y="124"/>
                    </a:lnTo>
                    <a:lnTo>
                      <a:pt x="80" y="135"/>
                    </a:lnTo>
                    <a:lnTo>
                      <a:pt x="81" y="148"/>
                    </a:lnTo>
                    <a:lnTo>
                      <a:pt x="83" y="160"/>
                    </a:lnTo>
                    <a:lnTo>
                      <a:pt x="87" y="171"/>
                    </a:lnTo>
                    <a:lnTo>
                      <a:pt x="90" y="182"/>
                    </a:lnTo>
                    <a:lnTo>
                      <a:pt x="101" y="203"/>
                    </a:lnTo>
                    <a:lnTo>
                      <a:pt x="113" y="222"/>
                    </a:lnTo>
                    <a:lnTo>
                      <a:pt x="125" y="241"/>
                    </a:lnTo>
                    <a:lnTo>
                      <a:pt x="136" y="263"/>
                    </a:lnTo>
                    <a:lnTo>
                      <a:pt x="140" y="273"/>
                    </a:lnTo>
                    <a:lnTo>
                      <a:pt x="144" y="284"/>
                    </a:lnTo>
                    <a:lnTo>
                      <a:pt x="146" y="296"/>
                    </a:lnTo>
                    <a:lnTo>
                      <a:pt x="146" y="308"/>
                    </a:lnTo>
                    <a:lnTo>
                      <a:pt x="147" y="314"/>
                    </a:lnTo>
                    <a:lnTo>
                      <a:pt x="148" y="320"/>
                    </a:lnTo>
                    <a:lnTo>
                      <a:pt x="150" y="326"/>
                    </a:lnTo>
                    <a:lnTo>
                      <a:pt x="154" y="332"/>
                    </a:lnTo>
                    <a:lnTo>
                      <a:pt x="161" y="344"/>
                    </a:lnTo>
                    <a:lnTo>
                      <a:pt x="170" y="355"/>
                    </a:lnTo>
                    <a:lnTo>
                      <a:pt x="178" y="366"/>
                    </a:lnTo>
                    <a:lnTo>
                      <a:pt x="185" y="375"/>
                    </a:lnTo>
                    <a:lnTo>
                      <a:pt x="191" y="383"/>
                    </a:lnTo>
                    <a:lnTo>
                      <a:pt x="193" y="388"/>
                    </a:lnTo>
                    <a:lnTo>
                      <a:pt x="195" y="395"/>
                    </a:lnTo>
                    <a:lnTo>
                      <a:pt x="196" y="402"/>
                    </a:lnTo>
                    <a:lnTo>
                      <a:pt x="196" y="409"/>
                    </a:lnTo>
                    <a:lnTo>
                      <a:pt x="198" y="415"/>
                    </a:lnTo>
                    <a:lnTo>
                      <a:pt x="196" y="429"/>
                    </a:lnTo>
                    <a:lnTo>
                      <a:pt x="195" y="441"/>
                    </a:lnTo>
                    <a:lnTo>
                      <a:pt x="195" y="446"/>
                    </a:lnTo>
                    <a:lnTo>
                      <a:pt x="195" y="452"/>
                    </a:lnTo>
                    <a:lnTo>
                      <a:pt x="196" y="456"/>
                    </a:lnTo>
                    <a:lnTo>
                      <a:pt x="198" y="461"/>
                    </a:lnTo>
                    <a:lnTo>
                      <a:pt x="200" y="465"/>
                    </a:lnTo>
                    <a:lnTo>
                      <a:pt x="203" y="469"/>
                    </a:lnTo>
                    <a:lnTo>
                      <a:pt x="207" y="472"/>
                    </a:lnTo>
                    <a:lnTo>
                      <a:pt x="213" y="474"/>
                    </a:lnTo>
                    <a:lnTo>
                      <a:pt x="211" y="483"/>
                    </a:lnTo>
                    <a:lnTo>
                      <a:pt x="210" y="489"/>
                    </a:lnTo>
                    <a:lnTo>
                      <a:pt x="210" y="495"/>
                    </a:lnTo>
                    <a:lnTo>
                      <a:pt x="211" y="499"/>
                    </a:lnTo>
                    <a:lnTo>
                      <a:pt x="212" y="509"/>
                    </a:lnTo>
                    <a:lnTo>
                      <a:pt x="213" y="524"/>
                    </a:lnTo>
                    <a:lnTo>
                      <a:pt x="221" y="525"/>
                    </a:lnTo>
                    <a:lnTo>
                      <a:pt x="228" y="528"/>
                    </a:lnTo>
                    <a:lnTo>
                      <a:pt x="236" y="533"/>
                    </a:lnTo>
                    <a:lnTo>
                      <a:pt x="244" y="539"/>
                    </a:lnTo>
                    <a:lnTo>
                      <a:pt x="250" y="546"/>
                    </a:lnTo>
                    <a:lnTo>
                      <a:pt x="255" y="553"/>
                    </a:lnTo>
                    <a:lnTo>
                      <a:pt x="258" y="560"/>
                    </a:lnTo>
                    <a:lnTo>
                      <a:pt x="259" y="567"/>
                    </a:lnTo>
                    <a:lnTo>
                      <a:pt x="259" y="571"/>
                    </a:lnTo>
                    <a:lnTo>
                      <a:pt x="258" y="575"/>
                    </a:lnTo>
                    <a:lnTo>
                      <a:pt x="257" y="579"/>
                    </a:lnTo>
                    <a:lnTo>
                      <a:pt x="255" y="583"/>
                    </a:lnTo>
                    <a:lnTo>
                      <a:pt x="250" y="590"/>
                    </a:lnTo>
                    <a:lnTo>
                      <a:pt x="245" y="596"/>
                    </a:lnTo>
                    <a:lnTo>
                      <a:pt x="232" y="604"/>
                    </a:lnTo>
                    <a:lnTo>
                      <a:pt x="219" y="610"/>
                    </a:lnTo>
                    <a:lnTo>
                      <a:pt x="216" y="603"/>
                    </a:lnTo>
                    <a:lnTo>
                      <a:pt x="214" y="596"/>
                    </a:lnTo>
                    <a:lnTo>
                      <a:pt x="213" y="587"/>
                    </a:lnTo>
                    <a:lnTo>
                      <a:pt x="213" y="580"/>
                    </a:lnTo>
                    <a:lnTo>
                      <a:pt x="213" y="573"/>
                    </a:lnTo>
                    <a:lnTo>
                      <a:pt x="212" y="566"/>
                    </a:lnTo>
                    <a:lnTo>
                      <a:pt x="210" y="560"/>
                    </a:lnTo>
                    <a:lnTo>
                      <a:pt x="206" y="555"/>
                    </a:lnTo>
                    <a:lnTo>
                      <a:pt x="203" y="550"/>
                    </a:lnTo>
                    <a:lnTo>
                      <a:pt x="199" y="546"/>
                    </a:lnTo>
                    <a:lnTo>
                      <a:pt x="193" y="542"/>
                    </a:lnTo>
                    <a:lnTo>
                      <a:pt x="188" y="537"/>
                    </a:lnTo>
                    <a:lnTo>
                      <a:pt x="173" y="528"/>
                    </a:lnTo>
                    <a:lnTo>
                      <a:pt x="158" y="519"/>
                    </a:lnTo>
                    <a:lnTo>
                      <a:pt x="144" y="510"/>
                    </a:lnTo>
                    <a:lnTo>
                      <a:pt x="132" y="499"/>
                    </a:lnTo>
                    <a:lnTo>
                      <a:pt x="126" y="494"/>
                    </a:lnTo>
                    <a:lnTo>
                      <a:pt x="123" y="488"/>
                    </a:lnTo>
                    <a:lnTo>
                      <a:pt x="121" y="482"/>
                    </a:lnTo>
                    <a:lnTo>
                      <a:pt x="120" y="474"/>
                    </a:lnTo>
                    <a:lnTo>
                      <a:pt x="121" y="468"/>
                    </a:lnTo>
                    <a:lnTo>
                      <a:pt x="124" y="461"/>
                    </a:lnTo>
                    <a:lnTo>
                      <a:pt x="128" y="456"/>
                    </a:lnTo>
                    <a:lnTo>
                      <a:pt x="133" y="450"/>
                    </a:lnTo>
                    <a:lnTo>
                      <a:pt x="138" y="444"/>
                    </a:lnTo>
                    <a:lnTo>
                      <a:pt x="143" y="438"/>
                    </a:lnTo>
                    <a:lnTo>
                      <a:pt x="145" y="432"/>
                    </a:lnTo>
                    <a:lnTo>
                      <a:pt x="146" y="426"/>
                    </a:lnTo>
                    <a:lnTo>
                      <a:pt x="146" y="420"/>
                    </a:lnTo>
                    <a:lnTo>
                      <a:pt x="145" y="415"/>
                    </a:lnTo>
                    <a:lnTo>
                      <a:pt x="144" y="411"/>
                    </a:lnTo>
                    <a:lnTo>
                      <a:pt x="142" y="406"/>
                    </a:lnTo>
                    <a:lnTo>
                      <a:pt x="136" y="399"/>
                    </a:lnTo>
                    <a:lnTo>
                      <a:pt x="128" y="391"/>
                    </a:lnTo>
                    <a:lnTo>
                      <a:pt x="120" y="385"/>
                    </a:lnTo>
                    <a:lnTo>
                      <a:pt x="111" y="378"/>
                    </a:lnTo>
                    <a:lnTo>
                      <a:pt x="100" y="372"/>
                    </a:lnTo>
                    <a:lnTo>
                      <a:pt x="89" y="366"/>
                    </a:lnTo>
                    <a:lnTo>
                      <a:pt x="78" y="359"/>
                    </a:lnTo>
                    <a:lnTo>
                      <a:pt x="68" y="353"/>
                    </a:lnTo>
                    <a:lnTo>
                      <a:pt x="57" y="347"/>
                    </a:lnTo>
                    <a:lnTo>
                      <a:pt x="48" y="339"/>
                    </a:lnTo>
                    <a:lnTo>
                      <a:pt x="41" y="332"/>
                    </a:lnTo>
                    <a:lnTo>
                      <a:pt x="34" y="323"/>
                    </a:lnTo>
                    <a:lnTo>
                      <a:pt x="32" y="318"/>
                    </a:lnTo>
                    <a:lnTo>
                      <a:pt x="30" y="313"/>
                    </a:lnTo>
                    <a:lnTo>
                      <a:pt x="27" y="307"/>
                    </a:lnTo>
                    <a:lnTo>
                      <a:pt x="27" y="302"/>
                    </a:lnTo>
                    <a:lnTo>
                      <a:pt x="34" y="302"/>
                    </a:lnTo>
                    <a:lnTo>
                      <a:pt x="41" y="301"/>
                    </a:lnTo>
                    <a:lnTo>
                      <a:pt x="46" y="300"/>
                    </a:lnTo>
                    <a:lnTo>
                      <a:pt x="50" y="298"/>
                    </a:lnTo>
                    <a:lnTo>
                      <a:pt x="55" y="297"/>
                    </a:lnTo>
                    <a:lnTo>
                      <a:pt x="59" y="294"/>
                    </a:lnTo>
                    <a:lnTo>
                      <a:pt x="62" y="292"/>
                    </a:lnTo>
                    <a:lnTo>
                      <a:pt x="65" y="289"/>
                    </a:lnTo>
                    <a:lnTo>
                      <a:pt x="69" y="282"/>
                    </a:lnTo>
                    <a:lnTo>
                      <a:pt x="71" y="274"/>
                    </a:lnTo>
                    <a:lnTo>
                      <a:pt x="73" y="264"/>
                    </a:lnTo>
                    <a:lnTo>
                      <a:pt x="73" y="252"/>
                    </a:lnTo>
                    <a:lnTo>
                      <a:pt x="73" y="247"/>
                    </a:lnTo>
                    <a:lnTo>
                      <a:pt x="72" y="242"/>
                    </a:lnTo>
                    <a:lnTo>
                      <a:pt x="71" y="237"/>
                    </a:lnTo>
                    <a:lnTo>
                      <a:pt x="69" y="233"/>
                    </a:lnTo>
                    <a:lnTo>
                      <a:pt x="64" y="225"/>
                    </a:lnTo>
                    <a:lnTo>
                      <a:pt x="58" y="217"/>
                    </a:lnTo>
                    <a:lnTo>
                      <a:pt x="43" y="205"/>
                    </a:lnTo>
                    <a:lnTo>
                      <a:pt x="27" y="191"/>
                    </a:lnTo>
                    <a:lnTo>
                      <a:pt x="19" y="176"/>
                    </a:lnTo>
                    <a:lnTo>
                      <a:pt x="13" y="163"/>
                    </a:lnTo>
                    <a:lnTo>
                      <a:pt x="10" y="151"/>
                    </a:lnTo>
                    <a:lnTo>
                      <a:pt x="9" y="139"/>
                    </a:lnTo>
                    <a:lnTo>
                      <a:pt x="8" y="128"/>
                    </a:lnTo>
                    <a:lnTo>
                      <a:pt x="6" y="117"/>
                    </a:lnTo>
                    <a:lnTo>
                      <a:pt x="4" y="106"/>
                    </a:lnTo>
                    <a:lnTo>
                      <a:pt x="0" y="93"/>
                    </a:lnTo>
                    <a:lnTo>
                      <a:pt x="0" y="50"/>
                    </a:lnTo>
                    <a:lnTo>
                      <a:pt x="1" y="36"/>
                    </a:lnTo>
                    <a:lnTo>
                      <a:pt x="3" y="22"/>
                    </a:lnTo>
                    <a:lnTo>
                      <a:pt x="5" y="10"/>
                    </a:lnTo>
                    <a:lnTo>
                      <a:pt x="6" y="0"/>
                    </a:lnTo>
                    <a:lnTo>
                      <a:pt x="23" y="4"/>
                    </a:lnTo>
                    <a:lnTo>
                      <a:pt x="38" y="5"/>
                    </a:lnTo>
                    <a:lnTo>
                      <a:pt x="53" y="6"/>
                    </a:lnTo>
                    <a:lnTo>
                      <a:pt x="66" y="5"/>
                    </a:lnTo>
                    <a:lnTo>
                      <a:pt x="92" y="2"/>
                    </a:lnTo>
                    <a:lnTo>
                      <a:pt x="120" y="0"/>
                    </a:lnTo>
                    <a:lnTo>
                      <a:pt x="140" y="1"/>
                    </a:lnTo>
                    <a:lnTo>
                      <a:pt x="159" y="4"/>
                    </a:lnTo>
                    <a:lnTo>
                      <a:pt x="178" y="7"/>
                    </a:lnTo>
                    <a:lnTo>
                      <a:pt x="194" y="13"/>
                    </a:lnTo>
                    <a:lnTo>
                      <a:pt x="211" y="18"/>
                    </a:lnTo>
                    <a:lnTo>
                      <a:pt x="226" y="25"/>
                    </a:lnTo>
                    <a:lnTo>
                      <a:pt x="243" y="33"/>
                    </a:lnTo>
                    <a:lnTo>
                      <a:pt x="258" y="41"/>
                    </a:lnTo>
                    <a:lnTo>
                      <a:pt x="273" y="48"/>
                    </a:lnTo>
                    <a:lnTo>
                      <a:pt x="290" y="55"/>
                    </a:lnTo>
                    <a:lnTo>
                      <a:pt x="306" y="62"/>
                    </a:lnTo>
                    <a:lnTo>
                      <a:pt x="324" y="68"/>
                    </a:lnTo>
                    <a:lnTo>
                      <a:pt x="342" y="73"/>
                    </a:lnTo>
                    <a:lnTo>
                      <a:pt x="361" y="76"/>
                    </a:lnTo>
                    <a:lnTo>
                      <a:pt x="383" y="79"/>
                    </a:lnTo>
                    <a:lnTo>
                      <a:pt x="405" y="80"/>
                    </a:lnTo>
                    <a:lnTo>
                      <a:pt x="419" y="79"/>
                    </a:lnTo>
                    <a:lnTo>
                      <a:pt x="432" y="78"/>
                    </a:lnTo>
                    <a:lnTo>
                      <a:pt x="443" y="77"/>
                    </a:lnTo>
                    <a:lnTo>
                      <a:pt x="452" y="74"/>
                    </a:lnTo>
                    <a:lnTo>
                      <a:pt x="470" y="68"/>
                    </a:lnTo>
                    <a:lnTo>
                      <a:pt x="484" y="62"/>
                    </a:lnTo>
                    <a:lnTo>
                      <a:pt x="498" y="55"/>
                    </a:lnTo>
                    <a:lnTo>
                      <a:pt x="515" y="49"/>
                    </a:lnTo>
                    <a:lnTo>
                      <a:pt x="524" y="47"/>
                    </a:lnTo>
                    <a:lnTo>
                      <a:pt x="534" y="45"/>
                    </a:lnTo>
                    <a:lnTo>
                      <a:pt x="546" y="44"/>
                    </a:lnTo>
                    <a:lnTo>
                      <a:pt x="559" y="44"/>
                    </a:lnTo>
                    <a:lnTo>
                      <a:pt x="569" y="44"/>
                    </a:lnTo>
                    <a:lnTo>
                      <a:pt x="577" y="46"/>
                    </a:lnTo>
                    <a:lnTo>
                      <a:pt x="585" y="50"/>
                    </a:lnTo>
                    <a:lnTo>
                      <a:pt x="593" y="54"/>
                    </a:lnTo>
                    <a:lnTo>
                      <a:pt x="598" y="59"/>
                    </a:lnTo>
                    <a:lnTo>
                      <a:pt x="603" y="65"/>
                    </a:lnTo>
                    <a:lnTo>
                      <a:pt x="607" y="71"/>
                    </a:lnTo>
                    <a:lnTo>
                      <a:pt x="610" y="77"/>
                    </a:lnTo>
                    <a:lnTo>
                      <a:pt x="617" y="90"/>
                    </a:lnTo>
                    <a:lnTo>
                      <a:pt x="622" y="101"/>
                    </a:lnTo>
                    <a:lnTo>
                      <a:pt x="626" y="105"/>
                    </a:lnTo>
                    <a:lnTo>
                      <a:pt x="629" y="108"/>
                    </a:lnTo>
                    <a:lnTo>
                      <a:pt x="633" y="110"/>
                    </a:lnTo>
                    <a:lnTo>
                      <a:pt x="638" y="111"/>
                    </a:lnTo>
                    <a:lnTo>
                      <a:pt x="642" y="121"/>
                    </a:lnTo>
                    <a:lnTo>
                      <a:pt x="649" y="134"/>
                    </a:lnTo>
                    <a:lnTo>
                      <a:pt x="658" y="151"/>
                    </a:lnTo>
                    <a:lnTo>
                      <a:pt x="667" y="169"/>
                    </a:lnTo>
                    <a:lnTo>
                      <a:pt x="678" y="186"/>
                    </a:lnTo>
                    <a:lnTo>
                      <a:pt x="689" y="202"/>
                    </a:lnTo>
                    <a:lnTo>
                      <a:pt x="695" y="209"/>
                    </a:lnTo>
                    <a:lnTo>
                      <a:pt x="700" y="215"/>
                    </a:lnTo>
                    <a:lnTo>
                      <a:pt x="706" y="219"/>
                    </a:lnTo>
                    <a:lnTo>
                      <a:pt x="711" y="222"/>
                    </a:lnTo>
                    <a:lnTo>
                      <a:pt x="738" y="222"/>
                    </a:lnTo>
                    <a:lnTo>
                      <a:pt x="738" y="217"/>
                    </a:lnTo>
                    <a:lnTo>
                      <a:pt x="739" y="211"/>
                    </a:lnTo>
                    <a:lnTo>
                      <a:pt x="741" y="206"/>
                    </a:lnTo>
                    <a:lnTo>
                      <a:pt x="743" y="202"/>
                    </a:lnTo>
                    <a:lnTo>
                      <a:pt x="747" y="196"/>
                    </a:lnTo>
                    <a:lnTo>
                      <a:pt x="750" y="192"/>
                    </a:lnTo>
                    <a:lnTo>
                      <a:pt x="754" y="189"/>
                    </a:lnTo>
                    <a:lnTo>
                      <a:pt x="759" y="185"/>
                    </a:lnTo>
                    <a:lnTo>
                      <a:pt x="768" y="180"/>
                    </a:lnTo>
                    <a:lnTo>
                      <a:pt x="779" y="176"/>
                    </a:lnTo>
                    <a:lnTo>
                      <a:pt x="792" y="173"/>
                    </a:lnTo>
                    <a:lnTo>
                      <a:pt x="805" y="173"/>
                    </a:lnTo>
                    <a:lnTo>
                      <a:pt x="810" y="173"/>
                    </a:lnTo>
                    <a:lnTo>
                      <a:pt x="816" y="174"/>
                    </a:lnTo>
                    <a:lnTo>
                      <a:pt x="822" y="176"/>
                    </a:lnTo>
                    <a:lnTo>
                      <a:pt x="828" y="178"/>
                    </a:lnTo>
                    <a:lnTo>
                      <a:pt x="833" y="181"/>
                    </a:lnTo>
                    <a:lnTo>
                      <a:pt x="838" y="185"/>
                    </a:lnTo>
                    <a:lnTo>
                      <a:pt x="843" y="189"/>
                    </a:lnTo>
                    <a:lnTo>
                      <a:pt x="848" y="193"/>
                    </a:lnTo>
                    <a:lnTo>
                      <a:pt x="856" y="205"/>
                    </a:lnTo>
                    <a:lnTo>
                      <a:pt x="865" y="217"/>
                    </a:lnTo>
                    <a:lnTo>
                      <a:pt x="872" y="230"/>
                    </a:lnTo>
                    <a:lnTo>
                      <a:pt x="879" y="244"/>
                    </a:lnTo>
                    <a:lnTo>
                      <a:pt x="885" y="260"/>
                    </a:lnTo>
                    <a:lnTo>
                      <a:pt x="889" y="275"/>
                    </a:lnTo>
                    <a:lnTo>
                      <a:pt x="894" y="290"/>
                    </a:lnTo>
                    <a:lnTo>
                      <a:pt x="898" y="305"/>
                    </a:lnTo>
                    <a:lnTo>
                      <a:pt x="900" y="320"/>
                    </a:lnTo>
                    <a:lnTo>
                      <a:pt x="902" y="334"/>
                    </a:lnTo>
                    <a:lnTo>
                      <a:pt x="904" y="346"/>
                    </a:lnTo>
                    <a:lnTo>
                      <a:pt x="904" y="357"/>
                    </a:lnTo>
                    <a:lnTo>
                      <a:pt x="905" y="362"/>
                    </a:lnTo>
                    <a:lnTo>
                      <a:pt x="906" y="367"/>
                    </a:lnTo>
                    <a:lnTo>
                      <a:pt x="908" y="372"/>
                    </a:lnTo>
                    <a:lnTo>
                      <a:pt x="910" y="376"/>
                    </a:lnTo>
                    <a:lnTo>
                      <a:pt x="918" y="384"/>
                    </a:lnTo>
                    <a:lnTo>
                      <a:pt x="928" y="391"/>
                    </a:lnTo>
                    <a:lnTo>
                      <a:pt x="939" y="398"/>
                    </a:lnTo>
                    <a:lnTo>
                      <a:pt x="952" y="402"/>
                    </a:lnTo>
                    <a:lnTo>
                      <a:pt x="957" y="404"/>
                    </a:lnTo>
                    <a:lnTo>
                      <a:pt x="964" y="405"/>
                    </a:lnTo>
                    <a:lnTo>
                      <a:pt x="971" y="406"/>
                    </a:lnTo>
                    <a:lnTo>
                      <a:pt x="977" y="407"/>
                    </a:lnTo>
                    <a:lnTo>
                      <a:pt x="977" y="394"/>
                    </a:lnTo>
                    <a:lnTo>
                      <a:pt x="976" y="414"/>
                    </a:lnTo>
                    <a:lnTo>
                      <a:pt x="975" y="430"/>
                    </a:lnTo>
                    <a:lnTo>
                      <a:pt x="974" y="437"/>
                    </a:lnTo>
                    <a:lnTo>
                      <a:pt x="974" y="443"/>
                    </a:lnTo>
                    <a:lnTo>
                      <a:pt x="975" y="449"/>
                    </a:lnTo>
                    <a:lnTo>
                      <a:pt x="977" y="456"/>
                    </a:lnTo>
                    <a:lnTo>
                      <a:pt x="971" y="457"/>
                    </a:lnTo>
                    <a:lnTo>
                      <a:pt x="964" y="458"/>
                    </a:lnTo>
                    <a:lnTo>
                      <a:pt x="958" y="461"/>
                    </a:lnTo>
                    <a:lnTo>
                      <a:pt x="953" y="464"/>
                    </a:lnTo>
                    <a:lnTo>
                      <a:pt x="949" y="467"/>
                    </a:lnTo>
                    <a:lnTo>
                      <a:pt x="944" y="471"/>
                    </a:lnTo>
                    <a:lnTo>
                      <a:pt x="940" y="475"/>
                    </a:lnTo>
                    <a:lnTo>
                      <a:pt x="936" y="481"/>
                    </a:lnTo>
                    <a:lnTo>
                      <a:pt x="931" y="492"/>
                    </a:lnTo>
                    <a:lnTo>
                      <a:pt x="926" y="504"/>
                    </a:lnTo>
                    <a:lnTo>
                      <a:pt x="922" y="517"/>
                    </a:lnTo>
                    <a:lnTo>
                      <a:pt x="920" y="531"/>
                    </a:lnTo>
                    <a:lnTo>
                      <a:pt x="918" y="546"/>
                    </a:lnTo>
                    <a:lnTo>
                      <a:pt x="917" y="561"/>
                    </a:lnTo>
                    <a:lnTo>
                      <a:pt x="917" y="575"/>
                    </a:lnTo>
                    <a:lnTo>
                      <a:pt x="917" y="590"/>
                    </a:lnTo>
                    <a:lnTo>
                      <a:pt x="917" y="615"/>
                    </a:lnTo>
                    <a:lnTo>
                      <a:pt x="917" y="634"/>
                    </a:lnTo>
                    <a:lnTo>
                      <a:pt x="917" y="654"/>
                    </a:lnTo>
                    <a:lnTo>
                      <a:pt x="918" y="685"/>
                    </a:lnTo>
                    <a:lnTo>
                      <a:pt x="919" y="702"/>
                    </a:lnTo>
                    <a:lnTo>
                      <a:pt x="920" y="717"/>
                    </a:lnTo>
                    <a:lnTo>
                      <a:pt x="921" y="730"/>
                    </a:lnTo>
                    <a:lnTo>
                      <a:pt x="923" y="739"/>
                    </a:lnTo>
                    <a:lnTo>
                      <a:pt x="933" y="758"/>
                    </a:lnTo>
                    <a:lnTo>
                      <a:pt x="947" y="780"/>
                    </a:lnTo>
                    <a:lnTo>
                      <a:pt x="956" y="791"/>
                    </a:lnTo>
                    <a:lnTo>
                      <a:pt x="965" y="803"/>
                    </a:lnTo>
                    <a:lnTo>
                      <a:pt x="975" y="816"/>
                    </a:lnTo>
                    <a:lnTo>
                      <a:pt x="985" y="827"/>
                    </a:lnTo>
                    <a:lnTo>
                      <a:pt x="996" y="838"/>
                    </a:lnTo>
                    <a:lnTo>
                      <a:pt x="1007" y="848"/>
                    </a:lnTo>
                    <a:lnTo>
                      <a:pt x="1019" y="857"/>
                    </a:lnTo>
                    <a:lnTo>
                      <a:pt x="1030" y="865"/>
                    </a:lnTo>
                    <a:lnTo>
                      <a:pt x="1042" y="872"/>
                    </a:lnTo>
                    <a:lnTo>
                      <a:pt x="1054" y="877"/>
                    </a:lnTo>
                    <a:lnTo>
                      <a:pt x="1065" y="880"/>
                    </a:lnTo>
                    <a:lnTo>
                      <a:pt x="1077" y="881"/>
                    </a:lnTo>
                    <a:lnTo>
                      <a:pt x="1090" y="877"/>
                    </a:lnTo>
                    <a:lnTo>
                      <a:pt x="1114" y="865"/>
                    </a:lnTo>
                    <a:lnTo>
                      <a:pt x="1126" y="860"/>
                    </a:lnTo>
                    <a:lnTo>
                      <a:pt x="1140" y="855"/>
                    </a:lnTo>
                    <a:lnTo>
                      <a:pt x="1149" y="852"/>
                    </a:lnTo>
                    <a:lnTo>
                      <a:pt x="1156" y="850"/>
                    </a:lnTo>
                    <a:lnTo>
                      <a:pt x="1166" y="849"/>
                    </a:lnTo>
                    <a:lnTo>
                      <a:pt x="1178" y="849"/>
                    </a:lnTo>
                    <a:lnTo>
                      <a:pt x="1192" y="851"/>
                    </a:lnTo>
                    <a:lnTo>
                      <a:pt x="1208" y="852"/>
                    </a:lnTo>
                    <a:lnTo>
                      <a:pt x="1222" y="854"/>
                    </a:lnTo>
                    <a:lnTo>
                      <a:pt x="1235" y="854"/>
                    </a:lnTo>
                    <a:lnTo>
                      <a:pt x="1240" y="854"/>
                    </a:lnTo>
                    <a:lnTo>
                      <a:pt x="1244" y="853"/>
                    </a:lnTo>
                    <a:lnTo>
                      <a:pt x="1247" y="852"/>
                    </a:lnTo>
                    <a:lnTo>
                      <a:pt x="1249" y="850"/>
                    </a:lnTo>
                    <a:lnTo>
                      <a:pt x="1257" y="842"/>
                    </a:lnTo>
                    <a:lnTo>
                      <a:pt x="1264" y="834"/>
                    </a:lnTo>
                    <a:lnTo>
                      <a:pt x="1269" y="826"/>
                    </a:lnTo>
                    <a:lnTo>
                      <a:pt x="1274" y="818"/>
                    </a:lnTo>
                    <a:lnTo>
                      <a:pt x="1280" y="801"/>
                    </a:lnTo>
                    <a:lnTo>
                      <a:pt x="1285" y="785"/>
                    </a:lnTo>
                    <a:lnTo>
                      <a:pt x="1288" y="768"/>
                    </a:lnTo>
                    <a:lnTo>
                      <a:pt x="1292" y="750"/>
                    </a:lnTo>
                    <a:lnTo>
                      <a:pt x="1296" y="742"/>
                    </a:lnTo>
                    <a:lnTo>
                      <a:pt x="1299" y="733"/>
                    </a:lnTo>
                    <a:lnTo>
                      <a:pt x="1303" y="724"/>
                    </a:lnTo>
                    <a:lnTo>
                      <a:pt x="1309" y="715"/>
                    </a:lnTo>
                    <a:lnTo>
                      <a:pt x="1311" y="712"/>
                    </a:lnTo>
                    <a:lnTo>
                      <a:pt x="1313" y="709"/>
                    </a:lnTo>
                    <a:lnTo>
                      <a:pt x="1315" y="706"/>
                    </a:lnTo>
                    <a:lnTo>
                      <a:pt x="1319" y="703"/>
                    </a:lnTo>
                    <a:lnTo>
                      <a:pt x="1326" y="697"/>
                    </a:lnTo>
                    <a:lnTo>
                      <a:pt x="1336" y="693"/>
                    </a:lnTo>
                    <a:lnTo>
                      <a:pt x="1347" y="690"/>
                    </a:lnTo>
                    <a:lnTo>
                      <a:pt x="1359" y="687"/>
                    </a:lnTo>
                    <a:lnTo>
                      <a:pt x="1373" y="684"/>
                    </a:lnTo>
                    <a:lnTo>
                      <a:pt x="1387" y="682"/>
                    </a:lnTo>
                    <a:lnTo>
                      <a:pt x="1416" y="680"/>
                    </a:lnTo>
                    <a:lnTo>
                      <a:pt x="1446" y="678"/>
                    </a:lnTo>
                    <a:lnTo>
                      <a:pt x="1472" y="678"/>
                    </a:lnTo>
                    <a:lnTo>
                      <a:pt x="1495" y="678"/>
                    </a:lnTo>
                    <a:lnTo>
                      <a:pt x="1506" y="678"/>
                    </a:lnTo>
                    <a:lnTo>
                      <a:pt x="1522" y="678"/>
                    </a:lnTo>
                    <a:lnTo>
                      <a:pt x="1524" y="684"/>
                    </a:lnTo>
                    <a:lnTo>
                      <a:pt x="1528" y="693"/>
                    </a:lnTo>
                    <a:lnTo>
                      <a:pt x="1533" y="703"/>
                    </a:lnTo>
                    <a:lnTo>
                      <a:pt x="1535" y="709"/>
                    </a:lnTo>
                    <a:lnTo>
                      <a:pt x="1526" y="714"/>
                    </a:lnTo>
                    <a:lnTo>
                      <a:pt x="1515" y="720"/>
                    </a:lnTo>
                    <a:lnTo>
                      <a:pt x="1510" y="724"/>
                    </a:lnTo>
                    <a:lnTo>
                      <a:pt x="1503" y="729"/>
                    </a:lnTo>
                    <a:lnTo>
                      <a:pt x="1498" y="735"/>
                    </a:lnTo>
                    <a:lnTo>
                      <a:pt x="1492" y="741"/>
                    </a:lnTo>
                    <a:lnTo>
                      <a:pt x="1487" y="748"/>
                    </a:lnTo>
                    <a:lnTo>
                      <a:pt x="1481" y="758"/>
                    </a:lnTo>
                    <a:lnTo>
                      <a:pt x="1477" y="767"/>
                    </a:lnTo>
                    <a:lnTo>
                      <a:pt x="1473" y="778"/>
                    </a:lnTo>
                    <a:lnTo>
                      <a:pt x="1470" y="791"/>
                    </a:lnTo>
                    <a:lnTo>
                      <a:pt x="1469" y="804"/>
                    </a:lnTo>
                    <a:lnTo>
                      <a:pt x="1468" y="821"/>
                    </a:lnTo>
                    <a:lnTo>
                      <a:pt x="1469" y="838"/>
                    </a:lnTo>
                    <a:lnTo>
                      <a:pt x="1455" y="854"/>
                    </a:lnTo>
                    <a:lnTo>
                      <a:pt x="1444" y="868"/>
                    </a:lnTo>
                    <a:lnTo>
                      <a:pt x="1435" y="878"/>
                    </a:lnTo>
                    <a:lnTo>
                      <a:pt x="1428" y="888"/>
                    </a:lnTo>
                    <a:lnTo>
                      <a:pt x="1414" y="888"/>
                    </a:lnTo>
                    <a:lnTo>
                      <a:pt x="1401" y="888"/>
                    </a:lnTo>
                    <a:lnTo>
                      <a:pt x="1387" y="888"/>
                    </a:lnTo>
                    <a:lnTo>
                      <a:pt x="1369" y="888"/>
                    </a:lnTo>
                    <a:lnTo>
                      <a:pt x="1367" y="888"/>
                    </a:lnTo>
                    <a:lnTo>
                      <a:pt x="1359" y="888"/>
                    </a:lnTo>
                    <a:lnTo>
                      <a:pt x="1349" y="888"/>
                    </a:lnTo>
                    <a:lnTo>
                      <a:pt x="1336" y="88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3" name="Freeform 194">
                <a:extLst>
                  <a:ext uri="{FF2B5EF4-FFF2-40B4-BE49-F238E27FC236}">
                    <a16:creationId xmlns:a16="http://schemas.microsoft.com/office/drawing/2014/main" id="{A81597F3-F205-485E-ADF6-DD1BD2A3DD39}"/>
                  </a:ext>
                </a:extLst>
              </p:cNvPr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auto">
              <a:xfrm>
                <a:off x="2172732" y="5205014"/>
                <a:ext cx="253376" cy="297097"/>
              </a:xfrm>
              <a:custGeom>
                <a:avLst/>
                <a:gdLst>
                  <a:gd name="T0" fmla="*/ 2642266 w 486"/>
                  <a:gd name="T1" fmla="*/ 48505704 h 505"/>
                  <a:gd name="T2" fmla="*/ 5851042 w 486"/>
                  <a:gd name="T3" fmla="*/ 54568655 h 505"/>
                  <a:gd name="T4" fmla="*/ 9625460 w 486"/>
                  <a:gd name="T5" fmla="*/ 63938956 h 505"/>
                  <a:gd name="T6" fmla="*/ 15476502 w 486"/>
                  <a:gd name="T7" fmla="*/ 73309782 h 505"/>
                  <a:gd name="T8" fmla="*/ 23780829 w 486"/>
                  <a:gd name="T9" fmla="*/ 80750795 h 505"/>
                  <a:gd name="T10" fmla="*/ 32085591 w 486"/>
                  <a:gd name="T11" fmla="*/ 85436208 h 505"/>
                  <a:gd name="T12" fmla="*/ 46429507 w 486"/>
                  <a:gd name="T13" fmla="*/ 90396708 h 505"/>
                  <a:gd name="T14" fmla="*/ 55677873 w 486"/>
                  <a:gd name="T15" fmla="*/ 94806509 h 505"/>
                  <a:gd name="T16" fmla="*/ 56432930 w 486"/>
                  <a:gd name="T17" fmla="*/ 105003647 h 505"/>
                  <a:gd name="T18" fmla="*/ 52280549 w 486"/>
                  <a:gd name="T19" fmla="*/ 115200786 h 505"/>
                  <a:gd name="T20" fmla="*/ 50393340 w 486"/>
                  <a:gd name="T21" fmla="*/ 122090574 h 505"/>
                  <a:gd name="T22" fmla="*/ 50204359 w 486"/>
                  <a:gd name="T23" fmla="*/ 127602824 h 505"/>
                  <a:gd name="T24" fmla="*/ 52469096 w 486"/>
                  <a:gd name="T25" fmla="*/ 132839462 h 505"/>
                  <a:gd name="T26" fmla="*/ 56432930 w 486"/>
                  <a:gd name="T27" fmla="*/ 136146288 h 505"/>
                  <a:gd name="T28" fmla="*/ 64925804 w 486"/>
                  <a:gd name="T29" fmla="*/ 138902413 h 505"/>
                  <a:gd name="T30" fmla="*/ 73041584 w 486"/>
                  <a:gd name="T31" fmla="*/ 138902413 h 505"/>
                  <a:gd name="T32" fmla="*/ 78326550 w 486"/>
                  <a:gd name="T33" fmla="*/ 136146288 h 505"/>
                  <a:gd name="T34" fmla="*/ 84177158 w 486"/>
                  <a:gd name="T35" fmla="*/ 130634562 h 505"/>
                  <a:gd name="T36" fmla="*/ 89273143 w 486"/>
                  <a:gd name="T37" fmla="*/ 123193024 h 505"/>
                  <a:gd name="T38" fmla="*/ 91538315 w 486"/>
                  <a:gd name="T39" fmla="*/ 115200786 h 505"/>
                  <a:gd name="T40" fmla="*/ 91349334 w 486"/>
                  <a:gd name="T41" fmla="*/ 109413448 h 505"/>
                  <a:gd name="T42" fmla="*/ 90216748 w 486"/>
                  <a:gd name="T43" fmla="*/ 98664559 h 505"/>
                  <a:gd name="T44" fmla="*/ 88895615 w 486"/>
                  <a:gd name="T45" fmla="*/ 87089358 h 505"/>
                  <a:gd name="T46" fmla="*/ 87763463 w 486"/>
                  <a:gd name="T47" fmla="*/ 74412232 h 505"/>
                  <a:gd name="T48" fmla="*/ 86064801 w 486"/>
                  <a:gd name="T49" fmla="*/ 69451206 h 505"/>
                  <a:gd name="T50" fmla="*/ 82856025 w 486"/>
                  <a:gd name="T51" fmla="*/ 65868244 h 505"/>
                  <a:gd name="T52" fmla="*/ 77949022 w 486"/>
                  <a:gd name="T53" fmla="*/ 63938956 h 505"/>
                  <a:gd name="T54" fmla="*/ 73985623 w 486"/>
                  <a:gd name="T55" fmla="*/ 61183356 h 505"/>
                  <a:gd name="T56" fmla="*/ 69833242 w 486"/>
                  <a:gd name="T57" fmla="*/ 57049168 h 505"/>
                  <a:gd name="T58" fmla="*/ 62283538 w 486"/>
                  <a:gd name="T59" fmla="*/ 51813055 h 505"/>
                  <a:gd name="T60" fmla="*/ 54734268 w 486"/>
                  <a:gd name="T61" fmla="*/ 47403254 h 505"/>
                  <a:gd name="T62" fmla="*/ 51525492 w 486"/>
                  <a:gd name="T63" fmla="*/ 44095904 h 505"/>
                  <a:gd name="T64" fmla="*/ 49826830 w 486"/>
                  <a:gd name="T65" fmla="*/ 41615391 h 505"/>
                  <a:gd name="T66" fmla="*/ 49260754 w 486"/>
                  <a:gd name="T67" fmla="*/ 34449991 h 505"/>
                  <a:gd name="T68" fmla="*/ 49260754 w 486"/>
                  <a:gd name="T69" fmla="*/ 24804077 h 505"/>
                  <a:gd name="T70" fmla="*/ 48128169 w 486"/>
                  <a:gd name="T71" fmla="*/ 19567439 h 505"/>
                  <a:gd name="T72" fmla="*/ 45485902 w 486"/>
                  <a:gd name="T73" fmla="*/ 15158164 h 505"/>
                  <a:gd name="T74" fmla="*/ 44164769 w 486"/>
                  <a:gd name="T75" fmla="*/ 10197138 h 505"/>
                  <a:gd name="T76" fmla="*/ 37559104 w 486"/>
                  <a:gd name="T77" fmla="*/ 3307350 h 505"/>
                  <a:gd name="T78" fmla="*/ 35105385 w 486"/>
                  <a:gd name="T79" fmla="*/ 2204900 h 505"/>
                  <a:gd name="T80" fmla="*/ 32651666 w 486"/>
                  <a:gd name="T81" fmla="*/ 551225 h 505"/>
                  <a:gd name="T82" fmla="*/ 26234548 w 486"/>
                  <a:gd name="T83" fmla="*/ 275613 h 505"/>
                  <a:gd name="T84" fmla="*/ 13211765 w 486"/>
                  <a:gd name="T85" fmla="*/ 3031738 h 505"/>
                  <a:gd name="T86" fmla="*/ 7926798 w 486"/>
                  <a:gd name="T87" fmla="*/ 5787863 h 505"/>
                  <a:gd name="T88" fmla="*/ 4529909 w 486"/>
                  <a:gd name="T89" fmla="*/ 10197138 h 505"/>
                  <a:gd name="T90" fmla="*/ 3774852 w 486"/>
                  <a:gd name="T91" fmla="*/ 17638152 h 50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86" h="505">
                    <a:moveTo>
                      <a:pt x="0" y="166"/>
                    </a:moveTo>
                    <a:lnTo>
                      <a:pt x="7" y="171"/>
                    </a:lnTo>
                    <a:lnTo>
                      <a:pt x="14" y="176"/>
                    </a:lnTo>
                    <a:lnTo>
                      <a:pt x="19" y="181"/>
                    </a:lnTo>
                    <a:lnTo>
                      <a:pt x="24" y="186"/>
                    </a:lnTo>
                    <a:lnTo>
                      <a:pt x="31" y="198"/>
                    </a:lnTo>
                    <a:lnTo>
                      <a:pt x="39" y="210"/>
                    </a:lnTo>
                    <a:lnTo>
                      <a:pt x="44" y="221"/>
                    </a:lnTo>
                    <a:lnTo>
                      <a:pt x="51" y="232"/>
                    </a:lnTo>
                    <a:lnTo>
                      <a:pt x="58" y="242"/>
                    </a:lnTo>
                    <a:lnTo>
                      <a:pt x="66" y="253"/>
                    </a:lnTo>
                    <a:lnTo>
                      <a:pt x="82" y="266"/>
                    </a:lnTo>
                    <a:lnTo>
                      <a:pt x="96" y="276"/>
                    </a:lnTo>
                    <a:lnTo>
                      <a:pt x="111" y="285"/>
                    </a:lnTo>
                    <a:lnTo>
                      <a:pt x="126" y="293"/>
                    </a:lnTo>
                    <a:lnTo>
                      <a:pt x="140" y="299"/>
                    </a:lnTo>
                    <a:lnTo>
                      <a:pt x="155" y="305"/>
                    </a:lnTo>
                    <a:lnTo>
                      <a:pt x="170" y="310"/>
                    </a:lnTo>
                    <a:lnTo>
                      <a:pt x="185" y="314"/>
                    </a:lnTo>
                    <a:lnTo>
                      <a:pt x="215" y="321"/>
                    </a:lnTo>
                    <a:lnTo>
                      <a:pt x="246" y="328"/>
                    </a:lnTo>
                    <a:lnTo>
                      <a:pt x="262" y="332"/>
                    </a:lnTo>
                    <a:lnTo>
                      <a:pt x="278" y="338"/>
                    </a:lnTo>
                    <a:lnTo>
                      <a:pt x="295" y="344"/>
                    </a:lnTo>
                    <a:lnTo>
                      <a:pt x="312" y="351"/>
                    </a:lnTo>
                    <a:lnTo>
                      <a:pt x="307" y="367"/>
                    </a:lnTo>
                    <a:lnTo>
                      <a:pt x="299" y="381"/>
                    </a:lnTo>
                    <a:lnTo>
                      <a:pt x="291" y="394"/>
                    </a:lnTo>
                    <a:lnTo>
                      <a:pt x="284" y="406"/>
                    </a:lnTo>
                    <a:lnTo>
                      <a:pt x="277" y="418"/>
                    </a:lnTo>
                    <a:lnTo>
                      <a:pt x="272" y="430"/>
                    </a:lnTo>
                    <a:lnTo>
                      <a:pt x="269" y="436"/>
                    </a:lnTo>
                    <a:lnTo>
                      <a:pt x="267" y="443"/>
                    </a:lnTo>
                    <a:lnTo>
                      <a:pt x="266" y="449"/>
                    </a:lnTo>
                    <a:lnTo>
                      <a:pt x="266" y="456"/>
                    </a:lnTo>
                    <a:lnTo>
                      <a:pt x="266" y="463"/>
                    </a:lnTo>
                    <a:lnTo>
                      <a:pt x="269" y="471"/>
                    </a:lnTo>
                    <a:lnTo>
                      <a:pt x="273" y="477"/>
                    </a:lnTo>
                    <a:lnTo>
                      <a:pt x="278" y="482"/>
                    </a:lnTo>
                    <a:lnTo>
                      <a:pt x="284" y="487"/>
                    </a:lnTo>
                    <a:lnTo>
                      <a:pt x="291" y="491"/>
                    </a:lnTo>
                    <a:lnTo>
                      <a:pt x="299" y="494"/>
                    </a:lnTo>
                    <a:lnTo>
                      <a:pt x="308" y="497"/>
                    </a:lnTo>
                    <a:lnTo>
                      <a:pt x="325" y="501"/>
                    </a:lnTo>
                    <a:lnTo>
                      <a:pt x="344" y="504"/>
                    </a:lnTo>
                    <a:lnTo>
                      <a:pt x="363" y="505"/>
                    </a:lnTo>
                    <a:lnTo>
                      <a:pt x="379" y="505"/>
                    </a:lnTo>
                    <a:lnTo>
                      <a:pt x="387" y="504"/>
                    </a:lnTo>
                    <a:lnTo>
                      <a:pt x="396" y="502"/>
                    </a:lnTo>
                    <a:lnTo>
                      <a:pt x="406" y="499"/>
                    </a:lnTo>
                    <a:lnTo>
                      <a:pt x="415" y="494"/>
                    </a:lnTo>
                    <a:lnTo>
                      <a:pt x="426" y="488"/>
                    </a:lnTo>
                    <a:lnTo>
                      <a:pt x="436" y="482"/>
                    </a:lnTo>
                    <a:lnTo>
                      <a:pt x="446" y="474"/>
                    </a:lnTo>
                    <a:lnTo>
                      <a:pt x="456" y="465"/>
                    </a:lnTo>
                    <a:lnTo>
                      <a:pt x="465" y="456"/>
                    </a:lnTo>
                    <a:lnTo>
                      <a:pt x="473" y="447"/>
                    </a:lnTo>
                    <a:lnTo>
                      <a:pt x="478" y="437"/>
                    </a:lnTo>
                    <a:lnTo>
                      <a:pt x="482" y="428"/>
                    </a:lnTo>
                    <a:lnTo>
                      <a:pt x="485" y="418"/>
                    </a:lnTo>
                    <a:lnTo>
                      <a:pt x="486" y="407"/>
                    </a:lnTo>
                    <a:lnTo>
                      <a:pt x="485" y="402"/>
                    </a:lnTo>
                    <a:lnTo>
                      <a:pt x="484" y="397"/>
                    </a:lnTo>
                    <a:lnTo>
                      <a:pt x="481" y="393"/>
                    </a:lnTo>
                    <a:lnTo>
                      <a:pt x="478" y="388"/>
                    </a:lnTo>
                    <a:lnTo>
                      <a:pt x="478" y="358"/>
                    </a:lnTo>
                    <a:lnTo>
                      <a:pt x="475" y="345"/>
                    </a:lnTo>
                    <a:lnTo>
                      <a:pt x="473" y="331"/>
                    </a:lnTo>
                    <a:lnTo>
                      <a:pt x="471" y="316"/>
                    </a:lnTo>
                    <a:lnTo>
                      <a:pt x="470" y="299"/>
                    </a:lnTo>
                    <a:lnTo>
                      <a:pt x="468" y="284"/>
                    </a:lnTo>
                    <a:lnTo>
                      <a:pt x="465" y="270"/>
                    </a:lnTo>
                    <a:lnTo>
                      <a:pt x="463" y="263"/>
                    </a:lnTo>
                    <a:lnTo>
                      <a:pt x="461" y="257"/>
                    </a:lnTo>
                    <a:lnTo>
                      <a:pt x="456" y="252"/>
                    </a:lnTo>
                    <a:lnTo>
                      <a:pt x="452" y="247"/>
                    </a:lnTo>
                    <a:lnTo>
                      <a:pt x="446" y="242"/>
                    </a:lnTo>
                    <a:lnTo>
                      <a:pt x="439" y="239"/>
                    </a:lnTo>
                    <a:lnTo>
                      <a:pt x="431" y="236"/>
                    </a:lnTo>
                    <a:lnTo>
                      <a:pt x="422" y="234"/>
                    </a:lnTo>
                    <a:lnTo>
                      <a:pt x="413" y="232"/>
                    </a:lnTo>
                    <a:lnTo>
                      <a:pt x="406" y="229"/>
                    </a:lnTo>
                    <a:lnTo>
                      <a:pt x="398" y="226"/>
                    </a:lnTo>
                    <a:lnTo>
                      <a:pt x="392" y="222"/>
                    </a:lnTo>
                    <a:lnTo>
                      <a:pt x="386" y="216"/>
                    </a:lnTo>
                    <a:lnTo>
                      <a:pt x="378" y="212"/>
                    </a:lnTo>
                    <a:lnTo>
                      <a:pt x="370" y="207"/>
                    </a:lnTo>
                    <a:lnTo>
                      <a:pt x="363" y="203"/>
                    </a:lnTo>
                    <a:lnTo>
                      <a:pt x="346" y="196"/>
                    </a:lnTo>
                    <a:lnTo>
                      <a:pt x="330" y="188"/>
                    </a:lnTo>
                    <a:lnTo>
                      <a:pt x="313" y="182"/>
                    </a:lnTo>
                    <a:lnTo>
                      <a:pt x="298" y="176"/>
                    </a:lnTo>
                    <a:lnTo>
                      <a:pt x="290" y="172"/>
                    </a:lnTo>
                    <a:lnTo>
                      <a:pt x="284" y="169"/>
                    </a:lnTo>
                    <a:lnTo>
                      <a:pt x="278" y="165"/>
                    </a:lnTo>
                    <a:lnTo>
                      <a:pt x="273" y="160"/>
                    </a:lnTo>
                    <a:lnTo>
                      <a:pt x="269" y="158"/>
                    </a:lnTo>
                    <a:lnTo>
                      <a:pt x="266" y="154"/>
                    </a:lnTo>
                    <a:lnTo>
                      <a:pt x="264" y="151"/>
                    </a:lnTo>
                    <a:lnTo>
                      <a:pt x="263" y="146"/>
                    </a:lnTo>
                    <a:lnTo>
                      <a:pt x="262" y="136"/>
                    </a:lnTo>
                    <a:lnTo>
                      <a:pt x="261" y="125"/>
                    </a:lnTo>
                    <a:lnTo>
                      <a:pt x="261" y="113"/>
                    </a:lnTo>
                    <a:lnTo>
                      <a:pt x="262" y="101"/>
                    </a:lnTo>
                    <a:lnTo>
                      <a:pt x="261" y="90"/>
                    </a:lnTo>
                    <a:lnTo>
                      <a:pt x="260" y="81"/>
                    </a:lnTo>
                    <a:lnTo>
                      <a:pt x="258" y="75"/>
                    </a:lnTo>
                    <a:lnTo>
                      <a:pt x="255" y="71"/>
                    </a:lnTo>
                    <a:lnTo>
                      <a:pt x="251" y="67"/>
                    </a:lnTo>
                    <a:lnTo>
                      <a:pt x="246" y="61"/>
                    </a:lnTo>
                    <a:lnTo>
                      <a:pt x="241" y="55"/>
                    </a:lnTo>
                    <a:lnTo>
                      <a:pt x="237" y="47"/>
                    </a:lnTo>
                    <a:lnTo>
                      <a:pt x="235" y="43"/>
                    </a:lnTo>
                    <a:lnTo>
                      <a:pt x="234" y="37"/>
                    </a:lnTo>
                    <a:lnTo>
                      <a:pt x="233" y="32"/>
                    </a:lnTo>
                    <a:lnTo>
                      <a:pt x="233" y="25"/>
                    </a:lnTo>
                    <a:lnTo>
                      <a:pt x="199" y="12"/>
                    </a:lnTo>
                    <a:lnTo>
                      <a:pt x="195" y="12"/>
                    </a:lnTo>
                    <a:lnTo>
                      <a:pt x="190" y="10"/>
                    </a:lnTo>
                    <a:lnTo>
                      <a:pt x="186" y="8"/>
                    </a:lnTo>
                    <a:lnTo>
                      <a:pt x="182" y="6"/>
                    </a:lnTo>
                    <a:lnTo>
                      <a:pt x="177" y="4"/>
                    </a:lnTo>
                    <a:lnTo>
                      <a:pt x="173" y="2"/>
                    </a:lnTo>
                    <a:lnTo>
                      <a:pt x="166" y="0"/>
                    </a:lnTo>
                    <a:lnTo>
                      <a:pt x="160" y="0"/>
                    </a:lnTo>
                    <a:lnTo>
                      <a:pt x="139" y="1"/>
                    </a:lnTo>
                    <a:lnTo>
                      <a:pt x="116" y="2"/>
                    </a:lnTo>
                    <a:lnTo>
                      <a:pt x="92" y="6"/>
                    </a:lnTo>
                    <a:lnTo>
                      <a:pt x="70" y="11"/>
                    </a:lnTo>
                    <a:lnTo>
                      <a:pt x="60" y="14"/>
                    </a:lnTo>
                    <a:lnTo>
                      <a:pt x="50" y="17"/>
                    </a:lnTo>
                    <a:lnTo>
                      <a:pt x="42" y="21"/>
                    </a:lnTo>
                    <a:lnTo>
                      <a:pt x="34" y="27"/>
                    </a:lnTo>
                    <a:lnTo>
                      <a:pt x="28" y="31"/>
                    </a:lnTo>
                    <a:lnTo>
                      <a:pt x="24" y="37"/>
                    </a:lnTo>
                    <a:lnTo>
                      <a:pt x="21" y="43"/>
                    </a:lnTo>
                    <a:lnTo>
                      <a:pt x="20" y="49"/>
                    </a:lnTo>
                    <a:lnTo>
                      <a:pt x="20" y="64"/>
                    </a:lnTo>
                    <a:lnTo>
                      <a:pt x="20" y="74"/>
                    </a:lnTo>
                    <a:lnTo>
                      <a:pt x="0" y="166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4" name="Freeform 195">
                <a:extLst>
                  <a:ext uri="{FF2B5EF4-FFF2-40B4-BE49-F238E27FC236}">
                    <a16:creationId xmlns:a16="http://schemas.microsoft.com/office/drawing/2014/main" id="{1B3E2B06-6148-4ABE-AC0F-0DDA9D93822C}"/>
                  </a:ext>
                </a:extLst>
              </p:cNvPr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auto">
              <a:xfrm>
                <a:off x="2377242" y="4310205"/>
                <a:ext cx="86872" cy="123058"/>
              </a:xfrm>
              <a:custGeom>
                <a:avLst/>
                <a:gdLst>
                  <a:gd name="T0" fmla="*/ 1354482 w 166"/>
                  <a:gd name="T1" fmla="*/ 50750915 h 208"/>
                  <a:gd name="T2" fmla="*/ 15288180 w 166"/>
                  <a:gd name="T3" fmla="*/ 57684396 h 208"/>
                  <a:gd name="T4" fmla="*/ 16449101 w 166"/>
                  <a:gd name="T5" fmla="*/ 57406867 h 208"/>
                  <a:gd name="T6" fmla="*/ 17416902 w 166"/>
                  <a:gd name="T7" fmla="*/ 56575334 h 208"/>
                  <a:gd name="T8" fmla="*/ 18771384 w 166"/>
                  <a:gd name="T9" fmla="*/ 54911214 h 208"/>
                  <a:gd name="T10" fmla="*/ 20126306 w 166"/>
                  <a:gd name="T11" fmla="*/ 53247094 h 208"/>
                  <a:gd name="T12" fmla="*/ 22641709 w 166"/>
                  <a:gd name="T13" fmla="*/ 48809793 h 208"/>
                  <a:gd name="T14" fmla="*/ 25157552 w 166"/>
                  <a:gd name="T15" fmla="*/ 43817960 h 208"/>
                  <a:gd name="T16" fmla="*/ 29802118 w 166"/>
                  <a:gd name="T17" fmla="*/ 33834294 h 208"/>
                  <a:gd name="T18" fmla="*/ 32124401 w 166"/>
                  <a:gd name="T19" fmla="*/ 28564932 h 208"/>
                  <a:gd name="T20" fmla="*/ 27866956 w 166"/>
                  <a:gd name="T21" fmla="*/ 26068753 h 208"/>
                  <a:gd name="T22" fmla="*/ 24383751 w 166"/>
                  <a:gd name="T23" fmla="*/ 23295571 h 208"/>
                  <a:gd name="T24" fmla="*/ 20900107 w 166"/>
                  <a:gd name="T25" fmla="*/ 20522389 h 208"/>
                  <a:gd name="T26" fmla="*/ 17997583 w 166"/>
                  <a:gd name="T27" fmla="*/ 17749207 h 208"/>
                  <a:gd name="T28" fmla="*/ 16642661 w 166"/>
                  <a:gd name="T29" fmla="*/ 16085087 h 208"/>
                  <a:gd name="T30" fmla="*/ 15675300 w 166"/>
                  <a:gd name="T31" fmla="*/ 14698496 h 208"/>
                  <a:gd name="T32" fmla="*/ 14513939 w 166"/>
                  <a:gd name="T33" fmla="*/ 13034376 h 208"/>
                  <a:gd name="T34" fmla="*/ 13740138 w 166"/>
                  <a:gd name="T35" fmla="*/ 11093254 h 208"/>
                  <a:gd name="T36" fmla="*/ 12965897 w 166"/>
                  <a:gd name="T37" fmla="*/ 9151606 h 208"/>
                  <a:gd name="T38" fmla="*/ 12385216 w 166"/>
                  <a:gd name="T39" fmla="*/ 7210484 h 208"/>
                  <a:gd name="T40" fmla="*/ 11998095 w 166"/>
                  <a:gd name="T41" fmla="*/ 4991833 h 208"/>
                  <a:gd name="T42" fmla="*/ 11611415 w 166"/>
                  <a:gd name="T43" fmla="*/ 3050711 h 208"/>
                  <a:gd name="T44" fmla="*/ 9675813 w 166"/>
                  <a:gd name="T45" fmla="*/ 2773182 h 208"/>
                  <a:gd name="T46" fmla="*/ 8321331 w 166"/>
                  <a:gd name="T47" fmla="*/ 2218651 h 208"/>
                  <a:gd name="T48" fmla="*/ 7740650 w 166"/>
                  <a:gd name="T49" fmla="*/ 1386591 h 208"/>
                  <a:gd name="T50" fmla="*/ 7547090 w 166"/>
                  <a:gd name="T51" fmla="*/ 832060 h 208"/>
                  <a:gd name="T52" fmla="*/ 7353969 w 166"/>
                  <a:gd name="T53" fmla="*/ 277529 h 208"/>
                  <a:gd name="T54" fmla="*/ 6966849 w 166"/>
                  <a:gd name="T55" fmla="*/ 0 h 208"/>
                  <a:gd name="T56" fmla="*/ 6192608 w 166"/>
                  <a:gd name="T57" fmla="*/ 277529 h 208"/>
                  <a:gd name="T58" fmla="*/ 5225247 w 166"/>
                  <a:gd name="T59" fmla="*/ 1386591 h 208"/>
                  <a:gd name="T60" fmla="*/ 3870325 w 166"/>
                  <a:gd name="T61" fmla="*/ 3050711 h 208"/>
                  <a:gd name="T62" fmla="*/ 2128723 w 166"/>
                  <a:gd name="T63" fmla="*/ 6101422 h 208"/>
                  <a:gd name="T64" fmla="*/ 1354482 w 166"/>
                  <a:gd name="T65" fmla="*/ 8042544 h 208"/>
                  <a:gd name="T66" fmla="*/ 774241 w 166"/>
                  <a:gd name="T67" fmla="*/ 10261194 h 208"/>
                  <a:gd name="T68" fmla="*/ 387120 w 166"/>
                  <a:gd name="T69" fmla="*/ 12479845 h 208"/>
                  <a:gd name="T70" fmla="*/ 0 w 166"/>
                  <a:gd name="T71" fmla="*/ 14975498 h 208"/>
                  <a:gd name="T72" fmla="*/ 0 w 166"/>
                  <a:gd name="T73" fmla="*/ 16639618 h 208"/>
                  <a:gd name="T74" fmla="*/ 387120 w 166"/>
                  <a:gd name="T75" fmla="*/ 18026209 h 208"/>
                  <a:gd name="T76" fmla="*/ 580681 w 166"/>
                  <a:gd name="T77" fmla="*/ 19412800 h 208"/>
                  <a:gd name="T78" fmla="*/ 967801 w 166"/>
                  <a:gd name="T79" fmla="*/ 21076920 h 208"/>
                  <a:gd name="T80" fmla="*/ 1935163 w 166"/>
                  <a:gd name="T81" fmla="*/ 23850102 h 208"/>
                  <a:gd name="T82" fmla="*/ 3289644 w 166"/>
                  <a:gd name="T83" fmla="*/ 27178342 h 208"/>
                  <a:gd name="T84" fmla="*/ 4257445 w 166"/>
                  <a:gd name="T85" fmla="*/ 30229052 h 208"/>
                  <a:gd name="T86" fmla="*/ 5418367 w 166"/>
                  <a:gd name="T87" fmla="*/ 33279236 h 208"/>
                  <a:gd name="T88" fmla="*/ 5805488 w 166"/>
                  <a:gd name="T89" fmla="*/ 34943356 h 208"/>
                  <a:gd name="T90" fmla="*/ 6192608 w 166"/>
                  <a:gd name="T91" fmla="*/ 36884478 h 208"/>
                  <a:gd name="T92" fmla="*/ 6386168 w 166"/>
                  <a:gd name="T93" fmla="*/ 38548598 h 208"/>
                  <a:gd name="T94" fmla="*/ 6386168 w 166"/>
                  <a:gd name="T95" fmla="*/ 40767249 h 208"/>
                  <a:gd name="T96" fmla="*/ 6192608 w 166"/>
                  <a:gd name="T97" fmla="*/ 42431369 h 208"/>
                  <a:gd name="T98" fmla="*/ 5999048 w 166"/>
                  <a:gd name="T99" fmla="*/ 44095489 h 208"/>
                  <a:gd name="T100" fmla="*/ 5418367 w 166"/>
                  <a:gd name="T101" fmla="*/ 45759082 h 208"/>
                  <a:gd name="T102" fmla="*/ 4838126 w 166"/>
                  <a:gd name="T103" fmla="*/ 46868670 h 208"/>
                  <a:gd name="T104" fmla="*/ 4063885 w 166"/>
                  <a:gd name="T105" fmla="*/ 48255261 h 208"/>
                  <a:gd name="T106" fmla="*/ 3289644 w 166"/>
                  <a:gd name="T107" fmla="*/ 49087321 h 208"/>
                  <a:gd name="T108" fmla="*/ 2128723 w 166"/>
                  <a:gd name="T109" fmla="*/ 49919381 h 208"/>
                  <a:gd name="T110" fmla="*/ 1354482 w 166"/>
                  <a:gd name="T111" fmla="*/ 50750915 h 20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66" h="208">
                    <a:moveTo>
                      <a:pt x="7" y="183"/>
                    </a:moveTo>
                    <a:lnTo>
                      <a:pt x="79" y="208"/>
                    </a:lnTo>
                    <a:lnTo>
                      <a:pt x="85" y="207"/>
                    </a:lnTo>
                    <a:lnTo>
                      <a:pt x="90" y="204"/>
                    </a:lnTo>
                    <a:lnTo>
                      <a:pt x="97" y="198"/>
                    </a:lnTo>
                    <a:lnTo>
                      <a:pt x="104" y="192"/>
                    </a:lnTo>
                    <a:lnTo>
                      <a:pt x="117" y="176"/>
                    </a:lnTo>
                    <a:lnTo>
                      <a:pt x="130" y="158"/>
                    </a:lnTo>
                    <a:lnTo>
                      <a:pt x="154" y="122"/>
                    </a:lnTo>
                    <a:lnTo>
                      <a:pt x="166" y="103"/>
                    </a:lnTo>
                    <a:lnTo>
                      <a:pt x="144" y="94"/>
                    </a:lnTo>
                    <a:lnTo>
                      <a:pt x="126" y="84"/>
                    </a:lnTo>
                    <a:lnTo>
                      <a:pt x="108" y="74"/>
                    </a:lnTo>
                    <a:lnTo>
                      <a:pt x="93" y="64"/>
                    </a:lnTo>
                    <a:lnTo>
                      <a:pt x="86" y="58"/>
                    </a:lnTo>
                    <a:lnTo>
                      <a:pt x="81" y="53"/>
                    </a:lnTo>
                    <a:lnTo>
                      <a:pt x="75" y="47"/>
                    </a:lnTo>
                    <a:lnTo>
                      <a:pt x="71" y="40"/>
                    </a:lnTo>
                    <a:lnTo>
                      <a:pt x="67" y="33"/>
                    </a:lnTo>
                    <a:lnTo>
                      <a:pt x="64" y="26"/>
                    </a:lnTo>
                    <a:lnTo>
                      <a:pt x="62" y="18"/>
                    </a:lnTo>
                    <a:lnTo>
                      <a:pt x="60" y="11"/>
                    </a:lnTo>
                    <a:lnTo>
                      <a:pt x="50" y="10"/>
                    </a:lnTo>
                    <a:lnTo>
                      <a:pt x="43" y="8"/>
                    </a:lnTo>
                    <a:lnTo>
                      <a:pt x="40" y="5"/>
                    </a:lnTo>
                    <a:lnTo>
                      <a:pt x="39" y="3"/>
                    </a:lnTo>
                    <a:lnTo>
                      <a:pt x="38" y="1"/>
                    </a:lnTo>
                    <a:lnTo>
                      <a:pt x="36" y="0"/>
                    </a:lnTo>
                    <a:lnTo>
                      <a:pt x="32" y="1"/>
                    </a:lnTo>
                    <a:lnTo>
                      <a:pt x="27" y="5"/>
                    </a:lnTo>
                    <a:lnTo>
                      <a:pt x="20" y="11"/>
                    </a:lnTo>
                    <a:lnTo>
                      <a:pt x="11" y="22"/>
                    </a:lnTo>
                    <a:lnTo>
                      <a:pt x="7" y="29"/>
                    </a:lnTo>
                    <a:lnTo>
                      <a:pt x="4" y="37"/>
                    </a:lnTo>
                    <a:lnTo>
                      <a:pt x="2" y="45"/>
                    </a:lnTo>
                    <a:lnTo>
                      <a:pt x="0" y="54"/>
                    </a:lnTo>
                    <a:lnTo>
                      <a:pt x="0" y="60"/>
                    </a:lnTo>
                    <a:lnTo>
                      <a:pt x="2" y="65"/>
                    </a:lnTo>
                    <a:lnTo>
                      <a:pt x="3" y="70"/>
                    </a:lnTo>
                    <a:lnTo>
                      <a:pt x="5" y="76"/>
                    </a:lnTo>
                    <a:lnTo>
                      <a:pt x="10" y="86"/>
                    </a:lnTo>
                    <a:lnTo>
                      <a:pt x="17" y="98"/>
                    </a:lnTo>
                    <a:lnTo>
                      <a:pt x="22" y="109"/>
                    </a:lnTo>
                    <a:lnTo>
                      <a:pt x="28" y="120"/>
                    </a:lnTo>
                    <a:lnTo>
                      <a:pt x="30" y="126"/>
                    </a:lnTo>
                    <a:lnTo>
                      <a:pt x="32" y="133"/>
                    </a:lnTo>
                    <a:lnTo>
                      <a:pt x="33" y="139"/>
                    </a:lnTo>
                    <a:lnTo>
                      <a:pt x="33" y="147"/>
                    </a:lnTo>
                    <a:lnTo>
                      <a:pt x="32" y="153"/>
                    </a:lnTo>
                    <a:lnTo>
                      <a:pt x="31" y="159"/>
                    </a:lnTo>
                    <a:lnTo>
                      <a:pt x="28" y="165"/>
                    </a:lnTo>
                    <a:lnTo>
                      <a:pt x="25" y="169"/>
                    </a:lnTo>
                    <a:lnTo>
                      <a:pt x="21" y="174"/>
                    </a:lnTo>
                    <a:lnTo>
                      <a:pt x="17" y="177"/>
                    </a:lnTo>
                    <a:lnTo>
                      <a:pt x="11" y="180"/>
                    </a:lnTo>
                    <a:lnTo>
                      <a:pt x="7" y="18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5" name="Freeform 196">
                <a:extLst>
                  <a:ext uri="{FF2B5EF4-FFF2-40B4-BE49-F238E27FC236}">
                    <a16:creationId xmlns:a16="http://schemas.microsoft.com/office/drawing/2014/main" id="{BAB50E86-5477-47E4-82CA-141BDA1437C5}"/>
                  </a:ext>
                </a:extLst>
              </p:cNvPr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auto">
              <a:xfrm>
                <a:off x="1790858" y="3814457"/>
                <a:ext cx="85062" cy="65046"/>
              </a:xfrm>
              <a:custGeom>
                <a:avLst/>
                <a:gdLst>
                  <a:gd name="T0" fmla="*/ 27754727 w 164"/>
                  <a:gd name="T1" fmla="*/ 33173415 h 104"/>
                  <a:gd name="T2" fmla="*/ 24308226 w 164"/>
                  <a:gd name="T3" fmla="*/ 32535215 h 104"/>
                  <a:gd name="T4" fmla="*/ 19954527 w 164"/>
                  <a:gd name="T5" fmla="*/ 30940844 h 104"/>
                  <a:gd name="T6" fmla="*/ 17414798 w 164"/>
                  <a:gd name="T7" fmla="*/ 29983544 h 104"/>
                  <a:gd name="T8" fmla="*/ 14512189 w 164"/>
                  <a:gd name="T9" fmla="*/ 29664444 h 104"/>
                  <a:gd name="T10" fmla="*/ 13242538 w 164"/>
                  <a:gd name="T11" fmla="*/ 29664444 h 104"/>
                  <a:gd name="T12" fmla="*/ 11610007 w 164"/>
                  <a:gd name="T13" fmla="*/ 29983544 h 104"/>
                  <a:gd name="T14" fmla="*/ 9977050 w 164"/>
                  <a:gd name="T15" fmla="*/ 30621744 h 104"/>
                  <a:gd name="T16" fmla="*/ 8525959 w 164"/>
                  <a:gd name="T17" fmla="*/ 31259380 h 104"/>
                  <a:gd name="T18" fmla="*/ 7437747 w 164"/>
                  <a:gd name="T19" fmla="*/ 31897580 h 104"/>
                  <a:gd name="T20" fmla="*/ 6167670 w 164"/>
                  <a:gd name="T21" fmla="*/ 31897580 h 104"/>
                  <a:gd name="T22" fmla="*/ 4898018 w 164"/>
                  <a:gd name="T23" fmla="*/ 31578480 h 104"/>
                  <a:gd name="T24" fmla="*/ 3446501 w 164"/>
                  <a:gd name="T25" fmla="*/ 30621744 h 104"/>
                  <a:gd name="T26" fmla="*/ 1995410 w 164"/>
                  <a:gd name="T27" fmla="*/ 29345909 h 104"/>
                  <a:gd name="T28" fmla="*/ 1088212 w 164"/>
                  <a:gd name="T29" fmla="*/ 28070073 h 104"/>
                  <a:gd name="T30" fmla="*/ 544319 w 164"/>
                  <a:gd name="T31" fmla="*/ 27431873 h 104"/>
                  <a:gd name="T32" fmla="*/ 181440 w 164"/>
                  <a:gd name="T33" fmla="*/ 26793673 h 104"/>
                  <a:gd name="T34" fmla="*/ 0 w 164"/>
                  <a:gd name="T35" fmla="*/ 25836938 h 104"/>
                  <a:gd name="T36" fmla="*/ 0 w 164"/>
                  <a:gd name="T37" fmla="*/ 25199303 h 104"/>
                  <a:gd name="T38" fmla="*/ 0 w 164"/>
                  <a:gd name="T39" fmla="*/ 24242002 h 104"/>
                  <a:gd name="T40" fmla="*/ 181440 w 164"/>
                  <a:gd name="T41" fmla="*/ 23604367 h 104"/>
                  <a:gd name="T42" fmla="*/ 544319 w 164"/>
                  <a:gd name="T43" fmla="*/ 22647067 h 104"/>
                  <a:gd name="T44" fmla="*/ 1088212 w 164"/>
                  <a:gd name="T45" fmla="*/ 22328532 h 104"/>
                  <a:gd name="T46" fmla="*/ 2176850 w 164"/>
                  <a:gd name="T47" fmla="*/ 21371232 h 104"/>
                  <a:gd name="T48" fmla="*/ 3627941 w 164"/>
                  <a:gd name="T49" fmla="*/ 21052131 h 104"/>
                  <a:gd name="T50" fmla="*/ 7256308 w 164"/>
                  <a:gd name="T51" fmla="*/ 21052131 h 104"/>
                  <a:gd name="T52" fmla="*/ 11065688 w 164"/>
                  <a:gd name="T53" fmla="*/ 21371232 h 104"/>
                  <a:gd name="T54" fmla="*/ 12698219 w 164"/>
                  <a:gd name="T55" fmla="*/ 21371232 h 104"/>
                  <a:gd name="T56" fmla="*/ 14330750 w 164"/>
                  <a:gd name="T57" fmla="*/ 21371232 h 104"/>
                  <a:gd name="T58" fmla="*/ 15782267 w 164"/>
                  <a:gd name="T59" fmla="*/ 21371232 h 104"/>
                  <a:gd name="T60" fmla="*/ 17051918 w 164"/>
                  <a:gd name="T61" fmla="*/ 21371232 h 104"/>
                  <a:gd name="T62" fmla="*/ 17051918 w 164"/>
                  <a:gd name="T63" fmla="*/ 17862825 h 104"/>
                  <a:gd name="T64" fmla="*/ 17051918 w 164"/>
                  <a:gd name="T65" fmla="*/ 13715654 h 104"/>
                  <a:gd name="T66" fmla="*/ 17051918 w 164"/>
                  <a:gd name="T67" fmla="*/ 9250513 h 104"/>
                  <a:gd name="T68" fmla="*/ 17051918 w 164"/>
                  <a:gd name="T69" fmla="*/ 5741542 h 104"/>
                  <a:gd name="T70" fmla="*/ 14330750 w 164"/>
                  <a:gd name="T71" fmla="*/ 5422442 h 104"/>
                  <a:gd name="T72" fmla="*/ 12153900 w 164"/>
                  <a:gd name="T73" fmla="*/ 4784806 h 104"/>
                  <a:gd name="T74" fmla="*/ 11247128 w 164"/>
                  <a:gd name="T75" fmla="*/ 4146606 h 104"/>
                  <a:gd name="T76" fmla="*/ 10339930 w 164"/>
                  <a:gd name="T77" fmla="*/ 3189871 h 104"/>
                  <a:gd name="T78" fmla="*/ 9433157 w 164"/>
                  <a:gd name="T79" fmla="*/ 1914036 h 104"/>
                  <a:gd name="T80" fmla="*/ 8525959 w 164"/>
                  <a:gd name="T81" fmla="*/ 0 h 104"/>
                  <a:gd name="T82" fmla="*/ 26485076 w 164"/>
                  <a:gd name="T83" fmla="*/ 0 h 104"/>
                  <a:gd name="T84" fmla="*/ 26666089 w 164"/>
                  <a:gd name="T85" fmla="*/ 1914036 h 104"/>
                  <a:gd name="T86" fmla="*/ 26847529 w 164"/>
                  <a:gd name="T87" fmla="*/ 4146606 h 104"/>
                  <a:gd name="T88" fmla="*/ 27210408 w 164"/>
                  <a:gd name="T89" fmla="*/ 6060642 h 104"/>
                  <a:gd name="T90" fmla="*/ 27573288 w 164"/>
                  <a:gd name="T91" fmla="*/ 7974113 h 104"/>
                  <a:gd name="T92" fmla="*/ 28299046 w 164"/>
                  <a:gd name="T93" fmla="*/ 11163983 h 104"/>
                  <a:gd name="T94" fmla="*/ 28842939 w 164"/>
                  <a:gd name="T95" fmla="*/ 14672954 h 104"/>
                  <a:gd name="T96" fmla="*/ 29568698 w 164"/>
                  <a:gd name="T97" fmla="*/ 17224625 h 104"/>
                  <a:gd name="T98" fmla="*/ 29750137 w 164"/>
                  <a:gd name="T99" fmla="*/ 19776296 h 104"/>
                  <a:gd name="T100" fmla="*/ 29568698 w 164"/>
                  <a:gd name="T101" fmla="*/ 20733596 h 104"/>
                  <a:gd name="T102" fmla="*/ 29024379 w 164"/>
                  <a:gd name="T103" fmla="*/ 21690332 h 104"/>
                  <a:gd name="T104" fmla="*/ 28480486 w 164"/>
                  <a:gd name="T105" fmla="*/ 22647067 h 104"/>
                  <a:gd name="T106" fmla="*/ 27754727 w 164"/>
                  <a:gd name="T107" fmla="*/ 23285267 h 104"/>
                  <a:gd name="T108" fmla="*/ 27754727 w 164"/>
                  <a:gd name="T109" fmla="*/ 33173415 h 10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64" h="104">
                    <a:moveTo>
                      <a:pt x="153" y="104"/>
                    </a:moveTo>
                    <a:lnTo>
                      <a:pt x="134" y="102"/>
                    </a:lnTo>
                    <a:lnTo>
                      <a:pt x="110" y="97"/>
                    </a:lnTo>
                    <a:lnTo>
                      <a:pt x="96" y="94"/>
                    </a:lnTo>
                    <a:lnTo>
                      <a:pt x="80" y="93"/>
                    </a:lnTo>
                    <a:lnTo>
                      <a:pt x="73" y="93"/>
                    </a:lnTo>
                    <a:lnTo>
                      <a:pt x="64" y="94"/>
                    </a:lnTo>
                    <a:lnTo>
                      <a:pt x="55" y="96"/>
                    </a:lnTo>
                    <a:lnTo>
                      <a:pt x="47" y="98"/>
                    </a:lnTo>
                    <a:lnTo>
                      <a:pt x="41" y="100"/>
                    </a:lnTo>
                    <a:lnTo>
                      <a:pt x="34" y="100"/>
                    </a:lnTo>
                    <a:lnTo>
                      <a:pt x="27" y="99"/>
                    </a:lnTo>
                    <a:lnTo>
                      <a:pt x="19" y="96"/>
                    </a:lnTo>
                    <a:lnTo>
                      <a:pt x="11" y="92"/>
                    </a:lnTo>
                    <a:lnTo>
                      <a:pt x="6" y="88"/>
                    </a:lnTo>
                    <a:lnTo>
                      <a:pt x="3" y="86"/>
                    </a:lnTo>
                    <a:lnTo>
                      <a:pt x="1" y="84"/>
                    </a:lnTo>
                    <a:lnTo>
                      <a:pt x="0" y="81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1" y="74"/>
                    </a:lnTo>
                    <a:lnTo>
                      <a:pt x="3" y="71"/>
                    </a:lnTo>
                    <a:lnTo>
                      <a:pt x="6" y="70"/>
                    </a:lnTo>
                    <a:lnTo>
                      <a:pt x="12" y="67"/>
                    </a:lnTo>
                    <a:lnTo>
                      <a:pt x="20" y="66"/>
                    </a:lnTo>
                    <a:lnTo>
                      <a:pt x="40" y="66"/>
                    </a:lnTo>
                    <a:lnTo>
                      <a:pt x="61" y="67"/>
                    </a:lnTo>
                    <a:lnTo>
                      <a:pt x="70" y="67"/>
                    </a:lnTo>
                    <a:lnTo>
                      <a:pt x="79" y="67"/>
                    </a:lnTo>
                    <a:lnTo>
                      <a:pt x="87" y="67"/>
                    </a:lnTo>
                    <a:lnTo>
                      <a:pt x="94" y="67"/>
                    </a:lnTo>
                    <a:lnTo>
                      <a:pt x="94" y="56"/>
                    </a:lnTo>
                    <a:lnTo>
                      <a:pt x="94" y="43"/>
                    </a:lnTo>
                    <a:lnTo>
                      <a:pt x="94" y="29"/>
                    </a:lnTo>
                    <a:lnTo>
                      <a:pt x="94" y="18"/>
                    </a:lnTo>
                    <a:lnTo>
                      <a:pt x="79" y="17"/>
                    </a:lnTo>
                    <a:lnTo>
                      <a:pt x="67" y="15"/>
                    </a:lnTo>
                    <a:lnTo>
                      <a:pt x="62" y="13"/>
                    </a:lnTo>
                    <a:lnTo>
                      <a:pt x="57" y="10"/>
                    </a:lnTo>
                    <a:lnTo>
                      <a:pt x="52" y="6"/>
                    </a:lnTo>
                    <a:lnTo>
                      <a:pt x="47" y="0"/>
                    </a:lnTo>
                    <a:lnTo>
                      <a:pt x="146" y="0"/>
                    </a:lnTo>
                    <a:lnTo>
                      <a:pt x="147" y="6"/>
                    </a:lnTo>
                    <a:lnTo>
                      <a:pt x="148" y="13"/>
                    </a:lnTo>
                    <a:lnTo>
                      <a:pt x="150" y="19"/>
                    </a:lnTo>
                    <a:lnTo>
                      <a:pt x="152" y="25"/>
                    </a:lnTo>
                    <a:lnTo>
                      <a:pt x="156" y="35"/>
                    </a:lnTo>
                    <a:lnTo>
                      <a:pt x="159" y="46"/>
                    </a:lnTo>
                    <a:lnTo>
                      <a:pt x="163" y="54"/>
                    </a:lnTo>
                    <a:lnTo>
                      <a:pt x="164" y="62"/>
                    </a:lnTo>
                    <a:lnTo>
                      <a:pt x="163" y="65"/>
                    </a:lnTo>
                    <a:lnTo>
                      <a:pt x="160" y="68"/>
                    </a:lnTo>
                    <a:lnTo>
                      <a:pt x="157" y="71"/>
                    </a:lnTo>
                    <a:lnTo>
                      <a:pt x="153" y="73"/>
                    </a:lnTo>
                    <a:lnTo>
                      <a:pt x="153" y="10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6" name="Freeform 197">
                <a:extLst>
                  <a:ext uri="{FF2B5EF4-FFF2-40B4-BE49-F238E27FC236}">
                    <a16:creationId xmlns:a16="http://schemas.microsoft.com/office/drawing/2014/main" id="{AC5669B5-9A05-4DC5-A9A0-E31513DFFD92}"/>
                  </a:ext>
                </a:extLst>
              </p:cNvPr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auto">
              <a:xfrm>
                <a:off x="2232456" y="6461964"/>
                <a:ext cx="28957" cy="63287"/>
              </a:xfrm>
              <a:custGeom>
                <a:avLst/>
                <a:gdLst>
                  <a:gd name="T0" fmla="*/ 0 w 53"/>
                  <a:gd name="T1" fmla="*/ 72378971 h 19"/>
                  <a:gd name="T2" fmla="*/ 1413054 w 53"/>
                  <a:gd name="T3" fmla="*/ 117617708 h 19"/>
                  <a:gd name="T4" fmla="*/ 2826109 w 53"/>
                  <a:gd name="T5" fmla="*/ 153805689 h 19"/>
                  <a:gd name="T6" fmla="*/ 4441349 w 53"/>
                  <a:gd name="T7" fmla="*/ 171901184 h 19"/>
                  <a:gd name="T8" fmla="*/ 5854404 w 53"/>
                  <a:gd name="T9" fmla="*/ 171901184 h 19"/>
                  <a:gd name="T10" fmla="*/ 7065721 w 53"/>
                  <a:gd name="T11" fmla="*/ 162853437 h 19"/>
                  <a:gd name="T12" fmla="*/ 8478776 w 53"/>
                  <a:gd name="T13" fmla="*/ 135710195 h 19"/>
                  <a:gd name="T14" fmla="*/ 9487908 w 53"/>
                  <a:gd name="T15" fmla="*/ 108569961 h 19"/>
                  <a:gd name="T16" fmla="*/ 10699226 w 53"/>
                  <a:gd name="T17" fmla="*/ 72378971 h 19"/>
                  <a:gd name="T18" fmla="*/ 9487908 w 53"/>
                  <a:gd name="T19" fmla="*/ 45235729 h 19"/>
                  <a:gd name="T20" fmla="*/ 8478776 w 53"/>
                  <a:gd name="T21" fmla="*/ 18095495 h 19"/>
                  <a:gd name="T22" fmla="*/ 7065721 w 53"/>
                  <a:gd name="T23" fmla="*/ 9047747 h 19"/>
                  <a:gd name="T24" fmla="*/ 5854404 w 53"/>
                  <a:gd name="T25" fmla="*/ 0 h 19"/>
                  <a:gd name="T26" fmla="*/ 4441349 w 53"/>
                  <a:gd name="T27" fmla="*/ 0 h 19"/>
                  <a:gd name="T28" fmla="*/ 2826109 w 53"/>
                  <a:gd name="T29" fmla="*/ 9047747 h 19"/>
                  <a:gd name="T30" fmla="*/ 1413054 w 53"/>
                  <a:gd name="T31" fmla="*/ 27143242 h 19"/>
                  <a:gd name="T32" fmla="*/ 0 w 53"/>
                  <a:gd name="T33" fmla="*/ 72378971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53" h="19">
                    <a:moveTo>
                      <a:pt x="0" y="8"/>
                    </a:moveTo>
                    <a:lnTo>
                      <a:pt x="7" y="13"/>
                    </a:lnTo>
                    <a:lnTo>
                      <a:pt x="14" y="17"/>
                    </a:lnTo>
                    <a:lnTo>
                      <a:pt x="22" y="19"/>
                    </a:lnTo>
                    <a:lnTo>
                      <a:pt x="29" y="19"/>
                    </a:lnTo>
                    <a:lnTo>
                      <a:pt x="35" y="18"/>
                    </a:lnTo>
                    <a:lnTo>
                      <a:pt x="42" y="15"/>
                    </a:lnTo>
                    <a:lnTo>
                      <a:pt x="47" y="12"/>
                    </a:lnTo>
                    <a:lnTo>
                      <a:pt x="53" y="8"/>
                    </a:lnTo>
                    <a:lnTo>
                      <a:pt x="47" y="5"/>
                    </a:lnTo>
                    <a:lnTo>
                      <a:pt x="42" y="2"/>
                    </a:lnTo>
                    <a:lnTo>
                      <a:pt x="35" y="1"/>
                    </a:lnTo>
                    <a:lnTo>
                      <a:pt x="29" y="0"/>
                    </a:lnTo>
                    <a:lnTo>
                      <a:pt x="22" y="0"/>
                    </a:lnTo>
                    <a:lnTo>
                      <a:pt x="14" y="1"/>
                    </a:lnTo>
                    <a:lnTo>
                      <a:pt x="7" y="3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7" name="Freeform 198">
                <a:extLst>
                  <a:ext uri="{FF2B5EF4-FFF2-40B4-BE49-F238E27FC236}">
                    <a16:creationId xmlns:a16="http://schemas.microsoft.com/office/drawing/2014/main" id="{3C9976E7-42E7-44D1-8A86-31AEE4D6D930}"/>
                  </a:ext>
                </a:extLst>
              </p:cNvPr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auto">
              <a:xfrm>
                <a:off x="2190830" y="6437352"/>
                <a:ext cx="41625" cy="66803"/>
              </a:xfrm>
              <a:custGeom>
                <a:avLst/>
                <a:gdLst>
                  <a:gd name="T0" fmla="*/ 0 w 80"/>
                  <a:gd name="T1" fmla="*/ 0 h 18"/>
                  <a:gd name="T2" fmla="*/ 190778 w 80"/>
                  <a:gd name="T3" fmla="*/ 63889540 h 18"/>
                  <a:gd name="T4" fmla="*/ 953016 w 80"/>
                  <a:gd name="T5" fmla="*/ 127779080 h 18"/>
                  <a:gd name="T6" fmla="*/ 1524913 w 80"/>
                  <a:gd name="T7" fmla="*/ 149074506 h 18"/>
                  <a:gd name="T8" fmla="*/ 2096373 w 80"/>
                  <a:gd name="T9" fmla="*/ 170373195 h 18"/>
                  <a:gd name="T10" fmla="*/ 2858611 w 80"/>
                  <a:gd name="T11" fmla="*/ 191668621 h 18"/>
                  <a:gd name="T12" fmla="*/ 3811627 w 80"/>
                  <a:gd name="T13" fmla="*/ 191668621 h 18"/>
                  <a:gd name="T14" fmla="*/ 4192746 w 80"/>
                  <a:gd name="T15" fmla="*/ 159725482 h 18"/>
                  <a:gd name="T16" fmla="*/ 4574302 w 80"/>
                  <a:gd name="T17" fmla="*/ 138426793 h 18"/>
                  <a:gd name="T18" fmla="*/ 4955421 w 80"/>
                  <a:gd name="T19" fmla="*/ 117131368 h 18"/>
                  <a:gd name="T20" fmla="*/ 5908000 w 80"/>
                  <a:gd name="T21" fmla="*/ 106483655 h 18"/>
                  <a:gd name="T22" fmla="*/ 7242135 w 80"/>
                  <a:gd name="T23" fmla="*/ 85184966 h 18"/>
                  <a:gd name="T24" fmla="*/ 8957389 w 80"/>
                  <a:gd name="T25" fmla="*/ 74537253 h 18"/>
                  <a:gd name="T26" fmla="*/ 10863421 w 80"/>
                  <a:gd name="T27" fmla="*/ 74537253 h 18"/>
                  <a:gd name="T28" fmla="*/ 12578675 w 80"/>
                  <a:gd name="T29" fmla="*/ 63889540 h 18"/>
                  <a:gd name="T30" fmla="*/ 13340913 w 80"/>
                  <a:gd name="T31" fmla="*/ 53241827 h 18"/>
                  <a:gd name="T32" fmla="*/ 14103588 w 80"/>
                  <a:gd name="T33" fmla="*/ 42594115 h 18"/>
                  <a:gd name="T34" fmla="*/ 14675048 w 80"/>
                  <a:gd name="T35" fmla="*/ 21295426 h 18"/>
                  <a:gd name="T36" fmla="*/ 15246945 w 80"/>
                  <a:gd name="T37" fmla="*/ 0 h 18"/>
                  <a:gd name="T38" fmla="*/ 0 w 80"/>
                  <a:gd name="T39" fmla="*/ 0 h 18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80" h="18">
                    <a:moveTo>
                      <a:pt x="0" y="0"/>
                    </a:moveTo>
                    <a:lnTo>
                      <a:pt x="1" y="6"/>
                    </a:lnTo>
                    <a:lnTo>
                      <a:pt x="5" y="12"/>
                    </a:lnTo>
                    <a:lnTo>
                      <a:pt x="8" y="14"/>
                    </a:lnTo>
                    <a:lnTo>
                      <a:pt x="11" y="16"/>
                    </a:lnTo>
                    <a:lnTo>
                      <a:pt x="15" y="18"/>
                    </a:lnTo>
                    <a:lnTo>
                      <a:pt x="20" y="18"/>
                    </a:lnTo>
                    <a:lnTo>
                      <a:pt x="22" y="15"/>
                    </a:lnTo>
                    <a:lnTo>
                      <a:pt x="24" y="13"/>
                    </a:lnTo>
                    <a:lnTo>
                      <a:pt x="26" y="11"/>
                    </a:lnTo>
                    <a:lnTo>
                      <a:pt x="31" y="10"/>
                    </a:lnTo>
                    <a:lnTo>
                      <a:pt x="38" y="8"/>
                    </a:lnTo>
                    <a:lnTo>
                      <a:pt x="47" y="7"/>
                    </a:lnTo>
                    <a:lnTo>
                      <a:pt x="57" y="7"/>
                    </a:lnTo>
                    <a:lnTo>
                      <a:pt x="66" y="6"/>
                    </a:lnTo>
                    <a:lnTo>
                      <a:pt x="70" y="5"/>
                    </a:lnTo>
                    <a:lnTo>
                      <a:pt x="74" y="4"/>
                    </a:lnTo>
                    <a:lnTo>
                      <a:pt x="77" y="2"/>
                    </a:lnTo>
                    <a:lnTo>
                      <a:pt x="8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8" name="Freeform 199">
                <a:extLst>
                  <a:ext uri="{FF2B5EF4-FFF2-40B4-BE49-F238E27FC236}">
                    <a16:creationId xmlns:a16="http://schemas.microsoft.com/office/drawing/2014/main" id="{B7D4460A-12A7-4DEA-A5E9-E5782477B9A2}"/>
                  </a:ext>
                </a:extLst>
              </p:cNvPr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auto">
              <a:xfrm>
                <a:off x="2190830" y="6414499"/>
                <a:ext cx="27147" cy="68560"/>
              </a:xfrm>
              <a:custGeom>
                <a:avLst/>
                <a:gdLst>
                  <a:gd name="T0" fmla="*/ 4668699 w 46"/>
                  <a:gd name="T1" fmla="*/ 0 h 27"/>
                  <a:gd name="T2" fmla="*/ 0 w 46"/>
                  <a:gd name="T3" fmla="*/ 89855205 h 27"/>
                  <a:gd name="T4" fmla="*/ 2100746 w 46"/>
                  <a:gd name="T5" fmla="*/ 109822780 h 27"/>
                  <a:gd name="T6" fmla="*/ 3734766 w 46"/>
                  <a:gd name="T7" fmla="*/ 124796785 h 27"/>
                  <a:gd name="T8" fmla="*/ 5369270 w 46"/>
                  <a:gd name="T9" fmla="*/ 134781690 h 27"/>
                  <a:gd name="T10" fmla="*/ 6769445 w 46"/>
                  <a:gd name="T11" fmla="*/ 134781690 h 27"/>
                  <a:gd name="T12" fmla="*/ 7703378 w 46"/>
                  <a:gd name="T13" fmla="*/ 134781690 h 27"/>
                  <a:gd name="T14" fmla="*/ 8637311 w 46"/>
                  <a:gd name="T15" fmla="*/ 124796785 h 27"/>
                  <a:gd name="T16" fmla="*/ 9804124 w 46"/>
                  <a:gd name="T17" fmla="*/ 109822780 h 27"/>
                  <a:gd name="T18" fmla="*/ 10738057 w 46"/>
                  <a:gd name="T19" fmla="*/ 89855205 h 27"/>
                  <a:gd name="T20" fmla="*/ 9570761 w 46"/>
                  <a:gd name="T21" fmla="*/ 79870300 h 27"/>
                  <a:gd name="T22" fmla="*/ 7703378 w 46"/>
                  <a:gd name="T23" fmla="*/ 54911390 h 27"/>
                  <a:gd name="T24" fmla="*/ 6069358 w 46"/>
                  <a:gd name="T25" fmla="*/ 24958910 h 27"/>
                  <a:gd name="T26" fmla="*/ 4668699 w 46"/>
                  <a:gd name="T27" fmla="*/ 0 h 2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46" h="27">
                    <a:moveTo>
                      <a:pt x="20" y="0"/>
                    </a:moveTo>
                    <a:lnTo>
                      <a:pt x="0" y="18"/>
                    </a:lnTo>
                    <a:lnTo>
                      <a:pt x="9" y="22"/>
                    </a:lnTo>
                    <a:lnTo>
                      <a:pt x="16" y="25"/>
                    </a:lnTo>
                    <a:lnTo>
                      <a:pt x="23" y="27"/>
                    </a:lnTo>
                    <a:lnTo>
                      <a:pt x="29" y="27"/>
                    </a:lnTo>
                    <a:lnTo>
                      <a:pt x="33" y="27"/>
                    </a:lnTo>
                    <a:lnTo>
                      <a:pt x="37" y="25"/>
                    </a:lnTo>
                    <a:lnTo>
                      <a:pt x="42" y="22"/>
                    </a:lnTo>
                    <a:lnTo>
                      <a:pt x="46" y="18"/>
                    </a:lnTo>
                    <a:lnTo>
                      <a:pt x="41" y="16"/>
                    </a:lnTo>
                    <a:lnTo>
                      <a:pt x="33" y="11"/>
                    </a:lnTo>
                    <a:lnTo>
                      <a:pt x="26" y="5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89" name="Freeform 200">
                <a:extLst>
                  <a:ext uri="{FF2B5EF4-FFF2-40B4-BE49-F238E27FC236}">
                    <a16:creationId xmlns:a16="http://schemas.microsoft.com/office/drawing/2014/main" id="{09A607F8-6444-4D89-865D-75AD8302D8E7}"/>
                  </a:ext>
                </a:extLst>
              </p:cNvPr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auto">
              <a:xfrm>
                <a:off x="2154634" y="6407467"/>
                <a:ext cx="30766" cy="68560"/>
              </a:xfrm>
              <a:custGeom>
                <a:avLst/>
                <a:gdLst>
                  <a:gd name="T0" fmla="*/ 7522633 w 54"/>
                  <a:gd name="T1" fmla="*/ 0 h 39"/>
                  <a:gd name="T2" fmla="*/ 4424774 w 54"/>
                  <a:gd name="T3" fmla="*/ 9570020 h 39"/>
                  <a:gd name="T4" fmla="*/ 2212622 w 54"/>
                  <a:gd name="T5" fmla="*/ 23925823 h 39"/>
                  <a:gd name="T6" fmla="*/ 1327385 w 54"/>
                  <a:gd name="T7" fmla="*/ 31102951 h 39"/>
                  <a:gd name="T8" fmla="*/ 884767 w 54"/>
                  <a:gd name="T9" fmla="*/ 38281626 h 39"/>
                  <a:gd name="T10" fmla="*/ 442619 w 54"/>
                  <a:gd name="T11" fmla="*/ 47851646 h 39"/>
                  <a:gd name="T12" fmla="*/ 0 w 54"/>
                  <a:gd name="T13" fmla="*/ 57421666 h 39"/>
                  <a:gd name="T14" fmla="*/ 442619 w 54"/>
                  <a:gd name="T15" fmla="*/ 66991686 h 39"/>
                  <a:gd name="T16" fmla="*/ 663693 w 54"/>
                  <a:gd name="T17" fmla="*/ 76561706 h 39"/>
                  <a:gd name="T18" fmla="*/ 1106311 w 54"/>
                  <a:gd name="T19" fmla="*/ 83740381 h 39"/>
                  <a:gd name="T20" fmla="*/ 1770004 w 54"/>
                  <a:gd name="T21" fmla="*/ 88524617 h 39"/>
                  <a:gd name="T22" fmla="*/ 2433696 w 54"/>
                  <a:gd name="T23" fmla="*/ 90917509 h 39"/>
                  <a:gd name="T24" fmla="*/ 3540007 w 54"/>
                  <a:gd name="T25" fmla="*/ 93310401 h 39"/>
                  <a:gd name="T26" fmla="*/ 4424774 w 54"/>
                  <a:gd name="T27" fmla="*/ 93310401 h 39"/>
                  <a:gd name="T28" fmla="*/ 5531085 w 54"/>
                  <a:gd name="T29" fmla="*/ 93310401 h 39"/>
                  <a:gd name="T30" fmla="*/ 6637396 w 54"/>
                  <a:gd name="T31" fmla="*/ 90917509 h 39"/>
                  <a:gd name="T32" fmla="*/ 7522633 w 54"/>
                  <a:gd name="T33" fmla="*/ 88524617 h 39"/>
                  <a:gd name="T34" fmla="*/ 8628474 w 54"/>
                  <a:gd name="T35" fmla="*/ 83740381 h 39"/>
                  <a:gd name="T36" fmla="*/ 9513711 w 54"/>
                  <a:gd name="T37" fmla="*/ 78954597 h 39"/>
                  <a:gd name="T38" fmla="*/ 10398478 w 54"/>
                  <a:gd name="T39" fmla="*/ 71777469 h 39"/>
                  <a:gd name="T40" fmla="*/ 11062641 w 54"/>
                  <a:gd name="T41" fmla="*/ 62207449 h 39"/>
                  <a:gd name="T42" fmla="*/ 11504789 w 54"/>
                  <a:gd name="T43" fmla="*/ 52635883 h 39"/>
                  <a:gd name="T44" fmla="*/ 11947407 w 54"/>
                  <a:gd name="T45" fmla="*/ 43065863 h 39"/>
                  <a:gd name="T46" fmla="*/ 11283715 w 54"/>
                  <a:gd name="T47" fmla="*/ 40674518 h 39"/>
                  <a:gd name="T48" fmla="*/ 10620022 w 54"/>
                  <a:gd name="T49" fmla="*/ 38281626 h 39"/>
                  <a:gd name="T50" fmla="*/ 9734785 w 54"/>
                  <a:gd name="T51" fmla="*/ 33495843 h 39"/>
                  <a:gd name="T52" fmla="*/ 9292637 w 54"/>
                  <a:gd name="T53" fmla="*/ 26318715 h 39"/>
                  <a:gd name="T54" fmla="*/ 8628474 w 54"/>
                  <a:gd name="T55" fmla="*/ 19140040 h 39"/>
                  <a:gd name="T56" fmla="*/ 8186326 w 54"/>
                  <a:gd name="T57" fmla="*/ 11962912 h 39"/>
                  <a:gd name="T58" fmla="*/ 7522633 w 54"/>
                  <a:gd name="T59" fmla="*/ 4785783 h 39"/>
                  <a:gd name="T60" fmla="*/ 7522633 w 54"/>
                  <a:gd name="T61" fmla="*/ 0 h 39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54" h="39">
                    <a:moveTo>
                      <a:pt x="34" y="0"/>
                    </a:moveTo>
                    <a:lnTo>
                      <a:pt x="20" y="4"/>
                    </a:lnTo>
                    <a:lnTo>
                      <a:pt x="10" y="10"/>
                    </a:lnTo>
                    <a:lnTo>
                      <a:pt x="6" y="13"/>
                    </a:lnTo>
                    <a:lnTo>
                      <a:pt x="4" y="16"/>
                    </a:lnTo>
                    <a:lnTo>
                      <a:pt x="2" y="20"/>
                    </a:lnTo>
                    <a:lnTo>
                      <a:pt x="0" y="24"/>
                    </a:lnTo>
                    <a:lnTo>
                      <a:pt x="2" y="28"/>
                    </a:lnTo>
                    <a:lnTo>
                      <a:pt x="3" y="32"/>
                    </a:lnTo>
                    <a:lnTo>
                      <a:pt x="5" y="35"/>
                    </a:lnTo>
                    <a:lnTo>
                      <a:pt x="8" y="37"/>
                    </a:lnTo>
                    <a:lnTo>
                      <a:pt x="11" y="38"/>
                    </a:lnTo>
                    <a:lnTo>
                      <a:pt x="16" y="39"/>
                    </a:lnTo>
                    <a:lnTo>
                      <a:pt x="20" y="39"/>
                    </a:lnTo>
                    <a:lnTo>
                      <a:pt x="25" y="39"/>
                    </a:lnTo>
                    <a:lnTo>
                      <a:pt x="30" y="38"/>
                    </a:lnTo>
                    <a:lnTo>
                      <a:pt x="34" y="37"/>
                    </a:lnTo>
                    <a:lnTo>
                      <a:pt x="39" y="35"/>
                    </a:lnTo>
                    <a:lnTo>
                      <a:pt x="43" y="33"/>
                    </a:lnTo>
                    <a:lnTo>
                      <a:pt x="47" y="30"/>
                    </a:lnTo>
                    <a:lnTo>
                      <a:pt x="50" y="26"/>
                    </a:lnTo>
                    <a:lnTo>
                      <a:pt x="52" y="22"/>
                    </a:lnTo>
                    <a:lnTo>
                      <a:pt x="54" y="18"/>
                    </a:lnTo>
                    <a:lnTo>
                      <a:pt x="51" y="17"/>
                    </a:lnTo>
                    <a:lnTo>
                      <a:pt x="48" y="16"/>
                    </a:lnTo>
                    <a:lnTo>
                      <a:pt x="44" y="14"/>
                    </a:lnTo>
                    <a:lnTo>
                      <a:pt x="42" y="11"/>
                    </a:lnTo>
                    <a:lnTo>
                      <a:pt x="39" y="8"/>
                    </a:lnTo>
                    <a:lnTo>
                      <a:pt x="37" y="5"/>
                    </a:lnTo>
                    <a:lnTo>
                      <a:pt x="34" y="2"/>
                    </a:lnTo>
                    <a:lnTo>
                      <a:pt x="3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0" name="Freeform 201">
                <a:extLst>
                  <a:ext uri="{FF2B5EF4-FFF2-40B4-BE49-F238E27FC236}">
                    <a16:creationId xmlns:a16="http://schemas.microsoft.com/office/drawing/2014/main" id="{F7C64817-57B9-4288-8EC7-FF993901C0A6}"/>
                  </a:ext>
                </a:extLst>
              </p:cNvPr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auto">
              <a:xfrm>
                <a:off x="2123866" y="6396920"/>
                <a:ext cx="34387" cy="66803"/>
              </a:xfrm>
              <a:custGeom>
                <a:avLst/>
                <a:gdLst>
                  <a:gd name="T0" fmla="*/ 0 w 60"/>
                  <a:gd name="T1" fmla="*/ 168675957 h 15"/>
                  <a:gd name="T2" fmla="*/ 2268379 w 60"/>
                  <a:gd name="T3" fmla="*/ 199341109 h 15"/>
                  <a:gd name="T4" fmla="*/ 4082891 w 60"/>
                  <a:gd name="T5" fmla="*/ 214675642 h 15"/>
                  <a:gd name="T6" fmla="*/ 6124099 w 60"/>
                  <a:gd name="T7" fmla="*/ 230010176 h 15"/>
                  <a:gd name="T8" fmla="*/ 7938611 w 60"/>
                  <a:gd name="T9" fmla="*/ 230010176 h 15"/>
                  <a:gd name="T10" fmla="*/ 9299258 w 60"/>
                  <a:gd name="T11" fmla="*/ 214675642 h 15"/>
                  <a:gd name="T12" fmla="*/ 10887075 w 60"/>
                  <a:gd name="T13" fmla="*/ 184006575 h 15"/>
                  <a:gd name="T14" fmla="*/ 12474893 w 60"/>
                  <a:gd name="T15" fmla="*/ 138006889 h 15"/>
                  <a:gd name="T16" fmla="*/ 13608844 w 60"/>
                  <a:gd name="T17" fmla="*/ 76668753 h 15"/>
                  <a:gd name="T18" fmla="*/ 12928283 w 60"/>
                  <a:gd name="T19" fmla="*/ 46003602 h 15"/>
                  <a:gd name="T20" fmla="*/ 12248198 w 60"/>
                  <a:gd name="T21" fmla="*/ 0 h 15"/>
                  <a:gd name="T22" fmla="*/ 11567636 w 60"/>
                  <a:gd name="T23" fmla="*/ 0 h 15"/>
                  <a:gd name="T24" fmla="*/ 10660380 w 60"/>
                  <a:gd name="T25" fmla="*/ 0 h 15"/>
                  <a:gd name="T26" fmla="*/ 9072563 w 60"/>
                  <a:gd name="T27" fmla="*/ 0 h 15"/>
                  <a:gd name="T28" fmla="*/ 7484745 w 60"/>
                  <a:gd name="T29" fmla="*/ 46003602 h 15"/>
                  <a:gd name="T30" fmla="*/ 5443538 w 60"/>
                  <a:gd name="T31" fmla="*/ 92003287 h 15"/>
                  <a:gd name="T32" fmla="*/ 3629025 w 60"/>
                  <a:gd name="T33" fmla="*/ 122672355 h 15"/>
                  <a:gd name="T34" fmla="*/ 1587818 w 60"/>
                  <a:gd name="T35" fmla="*/ 153341423 h 15"/>
                  <a:gd name="T36" fmla="*/ 0 w 60"/>
                  <a:gd name="T37" fmla="*/ 168675957 h 1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0" h="15">
                    <a:moveTo>
                      <a:pt x="0" y="11"/>
                    </a:moveTo>
                    <a:lnTo>
                      <a:pt x="10" y="13"/>
                    </a:lnTo>
                    <a:lnTo>
                      <a:pt x="18" y="14"/>
                    </a:lnTo>
                    <a:lnTo>
                      <a:pt x="27" y="15"/>
                    </a:lnTo>
                    <a:lnTo>
                      <a:pt x="35" y="15"/>
                    </a:lnTo>
                    <a:lnTo>
                      <a:pt x="41" y="14"/>
                    </a:lnTo>
                    <a:lnTo>
                      <a:pt x="48" y="12"/>
                    </a:lnTo>
                    <a:lnTo>
                      <a:pt x="55" y="9"/>
                    </a:lnTo>
                    <a:lnTo>
                      <a:pt x="60" y="5"/>
                    </a:lnTo>
                    <a:lnTo>
                      <a:pt x="57" y="3"/>
                    </a:lnTo>
                    <a:lnTo>
                      <a:pt x="54" y="0"/>
                    </a:lnTo>
                    <a:lnTo>
                      <a:pt x="51" y="0"/>
                    </a:lnTo>
                    <a:lnTo>
                      <a:pt x="47" y="0"/>
                    </a:lnTo>
                    <a:lnTo>
                      <a:pt x="40" y="0"/>
                    </a:lnTo>
                    <a:lnTo>
                      <a:pt x="33" y="3"/>
                    </a:lnTo>
                    <a:lnTo>
                      <a:pt x="24" y="6"/>
                    </a:lnTo>
                    <a:lnTo>
                      <a:pt x="16" y="8"/>
                    </a:lnTo>
                    <a:lnTo>
                      <a:pt x="7" y="10"/>
                    </a:lnTo>
                    <a:lnTo>
                      <a:pt x="0" y="1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1" name="Freeform 202">
                <a:extLst>
                  <a:ext uri="{FF2B5EF4-FFF2-40B4-BE49-F238E27FC236}">
                    <a16:creationId xmlns:a16="http://schemas.microsoft.com/office/drawing/2014/main" id="{39528AC3-5A51-4C4A-9261-E3A73B8E9EB3}"/>
                  </a:ext>
                </a:extLst>
              </p:cNvPr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auto">
              <a:xfrm>
                <a:off x="2094909" y="6382856"/>
                <a:ext cx="41627" cy="63287"/>
              </a:xfrm>
              <a:custGeom>
                <a:avLst/>
                <a:gdLst>
                  <a:gd name="T0" fmla="*/ 7123360 w 79"/>
                  <a:gd name="T1" fmla="*/ 0 h 32"/>
                  <a:gd name="T2" fmla="*/ 6054856 w 79"/>
                  <a:gd name="T3" fmla="*/ 3189684 h 32"/>
                  <a:gd name="T4" fmla="*/ 5342520 w 79"/>
                  <a:gd name="T5" fmla="*/ 6379369 h 32"/>
                  <a:gd name="T6" fmla="*/ 4452100 w 79"/>
                  <a:gd name="T7" fmla="*/ 12758738 h 32"/>
                  <a:gd name="T8" fmla="*/ 3561680 w 79"/>
                  <a:gd name="T9" fmla="*/ 19138106 h 32"/>
                  <a:gd name="T10" fmla="*/ 2671260 w 79"/>
                  <a:gd name="T11" fmla="*/ 28705373 h 32"/>
                  <a:gd name="T12" fmla="*/ 1780840 w 79"/>
                  <a:gd name="T13" fmla="*/ 35084742 h 32"/>
                  <a:gd name="T14" fmla="*/ 890420 w 79"/>
                  <a:gd name="T15" fmla="*/ 38274427 h 32"/>
                  <a:gd name="T16" fmla="*/ 0 w 79"/>
                  <a:gd name="T17" fmla="*/ 41464111 h 32"/>
                  <a:gd name="T18" fmla="*/ 890420 w 79"/>
                  <a:gd name="T19" fmla="*/ 66981586 h 32"/>
                  <a:gd name="T20" fmla="*/ 1780840 w 79"/>
                  <a:gd name="T21" fmla="*/ 82928222 h 32"/>
                  <a:gd name="T22" fmla="*/ 2137008 w 79"/>
                  <a:gd name="T23" fmla="*/ 92497275 h 32"/>
                  <a:gd name="T24" fmla="*/ 2671260 w 79"/>
                  <a:gd name="T25" fmla="*/ 98876644 h 32"/>
                  <a:gd name="T26" fmla="*/ 3205512 w 79"/>
                  <a:gd name="T27" fmla="*/ 98876644 h 32"/>
                  <a:gd name="T28" fmla="*/ 3561680 w 79"/>
                  <a:gd name="T29" fmla="*/ 102066328 h 32"/>
                  <a:gd name="T30" fmla="*/ 4808268 w 79"/>
                  <a:gd name="T31" fmla="*/ 98876644 h 32"/>
                  <a:gd name="T32" fmla="*/ 6054856 w 79"/>
                  <a:gd name="T33" fmla="*/ 95686959 h 32"/>
                  <a:gd name="T34" fmla="*/ 7301444 w 79"/>
                  <a:gd name="T35" fmla="*/ 86117906 h 32"/>
                  <a:gd name="T36" fmla="*/ 8548032 w 79"/>
                  <a:gd name="T37" fmla="*/ 76550639 h 32"/>
                  <a:gd name="T38" fmla="*/ 11041208 w 79"/>
                  <a:gd name="T39" fmla="*/ 57412533 h 32"/>
                  <a:gd name="T40" fmla="*/ 14068636 w 79"/>
                  <a:gd name="T41" fmla="*/ 41464111 h 32"/>
                  <a:gd name="T42" fmla="*/ 11931628 w 79"/>
                  <a:gd name="T43" fmla="*/ 19138106 h 32"/>
                  <a:gd name="T44" fmla="*/ 10328872 w 79"/>
                  <a:gd name="T45" fmla="*/ 6379369 h 32"/>
                  <a:gd name="T46" fmla="*/ 8726116 w 79"/>
                  <a:gd name="T47" fmla="*/ 3189684 h 32"/>
                  <a:gd name="T48" fmla="*/ 7123360 w 79"/>
                  <a:gd name="T49" fmla="*/ 0 h 3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32">
                    <a:moveTo>
                      <a:pt x="40" y="0"/>
                    </a:moveTo>
                    <a:lnTo>
                      <a:pt x="34" y="1"/>
                    </a:lnTo>
                    <a:lnTo>
                      <a:pt x="30" y="2"/>
                    </a:lnTo>
                    <a:lnTo>
                      <a:pt x="25" y="4"/>
                    </a:lnTo>
                    <a:lnTo>
                      <a:pt x="20" y="6"/>
                    </a:lnTo>
                    <a:lnTo>
                      <a:pt x="15" y="9"/>
                    </a:lnTo>
                    <a:lnTo>
                      <a:pt x="10" y="11"/>
                    </a:lnTo>
                    <a:lnTo>
                      <a:pt x="5" y="12"/>
                    </a:lnTo>
                    <a:lnTo>
                      <a:pt x="0" y="13"/>
                    </a:lnTo>
                    <a:lnTo>
                      <a:pt x="5" y="21"/>
                    </a:lnTo>
                    <a:lnTo>
                      <a:pt x="10" y="26"/>
                    </a:lnTo>
                    <a:lnTo>
                      <a:pt x="12" y="29"/>
                    </a:lnTo>
                    <a:lnTo>
                      <a:pt x="15" y="31"/>
                    </a:lnTo>
                    <a:lnTo>
                      <a:pt x="18" y="31"/>
                    </a:lnTo>
                    <a:lnTo>
                      <a:pt x="20" y="32"/>
                    </a:lnTo>
                    <a:lnTo>
                      <a:pt x="27" y="31"/>
                    </a:lnTo>
                    <a:lnTo>
                      <a:pt x="34" y="30"/>
                    </a:lnTo>
                    <a:lnTo>
                      <a:pt x="41" y="27"/>
                    </a:lnTo>
                    <a:lnTo>
                      <a:pt x="48" y="24"/>
                    </a:lnTo>
                    <a:lnTo>
                      <a:pt x="62" y="18"/>
                    </a:lnTo>
                    <a:lnTo>
                      <a:pt x="79" y="13"/>
                    </a:lnTo>
                    <a:lnTo>
                      <a:pt x="67" y="6"/>
                    </a:lnTo>
                    <a:lnTo>
                      <a:pt x="58" y="2"/>
                    </a:lnTo>
                    <a:lnTo>
                      <a:pt x="49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2" name="Freeform 203">
                <a:extLst>
                  <a:ext uri="{FF2B5EF4-FFF2-40B4-BE49-F238E27FC236}">
                    <a16:creationId xmlns:a16="http://schemas.microsoft.com/office/drawing/2014/main" id="{48B39F71-9B8F-4138-863D-9696D50E66F6}"/>
                  </a:ext>
                </a:extLst>
              </p:cNvPr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auto">
              <a:xfrm>
                <a:off x="2087670" y="6361760"/>
                <a:ext cx="36197" cy="63287"/>
              </a:xfrm>
              <a:custGeom>
                <a:avLst/>
                <a:gdLst>
                  <a:gd name="T0" fmla="*/ 6892703 w 66"/>
                  <a:gd name="T1" fmla="*/ 0 h 19"/>
                  <a:gd name="T2" fmla="*/ 5221398 w 66"/>
                  <a:gd name="T3" fmla="*/ 9047747 h 19"/>
                  <a:gd name="T4" fmla="*/ 3968263 w 66"/>
                  <a:gd name="T5" fmla="*/ 18095495 h 19"/>
                  <a:gd name="T6" fmla="*/ 2715127 w 66"/>
                  <a:gd name="T7" fmla="*/ 36190989 h 19"/>
                  <a:gd name="T8" fmla="*/ 1879703 w 66"/>
                  <a:gd name="T9" fmla="*/ 63331224 h 19"/>
                  <a:gd name="T10" fmla="*/ 1044280 w 66"/>
                  <a:gd name="T11" fmla="*/ 99522213 h 19"/>
                  <a:gd name="T12" fmla="*/ 417712 w 66"/>
                  <a:gd name="T13" fmla="*/ 126665455 h 19"/>
                  <a:gd name="T14" fmla="*/ 0 w 66"/>
                  <a:gd name="T15" fmla="*/ 153805689 h 19"/>
                  <a:gd name="T16" fmla="*/ 0 w 66"/>
                  <a:gd name="T17" fmla="*/ 171901184 h 19"/>
                  <a:gd name="T18" fmla="*/ 3968263 w 66"/>
                  <a:gd name="T19" fmla="*/ 171901184 h 19"/>
                  <a:gd name="T20" fmla="*/ 7936982 w 66"/>
                  <a:gd name="T21" fmla="*/ 171901184 h 19"/>
                  <a:gd name="T22" fmla="*/ 9607830 w 66"/>
                  <a:gd name="T23" fmla="*/ 162853437 h 19"/>
                  <a:gd name="T24" fmla="*/ 11278677 w 66"/>
                  <a:gd name="T25" fmla="*/ 153805689 h 19"/>
                  <a:gd name="T26" fmla="*/ 12740668 w 66"/>
                  <a:gd name="T27" fmla="*/ 135710195 h 19"/>
                  <a:gd name="T28" fmla="*/ 13784948 w 66"/>
                  <a:gd name="T29" fmla="*/ 117617708 h 19"/>
                  <a:gd name="T30" fmla="*/ 11905245 w 66"/>
                  <a:gd name="T31" fmla="*/ 72378971 h 19"/>
                  <a:gd name="T32" fmla="*/ 10443253 w 66"/>
                  <a:gd name="T33" fmla="*/ 36190989 h 19"/>
                  <a:gd name="T34" fmla="*/ 8772406 w 66"/>
                  <a:gd name="T35" fmla="*/ 9047747 h 19"/>
                  <a:gd name="T36" fmla="*/ 6892703 w 66"/>
                  <a:gd name="T37" fmla="*/ 0 h 1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6" h="19">
                    <a:moveTo>
                      <a:pt x="33" y="0"/>
                    </a:moveTo>
                    <a:lnTo>
                      <a:pt x="25" y="1"/>
                    </a:lnTo>
                    <a:lnTo>
                      <a:pt x="19" y="2"/>
                    </a:lnTo>
                    <a:lnTo>
                      <a:pt x="13" y="4"/>
                    </a:lnTo>
                    <a:lnTo>
                      <a:pt x="9" y="7"/>
                    </a:lnTo>
                    <a:lnTo>
                      <a:pt x="5" y="11"/>
                    </a:lnTo>
                    <a:lnTo>
                      <a:pt x="2" y="14"/>
                    </a:lnTo>
                    <a:lnTo>
                      <a:pt x="0" y="17"/>
                    </a:lnTo>
                    <a:lnTo>
                      <a:pt x="0" y="19"/>
                    </a:lnTo>
                    <a:lnTo>
                      <a:pt x="19" y="19"/>
                    </a:lnTo>
                    <a:lnTo>
                      <a:pt x="38" y="19"/>
                    </a:lnTo>
                    <a:lnTo>
                      <a:pt x="46" y="18"/>
                    </a:lnTo>
                    <a:lnTo>
                      <a:pt x="54" y="17"/>
                    </a:lnTo>
                    <a:lnTo>
                      <a:pt x="61" y="15"/>
                    </a:lnTo>
                    <a:lnTo>
                      <a:pt x="66" y="13"/>
                    </a:lnTo>
                    <a:lnTo>
                      <a:pt x="57" y="8"/>
                    </a:lnTo>
                    <a:lnTo>
                      <a:pt x="50" y="4"/>
                    </a:lnTo>
                    <a:lnTo>
                      <a:pt x="42" y="1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3" name="Freeform 204">
                <a:extLst>
                  <a:ext uri="{FF2B5EF4-FFF2-40B4-BE49-F238E27FC236}">
                    <a16:creationId xmlns:a16="http://schemas.microsoft.com/office/drawing/2014/main" id="{C30970EC-90D5-4A7F-B3E7-EFFA4790516F}"/>
                  </a:ext>
                </a:extLst>
              </p:cNvPr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auto">
              <a:xfrm>
                <a:off x="1966412" y="6013682"/>
                <a:ext cx="30766" cy="66803"/>
              </a:xfrm>
              <a:custGeom>
                <a:avLst/>
                <a:gdLst>
                  <a:gd name="T0" fmla="*/ 2985698 w 53"/>
                  <a:gd name="T1" fmla="*/ 0 h 80"/>
                  <a:gd name="T2" fmla="*/ 1837426 w 53"/>
                  <a:gd name="T3" fmla="*/ 2842816 h 80"/>
                  <a:gd name="T4" fmla="*/ 918713 w 53"/>
                  <a:gd name="T5" fmla="*/ 5686385 h 80"/>
                  <a:gd name="T6" fmla="*/ 459117 w 53"/>
                  <a:gd name="T7" fmla="*/ 7392075 h 80"/>
                  <a:gd name="T8" fmla="*/ 229558 w 53"/>
                  <a:gd name="T9" fmla="*/ 9097764 h 80"/>
                  <a:gd name="T10" fmla="*/ 0 w 53"/>
                  <a:gd name="T11" fmla="*/ 11372017 h 80"/>
                  <a:gd name="T12" fmla="*/ 0 w 53"/>
                  <a:gd name="T13" fmla="*/ 14215586 h 80"/>
                  <a:gd name="T14" fmla="*/ 0 w 53"/>
                  <a:gd name="T15" fmla="*/ 17058402 h 80"/>
                  <a:gd name="T16" fmla="*/ 459117 w 53"/>
                  <a:gd name="T17" fmla="*/ 22175470 h 80"/>
                  <a:gd name="T18" fmla="*/ 1377830 w 53"/>
                  <a:gd name="T19" fmla="*/ 27293292 h 80"/>
                  <a:gd name="T20" fmla="*/ 2066985 w 53"/>
                  <a:gd name="T21" fmla="*/ 32411114 h 80"/>
                  <a:gd name="T22" fmla="*/ 2985698 w 53"/>
                  <a:gd name="T23" fmla="*/ 37528183 h 80"/>
                  <a:gd name="T24" fmla="*/ 4593566 w 53"/>
                  <a:gd name="T25" fmla="*/ 41508878 h 80"/>
                  <a:gd name="T26" fmla="*/ 5052683 w 53"/>
                  <a:gd name="T27" fmla="*/ 43214568 h 80"/>
                  <a:gd name="T28" fmla="*/ 5971396 w 53"/>
                  <a:gd name="T29" fmla="*/ 44351694 h 80"/>
                  <a:gd name="T30" fmla="*/ 6890109 w 53"/>
                  <a:gd name="T31" fmla="*/ 45488820 h 80"/>
                  <a:gd name="T32" fmla="*/ 7579264 w 53"/>
                  <a:gd name="T33" fmla="*/ 45488820 h 80"/>
                  <a:gd name="T34" fmla="*/ 8268419 w 53"/>
                  <a:gd name="T35" fmla="*/ 44920257 h 80"/>
                  <a:gd name="T36" fmla="*/ 8727536 w 53"/>
                  <a:gd name="T37" fmla="*/ 44351694 h 80"/>
                  <a:gd name="T38" fmla="*/ 9646249 w 53"/>
                  <a:gd name="T39" fmla="*/ 43214568 h 80"/>
                  <a:gd name="T40" fmla="*/ 10335404 w 53"/>
                  <a:gd name="T41" fmla="*/ 41508878 h 80"/>
                  <a:gd name="T42" fmla="*/ 11024558 w 53"/>
                  <a:gd name="T43" fmla="*/ 39802435 h 80"/>
                  <a:gd name="T44" fmla="*/ 11713713 w 53"/>
                  <a:gd name="T45" fmla="*/ 38096746 h 80"/>
                  <a:gd name="T46" fmla="*/ 12172830 w 53"/>
                  <a:gd name="T47" fmla="*/ 36391056 h 80"/>
                  <a:gd name="T48" fmla="*/ 12172830 w 53"/>
                  <a:gd name="T49" fmla="*/ 35253930 h 80"/>
                  <a:gd name="T50" fmla="*/ 11943272 w 53"/>
                  <a:gd name="T51" fmla="*/ 30704671 h 80"/>
                  <a:gd name="T52" fmla="*/ 11254117 w 53"/>
                  <a:gd name="T53" fmla="*/ 26724729 h 80"/>
                  <a:gd name="T54" fmla="*/ 10564962 w 53"/>
                  <a:gd name="T55" fmla="*/ 23881913 h 80"/>
                  <a:gd name="T56" fmla="*/ 9876287 w 53"/>
                  <a:gd name="T57" fmla="*/ 21038344 h 80"/>
                  <a:gd name="T58" fmla="*/ 9187132 w 53"/>
                  <a:gd name="T59" fmla="*/ 18195528 h 80"/>
                  <a:gd name="T60" fmla="*/ 8268419 w 53"/>
                  <a:gd name="T61" fmla="*/ 15352713 h 80"/>
                  <a:gd name="T62" fmla="*/ 7808823 w 53"/>
                  <a:gd name="T63" fmla="*/ 11372017 h 80"/>
                  <a:gd name="T64" fmla="*/ 7579264 w 53"/>
                  <a:gd name="T65" fmla="*/ 6823512 h 80"/>
                  <a:gd name="T66" fmla="*/ 7579264 w 53"/>
                  <a:gd name="T67" fmla="*/ 5686385 h 80"/>
                  <a:gd name="T68" fmla="*/ 7120147 w 53"/>
                  <a:gd name="T69" fmla="*/ 4549259 h 80"/>
                  <a:gd name="T70" fmla="*/ 6660551 w 53"/>
                  <a:gd name="T71" fmla="*/ 3411379 h 80"/>
                  <a:gd name="T72" fmla="*/ 5741838 w 53"/>
                  <a:gd name="T73" fmla="*/ 2274253 h 80"/>
                  <a:gd name="T74" fmla="*/ 4364008 w 53"/>
                  <a:gd name="T75" fmla="*/ 568563 h 80"/>
                  <a:gd name="T76" fmla="*/ 2985698 w 53"/>
                  <a:gd name="T77" fmla="*/ 0 h 80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53" h="80">
                    <a:moveTo>
                      <a:pt x="13" y="0"/>
                    </a:moveTo>
                    <a:lnTo>
                      <a:pt x="8" y="5"/>
                    </a:lnTo>
                    <a:lnTo>
                      <a:pt x="4" y="10"/>
                    </a:lnTo>
                    <a:lnTo>
                      <a:pt x="2" y="13"/>
                    </a:lnTo>
                    <a:lnTo>
                      <a:pt x="1" y="16"/>
                    </a:lnTo>
                    <a:lnTo>
                      <a:pt x="0" y="20"/>
                    </a:lnTo>
                    <a:lnTo>
                      <a:pt x="0" y="25"/>
                    </a:lnTo>
                    <a:lnTo>
                      <a:pt x="0" y="30"/>
                    </a:lnTo>
                    <a:lnTo>
                      <a:pt x="2" y="39"/>
                    </a:lnTo>
                    <a:lnTo>
                      <a:pt x="6" y="48"/>
                    </a:lnTo>
                    <a:lnTo>
                      <a:pt x="9" y="57"/>
                    </a:lnTo>
                    <a:lnTo>
                      <a:pt x="13" y="66"/>
                    </a:lnTo>
                    <a:lnTo>
                      <a:pt x="20" y="73"/>
                    </a:lnTo>
                    <a:lnTo>
                      <a:pt x="22" y="76"/>
                    </a:lnTo>
                    <a:lnTo>
                      <a:pt x="26" y="78"/>
                    </a:lnTo>
                    <a:lnTo>
                      <a:pt x="30" y="80"/>
                    </a:lnTo>
                    <a:lnTo>
                      <a:pt x="33" y="80"/>
                    </a:lnTo>
                    <a:lnTo>
                      <a:pt x="36" y="79"/>
                    </a:lnTo>
                    <a:lnTo>
                      <a:pt x="38" y="78"/>
                    </a:lnTo>
                    <a:lnTo>
                      <a:pt x="42" y="76"/>
                    </a:lnTo>
                    <a:lnTo>
                      <a:pt x="45" y="73"/>
                    </a:lnTo>
                    <a:lnTo>
                      <a:pt x="48" y="70"/>
                    </a:lnTo>
                    <a:lnTo>
                      <a:pt x="51" y="67"/>
                    </a:lnTo>
                    <a:lnTo>
                      <a:pt x="53" y="64"/>
                    </a:lnTo>
                    <a:lnTo>
                      <a:pt x="53" y="62"/>
                    </a:lnTo>
                    <a:lnTo>
                      <a:pt x="52" y="54"/>
                    </a:lnTo>
                    <a:lnTo>
                      <a:pt x="49" y="47"/>
                    </a:lnTo>
                    <a:lnTo>
                      <a:pt x="46" y="42"/>
                    </a:lnTo>
                    <a:lnTo>
                      <a:pt x="43" y="37"/>
                    </a:lnTo>
                    <a:lnTo>
                      <a:pt x="40" y="32"/>
                    </a:lnTo>
                    <a:lnTo>
                      <a:pt x="36" y="27"/>
                    </a:lnTo>
                    <a:lnTo>
                      <a:pt x="34" y="20"/>
                    </a:lnTo>
                    <a:lnTo>
                      <a:pt x="33" y="12"/>
                    </a:lnTo>
                    <a:lnTo>
                      <a:pt x="33" y="10"/>
                    </a:lnTo>
                    <a:lnTo>
                      <a:pt x="31" y="8"/>
                    </a:lnTo>
                    <a:lnTo>
                      <a:pt x="29" y="6"/>
                    </a:lnTo>
                    <a:lnTo>
                      <a:pt x="25" y="4"/>
                    </a:lnTo>
                    <a:lnTo>
                      <a:pt x="19" y="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4" name="Freeform 205">
                <a:extLst>
                  <a:ext uri="{FF2B5EF4-FFF2-40B4-BE49-F238E27FC236}">
                    <a16:creationId xmlns:a16="http://schemas.microsoft.com/office/drawing/2014/main" id="{06440A4D-70AA-470C-97F4-E80CED7F9498}"/>
                  </a:ext>
                </a:extLst>
              </p:cNvPr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auto">
              <a:xfrm>
                <a:off x="2004418" y="6120917"/>
                <a:ext cx="19909" cy="59771"/>
              </a:xfrm>
              <a:custGeom>
                <a:avLst/>
                <a:gdLst>
                  <a:gd name="T0" fmla="*/ 0 w 41"/>
                  <a:gd name="T1" fmla="*/ 67751177 h 43"/>
                  <a:gd name="T2" fmla="*/ 4898159 w 41"/>
                  <a:gd name="T3" fmla="*/ 67751177 h 43"/>
                  <a:gd name="T4" fmla="*/ 7437960 w 41"/>
                  <a:gd name="T5" fmla="*/ 37815136 h 43"/>
                  <a:gd name="T6" fmla="*/ 6893626 w 41"/>
                  <a:gd name="T7" fmla="*/ 18907568 h 43"/>
                  <a:gd name="T8" fmla="*/ 6168272 w 41"/>
                  <a:gd name="T9" fmla="*/ 0 h 43"/>
                  <a:gd name="T10" fmla="*/ 4898159 w 41"/>
                  <a:gd name="T11" fmla="*/ 6302523 h 43"/>
                  <a:gd name="T12" fmla="*/ 3628471 w 41"/>
                  <a:gd name="T13" fmla="*/ 14180362 h 43"/>
                  <a:gd name="T14" fmla="*/ 2721247 w 41"/>
                  <a:gd name="T15" fmla="*/ 22058202 h 43"/>
                  <a:gd name="T16" fmla="*/ 1814022 w 41"/>
                  <a:gd name="T17" fmla="*/ 29936041 h 43"/>
                  <a:gd name="T18" fmla="*/ 1088669 w 41"/>
                  <a:gd name="T19" fmla="*/ 37815136 h 43"/>
                  <a:gd name="T20" fmla="*/ 544334 w 41"/>
                  <a:gd name="T21" fmla="*/ 47268292 h 43"/>
                  <a:gd name="T22" fmla="*/ 181445 w 41"/>
                  <a:gd name="T23" fmla="*/ 58298021 h 43"/>
                  <a:gd name="T24" fmla="*/ 0 w 41"/>
                  <a:gd name="T25" fmla="*/ 67751177 h 4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41" h="43">
                    <a:moveTo>
                      <a:pt x="0" y="43"/>
                    </a:moveTo>
                    <a:lnTo>
                      <a:pt x="27" y="43"/>
                    </a:lnTo>
                    <a:lnTo>
                      <a:pt x="41" y="24"/>
                    </a:lnTo>
                    <a:lnTo>
                      <a:pt x="38" y="12"/>
                    </a:lnTo>
                    <a:lnTo>
                      <a:pt x="34" y="0"/>
                    </a:lnTo>
                    <a:lnTo>
                      <a:pt x="27" y="4"/>
                    </a:lnTo>
                    <a:lnTo>
                      <a:pt x="20" y="9"/>
                    </a:lnTo>
                    <a:lnTo>
                      <a:pt x="15" y="14"/>
                    </a:lnTo>
                    <a:lnTo>
                      <a:pt x="10" y="19"/>
                    </a:lnTo>
                    <a:lnTo>
                      <a:pt x="6" y="24"/>
                    </a:lnTo>
                    <a:lnTo>
                      <a:pt x="3" y="30"/>
                    </a:lnTo>
                    <a:lnTo>
                      <a:pt x="1" y="37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5" name="Freeform 206">
                <a:extLst>
                  <a:ext uri="{FF2B5EF4-FFF2-40B4-BE49-F238E27FC236}">
                    <a16:creationId xmlns:a16="http://schemas.microsoft.com/office/drawing/2014/main" id="{62D9C739-B196-474B-81CE-28CEDDC05941}"/>
                  </a:ext>
                </a:extLst>
              </p:cNvPr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auto">
              <a:xfrm>
                <a:off x="2009848" y="6145529"/>
                <a:ext cx="9049" cy="65046"/>
              </a:xfrm>
              <a:custGeom>
                <a:avLst/>
                <a:gdLst>
                  <a:gd name="T0" fmla="*/ 3149798 w 20"/>
                  <a:gd name="T1" fmla="*/ 0 h 24"/>
                  <a:gd name="T2" fmla="*/ 0 w 20"/>
                  <a:gd name="T3" fmla="*/ 0 h 24"/>
                  <a:gd name="T4" fmla="*/ 157549 w 20"/>
                  <a:gd name="T5" fmla="*/ 29948528 h 24"/>
                  <a:gd name="T6" fmla="*/ 315099 w 20"/>
                  <a:gd name="T7" fmla="*/ 53905882 h 24"/>
                  <a:gd name="T8" fmla="*/ 629801 w 20"/>
                  <a:gd name="T9" fmla="*/ 77865683 h 24"/>
                  <a:gd name="T10" fmla="*/ 1102449 w 20"/>
                  <a:gd name="T11" fmla="*/ 101823037 h 24"/>
                  <a:gd name="T12" fmla="*/ 1575098 w 20"/>
                  <a:gd name="T13" fmla="*/ 119794112 h 24"/>
                  <a:gd name="T14" fmla="*/ 2204899 w 20"/>
                  <a:gd name="T15" fmla="*/ 131771565 h 24"/>
                  <a:gd name="T16" fmla="*/ 2677150 w 20"/>
                  <a:gd name="T17" fmla="*/ 143751465 h 24"/>
                  <a:gd name="T18" fmla="*/ 3149798 w 20"/>
                  <a:gd name="T19" fmla="*/ 143751465 h 24"/>
                  <a:gd name="T20" fmla="*/ 3149798 w 20"/>
                  <a:gd name="T21" fmla="*/ 0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0" h="24">
                    <a:moveTo>
                      <a:pt x="20" y="0"/>
                    </a:moveTo>
                    <a:lnTo>
                      <a:pt x="0" y="0"/>
                    </a:lnTo>
                    <a:lnTo>
                      <a:pt x="1" y="5"/>
                    </a:lnTo>
                    <a:lnTo>
                      <a:pt x="2" y="9"/>
                    </a:lnTo>
                    <a:lnTo>
                      <a:pt x="4" y="13"/>
                    </a:lnTo>
                    <a:lnTo>
                      <a:pt x="7" y="17"/>
                    </a:lnTo>
                    <a:lnTo>
                      <a:pt x="10" y="20"/>
                    </a:lnTo>
                    <a:lnTo>
                      <a:pt x="14" y="22"/>
                    </a:lnTo>
                    <a:lnTo>
                      <a:pt x="17" y="24"/>
                    </a:lnTo>
                    <a:lnTo>
                      <a:pt x="20" y="24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6" name="Freeform 207">
                <a:extLst>
                  <a:ext uri="{FF2B5EF4-FFF2-40B4-BE49-F238E27FC236}">
                    <a16:creationId xmlns:a16="http://schemas.microsoft.com/office/drawing/2014/main" id="{2AE00790-9109-4E04-BAAA-6FE3358BD833}"/>
                  </a:ext>
                </a:extLst>
              </p:cNvPr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auto">
              <a:xfrm>
                <a:off x="2026136" y="6214090"/>
                <a:ext cx="21718" cy="68560"/>
              </a:xfrm>
              <a:custGeom>
                <a:avLst/>
                <a:gdLst>
                  <a:gd name="T0" fmla="*/ 0 w 39"/>
                  <a:gd name="T1" fmla="*/ 23617939 h 43"/>
                  <a:gd name="T2" fmla="*/ 401201 w 39"/>
                  <a:gd name="T3" fmla="*/ 33457928 h 43"/>
                  <a:gd name="T4" fmla="*/ 1203156 w 39"/>
                  <a:gd name="T5" fmla="*/ 43299321 h 43"/>
                  <a:gd name="T6" fmla="*/ 2405864 w 39"/>
                  <a:gd name="T7" fmla="*/ 53139310 h 43"/>
                  <a:gd name="T8" fmla="*/ 3207819 w 39"/>
                  <a:gd name="T9" fmla="*/ 62980703 h 43"/>
                  <a:gd name="T10" fmla="*/ 4611575 w 39"/>
                  <a:gd name="T11" fmla="*/ 72822095 h 43"/>
                  <a:gd name="T12" fmla="*/ 5614131 w 39"/>
                  <a:gd name="T13" fmla="*/ 78725528 h 43"/>
                  <a:gd name="T14" fmla="*/ 6816839 w 39"/>
                  <a:gd name="T15" fmla="*/ 84630363 h 43"/>
                  <a:gd name="T16" fmla="*/ 7819394 w 39"/>
                  <a:gd name="T17" fmla="*/ 84630363 h 43"/>
                  <a:gd name="T18" fmla="*/ 7618793 w 39"/>
                  <a:gd name="T19" fmla="*/ 62980703 h 43"/>
                  <a:gd name="T20" fmla="*/ 7218040 w 39"/>
                  <a:gd name="T21" fmla="*/ 37394485 h 43"/>
                  <a:gd name="T22" fmla="*/ 6816839 w 39"/>
                  <a:gd name="T23" fmla="*/ 15744825 h 43"/>
                  <a:gd name="T24" fmla="*/ 6416085 w 39"/>
                  <a:gd name="T25" fmla="*/ 0 h 43"/>
                  <a:gd name="T26" fmla="*/ 3809621 w 39"/>
                  <a:gd name="T27" fmla="*/ 5904835 h 43"/>
                  <a:gd name="T28" fmla="*/ 1203156 w 39"/>
                  <a:gd name="T29" fmla="*/ 11808268 h 43"/>
                  <a:gd name="T30" fmla="*/ 0 w 39"/>
                  <a:gd name="T31" fmla="*/ 23617939 h 4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39" h="43">
                    <a:moveTo>
                      <a:pt x="0" y="12"/>
                    </a:moveTo>
                    <a:lnTo>
                      <a:pt x="2" y="17"/>
                    </a:lnTo>
                    <a:lnTo>
                      <a:pt x="6" y="22"/>
                    </a:lnTo>
                    <a:lnTo>
                      <a:pt x="12" y="27"/>
                    </a:lnTo>
                    <a:lnTo>
                      <a:pt x="16" y="32"/>
                    </a:lnTo>
                    <a:lnTo>
                      <a:pt x="23" y="37"/>
                    </a:lnTo>
                    <a:lnTo>
                      <a:pt x="28" y="40"/>
                    </a:lnTo>
                    <a:lnTo>
                      <a:pt x="34" y="43"/>
                    </a:lnTo>
                    <a:lnTo>
                      <a:pt x="39" y="43"/>
                    </a:lnTo>
                    <a:lnTo>
                      <a:pt x="38" y="32"/>
                    </a:lnTo>
                    <a:lnTo>
                      <a:pt x="36" y="19"/>
                    </a:lnTo>
                    <a:lnTo>
                      <a:pt x="34" y="8"/>
                    </a:lnTo>
                    <a:lnTo>
                      <a:pt x="32" y="0"/>
                    </a:lnTo>
                    <a:lnTo>
                      <a:pt x="19" y="3"/>
                    </a:lnTo>
                    <a:lnTo>
                      <a:pt x="6" y="6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7" name="Freeform 208">
                <a:extLst>
                  <a:ext uri="{FF2B5EF4-FFF2-40B4-BE49-F238E27FC236}">
                    <a16:creationId xmlns:a16="http://schemas.microsoft.com/office/drawing/2014/main" id="{C906FFE2-D300-4565-81D0-1D7C5E512E76}"/>
                  </a:ext>
                </a:extLst>
              </p:cNvPr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auto">
              <a:xfrm>
                <a:off x="2011657" y="6229912"/>
                <a:ext cx="32577" cy="65046"/>
              </a:xfrm>
              <a:custGeom>
                <a:avLst/>
                <a:gdLst>
                  <a:gd name="T0" fmla="*/ 6982532 w 55"/>
                  <a:gd name="T1" fmla="*/ 23336039 h 62"/>
                  <a:gd name="T2" fmla="*/ 1926453 w 55"/>
                  <a:gd name="T3" fmla="*/ 0 h 62"/>
                  <a:gd name="T4" fmla="*/ 963226 w 55"/>
                  <a:gd name="T5" fmla="*/ 4487773 h 62"/>
                  <a:gd name="T6" fmla="*/ 240929 w 55"/>
                  <a:gd name="T7" fmla="*/ 9872721 h 62"/>
                  <a:gd name="T8" fmla="*/ 0 w 55"/>
                  <a:gd name="T9" fmla="*/ 14360494 h 62"/>
                  <a:gd name="T10" fmla="*/ 0 w 55"/>
                  <a:gd name="T11" fmla="*/ 18848266 h 62"/>
                  <a:gd name="T12" fmla="*/ 481368 w 55"/>
                  <a:gd name="T13" fmla="*/ 23336039 h 62"/>
                  <a:gd name="T14" fmla="*/ 963226 w 55"/>
                  <a:gd name="T15" fmla="*/ 27823812 h 62"/>
                  <a:gd name="T16" fmla="*/ 1926453 w 55"/>
                  <a:gd name="T17" fmla="*/ 32311584 h 62"/>
                  <a:gd name="T18" fmla="*/ 2648750 w 55"/>
                  <a:gd name="T19" fmla="*/ 36799357 h 62"/>
                  <a:gd name="T20" fmla="*/ 3852414 w 55"/>
                  <a:gd name="T21" fmla="*/ 40389007 h 62"/>
                  <a:gd name="T22" fmla="*/ 5056570 w 55"/>
                  <a:gd name="T23" fmla="*/ 43979604 h 62"/>
                  <a:gd name="T24" fmla="*/ 6260235 w 55"/>
                  <a:gd name="T25" fmla="*/ 47570201 h 62"/>
                  <a:gd name="T26" fmla="*/ 7945758 w 55"/>
                  <a:gd name="T27" fmla="*/ 50262675 h 62"/>
                  <a:gd name="T28" fmla="*/ 9149423 w 55"/>
                  <a:gd name="T29" fmla="*/ 52057026 h 62"/>
                  <a:gd name="T30" fmla="*/ 10594017 w 55"/>
                  <a:gd name="T31" fmla="*/ 53852325 h 62"/>
                  <a:gd name="T32" fmla="*/ 11798172 w 55"/>
                  <a:gd name="T33" fmla="*/ 54750448 h 62"/>
                  <a:gd name="T34" fmla="*/ 13242766 w 55"/>
                  <a:gd name="T35" fmla="*/ 55647623 h 62"/>
                  <a:gd name="T36" fmla="*/ 13001837 w 55"/>
                  <a:gd name="T37" fmla="*/ 47570201 h 62"/>
                  <a:gd name="T38" fmla="*/ 12761398 w 55"/>
                  <a:gd name="T39" fmla="*/ 41287130 h 62"/>
                  <a:gd name="T40" fmla="*/ 11798172 w 55"/>
                  <a:gd name="T41" fmla="*/ 35901234 h 62"/>
                  <a:gd name="T42" fmla="*/ 11075875 w 55"/>
                  <a:gd name="T43" fmla="*/ 31414409 h 62"/>
                  <a:gd name="T44" fmla="*/ 10353578 w 55"/>
                  <a:gd name="T45" fmla="*/ 27823812 h 62"/>
                  <a:gd name="T46" fmla="*/ 9149423 w 55"/>
                  <a:gd name="T47" fmla="*/ 25131338 h 62"/>
                  <a:gd name="T48" fmla="*/ 7945758 w 55"/>
                  <a:gd name="T49" fmla="*/ 23336039 h 62"/>
                  <a:gd name="T50" fmla="*/ 6982532 w 55"/>
                  <a:gd name="T51" fmla="*/ 23336039 h 6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55" h="62">
                    <a:moveTo>
                      <a:pt x="29" y="26"/>
                    </a:moveTo>
                    <a:lnTo>
                      <a:pt x="8" y="0"/>
                    </a:lnTo>
                    <a:lnTo>
                      <a:pt x="4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0" y="21"/>
                    </a:lnTo>
                    <a:lnTo>
                      <a:pt x="2" y="26"/>
                    </a:lnTo>
                    <a:lnTo>
                      <a:pt x="4" y="31"/>
                    </a:lnTo>
                    <a:lnTo>
                      <a:pt x="8" y="36"/>
                    </a:lnTo>
                    <a:lnTo>
                      <a:pt x="11" y="41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6" y="53"/>
                    </a:lnTo>
                    <a:lnTo>
                      <a:pt x="33" y="56"/>
                    </a:lnTo>
                    <a:lnTo>
                      <a:pt x="38" y="58"/>
                    </a:lnTo>
                    <a:lnTo>
                      <a:pt x="44" y="60"/>
                    </a:lnTo>
                    <a:lnTo>
                      <a:pt x="49" y="61"/>
                    </a:lnTo>
                    <a:lnTo>
                      <a:pt x="55" y="62"/>
                    </a:lnTo>
                    <a:lnTo>
                      <a:pt x="54" y="53"/>
                    </a:lnTo>
                    <a:lnTo>
                      <a:pt x="53" y="46"/>
                    </a:lnTo>
                    <a:lnTo>
                      <a:pt x="49" y="40"/>
                    </a:lnTo>
                    <a:lnTo>
                      <a:pt x="46" y="35"/>
                    </a:lnTo>
                    <a:lnTo>
                      <a:pt x="43" y="31"/>
                    </a:lnTo>
                    <a:lnTo>
                      <a:pt x="38" y="28"/>
                    </a:lnTo>
                    <a:lnTo>
                      <a:pt x="33" y="26"/>
                    </a:lnTo>
                    <a:lnTo>
                      <a:pt x="29" y="2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8" name="Freeform 209">
                <a:extLst>
                  <a:ext uri="{FF2B5EF4-FFF2-40B4-BE49-F238E27FC236}">
                    <a16:creationId xmlns:a16="http://schemas.microsoft.com/office/drawing/2014/main" id="{917DE68B-B5EE-459F-BD8F-40F02DE54123}"/>
                  </a:ext>
                </a:extLst>
              </p:cNvPr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auto">
              <a:xfrm>
                <a:off x="2047854" y="6266830"/>
                <a:ext cx="12669" cy="65044"/>
              </a:xfrm>
              <a:custGeom>
                <a:avLst/>
                <a:gdLst>
                  <a:gd name="T0" fmla="*/ 3326298 w 35"/>
                  <a:gd name="T1" fmla="*/ 24257015 h 43"/>
                  <a:gd name="T2" fmla="*/ 705453 w 35"/>
                  <a:gd name="T3" fmla="*/ 0 h 43"/>
                  <a:gd name="T4" fmla="*/ 403207 w 35"/>
                  <a:gd name="T5" fmla="*/ 14927394 h 43"/>
                  <a:gd name="T6" fmla="*/ 0 w 35"/>
                  <a:gd name="T7" fmla="*/ 35452560 h 43"/>
                  <a:gd name="T8" fmla="*/ 201603 w 35"/>
                  <a:gd name="T9" fmla="*/ 52244513 h 43"/>
                  <a:gd name="T10" fmla="*/ 503850 w 35"/>
                  <a:gd name="T11" fmla="*/ 67171906 h 43"/>
                  <a:gd name="T12" fmla="*/ 604810 w 35"/>
                  <a:gd name="T13" fmla="*/ 72769679 h 43"/>
                  <a:gd name="T14" fmla="*/ 806414 w 35"/>
                  <a:gd name="T15" fmla="*/ 76501528 h 43"/>
                  <a:gd name="T16" fmla="*/ 1108660 w 35"/>
                  <a:gd name="T17" fmla="*/ 80233376 h 43"/>
                  <a:gd name="T18" fmla="*/ 1411224 w 35"/>
                  <a:gd name="T19" fmla="*/ 80233376 h 43"/>
                  <a:gd name="T20" fmla="*/ 1814431 w 35"/>
                  <a:gd name="T21" fmla="*/ 80233376 h 43"/>
                  <a:gd name="T22" fmla="*/ 2217638 w 35"/>
                  <a:gd name="T23" fmla="*/ 78367452 h 43"/>
                  <a:gd name="T24" fmla="*/ 2620845 w 35"/>
                  <a:gd name="T25" fmla="*/ 76501528 h 43"/>
                  <a:gd name="T26" fmla="*/ 2822448 w 35"/>
                  <a:gd name="T27" fmla="*/ 72769679 h 43"/>
                  <a:gd name="T28" fmla="*/ 3124694 w 35"/>
                  <a:gd name="T29" fmla="*/ 65305982 h 43"/>
                  <a:gd name="T30" fmla="*/ 3326298 w 35"/>
                  <a:gd name="T31" fmla="*/ 55976361 h 43"/>
                  <a:gd name="T32" fmla="*/ 3527901 w 35"/>
                  <a:gd name="T33" fmla="*/ 37318485 h 43"/>
                  <a:gd name="T34" fmla="*/ 3326298 w 35"/>
                  <a:gd name="T35" fmla="*/ 24257015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5" h="43">
                    <a:moveTo>
                      <a:pt x="33" y="13"/>
                    </a:moveTo>
                    <a:lnTo>
                      <a:pt x="7" y="0"/>
                    </a:lnTo>
                    <a:lnTo>
                      <a:pt x="4" y="8"/>
                    </a:lnTo>
                    <a:lnTo>
                      <a:pt x="0" y="19"/>
                    </a:lnTo>
                    <a:lnTo>
                      <a:pt x="2" y="28"/>
                    </a:lnTo>
                    <a:lnTo>
                      <a:pt x="5" y="36"/>
                    </a:lnTo>
                    <a:lnTo>
                      <a:pt x="6" y="39"/>
                    </a:lnTo>
                    <a:lnTo>
                      <a:pt x="8" y="41"/>
                    </a:lnTo>
                    <a:lnTo>
                      <a:pt x="11" y="43"/>
                    </a:lnTo>
                    <a:lnTo>
                      <a:pt x="14" y="43"/>
                    </a:lnTo>
                    <a:lnTo>
                      <a:pt x="18" y="43"/>
                    </a:lnTo>
                    <a:lnTo>
                      <a:pt x="22" y="42"/>
                    </a:lnTo>
                    <a:lnTo>
                      <a:pt x="26" y="41"/>
                    </a:lnTo>
                    <a:lnTo>
                      <a:pt x="28" y="39"/>
                    </a:lnTo>
                    <a:lnTo>
                      <a:pt x="31" y="35"/>
                    </a:lnTo>
                    <a:lnTo>
                      <a:pt x="33" y="30"/>
                    </a:lnTo>
                    <a:lnTo>
                      <a:pt x="35" y="20"/>
                    </a:lnTo>
                    <a:lnTo>
                      <a:pt x="33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699" name="Freeform 210">
                <a:extLst>
                  <a:ext uri="{FF2B5EF4-FFF2-40B4-BE49-F238E27FC236}">
                    <a16:creationId xmlns:a16="http://schemas.microsoft.com/office/drawing/2014/main" id="{C6F89459-B4DB-4989-B8DA-20DF412B9BC8}"/>
                  </a:ext>
                </a:extLst>
              </p:cNvPr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auto">
              <a:xfrm>
                <a:off x="2044234" y="6303747"/>
                <a:ext cx="23528" cy="63287"/>
              </a:xfrm>
              <a:custGeom>
                <a:avLst/>
                <a:gdLst>
                  <a:gd name="T0" fmla="*/ 8035581 w 53"/>
                  <a:gd name="T1" fmla="*/ 0 h 21"/>
                  <a:gd name="T2" fmla="*/ 6216020 w 53"/>
                  <a:gd name="T3" fmla="*/ 7000938 h 21"/>
                  <a:gd name="T4" fmla="*/ 4851642 w 53"/>
                  <a:gd name="T5" fmla="*/ 14001876 h 21"/>
                  <a:gd name="T6" fmla="*/ 3790199 w 53"/>
                  <a:gd name="T7" fmla="*/ 35002044 h 21"/>
                  <a:gd name="T8" fmla="*/ 3183939 w 53"/>
                  <a:gd name="T9" fmla="*/ 49003920 h 21"/>
                  <a:gd name="T10" fmla="*/ 2577289 w 53"/>
                  <a:gd name="T11" fmla="*/ 70006734 h 21"/>
                  <a:gd name="T12" fmla="*/ 1971028 w 53"/>
                  <a:gd name="T13" fmla="*/ 91006902 h 21"/>
                  <a:gd name="T14" fmla="*/ 1212910 w 53"/>
                  <a:gd name="T15" fmla="*/ 112009716 h 21"/>
                  <a:gd name="T16" fmla="*/ 0 w 53"/>
                  <a:gd name="T17" fmla="*/ 126008946 h 21"/>
                  <a:gd name="T18" fmla="*/ 758118 w 53"/>
                  <a:gd name="T19" fmla="*/ 140010822 h 21"/>
                  <a:gd name="T20" fmla="*/ 1667703 w 53"/>
                  <a:gd name="T21" fmla="*/ 147011760 h 21"/>
                  <a:gd name="T22" fmla="*/ 2577289 w 53"/>
                  <a:gd name="T23" fmla="*/ 147011760 h 21"/>
                  <a:gd name="T24" fmla="*/ 3638731 w 53"/>
                  <a:gd name="T25" fmla="*/ 147011760 h 21"/>
                  <a:gd name="T26" fmla="*/ 5761227 w 53"/>
                  <a:gd name="T27" fmla="*/ 133009884 h 21"/>
                  <a:gd name="T28" fmla="*/ 8035581 w 53"/>
                  <a:gd name="T29" fmla="*/ 126008946 h 21"/>
                  <a:gd name="T30" fmla="*/ 8035581 w 53"/>
                  <a:gd name="T31" fmla="*/ 0 h 2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3" h="21">
                    <a:moveTo>
                      <a:pt x="53" y="0"/>
                    </a:moveTo>
                    <a:lnTo>
                      <a:pt x="41" y="1"/>
                    </a:lnTo>
                    <a:lnTo>
                      <a:pt x="32" y="2"/>
                    </a:lnTo>
                    <a:lnTo>
                      <a:pt x="25" y="5"/>
                    </a:lnTo>
                    <a:lnTo>
                      <a:pt x="21" y="7"/>
                    </a:lnTo>
                    <a:lnTo>
                      <a:pt x="17" y="10"/>
                    </a:lnTo>
                    <a:lnTo>
                      <a:pt x="13" y="13"/>
                    </a:lnTo>
                    <a:lnTo>
                      <a:pt x="8" y="16"/>
                    </a:lnTo>
                    <a:lnTo>
                      <a:pt x="0" y="18"/>
                    </a:lnTo>
                    <a:lnTo>
                      <a:pt x="5" y="20"/>
                    </a:lnTo>
                    <a:lnTo>
                      <a:pt x="11" y="21"/>
                    </a:lnTo>
                    <a:lnTo>
                      <a:pt x="17" y="21"/>
                    </a:lnTo>
                    <a:lnTo>
                      <a:pt x="24" y="21"/>
                    </a:lnTo>
                    <a:lnTo>
                      <a:pt x="38" y="19"/>
                    </a:lnTo>
                    <a:lnTo>
                      <a:pt x="53" y="18"/>
                    </a:lnTo>
                    <a:lnTo>
                      <a:pt x="5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0" name="Freeform 211">
                <a:extLst>
                  <a:ext uri="{FF2B5EF4-FFF2-40B4-BE49-F238E27FC236}">
                    <a16:creationId xmlns:a16="http://schemas.microsoft.com/office/drawing/2014/main" id="{37F8475F-ED3E-44DA-93A0-4EFE3E4F6CC4}"/>
                  </a:ext>
                </a:extLst>
              </p:cNvPr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auto">
              <a:xfrm>
                <a:off x="2073191" y="6319569"/>
                <a:ext cx="19909" cy="65044"/>
              </a:xfrm>
              <a:custGeom>
                <a:avLst/>
                <a:gdLst>
                  <a:gd name="T0" fmla="*/ 3628649 w 43"/>
                  <a:gd name="T1" fmla="*/ 0 h 38"/>
                  <a:gd name="T2" fmla="*/ 1979005 w 43"/>
                  <a:gd name="T3" fmla="*/ 0 h 38"/>
                  <a:gd name="T4" fmla="*/ 329766 w 43"/>
                  <a:gd name="T5" fmla="*/ 0 h 38"/>
                  <a:gd name="T6" fmla="*/ 164883 w 43"/>
                  <a:gd name="T7" fmla="*/ 0 h 38"/>
                  <a:gd name="T8" fmla="*/ 0 w 43"/>
                  <a:gd name="T9" fmla="*/ 2261937 h 38"/>
                  <a:gd name="T10" fmla="*/ 0 w 43"/>
                  <a:gd name="T11" fmla="*/ 6785811 h 38"/>
                  <a:gd name="T12" fmla="*/ 0 w 43"/>
                  <a:gd name="T13" fmla="*/ 13571621 h 38"/>
                  <a:gd name="T14" fmla="*/ 164883 w 43"/>
                  <a:gd name="T15" fmla="*/ 22617864 h 38"/>
                  <a:gd name="T16" fmla="*/ 329766 w 43"/>
                  <a:gd name="T17" fmla="*/ 27141738 h 38"/>
                  <a:gd name="T18" fmla="*/ 494650 w 43"/>
                  <a:gd name="T19" fmla="*/ 40713359 h 38"/>
                  <a:gd name="T20" fmla="*/ 824822 w 43"/>
                  <a:gd name="T21" fmla="*/ 56546917 h 38"/>
                  <a:gd name="T22" fmla="*/ 1649238 w 43"/>
                  <a:gd name="T23" fmla="*/ 67855097 h 38"/>
                  <a:gd name="T24" fmla="*/ 2474060 w 43"/>
                  <a:gd name="T25" fmla="*/ 76902845 h 38"/>
                  <a:gd name="T26" fmla="*/ 3463360 w 43"/>
                  <a:gd name="T27" fmla="*/ 83688655 h 38"/>
                  <a:gd name="T28" fmla="*/ 4453065 w 43"/>
                  <a:gd name="T29" fmla="*/ 85950592 h 38"/>
                  <a:gd name="T30" fmla="*/ 5772537 w 43"/>
                  <a:gd name="T31" fmla="*/ 85950592 h 38"/>
                  <a:gd name="T32" fmla="*/ 7092009 w 43"/>
                  <a:gd name="T33" fmla="*/ 83688655 h 38"/>
                  <a:gd name="T34" fmla="*/ 6597359 w 43"/>
                  <a:gd name="T35" fmla="*/ 65593161 h 38"/>
                  <a:gd name="T36" fmla="*/ 5937420 w 43"/>
                  <a:gd name="T37" fmla="*/ 52023043 h 38"/>
                  <a:gd name="T38" fmla="*/ 5442770 w 43"/>
                  <a:gd name="T39" fmla="*/ 38451422 h 38"/>
                  <a:gd name="T40" fmla="*/ 4947715 w 43"/>
                  <a:gd name="T41" fmla="*/ 29403675 h 38"/>
                  <a:gd name="T42" fmla="*/ 4453065 w 43"/>
                  <a:gd name="T43" fmla="*/ 22617864 h 38"/>
                  <a:gd name="T44" fmla="*/ 3958415 w 43"/>
                  <a:gd name="T45" fmla="*/ 15833558 h 38"/>
                  <a:gd name="T46" fmla="*/ 3793532 w 43"/>
                  <a:gd name="T47" fmla="*/ 9047747 h 38"/>
                  <a:gd name="T48" fmla="*/ 3628649 w 43"/>
                  <a:gd name="T49" fmla="*/ 0 h 38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43" h="38">
                    <a:moveTo>
                      <a:pt x="22" y="0"/>
                    </a:moveTo>
                    <a:lnTo>
                      <a:pt x="12" y="0"/>
                    </a:lnTo>
                    <a:lnTo>
                      <a:pt x="2" y="0"/>
                    </a:lnTo>
                    <a:lnTo>
                      <a:pt x="1" y="0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2" y="12"/>
                    </a:lnTo>
                    <a:lnTo>
                      <a:pt x="3" y="18"/>
                    </a:lnTo>
                    <a:lnTo>
                      <a:pt x="5" y="25"/>
                    </a:lnTo>
                    <a:lnTo>
                      <a:pt x="10" y="30"/>
                    </a:lnTo>
                    <a:lnTo>
                      <a:pt x="15" y="34"/>
                    </a:lnTo>
                    <a:lnTo>
                      <a:pt x="21" y="37"/>
                    </a:lnTo>
                    <a:lnTo>
                      <a:pt x="27" y="38"/>
                    </a:lnTo>
                    <a:lnTo>
                      <a:pt x="35" y="38"/>
                    </a:lnTo>
                    <a:lnTo>
                      <a:pt x="43" y="37"/>
                    </a:lnTo>
                    <a:lnTo>
                      <a:pt x="40" y="29"/>
                    </a:lnTo>
                    <a:lnTo>
                      <a:pt x="36" y="23"/>
                    </a:lnTo>
                    <a:lnTo>
                      <a:pt x="33" y="17"/>
                    </a:lnTo>
                    <a:lnTo>
                      <a:pt x="30" y="13"/>
                    </a:lnTo>
                    <a:lnTo>
                      <a:pt x="27" y="10"/>
                    </a:lnTo>
                    <a:lnTo>
                      <a:pt x="24" y="7"/>
                    </a:lnTo>
                    <a:lnTo>
                      <a:pt x="23" y="4"/>
                    </a:lnTo>
                    <a:lnTo>
                      <a:pt x="22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1" name="Freeform 212">
                <a:extLst>
                  <a:ext uri="{FF2B5EF4-FFF2-40B4-BE49-F238E27FC236}">
                    <a16:creationId xmlns:a16="http://schemas.microsoft.com/office/drawing/2014/main" id="{67219792-2692-4439-8E1F-2AB785E732D3}"/>
                  </a:ext>
                </a:extLst>
              </p:cNvPr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auto">
              <a:xfrm>
                <a:off x="2075001" y="6352970"/>
                <a:ext cx="7239" cy="63287"/>
              </a:xfrm>
              <a:custGeom>
                <a:avLst/>
                <a:gdLst>
                  <a:gd name="T0" fmla="*/ 0 w 20"/>
                  <a:gd name="T1" fmla="*/ 0 h 5"/>
                  <a:gd name="T2" fmla="*/ 100965 w 20"/>
                  <a:gd name="T3" fmla="*/ 261289800 h 5"/>
                  <a:gd name="T4" fmla="*/ 201613 w 20"/>
                  <a:gd name="T5" fmla="*/ 391934700 h 5"/>
                  <a:gd name="T6" fmla="*/ 403225 w 20"/>
                  <a:gd name="T7" fmla="*/ 522579600 h 5"/>
                  <a:gd name="T8" fmla="*/ 705803 w 20"/>
                  <a:gd name="T9" fmla="*/ 653224500 h 5"/>
                  <a:gd name="T10" fmla="*/ 1109028 w 20"/>
                  <a:gd name="T11" fmla="*/ 522579600 h 5"/>
                  <a:gd name="T12" fmla="*/ 1411288 w 20"/>
                  <a:gd name="T13" fmla="*/ 391934700 h 5"/>
                  <a:gd name="T14" fmla="*/ 1713865 w 20"/>
                  <a:gd name="T15" fmla="*/ 261289800 h 5"/>
                  <a:gd name="T16" fmla="*/ 2016125 w 20"/>
                  <a:gd name="T17" fmla="*/ 0 h 5"/>
                  <a:gd name="T18" fmla="*/ 0 w 20"/>
                  <a:gd name="T19" fmla="*/ 0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20" h="5">
                    <a:moveTo>
                      <a:pt x="0" y="0"/>
                    </a:moveTo>
                    <a:lnTo>
                      <a:pt x="1" y="2"/>
                    </a:lnTo>
                    <a:lnTo>
                      <a:pt x="2" y="3"/>
                    </a:lnTo>
                    <a:lnTo>
                      <a:pt x="4" y="4"/>
                    </a:lnTo>
                    <a:lnTo>
                      <a:pt x="7" y="5"/>
                    </a:lnTo>
                    <a:lnTo>
                      <a:pt x="11" y="4"/>
                    </a:lnTo>
                    <a:lnTo>
                      <a:pt x="14" y="3"/>
                    </a:lnTo>
                    <a:lnTo>
                      <a:pt x="17" y="2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2" name="Freeform 213">
                <a:extLst>
                  <a:ext uri="{FF2B5EF4-FFF2-40B4-BE49-F238E27FC236}">
                    <a16:creationId xmlns:a16="http://schemas.microsoft.com/office/drawing/2014/main" id="{CDF84713-4A82-45FC-81B3-2BAEB79FFD17}"/>
                  </a:ext>
                </a:extLst>
              </p:cNvPr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auto">
              <a:xfrm>
                <a:off x="2163682" y="6430321"/>
                <a:ext cx="43436" cy="65046"/>
              </a:xfrm>
              <a:custGeom>
                <a:avLst/>
                <a:gdLst>
                  <a:gd name="T0" fmla="*/ 9155613 w 73"/>
                  <a:gd name="T1" fmla="*/ 0 h 22"/>
                  <a:gd name="T2" fmla="*/ 7324682 w 73"/>
                  <a:gd name="T3" fmla="*/ 6748895 h 22"/>
                  <a:gd name="T4" fmla="*/ 5951124 w 73"/>
                  <a:gd name="T5" fmla="*/ 13495193 h 22"/>
                  <a:gd name="T6" fmla="*/ 4577567 w 73"/>
                  <a:gd name="T7" fmla="*/ 33741880 h 22"/>
                  <a:gd name="T8" fmla="*/ 3433175 w 73"/>
                  <a:gd name="T9" fmla="*/ 53985968 h 22"/>
                  <a:gd name="T10" fmla="*/ 1373557 w 73"/>
                  <a:gd name="T11" fmla="*/ 94474145 h 22"/>
                  <a:gd name="T12" fmla="*/ 0 w 73"/>
                  <a:gd name="T13" fmla="*/ 128216025 h 22"/>
                  <a:gd name="T14" fmla="*/ 4577567 w 73"/>
                  <a:gd name="T15" fmla="*/ 134964920 h 22"/>
                  <a:gd name="T16" fmla="*/ 8926926 w 73"/>
                  <a:gd name="T17" fmla="*/ 148460114 h 22"/>
                  <a:gd name="T18" fmla="*/ 11215709 w 73"/>
                  <a:gd name="T19" fmla="*/ 148460114 h 22"/>
                  <a:gd name="T20" fmla="*/ 13046640 w 73"/>
                  <a:gd name="T21" fmla="*/ 148460114 h 22"/>
                  <a:gd name="T22" fmla="*/ 14878050 w 73"/>
                  <a:gd name="T23" fmla="*/ 141711218 h 22"/>
                  <a:gd name="T24" fmla="*/ 16708981 w 73"/>
                  <a:gd name="T25" fmla="*/ 128216025 h 22"/>
                  <a:gd name="T26" fmla="*/ 14648885 w 73"/>
                  <a:gd name="T27" fmla="*/ 94474145 h 22"/>
                  <a:gd name="T28" fmla="*/ 12817953 w 73"/>
                  <a:gd name="T29" fmla="*/ 53985968 h 22"/>
                  <a:gd name="T30" fmla="*/ 12131414 w 73"/>
                  <a:gd name="T31" fmla="*/ 33741880 h 22"/>
                  <a:gd name="T32" fmla="*/ 11215709 w 73"/>
                  <a:gd name="T33" fmla="*/ 13495193 h 22"/>
                  <a:gd name="T34" fmla="*/ 10071317 w 73"/>
                  <a:gd name="T35" fmla="*/ 6748895 h 22"/>
                  <a:gd name="T36" fmla="*/ 9155613 w 73"/>
                  <a:gd name="T37" fmla="*/ 0 h 2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73" h="22">
                    <a:moveTo>
                      <a:pt x="40" y="0"/>
                    </a:moveTo>
                    <a:lnTo>
                      <a:pt x="32" y="1"/>
                    </a:lnTo>
                    <a:lnTo>
                      <a:pt x="26" y="2"/>
                    </a:lnTo>
                    <a:lnTo>
                      <a:pt x="20" y="5"/>
                    </a:lnTo>
                    <a:lnTo>
                      <a:pt x="15" y="8"/>
                    </a:lnTo>
                    <a:lnTo>
                      <a:pt x="6" y="14"/>
                    </a:lnTo>
                    <a:lnTo>
                      <a:pt x="0" y="19"/>
                    </a:lnTo>
                    <a:lnTo>
                      <a:pt x="20" y="20"/>
                    </a:lnTo>
                    <a:lnTo>
                      <a:pt x="39" y="22"/>
                    </a:lnTo>
                    <a:lnTo>
                      <a:pt x="49" y="22"/>
                    </a:lnTo>
                    <a:lnTo>
                      <a:pt x="57" y="22"/>
                    </a:lnTo>
                    <a:lnTo>
                      <a:pt x="65" y="21"/>
                    </a:lnTo>
                    <a:lnTo>
                      <a:pt x="73" y="19"/>
                    </a:lnTo>
                    <a:lnTo>
                      <a:pt x="64" y="14"/>
                    </a:lnTo>
                    <a:lnTo>
                      <a:pt x="56" y="8"/>
                    </a:lnTo>
                    <a:lnTo>
                      <a:pt x="53" y="5"/>
                    </a:lnTo>
                    <a:lnTo>
                      <a:pt x="49" y="2"/>
                    </a:lnTo>
                    <a:lnTo>
                      <a:pt x="44" y="1"/>
                    </a:lnTo>
                    <a:lnTo>
                      <a:pt x="4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3" name="Freeform 214">
                <a:extLst>
                  <a:ext uri="{FF2B5EF4-FFF2-40B4-BE49-F238E27FC236}">
                    <a16:creationId xmlns:a16="http://schemas.microsoft.com/office/drawing/2014/main" id="{2760048E-6775-4859-B889-6CB557AE5195}"/>
                  </a:ext>
                </a:extLst>
              </p:cNvPr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auto">
              <a:xfrm>
                <a:off x="2210738" y="6365276"/>
                <a:ext cx="148406" cy="112510"/>
              </a:xfrm>
              <a:custGeom>
                <a:avLst/>
                <a:gdLst>
                  <a:gd name="T0" fmla="*/ 45632377 w 281"/>
                  <a:gd name="T1" fmla="*/ 45113636 h 193"/>
                  <a:gd name="T2" fmla="*/ 36505901 w 281"/>
                  <a:gd name="T3" fmla="*/ 45919440 h 193"/>
                  <a:gd name="T4" fmla="*/ 32622379 w 281"/>
                  <a:gd name="T5" fmla="*/ 45113636 h 193"/>
                  <a:gd name="T6" fmla="*/ 30097848 w 281"/>
                  <a:gd name="T7" fmla="*/ 44039403 h 193"/>
                  <a:gd name="T8" fmla="*/ 25243555 w 281"/>
                  <a:gd name="T9" fmla="*/ 36251862 h 193"/>
                  <a:gd name="T10" fmla="*/ 20194491 w 281"/>
                  <a:gd name="T11" fmla="*/ 25242141 h 193"/>
                  <a:gd name="T12" fmla="*/ 18252951 w 281"/>
                  <a:gd name="T13" fmla="*/ 19871495 h 193"/>
                  <a:gd name="T14" fmla="*/ 16893520 w 281"/>
                  <a:gd name="T15" fmla="*/ 13695044 h 193"/>
                  <a:gd name="T16" fmla="*/ 16117080 w 281"/>
                  <a:gd name="T17" fmla="*/ 7250165 h 193"/>
                  <a:gd name="T18" fmla="*/ 8349595 w 281"/>
                  <a:gd name="T19" fmla="*/ 0 h 193"/>
                  <a:gd name="T20" fmla="*/ 5436843 w 281"/>
                  <a:gd name="T21" fmla="*/ 13963991 h 193"/>
                  <a:gd name="T22" fmla="*/ 3495302 w 281"/>
                  <a:gd name="T23" fmla="*/ 16380368 h 193"/>
                  <a:gd name="T24" fmla="*/ 1165101 w 281"/>
                  <a:gd name="T25" fmla="*/ 18528833 h 193"/>
                  <a:gd name="T26" fmla="*/ 0 w 281"/>
                  <a:gd name="T27" fmla="*/ 19603066 h 193"/>
                  <a:gd name="T28" fmla="*/ 194330 w 281"/>
                  <a:gd name="T29" fmla="*/ 20139924 h 193"/>
                  <a:gd name="T30" fmla="*/ 1747651 w 281"/>
                  <a:gd name="T31" fmla="*/ 21751014 h 193"/>
                  <a:gd name="T32" fmla="*/ 7184494 w 281"/>
                  <a:gd name="T33" fmla="*/ 29806983 h 193"/>
                  <a:gd name="T34" fmla="*/ 8738255 w 281"/>
                  <a:gd name="T35" fmla="*/ 32761253 h 193"/>
                  <a:gd name="T36" fmla="*/ 10291576 w 281"/>
                  <a:gd name="T37" fmla="*/ 34640772 h 193"/>
                  <a:gd name="T38" fmla="*/ 12039227 w 281"/>
                  <a:gd name="T39" fmla="*/ 35983434 h 193"/>
                  <a:gd name="T40" fmla="*/ 13786878 w 281"/>
                  <a:gd name="T41" fmla="*/ 36520291 h 193"/>
                  <a:gd name="T42" fmla="*/ 14757649 w 281"/>
                  <a:gd name="T43" fmla="*/ 37862953 h 193"/>
                  <a:gd name="T44" fmla="*/ 15340199 w 281"/>
                  <a:gd name="T45" fmla="*/ 39742990 h 193"/>
                  <a:gd name="T46" fmla="*/ 16699630 w 281"/>
                  <a:gd name="T47" fmla="*/ 41085651 h 193"/>
                  <a:gd name="T48" fmla="*/ 19223721 w 281"/>
                  <a:gd name="T49" fmla="*/ 41354080 h 193"/>
                  <a:gd name="T50" fmla="*/ 20583152 w 281"/>
                  <a:gd name="T51" fmla="*/ 42159884 h 193"/>
                  <a:gd name="T52" fmla="*/ 21165702 w 281"/>
                  <a:gd name="T53" fmla="*/ 43770974 h 193"/>
                  <a:gd name="T54" fmla="*/ 21165702 w 281"/>
                  <a:gd name="T55" fmla="*/ 48067388 h 193"/>
                  <a:gd name="T56" fmla="*/ 21553923 w 281"/>
                  <a:gd name="T57" fmla="*/ 50752711 h 193"/>
                  <a:gd name="T58" fmla="*/ 22330803 w 281"/>
                  <a:gd name="T59" fmla="*/ 51826944 h 193"/>
                  <a:gd name="T60" fmla="*/ 25049225 w 281"/>
                  <a:gd name="T61" fmla="*/ 51826944 h 193"/>
                  <a:gd name="T62" fmla="*/ 31845499 w 281"/>
                  <a:gd name="T63" fmla="*/ 51290087 h 193"/>
                  <a:gd name="T64" fmla="*/ 34952581 w 281"/>
                  <a:gd name="T65" fmla="*/ 50752711 h 193"/>
                  <a:gd name="T66" fmla="*/ 37282341 w 281"/>
                  <a:gd name="T67" fmla="*/ 49947425 h 193"/>
                  <a:gd name="T68" fmla="*/ 41166304 w 281"/>
                  <a:gd name="T69" fmla="*/ 50484282 h 193"/>
                  <a:gd name="T70" fmla="*/ 54564522 w 281"/>
                  <a:gd name="T71" fmla="*/ 44845207 h 193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81" h="193">
                    <a:moveTo>
                      <a:pt x="275" y="167"/>
                    </a:moveTo>
                    <a:lnTo>
                      <a:pt x="235" y="168"/>
                    </a:lnTo>
                    <a:lnTo>
                      <a:pt x="202" y="171"/>
                    </a:lnTo>
                    <a:lnTo>
                      <a:pt x="188" y="171"/>
                    </a:lnTo>
                    <a:lnTo>
                      <a:pt x="175" y="169"/>
                    </a:lnTo>
                    <a:lnTo>
                      <a:pt x="168" y="168"/>
                    </a:lnTo>
                    <a:lnTo>
                      <a:pt x="162" y="166"/>
                    </a:lnTo>
                    <a:lnTo>
                      <a:pt x="155" y="164"/>
                    </a:lnTo>
                    <a:lnTo>
                      <a:pt x="149" y="161"/>
                    </a:lnTo>
                    <a:lnTo>
                      <a:pt x="130" y="135"/>
                    </a:lnTo>
                    <a:lnTo>
                      <a:pt x="108" y="103"/>
                    </a:lnTo>
                    <a:lnTo>
                      <a:pt x="104" y="94"/>
                    </a:lnTo>
                    <a:lnTo>
                      <a:pt x="98" y="84"/>
                    </a:lnTo>
                    <a:lnTo>
                      <a:pt x="94" y="74"/>
                    </a:lnTo>
                    <a:lnTo>
                      <a:pt x="90" y="63"/>
                    </a:lnTo>
                    <a:lnTo>
                      <a:pt x="87" y="51"/>
                    </a:lnTo>
                    <a:lnTo>
                      <a:pt x="85" y="39"/>
                    </a:lnTo>
                    <a:lnTo>
                      <a:pt x="83" y="27"/>
                    </a:lnTo>
                    <a:lnTo>
                      <a:pt x="83" y="13"/>
                    </a:lnTo>
                    <a:lnTo>
                      <a:pt x="43" y="0"/>
                    </a:lnTo>
                    <a:lnTo>
                      <a:pt x="30" y="50"/>
                    </a:lnTo>
                    <a:lnTo>
                      <a:pt x="28" y="52"/>
                    </a:lnTo>
                    <a:lnTo>
                      <a:pt x="23" y="56"/>
                    </a:lnTo>
                    <a:lnTo>
                      <a:pt x="18" y="61"/>
                    </a:lnTo>
                    <a:lnTo>
                      <a:pt x="11" y="65"/>
                    </a:lnTo>
                    <a:lnTo>
                      <a:pt x="6" y="69"/>
                    </a:lnTo>
                    <a:lnTo>
                      <a:pt x="1" y="72"/>
                    </a:lnTo>
                    <a:lnTo>
                      <a:pt x="0" y="73"/>
                    </a:lnTo>
                    <a:lnTo>
                      <a:pt x="0" y="74"/>
                    </a:lnTo>
                    <a:lnTo>
                      <a:pt x="1" y="75"/>
                    </a:lnTo>
                    <a:lnTo>
                      <a:pt x="3" y="75"/>
                    </a:lnTo>
                    <a:lnTo>
                      <a:pt x="9" y="81"/>
                    </a:lnTo>
                    <a:lnTo>
                      <a:pt x="23" y="96"/>
                    </a:lnTo>
                    <a:lnTo>
                      <a:pt x="37" y="111"/>
                    </a:lnTo>
                    <a:lnTo>
                      <a:pt x="43" y="118"/>
                    </a:lnTo>
                    <a:lnTo>
                      <a:pt x="45" y="122"/>
                    </a:lnTo>
                    <a:lnTo>
                      <a:pt x="49" y="126"/>
                    </a:lnTo>
                    <a:lnTo>
                      <a:pt x="53" y="129"/>
                    </a:lnTo>
                    <a:lnTo>
                      <a:pt x="57" y="132"/>
                    </a:lnTo>
                    <a:lnTo>
                      <a:pt x="62" y="134"/>
                    </a:lnTo>
                    <a:lnTo>
                      <a:pt x="66" y="135"/>
                    </a:lnTo>
                    <a:lnTo>
                      <a:pt x="71" y="136"/>
                    </a:lnTo>
                    <a:lnTo>
                      <a:pt x="76" y="136"/>
                    </a:lnTo>
                    <a:lnTo>
                      <a:pt x="76" y="141"/>
                    </a:lnTo>
                    <a:lnTo>
                      <a:pt x="77" y="145"/>
                    </a:lnTo>
                    <a:lnTo>
                      <a:pt x="79" y="148"/>
                    </a:lnTo>
                    <a:lnTo>
                      <a:pt x="82" y="150"/>
                    </a:lnTo>
                    <a:lnTo>
                      <a:pt x="86" y="153"/>
                    </a:lnTo>
                    <a:lnTo>
                      <a:pt x="93" y="154"/>
                    </a:lnTo>
                    <a:lnTo>
                      <a:pt x="99" y="154"/>
                    </a:lnTo>
                    <a:lnTo>
                      <a:pt x="104" y="156"/>
                    </a:lnTo>
                    <a:lnTo>
                      <a:pt x="106" y="157"/>
                    </a:lnTo>
                    <a:lnTo>
                      <a:pt x="108" y="160"/>
                    </a:lnTo>
                    <a:lnTo>
                      <a:pt x="109" y="163"/>
                    </a:lnTo>
                    <a:lnTo>
                      <a:pt x="109" y="167"/>
                    </a:lnTo>
                    <a:lnTo>
                      <a:pt x="109" y="179"/>
                    </a:lnTo>
                    <a:lnTo>
                      <a:pt x="111" y="187"/>
                    </a:lnTo>
                    <a:lnTo>
                      <a:pt x="111" y="189"/>
                    </a:lnTo>
                    <a:lnTo>
                      <a:pt x="113" y="191"/>
                    </a:lnTo>
                    <a:lnTo>
                      <a:pt x="115" y="193"/>
                    </a:lnTo>
                    <a:lnTo>
                      <a:pt x="117" y="193"/>
                    </a:lnTo>
                    <a:lnTo>
                      <a:pt x="129" y="193"/>
                    </a:lnTo>
                    <a:lnTo>
                      <a:pt x="149" y="192"/>
                    </a:lnTo>
                    <a:lnTo>
                      <a:pt x="164" y="191"/>
                    </a:lnTo>
                    <a:lnTo>
                      <a:pt x="174" y="190"/>
                    </a:lnTo>
                    <a:lnTo>
                      <a:pt x="180" y="189"/>
                    </a:lnTo>
                    <a:lnTo>
                      <a:pt x="186" y="187"/>
                    </a:lnTo>
                    <a:lnTo>
                      <a:pt x="192" y="186"/>
                    </a:lnTo>
                    <a:lnTo>
                      <a:pt x="200" y="187"/>
                    </a:lnTo>
                    <a:lnTo>
                      <a:pt x="212" y="188"/>
                    </a:lnTo>
                    <a:lnTo>
                      <a:pt x="229" y="192"/>
                    </a:lnTo>
                    <a:lnTo>
                      <a:pt x="281" y="167"/>
                    </a:lnTo>
                    <a:lnTo>
                      <a:pt x="275" y="16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4" name="Freeform 215">
                <a:extLst>
                  <a:ext uri="{FF2B5EF4-FFF2-40B4-BE49-F238E27FC236}">
                    <a16:creationId xmlns:a16="http://schemas.microsoft.com/office/drawing/2014/main" id="{25BACB7C-194F-4B86-9036-15D027417B9F}"/>
                  </a:ext>
                </a:extLst>
              </p:cNvPr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auto">
              <a:xfrm>
                <a:off x="1669600" y="3853133"/>
                <a:ext cx="63343" cy="66803"/>
              </a:xfrm>
              <a:custGeom>
                <a:avLst/>
                <a:gdLst>
                  <a:gd name="T0" fmla="*/ 0 w 120"/>
                  <a:gd name="T1" fmla="*/ 19802760 h 56"/>
                  <a:gd name="T2" fmla="*/ 762245 w 120"/>
                  <a:gd name="T3" fmla="*/ 28603870 h 56"/>
                  <a:gd name="T4" fmla="*/ 1906050 w 120"/>
                  <a:gd name="T5" fmla="*/ 36304710 h 56"/>
                  <a:gd name="T6" fmla="*/ 2859075 w 120"/>
                  <a:gd name="T7" fmla="*/ 40704741 h 56"/>
                  <a:gd name="T8" fmla="*/ 4002443 w 120"/>
                  <a:gd name="T9" fmla="*/ 45105821 h 56"/>
                  <a:gd name="T10" fmla="*/ 5145811 w 120"/>
                  <a:gd name="T11" fmla="*/ 48406630 h 56"/>
                  <a:gd name="T12" fmla="*/ 6670739 w 120"/>
                  <a:gd name="T13" fmla="*/ 50606121 h 56"/>
                  <a:gd name="T14" fmla="*/ 8195229 w 120"/>
                  <a:gd name="T15" fmla="*/ 52806661 h 56"/>
                  <a:gd name="T16" fmla="*/ 9720157 w 120"/>
                  <a:gd name="T17" fmla="*/ 53906931 h 56"/>
                  <a:gd name="T18" fmla="*/ 12769575 w 120"/>
                  <a:gd name="T19" fmla="*/ 55007201 h 56"/>
                  <a:gd name="T20" fmla="*/ 16200116 w 120"/>
                  <a:gd name="T21" fmla="*/ 56107470 h 56"/>
                  <a:gd name="T22" fmla="*/ 19440314 w 120"/>
                  <a:gd name="T23" fmla="*/ 57207740 h 56"/>
                  <a:gd name="T24" fmla="*/ 22870855 w 120"/>
                  <a:gd name="T25" fmla="*/ 61607771 h 56"/>
                  <a:gd name="T26" fmla="*/ 22870855 w 120"/>
                  <a:gd name="T27" fmla="*/ 40704741 h 56"/>
                  <a:gd name="T28" fmla="*/ 21155584 w 120"/>
                  <a:gd name="T29" fmla="*/ 37404980 h 56"/>
                  <a:gd name="T30" fmla="*/ 19440314 w 120"/>
                  <a:gd name="T31" fmla="*/ 33003901 h 56"/>
                  <a:gd name="T32" fmla="*/ 17915386 w 120"/>
                  <a:gd name="T33" fmla="*/ 26403330 h 56"/>
                  <a:gd name="T34" fmla="*/ 16772018 w 120"/>
                  <a:gd name="T35" fmla="*/ 19802760 h 56"/>
                  <a:gd name="T36" fmla="*/ 15437870 w 120"/>
                  <a:gd name="T37" fmla="*/ 14301411 h 56"/>
                  <a:gd name="T38" fmla="*/ 14294502 w 120"/>
                  <a:gd name="T39" fmla="*/ 7700840 h 56"/>
                  <a:gd name="T40" fmla="*/ 12769575 w 120"/>
                  <a:gd name="T41" fmla="*/ 3300810 h 56"/>
                  <a:gd name="T42" fmla="*/ 11435427 w 120"/>
                  <a:gd name="T43" fmla="*/ 0 h 56"/>
                  <a:gd name="T44" fmla="*/ 10482402 w 120"/>
                  <a:gd name="T45" fmla="*/ 1100270 h 56"/>
                  <a:gd name="T46" fmla="*/ 9148255 w 120"/>
                  <a:gd name="T47" fmla="*/ 3300810 h 56"/>
                  <a:gd name="T48" fmla="*/ 7814107 w 120"/>
                  <a:gd name="T49" fmla="*/ 6600570 h 56"/>
                  <a:gd name="T50" fmla="*/ 6289616 w 120"/>
                  <a:gd name="T51" fmla="*/ 9901380 h 56"/>
                  <a:gd name="T52" fmla="*/ 4574346 w 120"/>
                  <a:gd name="T53" fmla="*/ 14301411 h 56"/>
                  <a:gd name="T54" fmla="*/ 3049418 w 120"/>
                  <a:gd name="T55" fmla="*/ 16501950 h 56"/>
                  <a:gd name="T56" fmla="*/ 1524927 w 120"/>
                  <a:gd name="T57" fmla="*/ 19802760 h 56"/>
                  <a:gd name="T58" fmla="*/ 0 w 120"/>
                  <a:gd name="T59" fmla="*/ 19802760 h 5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120" h="56">
                    <a:moveTo>
                      <a:pt x="0" y="18"/>
                    </a:moveTo>
                    <a:lnTo>
                      <a:pt x="4" y="26"/>
                    </a:lnTo>
                    <a:lnTo>
                      <a:pt x="10" y="33"/>
                    </a:lnTo>
                    <a:lnTo>
                      <a:pt x="15" y="37"/>
                    </a:lnTo>
                    <a:lnTo>
                      <a:pt x="21" y="41"/>
                    </a:lnTo>
                    <a:lnTo>
                      <a:pt x="27" y="44"/>
                    </a:lnTo>
                    <a:lnTo>
                      <a:pt x="35" y="46"/>
                    </a:lnTo>
                    <a:lnTo>
                      <a:pt x="43" y="48"/>
                    </a:lnTo>
                    <a:lnTo>
                      <a:pt x="51" y="49"/>
                    </a:lnTo>
                    <a:lnTo>
                      <a:pt x="67" y="50"/>
                    </a:lnTo>
                    <a:lnTo>
                      <a:pt x="85" y="51"/>
                    </a:lnTo>
                    <a:lnTo>
                      <a:pt x="102" y="52"/>
                    </a:lnTo>
                    <a:lnTo>
                      <a:pt x="120" y="56"/>
                    </a:lnTo>
                    <a:lnTo>
                      <a:pt x="120" y="37"/>
                    </a:lnTo>
                    <a:lnTo>
                      <a:pt x="111" y="34"/>
                    </a:lnTo>
                    <a:lnTo>
                      <a:pt x="102" y="30"/>
                    </a:lnTo>
                    <a:lnTo>
                      <a:pt x="94" y="24"/>
                    </a:lnTo>
                    <a:lnTo>
                      <a:pt x="88" y="18"/>
                    </a:lnTo>
                    <a:lnTo>
                      <a:pt x="81" y="13"/>
                    </a:lnTo>
                    <a:lnTo>
                      <a:pt x="75" y="7"/>
                    </a:lnTo>
                    <a:lnTo>
                      <a:pt x="67" y="3"/>
                    </a:lnTo>
                    <a:lnTo>
                      <a:pt x="60" y="0"/>
                    </a:lnTo>
                    <a:lnTo>
                      <a:pt x="55" y="1"/>
                    </a:lnTo>
                    <a:lnTo>
                      <a:pt x="48" y="3"/>
                    </a:lnTo>
                    <a:lnTo>
                      <a:pt x="41" y="6"/>
                    </a:lnTo>
                    <a:lnTo>
                      <a:pt x="33" y="9"/>
                    </a:lnTo>
                    <a:lnTo>
                      <a:pt x="24" y="13"/>
                    </a:lnTo>
                    <a:lnTo>
                      <a:pt x="16" y="15"/>
                    </a:lnTo>
                    <a:lnTo>
                      <a:pt x="8" y="18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ED7D31">
                      <a:lumMod val="7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5" name="Freeform 216">
                <a:extLst>
                  <a:ext uri="{FF2B5EF4-FFF2-40B4-BE49-F238E27FC236}">
                    <a16:creationId xmlns:a16="http://schemas.microsoft.com/office/drawing/2014/main" id="{305B7811-7B85-4D50-9BAF-BCDBAC56A2A3}"/>
                  </a:ext>
                </a:extLst>
              </p:cNvPr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auto">
              <a:xfrm>
                <a:off x="2192640" y="3716011"/>
                <a:ext cx="302241" cy="123058"/>
              </a:xfrm>
              <a:custGeom>
                <a:avLst/>
                <a:gdLst>
                  <a:gd name="T0" fmla="*/ 24250495 w 574"/>
                  <a:gd name="T1" fmla="*/ 288343 h 204"/>
                  <a:gd name="T2" fmla="*/ 18140241 w 574"/>
                  <a:gd name="T3" fmla="*/ 1730056 h 204"/>
                  <a:gd name="T4" fmla="*/ 12602864 w 574"/>
                  <a:gd name="T5" fmla="*/ 4612946 h 204"/>
                  <a:gd name="T6" fmla="*/ 8210804 w 574"/>
                  <a:gd name="T7" fmla="*/ 7496373 h 204"/>
                  <a:gd name="T8" fmla="*/ 5728336 w 574"/>
                  <a:gd name="T9" fmla="*/ 10090920 h 204"/>
                  <a:gd name="T10" fmla="*/ 3055346 w 574"/>
                  <a:gd name="T11" fmla="*/ 14704403 h 204"/>
                  <a:gd name="T12" fmla="*/ 763836 w 574"/>
                  <a:gd name="T13" fmla="*/ 20470719 h 204"/>
                  <a:gd name="T14" fmla="*/ 0 w 574"/>
                  <a:gd name="T15" fmla="*/ 23641952 h 204"/>
                  <a:gd name="T16" fmla="*/ 190959 w 574"/>
                  <a:gd name="T17" fmla="*/ 24795322 h 204"/>
                  <a:gd name="T18" fmla="*/ 2482468 w 574"/>
                  <a:gd name="T19" fmla="*/ 24795322 h 204"/>
                  <a:gd name="T20" fmla="*/ 5537377 w 574"/>
                  <a:gd name="T21" fmla="*/ 23930294 h 204"/>
                  <a:gd name="T22" fmla="*/ 9929436 w 574"/>
                  <a:gd name="T23" fmla="*/ 21623553 h 204"/>
                  <a:gd name="T24" fmla="*/ 15275854 w 574"/>
                  <a:gd name="T25" fmla="*/ 16722264 h 204"/>
                  <a:gd name="T26" fmla="*/ 19476955 w 574"/>
                  <a:gd name="T27" fmla="*/ 13262689 h 204"/>
                  <a:gd name="T28" fmla="*/ 22722822 w 574"/>
                  <a:gd name="T29" fmla="*/ 11532633 h 204"/>
                  <a:gd name="T30" fmla="*/ 33416095 w 574"/>
                  <a:gd name="T31" fmla="*/ 10667605 h 204"/>
                  <a:gd name="T32" fmla="*/ 33607054 w 574"/>
                  <a:gd name="T33" fmla="*/ 13839375 h 204"/>
                  <a:gd name="T34" fmla="*/ 34370891 w 574"/>
                  <a:gd name="T35" fmla="*/ 15857236 h 204"/>
                  <a:gd name="T36" fmla="*/ 35134727 w 574"/>
                  <a:gd name="T37" fmla="*/ 17010607 h 204"/>
                  <a:gd name="T38" fmla="*/ 36280482 w 574"/>
                  <a:gd name="T39" fmla="*/ 17587292 h 204"/>
                  <a:gd name="T40" fmla="*/ 43727450 w 574"/>
                  <a:gd name="T41" fmla="*/ 17587292 h 204"/>
                  <a:gd name="T42" fmla="*/ 51365377 w 574"/>
                  <a:gd name="T43" fmla="*/ 22488581 h 204"/>
                  <a:gd name="T44" fmla="*/ 57666590 w 574"/>
                  <a:gd name="T45" fmla="*/ 27389870 h 204"/>
                  <a:gd name="T46" fmla="*/ 64158763 w 574"/>
                  <a:gd name="T47" fmla="*/ 32003352 h 204"/>
                  <a:gd name="T48" fmla="*/ 71606168 w 574"/>
                  <a:gd name="T49" fmla="*/ 35462928 h 204"/>
                  <a:gd name="T50" fmla="*/ 71796690 w 574"/>
                  <a:gd name="T51" fmla="*/ 38634160 h 204"/>
                  <a:gd name="T52" fmla="*/ 72942444 w 574"/>
                  <a:gd name="T53" fmla="*/ 40940901 h 204"/>
                  <a:gd name="T54" fmla="*/ 75615872 w 574"/>
                  <a:gd name="T55" fmla="*/ 43824328 h 204"/>
                  <a:gd name="T56" fmla="*/ 81726126 w 574"/>
                  <a:gd name="T57" fmla="*/ 47860589 h 204"/>
                  <a:gd name="T58" fmla="*/ 76761627 w 574"/>
                  <a:gd name="T59" fmla="*/ 55068619 h 204"/>
                  <a:gd name="T60" fmla="*/ 77716422 w 574"/>
                  <a:gd name="T61" fmla="*/ 56798138 h 204"/>
                  <a:gd name="T62" fmla="*/ 79053136 w 574"/>
                  <a:gd name="T63" fmla="*/ 57951508 h 204"/>
                  <a:gd name="T64" fmla="*/ 81917085 w 574"/>
                  <a:gd name="T65" fmla="*/ 58816536 h 204"/>
                  <a:gd name="T66" fmla="*/ 88027777 w 574"/>
                  <a:gd name="T67" fmla="*/ 58816536 h 204"/>
                  <a:gd name="T68" fmla="*/ 105976621 w 574"/>
                  <a:gd name="T69" fmla="*/ 54491933 h 204"/>
                  <a:gd name="T70" fmla="*/ 106740458 w 574"/>
                  <a:gd name="T71" fmla="*/ 52761877 h 204"/>
                  <a:gd name="T72" fmla="*/ 107886212 w 574"/>
                  <a:gd name="T73" fmla="*/ 51031821 h 204"/>
                  <a:gd name="T74" fmla="*/ 109222926 w 574"/>
                  <a:gd name="T75" fmla="*/ 49878987 h 204"/>
                  <a:gd name="T76" fmla="*/ 109604844 w 574"/>
                  <a:gd name="T77" fmla="*/ 46418875 h 204"/>
                  <a:gd name="T78" fmla="*/ 107122376 w 574"/>
                  <a:gd name="T79" fmla="*/ 44112671 h 204"/>
                  <a:gd name="T80" fmla="*/ 101584999 w 574"/>
                  <a:gd name="T81" fmla="*/ 42670957 h 204"/>
                  <a:gd name="T82" fmla="*/ 96238581 w 574"/>
                  <a:gd name="T83" fmla="*/ 39787531 h 204"/>
                  <a:gd name="T84" fmla="*/ 90700767 w 574"/>
                  <a:gd name="T85" fmla="*/ 35751270 h 204"/>
                  <a:gd name="T86" fmla="*/ 82680922 w 574"/>
                  <a:gd name="T87" fmla="*/ 28831583 h 204"/>
                  <a:gd name="T88" fmla="*/ 73133404 w 574"/>
                  <a:gd name="T89" fmla="*/ 19605691 h 204"/>
                  <a:gd name="T90" fmla="*/ 68359863 w 574"/>
                  <a:gd name="T91" fmla="*/ 15568894 h 204"/>
                  <a:gd name="T92" fmla="*/ 66450272 w 574"/>
                  <a:gd name="T93" fmla="*/ 14992208 h 204"/>
                  <a:gd name="T94" fmla="*/ 63013445 w 574"/>
                  <a:gd name="T95" fmla="*/ 14992208 h 204"/>
                  <a:gd name="T96" fmla="*/ 59576181 w 574"/>
                  <a:gd name="T97" fmla="*/ 14704403 h 204"/>
                  <a:gd name="T98" fmla="*/ 57666590 w 574"/>
                  <a:gd name="T99" fmla="*/ 14127717 h 204"/>
                  <a:gd name="T100" fmla="*/ 56138917 w 574"/>
                  <a:gd name="T101" fmla="*/ 12397661 h 204"/>
                  <a:gd name="T102" fmla="*/ 55375081 w 574"/>
                  <a:gd name="T103" fmla="*/ 9225892 h 204"/>
                  <a:gd name="T104" fmla="*/ 27114882 w 574"/>
                  <a:gd name="T105" fmla="*/ 0 h 20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74" h="204">
                    <a:moveTo>
                      <a:pt x="142" y="0"/>
                    </a:moveTo>
                    <a:lnTo>
                      <a:pt x="127" y="1"/>
                    </a:lnTo>
                    <a:lnTo>
                      <a:pt x="111" y="3"/>
                    </a:lnTo>
                    <a:lnTo>
                      <a:pt x="95" y="6"/>
                    </a:lnTo>
                    <a:lnTo>
                      <a:pt x="80" y="11"/>
                    </a:lnTo>
                    <a:lnTo>
                      <a:pt x="66" y="16"/>
                    </a:lnTo>
                    <a:lnTo>
                      <a:pt x="52" y="21"/>
                    </a:lnTo>
                    <a:lnTo>
                      <a:pt x="43" y="26"/>
                    </a:lnTo>
                    <a:lnTo>
                      <a:pt x="36" y="31"/>
                    </a:lnTo>
                    <a:lnTo>
                      <a:pt x="30" y="35"/>
                    </a:lnTo>
                    <a:lnTo>
                      <a:pt x="24" y="42"/>
                    </a:lnTo>
                    <a:lnTo>
                      <a:pt x="16" y="51"/>
                    </a:lnTo>
                    <a:lnTo>
                      <a:pt x="10" y="61"/>
                    </a:lnTo>
                    <a:lnTo>
                      <a:pt x="4" y="71"/>
                    </a:lnTo>
                    <a:lnTo>
                      <a:pt x="1" y="79"/>
                    </a:lnTo>
                    <a:lnTo>
                      <a:pt x="0" y="82"/>
                    </a:lnTo>
                    <a:lnTo>
                      <a:pt x="0" y="85"/>
                    </a:lnTo>
                    <a:lnTo>
                      <a:pt x="1" y="86"/>
                    </a:lnTo>
                    <a:lnTo>
                      <a:pt x="3" y="87"/>
                    </a:lnTo>
                    <a:lnTo>
                      <a:pt x="13" y="86"/>
                    </a:lnTo>
                    <a:lnTo>
                      <a:pt x="22" y="85"/>
                    </a:lnTo>
                    <a:lnTo>
                      <a:pt x="29" y="83"/>
                    </a:lnTo>
                    <a:lnTo>
                      <a:pt x="38" y="81"/>
                    </a:lnTo>
                    <a:lnTo>
                      <a:pt x="52" y="75"/>
                    </a:lnTo>
                    <a:lnTo>
                      <a:pt x="66" y="66"/>
                    </a:lnTo>
                    <a:lnTo>
                      <a:pt x="80" y="58"/>
                    </a:lnTo>
                    <a:lnTo>
                      <a:pt x="94" y="50"/>
                    </a:lnTo>
                    <a:lnTo>
                      <a:pt x="102" y="46"/>
                    </a:lnTo>
                    <a:lnTo>
                      <a:pt x="111" y="43"/>
                    </a:lnTo>
                    <a:lnTo>
                      <a:pt x="119" y="40"/>
                    </a:lnTo>
                    <a:lnTo>
                      <a:pt x="129" y="37"/>
                    </a:lnTo>
                    <a:lnTo>
                      <a:pt x="175" y="37"/>
                    </a:lnTo>
                    <a:lnTo>
                      <a:pt x="175" y="43"/>
                    </a:lnTo>
                    <a:lnTo>
                      <a:pt x="176" y="48"/>
                    </a:lnTo>
                    <a:lnTo>
                      <a:pt x="178" y="52"/>
                    </a:lnTo>
                    <a:lnTo>
                      <a:pt x="180" y="55"/>
                    </a:lnTo>
                    <a:lnTo>
                      <a:pt x="181" y="58"/>
                    </a:lnTo>
                    <a:lnTo>
                      <a:pt x="184" y="59"/>
                    </a:lnTo>
                    <a:lnTo>
                      <a:pt x="186" y="60"/>
                    </a:lnTo>
                    <a:lnTo>
                      <a:pt x="190" y="61"/>
                    </a:lnTo>
                    <a:lnTo>
                      <a:pt x="206" y="60"/>
                    </a:lnTo>
                    <a:lnTo>
                      <a:pt x="229" y="61"/>
                    </a:lnTo>
                    <a:lnTo>
                      <a:pt x="250" y="69"/>
                    </a:lnTo>
                    <a:lnTo>
                      <a:pt x="269" y="78"/>
                    </a:lnTo>
                    <a:lnTo>
                      <a:pt x="285" y="86"/>
                    </a:lnTo>
                    <a:lnTo>
                      <a:pt x="302" y="95"/>
                    </a:lnTo>
                    <a:lnTo>
                      <a:pt x="318" y="103"/>
                    </a:lnTo>
                    <a:lnTo>
                      <a:pt x="336" y="111"/>
                    </a:lnTo>
                    <a:lnTo>
                      <a:pt x="354" y="118"/>
                    </a:lnTo>
                    <a:lnTo>
                      <a:pt x="375" y="123"/>
                    </a:lnTo>
                    <a:lnTo>
                      <a:pt x="375" y="129"/>
                    </a:lnTo>
                    <a:lnTo>
                      <a:pt x="376" y="134"/>
                    </a:lnTo>
                    <a:lnTo>
                      <a:pt x="379" y="138"/>
                    </a:lnTo>
                    <a:lnTo>
                      <a:pt x="382" y="142"/>
                    </a:lnTo>
                    <a:lnTo>
                      <a:pt x="388" y="147"/>
                    </a:lnTo>
                    <a:lnTo>
                      <a:pt x="396" y="152"/>
                    </a:lnTo>
                    <a:lnTo>
                      <a:pt x="415" y="159"/>
                    </a:lnTo>
                    <a:lnTo>
                      <a:pt x="428" y="166"/>
                    </a:lnTo>
                    <a:lnTo>
                      <a:pt x="417" y="176"/>
                    </a:lnTo>
                    <a:lnTo>
                      <a:pt x="402" y="191"/>
                    </a:lnTo>
                    <a:lnTo>
                      <a:pt x="404" y="195"/>
                    </a:lnTo>
                    <a:lnTo>
                      <a:pt x="407" y="197"/>
                    </a:lnTo>
                    <a:lnTo>
                      <a:pt x="410" y="199"/>
                    </a:lnTo>
                    <a:lnTo>
                      <a:pt x="414" y="201"/>
                    </a:lnTo>
                    <a:lnTo>
                      <a:pt x="421" y="203"/>
                    </a:lnTo>
                    <a:lnTo>
                      <a:pt x="429" y="204"/>
                    </a:lnTo>
                    <a:lnTo>
                      <a:pt x="445" y="204"/>
                    </a:lnTo>
                    <a:lnTo>
                      <a:pt x="461" y="204"/>
                    </a:lnTo>
                    <a:lnTo>
                      <a:pt x="554" y="191"/>
                    </a:lnTo>
                    <a:lnTo>
                      <a:pt x="555" y="189"/>
                    </a:lnTo>
                    <a:lnTo>
                      <a:pt x="556" y="186"/>
                    </a:lnTo>
                    <a:lnTo>
                      <a:pt x="559" y="183"/>
                    </a:lnTo>
                    <a:lnTo>
                      <a:pt x="562" y="179"/>
                    </a:lnTo>
                    <a:lnTo>
                      <a:pt x="565" y="177"/>
                    </a:lnTo>
                    <a:lnTo>
                      <a:pt x="568" y="174"/>
                    </a:lnTo>
                    <a:lnTo>
                      <a:pt x="572" y="173"/>
                    </a:lnTo>
                    <a:lnTo>
                      <a:pt x="574" y="172"/>
                    </a:lnTo>
                    <a:lnTo>
                      <a:pt x="574" y="161"/>
                    </a:lnTo>
                    <a:lnTo>
                      <a:pt x="574" y="154"/>
                    </a:lnTo>
                    <a:lnTo>
                      <a:pt x="561" y="153"/>
                    </a:lnTo>
                    <a:lnTo>
                      <a:pt x="546" y="151"/>
                    </a:lnTo>
                    <a:lnTo>
                      <a:pt x="532" y="148"/>
                    </a:lnTo>
                    <a:lnTo>
                      <a:pt x="518" y="143"/>
                    </a:lnTo>
                    <a:lnTo>
                      <a:pt x="504" y="138"/>
                    </a:lnTo>
                    <a:lnTo>
                      <a:pt x="489" y="132"/>
                    </a:lnTo>
                    <a:lnTo>
                      <a:pt x="475" y="124"/>
                    </a:lnTo>
                    <a:lnTo>
                      <a:pt x="461" y="116"/>
                    </a:lnTo>
                    <a:lnTo>
                      <a:pt x="433" y="100"/>
                    </a:lnTo>
                    <a:lnTo>
                      <a:pt x="407" y="84"/>
                    </a:lnTo>
                    <a:lnTo>
                      <a:pt x="383" y="68"/>
                    </a:lnTo>
                    <a:lnTo>
                      <a:pt x="362" y="55"/>
                    </a:lnTo>
                    <a:lnTo>
                      <a:pt x="358" y="54"/>
                    </a:lnTo>
                    <a:lnTo>
                      <a:pt x="353" y="52"/>
                    </a:lnTo>
                    <a:lnTo>
                      <a:pt x="348" y="52"/>
                    </a:lnTo>
                    <a:lnTo>
                      <a:pt x="342" y="52"/>
                    </a:lnTo>
                    <a:lnTo>
                      <a:pt x="330" y="52"/>
                    </a:lnTo>
                    <a:lnTo>
                      <a:pt x="318" y="52"/>
                    </a:lnTo>
                    <a:lnTo>
                      <a:pt x="312" y="51"/>
                    </a:lnTo>
                    <a:lnTo>
                      <a:pt x="306" y="50"/>
                    </a:lnTo>
                    <a:lnTo>
                      <a:pt x="302" y="49"/>
                    </a:lnTo>
                    <a:lnTo>
                      <a:pt x="297" y="46"/>
                    </a:lnTo>
                    <a:lnTo>
                      <a:pt x="294" y="43"/>
                    </a:lnTo>
                    <a:lnTo>
                      <a:pt x="291" y="38"/>
                    </a:lnTo>
                    <a:lnTo>
                      <a:pt x="290" y="32"/>
                    </a:lnTo>
                    <a:lnTo>
                      <a:pt x="288" y="25"/>
                    </a:lnTo>
                    <a:lnTo>
                      <a:pt x="14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6" name="Freeform 217">
                <a:extLst>
                  <a:ext uri="{FF2B5EF4-FFF2-40B4-BE49-F238E27FC236}">
                    <a16:creationId xmlns:a16="http://schemas.microsoft.com/office/drawing/2014/main" id="{A6FE5F2C-C8F0-4C90-9DAA-9B1A4BF2A707}"/>
                  </a:ext>
                </a:extLst>
              </p:cNvPr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auto">
              <a:xfrm>
                <a:off x="1865062" y="3814457"/>
                <a:ext cx="108590" cy="77351"/>
              </a:xfrm>
              <a:custGeom>
                <a:avLst/>
                <a:gdLst>
                  <a:gd name="T0" fmla="*/ 7562083 w 207"/>
                  <a:gd name="T1" fmla="*/ 37821880 h 129"/>
                  <a:gd name="T2" fmla="*/ 9221979 w 207"/>
                  <a:gd name="T3" fmla="*/ 35476219 h 129"/>
                  <a:gd name="T4" fmla="*/ 11066547 w 207"/>
                  <a:gd name="T5" fmla="*/ 33716974 h 129"/>
                  <a:gd name="T6" fmla="*/ 12911114 w 207"/>
                  <a:gd name="T7" fmla="*/ 32251207 h 129"/>
                  <a:gd name="T8" fmla="*/ 14939924 w 207"/>
                  <a:gd name="T9" fmla="*/ 30785440 h 129"/>
                  <a:gd name="T10" fmla="*/ 19366457 w 207"/>
                  <a:gd name="T11" fmla="*/ 29026195 h 129"/>
                  <a:gd name="T12" fmla="*/ 23792990 w 207"/>
                  <a:gd name="T13" fmla="*/ 26974012 h 129"/>
                  <a:gd name="T14" fmla="*/ 28035281 w 207"/>
                  <a:gd name="T15" fmla="*/ 25507704 h 129"/>
                  <a:gd name="T16" fmla="*/ 31908658 w 207"/>
                  <a:gd name="T17" fmla="*/ 23748459 h 129"/>
                  <a:gd name="T18" fmla="*/ 33568554 w 207"/>
                  <a:gd name="T19" fmla="*/ 22575628 h 129"/>
                  <a:gd name="T20" fmla="*/ 35228880 w 207"/>
                  <a:gd name="T21" fmla="*/ 21403340 h 129"/>
                  <a:gd name="T22" fmla="*/ 36888776 w 207"/>
                  <a:gd name="T23" fmla="*/ 19644094 h 129"/>
                  <a:gd name="T24" fmla="*/ 38179758 w 207"/>
                  <a:gd name="T25" fmla="*/ 17884849 h 129"/>
                  <a:gd name="T26" fmla="*/ 36519862 w 207"/>
                  <a:gd name="T27" fmla="*/ 15832667 h 129"/>
                  <a:gd name="T28" fmla="*/ 34675295 w 207"/>
                  <a:gd name="T29" fmla="*/ 13779943 h 129"/>
                  <a:gd name="T30" fmla="*/ 33015399 w 207"/>
                  <a:gd name="T31" fmla="*/ 12314176 h 129"/>
                  <a:gd name="T32" fmla="*/ 31170831 w 207"/>
                  <a:gd name="T33" fmla="*/ 10554931 h 129"/>
                  <a:gd name="T34" fmla="*/ 27666367 w 207"/>
                  <a:gd name="T35" fmla="*/ 8502748 h 129"/>
                  <a:gd name="T36" fmla="*/ 23792990 w 207"/>
                  <a:gd name="T37" fmla="*/ 6743503 h 129"/>
                  <a:gd name="T38" fmla="*/ 19735371 w 207"/>
                  <a:gd name="T39" fmla="*/ 5277736 h 129"/>
                  <a:gd name="T40" fmla="*/ 15677751 w 207"/>
                  <a:gd name="T41" fmla="*/ 3811428 h 129"/>
                  <a:gd name="T42" fmla="*/ 11620132 w 207"/>
                  <a:gd name="T43" fmla="*/ 2052182 h 129"/>
                  <a:gd name="T44" fmla="*/ 7562083 w 207"/>
                  <a:gd name="T45" fmla="*/ 0 h 129"/>
                  <a:gd name="T46" fmla="*/ 0 w 207"/>
                  <a:gd name="T47" fmla="*/ 0 h 129"/>
                  <a:gd name="T48" fmla="*/ 184242 w 207"/>
                  <a:gd name="T49" fmla="*/ 1759245 h 129"/>
                  <a:gd name="T50" fmla="*/ 368914 w 207"/>
                  <a:gd name="T51" fmla="*/ 3811428 h 129"/>
                  <a:gd name="T52" fmla="*/ 737827 w 207"/>
                  <a:gd name="T53" fmla="*/ 5570673 h 129"/>
                  <a:gd name="T54" fmla="*/ 1106741 w 207"/>
                  <a:gd name="T55" fmla="*/ 7329918 h 129"/>
                  <a:gd name="T56" fmla="*/ 1844568 w 207"/>
                  <a:gd name="T57" fmla="*/ 10261994 h 129"/>
                  <a:gd name="T58" fmla="*/ 2397723 w 207"/>
                  <a:gd name="T59" fmla="*/ 13487006 h 129"/>
                  <a:gd name="T60" fmla="*/ 3135550 w 207"/>
                  <a:gd name="T61" fmla="*/ 15832667 h 129"/>
                  <a:gd name="T62" fmla="*/ 3319792 w 207"/>
                  <a:gd name="T63" fmla="*/ 18177786 h 129"/>
                  <a:gd name="T64" fmla="*/ 3135550 w 207"/>
                  <a:gd name="T65" fmla="*/ 19057679 h 129"/>
                  <a:gd name="T66" fmla="*/ 2582395 w 207"/>
                  <a:gd name="T67" fmla="*/ 19937031 h 129"/>
                  <a:gd name="T68" fmla="*/ 2028810 w 207"/>
                  <a:gd name="T69" fmla="*/ 20816924 h 129"/>
                  <a:gd name="T70" fmla="*/ 1290983 w 207"/>
                  <a:gd name="T71" fmla="*/ 21403340 h 129"/>
                  <a:gd name="T72" fmla="*/ 0 w 207"/>
                  <a:gd name="T73" fmla="*/ 30491962 h 129"/>
                  <a:gd name="T74" fmla="*/ 737827 w 207"/>
                  <a:gd name="T75" fmla="*/ 31078377 h 129"/>
                  <a:gd name="T76" fmla="*/ 2397723 w 207"/>
                  <a:gd name="T77" fmla="*/ 32251207 h 129"/>
                  <a:gd name="T78" fmla="*/ 3504464 w 207"/>
                  <a:gd name="T79" fmla="*/ 33130559 h 129"/>
                  <a:gd name="T80" fmla="*/ 4611204 w 207"/>
                  <a:gd name="T81" fmla="*/ 34303389 h 129"/>
                  <a:gd name="T82" fmla="*/ 6086429 w 207"/>
                  <a:gd name="T83" fmla="*/ 35769698 h 129"/>
                  <a:gd name="T84" fmla="*/ 7562083 w 207"/>
                  <a:gd name="T85" fmla="*/ 37821880 h 12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07" h="129">
                    <a:moveTo>
                      <a:pt x="41" y="129"/>
                    </a:moveTo>
                    <a:lnTo>
                      <a:pt x="50" y="121"/>
                    </a:lnTo>
                    <a:lnTo>
                      <a:pt x="60" y="115"/>
                    </a:lnTo>
                    <a:lnTo>
                      <a:pt x="70" y="110"/>
                    </a:lnTo>
                    <a:lnTo>
                      <a:pt x="81" y="105"/>
                    </a:lnTo>
                    <a:lnTo>
                      <a:pt x="105" y="99"/>
                    </a:lnTo>
                    <a:lnTo>
                      <a:pt x="129" y="92"/>
                    </a:lnTo>
                    <a:lnTo>
                      <a:pt x="152" y="87"/>
                    </a:lnTo>
                    <a:lnTo>
                      <a:pt x="173" y="81"/>
                    </a:lnTo>
                    <a:lnTo>
                      <a:pt x="182" y="77"/>
                    </a:lnTo>
                    <a:lnTo>
                      <a:pt x="191" y="73"/>
                    </a:lnTo>
                    <a:lnTo>
                      <a:pt x="200" y="67"/>
                    </a:lnTo>
                    <a:lnTo>
                      <a:pt x="207" y="61"/>
                    </a:lnTo>
                    <a:lnTo>
                      <a:pt x="198" y="54"/>
                    </a:lnTo>
                    <a:lnTo>
                      <a:pt x="188" y="47"/>
                    </a:lnTo>
                    <a:lnTo>
                      <a:pt x="179" y="42"/>
                    </a:lnTo>
                    <a:lnTo>
                      <a:pt x="169" y="36"/>
                    </a:lnTo>
                    <a:lnTo>
                      <a:pt x="150" y="29"/>
                    </a:lnTo>
                    <a:lnTo>
                      <a:pt x="129" y="23"/>
                    </a:lnTo>
                    <a:lnTo>
                      <a:pt x="107" y="18"/>
                    </a:lnTo>
                    <a:lnTo>
                      <a:pt x="85" y="13"/>
                    </a:lnTo>
                    <a:lnTo>
                      <a:pt x="63" y="7"/>
                    </a:lnTo>
                    <a:lnTo>
                      <a:pt x="41" y="0"/>
                    </a:lnTo>
                    <a:lnTo>
                      <a:pt x="0" y="0"/>
                    </a:lnTo>
                    <a:lnTo>
                      <a:pt x="1" y="6"/>
                    </a:lnTo>
                    <a:lnTo>
                      <a:pt x="2" y="13"/>
                    </a:lnTo>
                    <a:lnTo>
                      <a:pt x="4" y="19"/>
                    </a:lnTo>
                    <a:lnTo>
                      <a:pt x="6" y="25"/>
                    </a:lnTo>
                    <a:lnTo>
                      <a:pt x="10" y="35"/>
                    </a:lnTo>
                    <a:lnTo>
                      <a:pt x="13" y="46"/>
                    </a:lnTo>
                    <a:lnTo>
                      <a:pt x="17" y="54"/>
                    </a:lnTo>
                    <a:lnTo>
                      <a:pt x="18" y="62"/>
                    </a:lnTo>
                    <a:lnTo>
                      <a:pt x="17" y="65"/>
                    </a:lnTo>
                    <a:lnTo>
                      <a:pt x="14" y="68"/>
                    </a:lnTo>
                    <a:lnTo>
                      <a:pt x="11" y="71"/>
                    </a:lnTo>
                    <a:lnTo>
                      <a:pt x="7" y="73"/>
                    </a:lnTo>
                    <a:lnTo>
                      <a:pt x="0" y="104"/>
                    </a:lnTo>
                    <a:lnTo>
                      <a:pt x="4" y="106"/>
                    </a:lnTo>
                    <a:lnTo>
                      <a:pt x="13" y="110"/>
                    </a:lnTo>
                    <a:lnTo>
                      <a:pt x="19" y="113"/>
                    </a:lnTo>
                    <a:lnTo>
                      <a:pt x="25" y="117"/>
                    </a:lnTo>
                    <a:lnTo>
                      <a:pt x="33" y="122"/>
                    </a:lnTo>
                    <a:lnTo>
                      <a:pt x="41" y="129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C8C8C8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7" name="Freeform 218">
                <a:extLst>
                  <a:ext uri="{FF2B5EF4-FFF2-40B4-BE49-F238E27FC236}">
                    <a16:creationId xmlns:a16="http://schemas.microsoft.com/office/drawing/2014/main" id="{D691D539-0D48-4E9F-94D1-A18A5B6A4236}"/>
                  </a:ext>
                </a:extLst>
              </p:cNvPr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auto">
              <a:xfrm>
                <a:off x="1345641" y="3881260"/>
                <a:ext cx="39816" cy="94931"/>
              </a:xfrm>
              <a:custGeom>
                <a:avLst/>
                <a:gdLst>
                  <a:gd name="T0" fmla="*/ 15436420 w 72"/>
                  <a:gd name="T1" fmla="*/ 0 h 154"/>
                  <a:gd name="T2" fmla="*/ 14793274 w 72"/>
                  <a:gd name="T3" fmla="*/ 1193762 h 154"/>
                  <a:gd name="T4" fmla="*/ 14364511 w 72"/>
                  <a:gd name="T5" fmla="*/ 2686374 h 154"/>
                  <a:gd name="T6" fmla="*/ 14150129 w 72"/>
                  <a:gd name="T7" fmla="*/ 3880136 h 154"/>
                  <a:gd name="T8" fmla="*/ 14150129 w 72"/>
                  <a:gd name="T9" fmla="*/ 5372748 h 154"/>
                  <a:gd name="T10" fmla="*/ 14150129 w 72"/>
                  <a:gd name="T11" fmla="*/ 8059123 h 154"/>
                  <a:gd name="T12" fmla="*/ 14150129 w 72"/>
                  <a:gd name="T13" fmla="*/ 11044347 h 154"/>
                  <a:gd name="T14" fmla="*/ 14793274 w 72"/>
                  <a:gd name="T15" fmla="*/ 12835263 h 154"/>
                  <a:gd name="T16" fmla="*/ 15222038 w 72"/>
                  <a:gd name="T17" fmla="*/ 14924483 h 154"/>
                  <a:gd name="T18" fmla="*/ 15222038 w 72"/>
                  <a:gd name="T19" fmla="*/ 17014250 h 154"/>
                  <a:gd name="T20" fmla="*/ 15222038 w 72"/>
                  <a:gd name="T21" fmla="*/ 19401774 h 154"/>
                  <a:gd name="T22" fmla="*/ 14793274 w 72"/>
                  <a:gd name="T23" fmla="*/ 21789844 h 154"/>
                  <a:gd name="T24" fmla="*/ 14364511 w 72"/>
                  <a:gd name="T25" fmla="*/ 24476218 h 154"/>
                  <a:gd name="T26" fmla="*/ 13935747 w 72"/>
                  <a:gd name="T27" fmla="*/ 27162592 h 154"/>
                  <a:gd name="T28" fmla="*/ 13078220 w 72"/>
                  <a:gd name="T29" fmla="*/ 29848967 h 154"/>
                  <a:gd name="T30" fmla="*/ 11362702 w 72"/>
                  <a:gd name="T31" fmla="*/ 34625107 h 154"/>
                  <a:gd name="T32" fmla="*/ 9433265 w 72"/>
                  <a:gd name="T33" fmla="*/ 39102398 h 154"/>
                  <a:gd name="T34" fmla="*/ 7289446 w 72"/>
                  <a:gd name="T35" fmla="*/ 42983080 h 154"/>
                  <a:gd name="T36" fmla="*/ 5574391 w 72"/>
                  <a:gd name="T37" fmla="*/ 45967758 h 154"/>
                  <a:gd name="T38" fmla="*/ 5574391 w 72"/>
                  <a:gd name="T39" fmla="*/ 42087622 h 154"/>
                  <a:gd name="T40" fmla="*/ 3215728 w 72"/>
                  <a:gd name="T41" fmla="*/ 42983080 h 154"/>
                  <a:gd name="T42" fmla="*/ 0 w 72"/>
                  <a:gd name="T43" fmla="*/ 44176842 h 154"/>
                  <a:gd name="T44" fmla="*/ 643146 w 72"/>
                  <a:gd name="T45" fmla="*/ 38505243 h 154"/>
                  <a:gd name="T46" fmla="*/ 1715055 w 72"/>
                  <a:gd name="T47" fmla="*/ 31341579 h 154"/>
                  <a:gd name="T48" fmla="*/ 1929437 w 72"/>
                  <a:gd name="T49" fmla="*/ 27461443 h 154"/>
                  <a:gd name="T50" fmla="*/ 2572582 w 72"/>
                  <a:gd name="T51" fmla="*/ 22984152 h 154"/>
                  <a:gd name="T52" fmla="*/ 3215728 w 72"/>
                  <a:gd name="T53" fmla="*/ 18805166 h 154"/>
                  <a:gd name="T54" fmla="*/ 4288100 w 72"/>
                  <a:gd name="T55" fmla="*/ 14626179 h 154"/>
                  <a:gd name="T56" fmla="*/ 4288100 w 72"/>
                  <a:gd name="T57" fmla="*/ 0 h 154"/>
                  <a:gd name="T58" fmla="*/ 5360010 w 72"/>
                  <a:gd name="T59" fmla="*/ 0 h 154"/>
                  <a:gd name="T60" fmla="*/ 8146974 w 72"/>
                  <a:gd name="T61" fmla="*/ 0 h 154"/>
                  <a:gd name="T62" fmla="*/ 12006310 w 72"/>
                  <a:gd name="T63" fmla="*/ 0 h 154"/>
                  <a:gd name="T64" fmla="*/ 15436420 w 72"/>
                  <a:gd name="T65" fmla="*/ 0 h 15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72" h="154">
                    <a:moveTo>
                      <a:pt x="72" y="0"/>
                    </a:moveTo>
                    <a:lnTo>
                      <a:pt x="69" y="4"/>
                    </a:lnTo>
                    <a:lnTo>
                      <a:pt x="67" y="9"/>
                    </a:lnTo>
                    <a:lnTo>
                      <a:pt x="66" y="13"/>
                    </a:lnTo>
                    <a:lnTo>
                      <a:pt x="66" y="18"/>
                    </a:lnTo>
                    <a:lnTo>
                      <a:pt x="66" y="27"/>
                    </a:lnTo>
                    <a:lnTo>
                      <a:pt x="66" y="37"/>
                    </a:lnTo>
                    <a:lnTo>
                      <a:pt x="69" y="43"/>
                    </a:lnTo>
                    <a:lnTo>
                      <a:pt x="71" y="50"/>
                    </a:lnTo>
                    <a:lnTo>
                      <a:pt x="71" y="57"/>
                    </a:lnTo>
                    <a:lnTo>
                      <a:pt x="71" y="65"/>
                    </a:lnTo>
                    <a:lnTo>
                      <a:pt x="69" y="73"/>
                    </a:lnTo>
                    <a:lnTo>
                      <a:pt x="67" y="82"/>
                    </a:lnTo>
                    <a:lnTo>
                      <a:pt x="65" y="91"/>
                    </a:lnTo>
                    <a:lnTo>
                      <a:pt x="61" y="100"/>
                    </a:lnTo>
                    <a:lnTo>
                      <a:pt x="53" y="116"/>
                    </a:lnTo>
                    <a:lnTo>
                      <a:pt x="44" y="131"/>
                    </a:lnTo>
                    <a:lnTo>
                      <a:pt x="34" y="144"/>
                    </a:lnTo>
                    <a:lnTo>
                      <a:pt x="26" y="154"/>
                    </a:lnTo>
                    <a:lnTo>
                      <a:pt x="26" y="141"/>
                    </a:lnTo>
                    <a:lnTo>
                      <a:pt x="15" y="144"/>
                    </a:lnTo>
                    <a:lnTo>
                      <a:pt x="0" y="148"/>
                    </a:lnTo>
                    <a:lnTo>
                      <a:pt x="3" y="129"/>
                    </a:lnTo>
                    <a:lnTo>
                      <a:pt x="8" y="105"/>
                    </a:lnTo>
                    <a:lnTo>
                      <a:pt x="9" y="92"/>
                    </a:lnTo>
                    <a:lnTo>
                      <a:pt x="12" y="77"/>
                    </a:lnTo>
                    <a:lnTo>
                      <a:pt x="15" y="63"/>
                    </a:lnTo>
                    <a:lnTo>
                      <a:pt x="20" y="49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8" y="0"/>
                    </a:lnTo>
                    <a:lnTo>
                      <a:pt x="56" y="0"/>
                    </a:lnTo>
                    <a:lnTo>
                      <a:pt x="72" y="0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8" name="Freeform 219">
                <a:extLst>
                  <a:ext uri="{FF2B5EF4-FFF2-40B4-BE49-F238E27FC236}">
                    <a16:creationId xmlns:a16="http://schemas.microsoft.com/office/drawing/2014/main" id="{051C2CCC-4484-41C0-BDE0-C23F99F9A386}"/>
                  </a:ext>
                </a:extLst>
              </p:cNvPr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auto">
              <a:xfrm>
                <a:off x="1249721" y="3881260"/>
                <a:ext cx="112209" cy="165249"/>
              </a:xfrm>
              <a:custGeom>
                <a:avLst/>
                <a:gdLst>
                  <a:gd name="T0" fmla="*/ 1532309 w 214"/>
                  <a:gd name="T1" fmla="*/ 60121941 h 271"/>
                  <a:gd name="T2" fmla="*/ 2298683 w 214"/>
                  <a:gd name="T3" fmla="*/ 52570455 h 271"/>
                  <a:gd name="T4" fmla="*/ 4597365 w 214"/>
                  <a:gd name="T5" fmla="*/ 42986126 h 271"/>
                  <a:gd name="T6" fmla="*/ 6704783 w 214"/>
                  <a:gd name="T7" fmla="*/ 34272707 h 271"/>
                  <a:gd name="T8" fmla="*/ 8428795 w 214"/>
                  <a:gd name="T9" fmla="*/ 32529808 h 271"/>
                  <a:gd name="T10" fmla="*/ 12451489 w 214"/>
                  <a:gd name="T11" fmla="*/ 32239325 h 271"/>
                  <a:gd name="T12" fmla="*/ 17048854 w 214"/>
                  <a:gd name="T13" fmla="*/ 32239325 h 271"/>
                  <a:gd name="T14" fmla="*/ 20305613 w 214"/>
                  <a:gd name="T15" fmla="*/ 31948842 h 271"/>
                  <a:gd name="T16" fmla="*/ 22987264 w 214"/>
                  <a:gd name="T17" fmla="*/ 30496965 h 271"/>
                  <a:gd name="T18" fmla="*/ 24902978 w 214"/>
                  <a:gd name="T19" fmla="*/ 27301649 h 271"/>
                  <a:gd name="T20" fmla="*/ 21646657 w 214"/>
                  <a:gd name="T21" fmla="*/ 21202580 h 271"/>
                  <a:gd name="T22" fmla="*/ 16474184 w 214"/>
                  <a:gd name="T23" fmla="*/ 16845870 h 271"/>
                  <a:gd name="T24" fmla="*/ 14750172 w 214"/>
                  <a:gd name="T25" fmla="*/ 14232061 h 271"/>
                  <a:gd name="T26" fmla="*/ 14175501 w 214"/>
                  <a:gd name="T27" fmla="*/ 11908195 h 271"/>
                  <a:gd name="T28" fmla="*/ 14367204 w 214"/>
                  <a:gd name="T29" fmla="*/ 9875351 h 271"/>
                  <a:gd name="T30" fmla="*/ 15708248 w 214"/>
                  <a:gd name="T31" fmla="*/ 8132452 h 271"/>
                  <a:gd name="T32" fmla="*/ 19347537 w 214"/>
                  <a:gd name="T33" fmla="*/ 5518642 h 271"/>
                  <a:gd name="T34" fmla="*/ 28734408 w 214"/>
                  <a:gd name="T35" fmla="*/ 871450 h 271"/>
                  <a:gd name="T36" fmla="*/ 34481114 w 214"/>
                  <a:gd name="T37" fmla="*/ 0 h 271"/>
                  <a:gd name="T38" fmla="*/ 37929138 w 214"/>
                  <a:gd name="T39" fmla="*/ 0 h 271"/>
                  <a:gd name="T40" fmla="*/ 39653150 w 214"/>
                  <a:gd name="T41" fmla="*/ 14232061 h 271"/>
                  <a:gd name="T42" fmla="*/ 38120841 w 214"/>
                  <a:gd name="T43" fmla="*/ 22364513 h 271"/>
                  <a:gd name="T44" fmla="*/ 37354468 w 214"/>
                  <a:gd name="T45" fmla="*/ 30496965 h 271"/>
                  <a:gd name="T46" fmla="*/ 35822158 w 214"/>
                  <a:gd name="T47" fmla="*/ 42986126 h 271"/>
                  <a:gd name="T48" fmla="*/ 40802491 w 214"/>
                  <a:gd name="T49" fmla="*/ 44728486 h 271"/>
                  <a:gd name="T50" fmla="*/ 40994194 w 214"/>
                  <a:gd name="T51" fmla="*/ 48213746 h 271"/>
                  <a:gd name="T52" fmla="*/ 40227821 w 214"/>
                  <a:gd name="T53" fmla="*/ 50537611 h 271"/>
                  <a:gd name="T54" fmla="*/ 39653150 w 214"/>
                  <a:gd name="T55" fmla="*/ 51409061 h 271"/>
                  <a:gd name="T56" fmla="*/ 38312544 w 214"/>
                  <a:gd name="T57" fmla="*/ 51699544 h 271"/>
                  <a:gd name="T58" fmla="*/ 36779797 w 214"/>
                  <a:gd name="T59" fmla="*/ 56927164 h 271"/>
                  <a:gd name="T60" fmla="*/ 34672817 w 214"/>
                  <a:gd name="T61" fmla="*/ 62155323 h 271"/>
                  <a:gd name="T62" fmla="*/ 29692046 w 214"/>
                  <a:gd name="T63" fmla="*/ 70578258 h 271"/>
                  <a:gd name="T64" fmla="*/ 22987264 w 214"/>
                  <a:gd name="T65" fmla="*/ 78710710 h 271"/>
                  <a:gd name="T66" fmla="*/ 16665887 w 214"/>
                  <a:gd name="T67" fmla="*/ 75806417 h 271"/>
                  <a:gd name="T68" fmla="*/ 10535774 w 214"/>
                  <a:gd name="T69" fmla="*/ 72030674 h 271"/>
                  <a:gd name="T70" fmla="*/ 0 w 214"/>
                  <a:gd name="T71" fmla="*/ 64188706 h 27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14" h="271">
                    <a:moveTo>
                      <a:pt x="7" y="221"/>
                    </a:moveTo>
                    <a:lnTo>
                      <a:pt x="8" y="207"/>
                    </a:lnTo>
                    <a:lnTo>
                      <a:pt x="9" y="192"/>
                    </a:lnTo>
                    <a:lnTo>
                      <a:pt x="12" y="181"/>
                    </a:lnTo>
                    <a:lnTo>
                      <a:pt x="16" y="170"/>
                    </a:lnTo>
                    <a:lnTo>
                      <a:pt x="24" y="148"/>
                    </a:lnTo>
                    <a:lnTo>
                      <a:pt x="34" y="123"/>
                    </a:lnTo>
                    <a:lnTo>
                      <a:pt x="35" y="118"/>
                    </a:lnTo>
                    <a:lnTo>
                      <a:pt x="40" y="114"/>
                    </a:lnTo>
                    <a:lnTo>
                      <a:pt x="44" y="112"/>
                    </a:lnTo>
                    <a:lnTo>
                      <a:pt x="51" y="111"/>
                    </a:lnTo>
                    <a:lnTo>
                      <a:pt x="65" y="111"/>
                    </a:lnTo>
                    <a:lnTo>
                      <a:pt x="82" y="111"/>
                    </a:lnTo>
                    <a:lnTo>
                      <a:pt x="89" y="111"/>
                    </a:lnTo>
                    <a:lnTo>
                      <a:pt x="98" y="111"/>
                    </a:lnTo>
                    <a:lnTo>
                      <a:pt x="106" y="110"/>
                    </a:lnTo>
                    <a:lnTo>
                      <a:pt x="113" y="108"/>
                    </a:lnTo>
                    <a:lnTo>
                      <a:pt x="120" y="105"/>
                    </a:lnTo>
                    <a:lnTo>
                      <a:pt x="125" y="100"/>
                    </a:lnTo>
                    <a:lnTo>
                      <a:pt x="130" y="94"/>
                    </a:lnTo>
                    <a:lnTo>
                      <a:pt x="133" y="85"/>
                    </a:lnTo>
                    <a:lnTo>
                      <a:pt x="113" y="73"/>
                    </a:lnTo>
                    <a:lnTo>
                      <a:pt x="94" y="63"/>
                    </a:lnTo>
                    <a:lnTo>
                      <a:pt x="86" y="58"/>
                    </a:lnTo>
                    <a:lnTo>
                      <a:pt x="79" y="52"/>
                    </a:lnTo>
                    <a:lnTo>
                      <a:pt x="77" y="49"/>
                    </a:lnTo>
                    <a:lnTo>
                      <a:pt x="75" y="45"/>
                    </a:lnTo>
                    <a:lnTo>
                      <a:pt x="74" y="41"/>
                    </a:lnTo>
                    <a:lnTo>
                      <a:pt x="74" y="37"/>
                    </a:lnTo>
                    <a:lnTo>
                      <a:pt x="75" y="34"/>
                    </a:lnTo>
                    <a:lnTo>
                      <a:pt x="77" y="31"/>
                    </a:lnTo>
                    <a:lnTo>
                      <a:pt x="82" y="28"/>
                    </a:lnTo>
                    <a:lnTo>
                      <a:pt x="87" y="25"/>
                    </a:lnTo>
                    <a:lnTo>
                      <a:pt x="101" y="19"/>
                    </a:lnTo>
                    <a:lnTo>
                      <a:pt x="118" y="13"/>
                    </a:lnTo>
                    <a:lnTo>
                      <a:pt x="150" y="3"/>
                    </a:lnTo>
                    <a:lnTo>
                      <a:pt x="167" y="0"/>
                    </a:lnTo>
                    <a:lnTo>
                      <a:pt x="180" y="0"/>
                    </a:lnTo>
                    <a:lnTo>
                      <a:pt x="190" y="0"/>
                    </a:lnTo>
                    <a:lnTo>
                      <a:pt x="198" y="0"/>
                    </a:lnTo>
                    <a:lnTo>
                      <a:pt x="200" y="0"/>
                    </a:lnTo>
                    <a:lnTo>
                      <a:pt x="207" y="49"/>
                    </a:lnTo>
                    <a:lnTo>
                      <a:pt x="202" y="63"/>
                    </a:lnTo>
                    <a:lnTo>
                      <a:pt x="199" y="77"/>
                    </a:lnTo>
                    <a:lnTo>
                      <a:pt x="196" y="92"/>
                    </a:lnTo>
                    <a:lnTo>
                      <a:pt x="195" y="105"/>
                    </a:lnTo>
                    <a:lnTo>
                      <a:pt x="190" y="129"/>
                    </a:lnTo>
                    <a:lnTo>
                      <a:pt x="187" y="148"/>
                    </a:lnTo>
                    <a:lnTo>
                      <a:pt x="202" y="151"/>
                    </a:lnTo>
                    <a:lnTo>
                      <a:pt x="213" y="154"/>
                    </a:lnTo>
                    <a:lnTo>
                      <a:pt x="214" y="158"/>
                    </a:lnTo>
                    <a:lnTo>
                      <a:pt x="214" y="166"/>
                    </a:lnTo>
                    <a:lnTo>
                      <a:pt x="213" y="170"/>
                    </a:lnTo>
                    <a:lnTo>
                      <a:pt x="210" y="174"/>
                    </a:lnTo>
                    <a:lnTo>
                      <a:pt x="209" y="176"/>
                    </a:lnTo>
                    <a:lnTo>
                      <a:pt x="207" y="177"/>
                    </a:lnTo>
                    <a:lnTo>
                      <a:pt x="203" y="178"/>
                    </a:lnTo>
                    <a:lnTo>
                      <a:pt x="200" y="178"/>
                    </a:lnTo>
                    <a:lnTo>
                      <a:pt x="197" y="187"/>
                    </a:lnTo>
                    <a:lnTo>
                      <a:pt x="192" y="196"/>
                    </a:lnTo>
                    <a:lnTo>
                      <a:pt x="188" y="205"/>
                    </a:lnTo>
                    <a:lnTo>
                      <a:pt x="181" y="214"/>
                    </a:lnTo>
                    <a:lnTo>
                      <a:pt x="169" y="229"/>
                    </a:lnTo>
                    <a:lnTo>
                      <a:pt x="155" y="243"/>
                    </a:lnTo>
                    <a:lnTo>
                      <a:pt x="131" y="263"/>
                    </a:lnTo>
                    <a:lnTo>
                      <a:pt x="120" y="271"/>
                    </a:lnTo>
                    <a:lnTo>
                      <a:pt x="103" y="266"/>
                    </a:lnTo>
                    <a:lnTo>
                      <a:pt x="87" y="261"/>
                    </a:lnTo>
                    <a:lnTo>
                      <a:pt x="71" y="254"/>
                    </a:lnTo>
                    <a:lnTo>
                      <a:pt x="55" y="248"/>
                    </a:lnTo>
                    <a:lnTo>
                      <a:pt x="27" y="235"/>
                    </a:lnTo>
                    <a:lnTo>
                      <a:pt x="0" y="221"/>
                    </a:lnTo>
                    <a:lnTo>
                      <a:pt x="7" y="2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09" name="Freeform 220">
                <a:extLst>
                  <a:ext uri="{FF2B5EF4-FFF2-40B4-BE49-F238E27FC236}">
                    <a16:creationId xmlns:a16="http://schemas.microsoft.com/office/drawing/2014/main" id="{5E9C0F93-AC7A-4925-BE71-F3A66DF80918}"/>
                  </a:ext>
                </a:extLst>
              </p:cNvPr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auto">
              <a:xfrm>
                <a:off x="1307635" y="4006077"/>
                <a:ext cx="85061" cy="65044"/>
              </a:xfrm>
              <a:custGeom>
                <a:avLst/>
                <a:gdLst>
                  <a:gd name="T0" fmla="*/ 13080625 w 153"/>
                  <a:gd name="T1" fmla="*/ 0 h 80"/>
                  <a:gd name="T2" fmla="*/ 18094825 w 153"/>
                  <a:gd name="T3" fmla="*/ 7144464 h 80"/>
                  <a:gd name="T4" fmla="*/ 22672927 w 153"/>
                  <a:gd name="T5" fmla="*/ 12247959 h 80"/>
                  <a:gd name="T6" fmla="*/ 25071003 w 153"/>
                  <a:gd name="T7" fmla="*/ 14289643 h 80"/>
                  <a:gd name="T8" fmla="*/ 27469078 w 153"/>
                  <a:gd name="T9" fmla="*/ 15820549 h 80"/>
                  <a:gd name="T10" fmla="*/ 28995424 w 153"/>
                  <a:gd name="T11" fmla="*/ 16330613 h 80"/>
                  <a:gd name="T12" fmla="*/ 30303253 w 153"/>
                  <a:gd name="T13" fmla="*/ 16330613 h 80"/>
                  <a:gd name="T14" fmla="*/ 31829598 w 153"/>
                  <a:gd name="T15" fmla="*/ 15820549 h 80"/>
                  <a:gd name="T16" fmla="*/ 33355476 w 153"/>
                  <a:gd name="T17" fmla="*/ 15309771 h 80"/>
                  <a:gd name="T18" fmla="*/ 33355476 w 153"/>
                  <a:gd name="T19" fmla="*/ 28578572 h 80"/>
                  <a:gd name="T20" fmla="*/ 32483279 w 153"/>
                  <a:gd name="T21" fmla="*/ 30620256 h 80"/>
                  <a:gd name="T22" fmla="*/ 31611548 w 153"/>
                  <a:gd name="T23" fmla="*/ 33171289 h 80"/>
                  <a:gd name="T24" fmla="*/ 30085203 w 153"/>
                  <a:gd name="T25" fmla="*/ 35212973 h 80"/>
                  <a:gd name="T26" fmla="*/ 28777374 w 153"/>
                  <a:gd name="T27" fmla="*/ 36743878 h 80"/>
                  <a:gd name="T28" fmla="*/ 27251029 w 153"/>
                  <a:gd name="T29" fmla="*/ 38274784 h 80"/>
                  <a:gd name="T30" fmla="*/ 25943200 w 153"/>
                  <a:gd name="T31" fmla="*/ 39805689 h 80"/>
                  <a:gd name="T32" fmla="*/ 24416855 w 153"/>
                  <a:gd name="T33" fmla="*/ 40316468 h 80"/>
                  <a:gd name="T34" fmla="*/ 23109026 w 153"/>
                  <a:gd name="T35" fmla="*/ 40826531 h 80"/>
                  <a:gd name="T36" fmla="*/ 19620704 w 153"/>
                  <a:gd name="T37" fmla="*/ 37764720 h 80"/>
                  <a:gd name="T38" fmla="*/ 16568947 w 153"/>
                  <a:gd name="T39" fmla="*/ 36233814 h 80"/>
                  <a:gd name="T40" fmla="*/ 13734773 w 153"/>
                  <a:gd name="T41" fmla="*/ 35212973 h 80"/>
                  <a:gd name="T42" fmla="*/ 10900598 w 153"/>
                  <a:gd name="T43" fmla="*/ 35212973 h 80"/>
                  <a:gd name="T44" fmla="*/ 8502523 w 153"/>
                  <a:gd name="T45" fmla="*/ 34702909 h 80"/>
                  <a:gd name="T46" fmla="*/ 5886398 w 153"/>
                  <a:gd name="T47" fmla="*/ 34192131 h 80"/>
                  <a:gd name="T48" fmla="*/ 3052224 w 153"/>
                  <a:gd name="T49" fmla="*/ 33171289 h 80"/>
                  <a:gd name="T50" fmla="*/ 0 w 153"/>
                  <a:gd name="T51" fmla="*/ 31640383 h 80"/>
                  <a:gd name="T52" fmla="*/ 1525878 w 153"/>
                  <a:gd name="T53" fmla="*/ 29599414 h 80"/>
                  <a:gd name="T54" fmla="*/ 5014201 w 153"/>
                  <a:gd name="T55" fmla="*/ 22965013 h 80"/>
                  <a:gd name="T56" fmla="*/ 7412276 w 153"/>
                  <a:gd name="T57" fmla="*/ 18882360 h 80"/>
                  <a:gd name="T58" fmla="*/ 9810352 w 153"/>
                  <a:gd name="T59" fmla="*/ 14289643 h 80"/>
                  <a:gd name="T60" fmla="*/ 12208427 w 153"/>
                  <a:gd name="T61" fmla="*/ 8675370 h 80"/>
                  <a:gd name="T62" fmla="*/ 14606503 w 153"/>
                  <a:gd name="T63" fmla="*/ 3061811 h 80"/>
                  <a:gd name="T64" fmla="*/ 13080625 w 153"/>
                  <a:gd name="T65" fmla="*/ 0 h 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53" h="80">
                    <a:moveTo>
                      <a:pt x="60" y="0"/>
                    </a:moveTo>
                    <a:lnTo>
                      <a:pt x="83" y="14"/>
                    </a:lnTo>
                    <a:lnTo>
                      <a:pt x="104" y="24"/>
                    </a:lnTo>
                    <a:lnTo>
                      <a:pt x="115" y="28"/>
                    </a:lnTo>
                    <a:lnTo>
                      <a:pt x="126" y="31"/>
                    </a:lnTo>
                    <a:lnTo>
                      <a:pt x="133" y="32"/>
                    </a:lnTo>
                    <a:lnTo>
                      <a:pt x="139" y="32"/>
                    </a:lnTo>
                    <a:lnTo>
                      <a:pt x="146" y="31"/>
                    </a:lnTo>
                    <a:lnTo>
                      <a:pt x="153" y="30"/>
                    </a:lnTo>
                    <a:lnTo>
                      <a:pt x="153" y="56"/>
                    </a:lnTo>
                    <a:lnTo>
                      <a:pt x="149" y="60"/>
                    </a:lnTo>
                    <a:lnTo>
                      <a:pt x="145" y="65"/>
                    </a:lnTo>
                    <a:lnTo>
                      <a:pt x="138" y="69"/>
                    </a:lnTo>
                    <a:lnTo>
                      <a:pt x="132" y="72"/>
                    </a:lnTo>
                    <a:lnTo>
                      <a:pt x="125" y="75"/>
                    </a:lnTo>
                    <a:lnTo>
                      <a:pt x="119" y="78"/>
                    </a:lnTo>
                    <a:lnTo>
                      <a:pt x="112" y="79"/>
                    </a:lnTo>
                    <a:lnTo>
                      <a:pt x="106" y="80"/>
                    </a:lnTo>
                    <a:lnTo>
                      <a:pt x="90" y="74"/>
                    </a:lnTo>
                    <a:lnTo>
                      <a:pt x="76" y="71"/>
                    </a:lnTo>
                    <a:lnTo>
                      <a:pt x="63" y="69"/>
                    </a:lnTo>
                    <a:lnTo>
                      <a:pt x="50" y="69"/>
                    </a:lnTo>
                    <a:lnTo>
                      <a:pt x="39" y="68"/>
                    </a:lnTo>
                    <a:lnTo>
                      <a:pt x="27" y="67"/>
                    </a:lnTo>
                    <a:lnTo>
                      <a:pt x="14" y="65"/>
                    </a:lnTo>
                    <a:lnTo>
                      <a:pt x="0" y="62"/>
                    </a:lnTo>
                    <a:lnTo>
                      <a:pt x="7" y="58"/>
                    </a:lnTo>
                    <a:lnTo>
                      <a:pt x="23" y="45"/>
                    </a:lnTo>
                    <a:lnTo>
                      <a:pt x="34" y="37"/>
                    </a:lnTo>
                    <a:lnTo>
                      <a:pt x="45" y="28"/>
                    </a:lnTo>
                    <a:lnTo>
                      <a:pt x="56" y="17"/>
                    </a:lnTo>
                    <a:lnTo>
                      <a:pt x="67" y="6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0" name="Freeform 221">
                <a:extLst>
                  <a:ext uri="{FF2B5EF4-FFF2-40B4-BE49-F238E27FC236}">
                    <a16:creationId xmlns:a16="http://schemas.microsoft.com/office/drawing/2014/main" id="{0EE54FBE-5F8B-49FD-A8E9-4C4EB53DB33A}"/>
                  </a:ext>
                </a:extLst>
              </p:cNvPr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auto">
              <a:xfrm>
                <a:off x="1345641" y="3963885"/>
                <a:ext cx="171934" cy="98446"/>
              </a:xfrm>
              <a:custGeom>
                <a:avLst/>
                <a:gdLst>
                  <a:gd name="T0" fmla="*/ 0 w 332"/>
                  <a:gd name="T1" fmla="*/ 20552418 h 169"/>
                  <a:gd name="T2" fmla="*/ 8148609 w 332"/>
                  <a:gd name="T3" fmla="*/ 26958742 h 169"/>
                  <a:gd name="T4" fmla="*/ 12223128 w 332"/>
                  <a:gd name="T5" fmla="*/ 28826909 h 169"/>
                  <a:gd name="T6" fmla="*/ 14630486 w 332"/>
                  <a:gd name="T7" fmla="*/ 29094012 h 169"/>
                  <a:gd name="T8" fmla="*/ 17223323 w 332"/>
                  <a:gd name="T9" fmla="*/ 28559807 h 169"/>
                  <a:gd name="T10" fmla="*/ 16667746 w 332"/>
                  <a:gd name="T11" fmla="*/ 38435879 h 169"/>
                  <a:gd name="T12" fmla="*/ 17593851 w 332"/>
                  <a:gd name="T13" fmla="*/ 41104836 h 169"/>
                  <a:gd name="T14" fmla="*/ 18334477 w 332"/>
                  <a:gd name="T15" fmla="*/ 43507208 h 169"/>
                  <a:gd name="T16" fmla="*/ 19816160 w 332"/>
                  <a:gd name="T17" fmla="*/ 44841687 h 169"/>
                  <a:gd name="T18" fmla="*/ 21668371 w 332"/>
                  <a:gd name="T19" fmla="*/ 45108789 h 169"/>
                  <a:gd name="T20" fmla="*/ 22779525 w 332"/>
                  <a:gd name="T21" fmla="*/ 44307998 h 169"/>
                  <a:gd name="T22" fmla="*/ 24446257 w 332"/>
                  <a:gd name="T23" fmla="*/ 41905627 h 169"/>
                  <a:gd name="T24" fmla="*/ 27039094 w 332"/>
                  <a:gd name="T25" fmla="*/ 36300610 h 169"/>
                  <a:gd name="T26" fmla="*/ 32224337 w 332"/>
                  <a:gd name="T27" fmla="*/ 30695076 h 169"/>
                  <a:gd name="T28" fmla="*/ 39632320 w 332"/>
                  <a:gd name="T29" fmla="*/ 25623747 h 169"/>
                  <a:gd name="T30" fmla="*/ 47410831 w 332"/>
                  <a:gd name="T31" fmla="*/ 21353209 h 169"/>
                  <a:gd name="T32" fmla="*/ 56300066 w 332"/>
                  <a:gd name="T33" fmla="*/ 17349773 h 169"/>
                  <a:gd name="T34" fmla="*/ 61485740 w 332"/>
                  <a:gd name="T35" fmla="*/ 12277927 h 169"/>
                  <a:gd name="T36" fmla="*/ 61485740 w 332"/>
                  <a:gd name="T37" fmla="*/ 5872119 h 169"/>
                  <a:gd name="T38" fmla="*/ 59263431 w 332"/>
                  <a:gd name="T39" fmla="*/ 533688 h 169"/>
                  <a:gd name="T40" fmla="*/ 52411026 w 332"/>
                  <a:gd name="T41" fmla="*/ 267102 h 169"/>
                  <a:gd name="T42" fmla="*/ 43336311 w 332"/>
                  <a:gd name="T43" fmla="*/ 0 h 169"/>
                  <a:gd name="T44" fmla="*/ 33335492 w 332"/>
                  <a:gd name="T45" fmla="*/ 267102 h 169"/>
                  <a:gd name="T46" fmla="*/ 24260777 w 332"/>
                  <a:gd name="T47" fmla="*/ 1067893 h 169"/>
                  <a:gd name="T48" fmla="*/ 16667746 w 332"/>
                  <a:gd name="T49" fmla="*/ 2668957 h 169"/>
                  <a:gd name="T50" fmla="*/ 10926495 w 332"/>
                  <a:gd name="T51" fmla="*/ 5071329 h 169"/>
                  <a:gd name="T52" fmla="*/ 7778511 w 332"/>
                  <a:gd name="T53" fmla="*/ 5872119 h 169"/>
                  <a:gd name="T54" fmla="*/ 6481877 w 332"/>
                  <a:gd name="T55" fmla="*/ 6139222 h 169"/>
                  <a:gd name="T56" fmla="*/ 6296828 w 332"/>
                  <a:gd name="T57" fmla="*/ 6940012 h 169"/>
                  <a:gd name="T58" fmla="*/ 6111349 w 332"/>
                  <a:gd name="T59" fmla="*/ 10142658 h 169"/>
                  <a:gd name="T60" fmla="*/ 5370723 w 332"/>
                  <a:gd name="T61" fmla="*/ 11744239 h 169"/>
                  <a:gd name="T62" fmla="*/ 4259569 w 332"/>
                  <a:gd name="T63" fmla="*/ 12277927 h 169"/>
                  <a:gd name="T64" fmla="*/ 3518942 w 332"/>
                  <a:gd name="T65" fmla="*/ 14680299 h 169"/>
                  <a:gd name="T66" fmla="*/ 2037260 w 332"/>
                  <a:gd name="T67" fmla="*/ 19217940 h 169"/>
                  <a:gd name="T68" fmla="*/ 1296203 w 332"/>
                  <a:gd name="T69" fmla="*/ 22153999 h 16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332" h="169">
                    <a:moveTo>
                      <a:pt x="7" y="83"/>
                    </a:moveTo>
                    <a:lnTo>
                      <a:pt x="0" y="77"/>
                    </a:lnTo>
                    <a:lnTo>
                      <a:pt x="23" y="91"/>
                    </a:lnTo>
                    <a:lnTo>
                      <a:pt x="44" y="101"/>
                    </a:lnTo>
                    <a:lnTo>
                      <a:pt x="55" y="105"/>
                    </a:lnTo>
                    <a:lnTo>
                      <a:pt x="66" y="108"/>
                    </a:lnTo>
                    <a:lnTo>
                      <a:pt x="73" y="109"/>
                    </a:lnTo>
                    <a:lnTo>
                      <a:pt x="79" y="109"/>
                    </a:lnTo>
                    <a:lnTo>
                      <a:pt x="86" y="108"/>
                    </a:lnTo>
                    <a:lnTo>
                      <a:pt x="93" y="107"/>
                    </a:lnTo>
                    <a:lnTo>
                      <a:pt x="86" y="139"/>
                    </a:lnTo>
                    <a:lnTo>
                      <a:pt x="90" y="144"/>
                    </a:lnTo>
                    <a:lnTo>
                      <a:pt x="94" y="149"/>
                    </a:lnTo>
                    <a:lnTo>
                      <a:pt x="95" y="154"/>
                    </a:lnTo>
                    <a:lnTo>
                      <a:pt x="97" y="158"/>
                    </a:lnTo>
                    <a:lnTo>
                      <a:pt x="99" y="163"/>
                    </a:lnTo>
                    <a:lnTo>
                      <a:pt x="102" y="166"/>
                    </a:lnTo>
                    <a:lnTo>
                      <a:pt x="107" y="168"/>
                    </a:lnTo>
                    <a:lnTo>
                      <a:pt x="113" y="169"/>
                    </a:lnTo>
                    <a:lnTo>
                      <a:pt x="117" y="169"/>
                    </a:lnTo>
                    <a:lnTo>
                      <a:pt x="120" y="167"/>
                    </a:lnTo>
                    <a:lnTo>
                      <a:pt x="123" y="166"/>
                    </a:lnTo>
                    <a:lnTo>
                      <a:pt x="127" y="163"/>
                    </a:lnTo>
                    <a:lnTo>
                      <a:pt x="132" y="157"/>
                    </a:lnTo>
                    <a:lnTo>
                      <a:pt x="138" y="150"/>
                    </a:lnTo>
                    <a:lnTo>
                      <a:pt x="146" y="136"/>
                    </a:lnTo>
                    <a:lnTo>
                      <a:pt x="153" y="127"/>
                    </a:lnTo>
                    <a:lnTo>
                      <a:pt x="174" y="115"/>
                    </a:lnTo>
                    <a:lnTo>
                      <a:pt x="195" y="105"/>
                    </a:lnTo>
                    <a:lnTo>
                      <a:pt x="214" y="96"/>
                    </a:lnTo>
                    <a:lnTo>
                      <a:pt x="235" y="88"/>
                    </a:lnTo>
                    <a:lnTo>
                      <a:pt x="256" y="80"/>
                    </a:lnTo>
                    <a:lnTo>
                      <a:pt x="279" y="73"/>
                    </a:lnTo>
                    <a:lnTo>
                      <a:pt x="304" y="65"/>
                    </a:lnTo>
                    <a:lnTo>
                      <a:pt x="332" y="58"/>
                    </a:lnTo>
                    <a:lnTo>
                      <a:pt x="332" y="46"/>
                    </a:lnTo>
                    <a:lnTo>
                      <a:pt x="332" y="35"/>
                    </a:lnTo>
                    <a:lnTo>
                      <a:pt x="332" y="22"/>
                    </a:lnTo>
                    <a:lnTo>
                      <a:pt x="332" y="3"/>
                    </a:lnTo>
                    <a:lnTo>
                      <a:pt x="320" y="2"/>
                    </a:lnTo>
                    <a:lnTo>
                      <a:pt x="303" y="2"/>
                    </a:lnTo>
                    <a:lnTo>
                      <a:pt x="283" y="1"/>
                    </a:lnTo>
                    <a:lnTo>
                      <a:pt x="259" y="0"/>
                    </a:lnTo>
                    <a:lnTo>
                      <a:pt x="234" y="0"/>
                    </a:lnTo>
                    <a:lnTo>
                      <a:pt x="208" y="0"/>
                    </a:lnTo>
                    <a:lnTo>
                      <a:pt x="180" y="1"/>
                    </a:lnTo>
                    <a:lnTo>
                      <a:pt x="153" y="3"/>
                    </a:lnTo>
                    <a:lnTo>
                      <a:pt x="131" y="4"/>
                    </a:lnTo>
                    <a:lnTo>
                      <a:pt x="110" y="6"/>
                    </a:lnTo>
                    <a:lnTo>
                      <a:pt x="90" y="10"/>
                    </a:lnTo>
                    <a:lnTo>
                      <a:pt x="73" y="15"/>
                    </a:lnTo>
                    <a:lnTo>
                      <a:pt x="59" y="19"/>
                    </a:lnTo>
                    <a:lnTo>
                      <a:pt x="46" y="22"/>
                    </a:lnTo>
                    <a:lnTo>
                      <a:pt x="42" y="22"/>
                    </a:lnTo>
                    <a:lnTo>
                      <a:pt x="38" y="23"/>
                    </a:lnTo>
                    <a:lnTo>
                      <a:pt x="35" y="23"/>
                    </a:lnTo>
                    <a:lnTo>
                      <a:pt x="33" y="22"/>
                    </a:lnTo>
                    <a:lnTo>
                      <a:pt x="34" y="26"/>
                    </a:lnTo>
                    <a:lnTo>
                      <a:pt x="34" y="34"/>
                    </a:lnTo>
                    <a:lnTo>
                      <a:pt x="33" y="38"/>
                    </a:lnTo>
                    <a:lnTo>
                      <a:pt x="30" y="42"/>
                    </a:lnTo>
                    <a:lnTo>
                      <a:pt x="29" y="44"/>
                    </a:lnTo>
                    <a:lnTo>
                      <a:pt x="27" y="45"/>
                    </a:lnTo>
                    <a:lnTo>
                      <a:pt x="23" y="46"/>
                    </a:lnTo>
                    <a:lnTo>
                      <a:pt x="20" y="46"/>
                    </a:lnTo>
                    <a:lnTo>
                      <a:pt x="19" y="55"/>
                    </a:lnTo>
                    <a:lnTo>
                      <a:pt x="16" y="63"/>
                    </a:lnTo>
                    <a:lnTo>
                      <a:pt x="11" y="72"/>
                    </a:lnTo>
                    <a:lnTo>
                      <a:pt x="7" y="77"/>
                    </a:lnTo>
                    <a:lnTo>
                      <a:pt x="7" y="8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1" name="Freeform 222">
                <a:extLst>
                  <a:ext uri="{FF2B5EF4-FFF2-40B4-BE49-F238E27FC236}">
                    <a16:creationId xmlns:a16="http://schemas.microsoft.com/office/drawing/2014/main" id="{61E6403F-AE46-41BF-9927-F2448FBB914A}"/>
                  </a:ext>
                </a:extLst>
              </p:cNvPr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auto">
              <a:xfrm>
                <a:off x="1365550" y="3997286"/>
                <a:ext cx="152025" cy="138880"/>
              </a:xfrm>
              <a:custGeom>
                <a:avLst/>
                <a:gdLst>
                  <a:gd name="T0" fmla="*/ 8460486 w 286"/>
                  <a:gd name="T1" fmla="*/ 23268914 h 235"/>
                  <a:gd name="T2" fmla="*/ 9422125 w 286"/>
                  <a:gd name="T3" fmla="*/ 25974795 h 235"/>
                  <a:gd name="T4" fmla="*/ 10191260 w 286"/>
                  <a:gd name="T5" fmla="*/ 28409672 h 235"/>
                  <a:gd name="T6" fmla="*/ 11729530 w 286"/>
                  <a:gd name="T7" fmla="*/ 29762612 h 235"/>
                  <a:gd name="T8" fmla="*/ 13652368 w 286"/>
                  <a:gd name="T9" fmla="*/ 30033096 h 235"/>
                  <a:gd name="T10" fmla="*/ 14806071 w 286"/>
                  <a:gd name="T11" fmla="*/ 29221124 h 235"/>
                  <a:gd name="T12" fmla="*/ 16536405 w 286"/>
                  <a:gd name="T13" fmla="*/ 26786247 h 235"/>
                  <a:gd name="T14" fmla="*/ 19228378 w 286"/>
                  <a:gd name="T15" fmla="*/ 21104521 h 235"/>
                  <a:gd name="T16" fmla="*/ 24612324 w 286"/>
                  <a:gd name="T17" fmla="*/ 15422274 h 235"/>
                  <a:gd name="T18" fmla="*/ 32304114 w 286"/>
                  <a:gd name="T19" fmla="*/ 10281516 h 235"/>
                  <a:gd name="T20" fmla="*/ 40380033 w 286"/>
                  <a:gd name="T21" fmla="*/ 5952731 h 235"/>
                  <a:gd name="T22" fmla="*/ 49609655 w 286"/>
                  <a:gd name="T23" fmla="*/ 1893909 h 235"/>
                  <a:gd name="T24" fmla="*/ 54993601 w 286"/>
                  <a:gd name="T25" fmla="*/ 2976365 h 235"/>
                  <a:gd name="T26" fmla="*/ 54224465 w 286"/>
                  <a:gd name="T27" fmla="*/ 8658092 h 235"/>
                  <a:gd name="T28" fmla="*/ 52301628 w 286"/>
                  <a:gd name="T29" fmla="*/ 18939608 h 235"/>
                  <a:gd name="T30" fmla="*/ 48840519 w 286"/>
                  <a:gd name="T31" fmla="*/ 34632886 h 235"/>
                  <a:gd name="T32" fmla="*/ 46917682 w 286"/>
                  <a:gd name="T33" fmla="*/ 47078795 h 235"/>
                  <a:gd name="T34" fmla="*/ 46148546 w 286"/>
                  <a:gd name="T35" fmla="*/ 55736887 h 235"/>
                  <a:gd name="T36" fmla="*/ 28073871 w 286"/>
                  <a:gd name="T37" fmla="*/ 58442768 h 235"/>
                  <a:gd name="T38" fmla="*/ 26535162 w 286"/>
                  <a:gd name="T39" fmla="*/ 58983736 h 235"/>
                  <a:gd name="T40" fmla="*/ 25381459 w 286"/>
                  <a:gd name="T41" fmla="*/ 60336677 h 235"/>
                  <a:gd name="T42" fmla="*/ 24420260 w 286"/>
                  <a:gd name="T43" fmla="*/ 63583526 h 235"/>
                  <a:gd name="T44" fmla="*/ 20959152 w 286"/>
                  <a:gd name="T45" fmla="*/ 58713252 h 235"/>
                  <a:gd name="T46" fmla="*/ 18074676 w 286"/>
                  <a:gd name="T47" fmla="*/ 53842978 h 235"/>
                  <a:gd name="T48" fmla="*/ 13267800 w 286"/>
                  <a:gd name="T49" fmla="*/ 43290978 h 235"/>
                  <a:gd name="T50" fmla="*/ 10575827 w 286"/>
                  <a:gd name="T51" fmla="*/ 38420704 h 235"/>
                  <a:gd name="T52" fmla="*/ 7883854 w 286"/>
                  <a:gd name="T53" fmla="*/ 33820914 h 235"/>
                  <a:gd name="T54" fmla="*/ 4230243 w 286"/>
                  <a:gd name="T55" fmla="*/ 29762612 h 235"/>
                  <a:gd name="T56" fmla="*/ 0 w 286"/>
                  <a:gd name="T57" fmla="*/ 26786247 h 235"/>
                  <a:gd name="T58" fmla="*/ 2499908 w 286"/>
                  <a:gd name="T59" fmla="*/ 26245279 h 235"/>
                  <a:gd name="T60" fmla="*/ 4999378 w 286"/>
                  <a:gd name="T61" fmla="*/ 24621854 h 235"/>
                  <a:gd name="T62" fmla="*/ 7499287 w 286"/>
                  <a:gd name="T63" fmla="*/ 22727945 h 235"/>
                  <a:gd name="T64" fmla="*/ 9037557 w 286"/>
                  <a:gd name="T65" fmla="*/ 20292548 h 235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86" h="235">
                    <a:moveTo>
                      <a:pt x="40" y="81"/>
                    </a:moveTo>
                    <a:lnTo>
                      <a:pt x="44" y="86"/>
                    </a:lnTo>
                    <a:lnTo>
                      <a:pt x="48" y="91"/>
                    </a:lnTo>
                    <a:lnTo>
                      <a:pt x="49" y="96"/>
                    </a:lnTo>
                    <a:lnTo>
                      <a:pt x="51" y="100"/>
                    </a:lnTo>
                    <a:lnTo>
                      <a:pt x="53" y="105"/>
                    </a:lnTo>
                    <a:lnTo>
                      <a:pt x="56" y="108"/>
                    </a:lnTo>
                    <a:lnTo>
                      <a:pt x="61" y="110"/>
                    </a:lnTo>
                    <a:lnTo>
                      <a:pt x="67" y="111"/>
                    </a:lnTo>
                    <a:lnTo>
                      <a:pt x="71" y="111"/>
                    </a:lnTo>
                    <a:lnTo>
                      <a:pt x="74" y="109"/>
                    </a:lnTo>
                    <a:lnTo>
                      <a:pt x="77" y="108"/>
                    </a:lnTo>
                    <a:lnTo>
                      <a:pt x="81" y="105"/>
                    </a:lnTo>
                    <a:lnTo>
                      <a:pt x="86" y="99"/>
                    </a:lnTo>
                    <a:lnTo>
                      <a:pt x="92" y="92"/>
                    </a:lnTo>
                    <a:lnTo>
                      <a:pt x="100" y="78"/>
                    </a:lnTo>
                    <a:lnTo>
                      <a:pt x="107" y="69"/>
                    </a:lnTo>
                    <a:lnTo>
                      <a:pt x="128" y="57"/>
                    </a:lnTo>
                    <a:lnTo>
                      <a:pt x="149" y="47"/>
                    </a:lnTo>
                    <a:lnTo>
                      <a:pt x="168" y="38"/>
                    </a:lnTo>
                    <a:lnTo>
                      <a:pt x="189" y="30"/>
                    </a:lnTo>
                    <a:lnTo>
                      <a:pt x="210" y="22"/>
                    </a:lnTo>
                    <a:lnTo>
                      <a:pt x="233" y="15"/>
                    </a:lnTo>
                    <a:lnTo>
                      <a:pt x="258" y="7"/>
                    </a:lnTo>
                    <a:lnTo>
                      <a:pt x="286" y="0"/>
                    </a:lnTo>
                    <a:lnTo>
                      <a:pt x="286" y="11"/>
                    </a:lnTo>
                    <a:lnTo>
                      <a:pt x="284" y="21"/>
                    </a:lnTo>
                    <a:lnTo>
                      <a:pt x="282" y="32"/>
                    </a:lnTo>
                    <a:lnTo>
                      <a:pt x="279" y="44"/>
                    </a:lnTo>
                    <a:lnTo>
                      <a:pt x="272" y="70"/>
                    </a:lnTo>
                    <a:lnTo>
                      <a:pt x="263" y="97"/>
                    </a:lnTo>
                    <a:lnTo>
                      <a:pt x="254" y="128"/>
                    </a:lnTo>
                    <a:lnTo>
                      <a:pt x="246" y="158"/>
                    </a:lnTo>
                    <a:lnTo>
                      <a:pt x="244" y="174"/>
                    </a:lnTo>
                    <a:lnTo>
                      <a:pt x="242" y="190"/>
                    </a:lnTo>
                    <a:lnTo>
                      <a:pt x="240" y="206"/>
                    </a:lnTo>
                    <a:lnTo>
                      <a:pt x="240" y="222"/>
                    </a:lnTo>
                    <a:lnTo>
                      <a:pt x="146" y="216"/>
                    </a:lnTo>
                    <a:lnTo>
                      <a:pt x="142" y="216"/>
                    </a:lnTo>
                    <a:lnTo>
                      <a:pt x="138" y="218"/>
                    </a:lnTo>
                    <a:lnTo>
                      <a:pt x="134" y="220"/>
                    </a:lnTo>
                    <a:lnTo>
                      <a:pt x="132" y="223"/>
                    </a:lnTo>
                    <a:lnTo>
                      <a:pt x="128" y="229"/>
                    </a:lnTo>
                    <a:lnTo>
                      <a:pt x="127" y="235"/>
                    </a:lnTo>
                    <a:lnTo>
                      <a:pt x="117" y="226"/>
                    </a:lnTo>
                    <a:lnTo>
                      <a:pt x="109" y="217"/>
                    </a:lnTo>
                    <a:lnTo>
                      <a:pt x="101" y="208"/>
                    </a:lnTo>
                    <a:lnTo>
                      <a:pt x="94" y="199"/>
                    </a:lnTo>
                    <a:lnTo>
                      <a:pt x="81" y="180"/>
                    </a:lnTo>
                    <a:lnTo>
                      <a:pt x="69" y="160"/>
                    </a:lnTo>
                    <a:lnTo>
                      <a:pt x="62" y="150"/>
                    </a:lnTo>
                    <a:lnTo>
                      <a:pt x="55" y="142"/>
                    </a:lnTo>
                    <a:lnTo>
                      <a:pt x="49" y="133"/>
                    </a:lnTo>
                    <a:lnTo>
                      <a:pt x="41" y="125"/>
                    </a:lnTo>
                    <a:lnTo>
                      <a:pt x="32" y="117"/>
                    </a:lnTo>
                    <a:lnTo>
                      <a:pt x="22" y="110"/>
                    </a:lnTo>
                    <a:lnTo>
                      <a:pt x="13" y="104"/>
                    </a:lnTo>
                    <a:lnTo>
                      <a:pt x="0" y="99"/>
                    </a:lnTo>
                    <a:lnTo>
                      <a:pt x="6" y="98"/>
                    </a:lnTo>
                    <a:lnTo>
                      <a:pt x="13" y="97"/>
                    </a:lnTo>
                    <a:lnTo>
                      <a:pt x="19" y="94"/>
                    </a:lnTo>
                    <a:lnTo>
                      <a:pt x="26" y="91"/>
                    </a:lnTo>
                    <a:lnTo>
                      <a:pt x="32" y="88"/>
                    </a:lnTo>
                    <a:lnTo>
                      <a:pt x="39" y="84"/>
                    </a:lnTo>
                    <a:lnTo>
                      <a:pt x="43" y="79"/>
                    </a:lnTo>
                    <a:lnTo>
                      <a:pt x="47" y="75"/>
                    </a:lnTo>
                    <a:lnTo>
                      <a:pt x="40" y="81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2" name="Freeform 223">
                <a:extLst>
                  <a:ext uri="{FF2B5EF4-FFF2-40B4-BE49-F238E27FC236}">
                    <a16:creationId xmlns:a16="http://schemas.microsoft.com/office/drawing/2014/main" id="{97A1F6AF-4EC4-45EF-9908-C18E331F5F63}"/>
                  </a:ext>
                </a:extLst>
              </p:cNvPr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auto">
              <a:xfrm>
                <a:off x="1427084" y="4123860"/>
                <a:ext cx="101350" cy="112510"/>
              </a:xfrm>
              <a:custGeom>
                <a:avLst/>
                <a:gdLst>
                  <a:gd name="T0" fmla="*/ 31668346 w 205"/>
                  <a:gd name="T1" fmla="*/ 50723364 h 191"/>
                  <a:gd name="T2" fmla="*/ 29478321 w 205"/>
                  <a:gd name="T3" fmla="*/ 50723364 h 191"/>
                  <a:gd name="T4" fmla="*/ 26614790 w 205"/>
                  <a:gd name="T5" fmla="*/ 50723364 h 191"/>
                  <a:gd name="T6" fmla="*/ 24256492 w 205"/>
                  <a:gd name="T7" fmla="*/ 49352518 h 191"/>
                  <a:gd name="T8" fmla="*/ 22909069 w 205"/>
                  <a:gd name="T9" fmla="*/ 47433440 h 191"/>
                  <a:gd name="T10" fmla="*/ 21729919 w 205"/>
                  <a:gd name="T11" fmla="*/ 44691750 h 191"/>
                  <a:gd name="T12" fmla="*/ 20213812 w 205"/>
                  <a:gd name="T13" fmla="*/ 40304836 h 191"/>
                  <a:gd name="T14" fmla="*/ 18529430 w 205"/>
                  <a:gd name="T15" fmla="*/ 35917922 h 191"/>
                  <a:gd name="T16" fmla="*/ 16676364 w 205"/>
                  <a:gd name="T17" fmla="*/ 33175708 h 191"/>
                  <a:gd name="T18" fmla="*/ 15665489 w 205"/>
                  <a:gd name="T19" fmla="*/ 34547077 h 191"/>
                  <a:gd name="T20" fmla="*/ 15160256 w 205"/>
                  <a:gd name="T21" fmla="*/ 37014389 h 191"/>
                  <a:gd name="T22" fmla="*/ 14149791 w 205"/>
                  <a:gd name="T23" fmla="*/ 35643544 h 191"/>
                  <a:gd name="T24" fmla="*/ 12128451 w 205"/>
                  <a:gd name="T25" fmla="*/ 30982251 h 191"/>
                  <a:gd name="T26" fmla="*/ 9433194 w 205"/>
                  <a:gd name="T27" fmla="*/ 23853647 h 191"/>
                  <a:gd name="T28" fmla="*/ 6906211 w 205"/>
                  <a:gd name="T29" fmla="*/ 18370267 h 191"/>
                  <a:gd name="T30" fmla="*/ 5221830 w 205"/>
                  <a:gd name="T31" fmla="*/ 15902432 h 191"/>
                  <a:gd name="T32" fmla="*/ 4379639 w 205"/>
                  <a:gd name="T33" fmla="*/ 16450665 h 191"/>
                  <a:gd name="T34" fmla="*/ 4884871 w 205"/>
                  <a:gd name="T35" fmla="*/ 18918500 h 191"/>
                  <a:gd name="T36" fmla="*/ 5727062 w 205"/>
                  <a:gd name="T37" fmla="*/ 21386336 h 191"/>
                  <a:gd name="T38" fmla="*/ 6906211 w 205"/>
                  <a:gd name="T39" fmla="*/ 23031036 h 191"/>
                  <a:gd name="T40" fmla="*/ 7748812 w 205"/>
                  <a:gd name="T41" fmla="*/ 28788795 h 191"/>
                  <a:gd name="T42" fmla="*/ 2190025 w 205"/>
                  <a:gd name="T43" fmla="*/ 26869716 h 191"/>
                  <a:gd name="T44" fmla="*/ 673917 w 205"/>
                  <a:gd name="T45" fmla="*/ 23031036 h 191"/>
                  <a:gd name="T46" fmla="*/ 0 w 205"/>
                  <a:gd name="T47" fmla="*/ 16450665 h 191"/>
                  <a:gd name="T48" fmla="*/ 0 w 205"/>
                  <a:gd name="T49" fmla="*/ 10419051 h 191"/>
                  <a:gd name="T50" fmla="*/ 505232 w 205"/>
                  <a:gd name="T51" fmla="*/ 7676837 h 191"/>
                  <a:gd name="T52" fmla="*/ 1347423 w 205"/>
                  <a:gd name="T53" fmla="*/ 6032137 h 191"/>
                  <a:gd name="T54" fmla="*/ 2358299 w 205"/>
                  <a:gd name="T55" fmla="*/ 3564302 h 191"/>
                  <a:gd name="T56" fmla="*/ 3368763 w 205"/>
                  <a:gd name="T57" fmla="*/ 1096467 h 191"/>
                  <a:gd name="T58" fmla="*/ 4716597 w 205"/>
                  <a:gd name="T59" fmla="*/ 0 h 191"/>
                  <a:gd name="T60" fmla="*/ 21224276 w 205"/>
                  <a:gd name="T61" fmla="*/ 1645224 h 191"/>
                  <a:gd name="T62" fmla="*/ 21392961 w 205"/>
                  <a:gd name="T63" fmla="*/ 5757759 h 191"/>
                  <a:gd name="T64" fmla="*/ 21898193 w 205"/>
                  <a:gd name="T65" fmla="*/ 10144673 h 191"/>
                  <a:gd name="T66" fmla="*/ 24088218 w 205"/>
                  <a:gd name="T67" fmla="*/ 19192879 h 191"/>
                  <a:gd name="T68" fmla="*/ 27793940 w 205"/>
                  <a:gd name="T69" fmla="*/ 27966706 h 191"/>
                  <a:gd name="T70" fmla="*/ 29815280 w 205"/>
                  <a:gd name="T71" fmla="*/ 32079242 h 191"/>
                  <a:gd name="T72" fmla="*/ 32341852 w 205"/>
                  <a:gd name="T73" fmla="*/ 35643544 h 191"/>
                  <a:gd name="T74" fmla="*/ 31836620 w 205"/>
                  <a:gd name="T75" fmla="*/ 39207846 h 191"/>
                  <a:gd name="T76" fmla="*/ 31836620 w 205"/>
                  <a:gd name="T77" fmla="*/ 42772148 h 191"/>
                  <a:gd name="T78" fmla="*/ 32341852 w 205"/>
                  <a:gd name="T79" fmla="*/ 52368587 h 191"/>
                  <a:gd name="T80" fmla="*/ 34531877 w 205"/>
                  <a:gd name="T81" fmla="*/ 50723364 h 19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05" h="191">
                    <a:moveTo>
                      <a:pt x="205" y="185"/>
                    </a:moveTo>
                    <a:lnTo>
                      <a:pt x="188" y="185"/>
                    </a:lnTo>
                    <a:lnTo>
                      <a:pt x="181" y="185"/>
                    </a:lnTo>
                    <a:lnTo>
                      <a:pt x="175" y="185"/>
                    </a:lnTo>
                    <a:lnTo>
                      <a:pt x="165" y="185"/>
                    </a:lnTo>
                    <a:lnTo>
                      <a:pt x="158" y="185"/>
                    </a:lnTo>
                    <a:lnTo>
                      <a:pt x="151" y="182"/>
                    </a:lnTo>
                    <a:lnTo>
                      <a:pt x="144" y="180"/>
                    </a:lnTo>
                    <a:lnTo>
                      <a:pt x="140" y="177"/>
                    </a:lnTo>
                    <a:lnTo>
                      <a:pt x="136" y="173"/>
                    </a:lnTo>
                    <a:lnTo>
                      <a:pt x="132" y="168"/>
                    </a:lnTo>
                    <a:lnTo>
                      <a:pt x="129" y="163"/>
                    </a:lnTo>
                    <a:lnTo>
                      <a:pt x="127" y="158"/>
                    </a:lnTo>
                    <a:lnTo>
                      <a:pt x="120" y="147"/>
                    </a:lnTo>
                    <a:lnTo>
                      <a:pt x="114" y="136"/>
                    </a:lnTo>
                    <a:lnTo>
                      <a:pt x="110" y="131"/>
                    </a:lnTo>
                    <a:lnTo>
                      <a:pt x="105" y="125"/>
                    </a:lnTo>
                    <a:lnTo>
                      <a:pt x="99" y="121"/>
                    </a:lnTo>
                    <a:lnTo>
                      <a:pt x="93" y="117"/>
                    </a:lnTo>
                    <a:lnTo>
                      <a:pt x="93" y="126"/>
                    </a:lnTo>
                    <a:lnTo>
                      <a:pt x="93" y="136"/>
                    </a:lnTo>
                    <a:lnTo>
                      <a:pt x="90" y="135"/>
                    </a:lnTo>
                    <a:lnTo>
                      <a:pt x="86" y="133"/>
                    </a:lnTo>
                    <a:lnTo>
                      <a:pt x="84" y="130"/>
                    </a:lnTo>
                    <a:lnTo>
                      <a:pt x="80" y="124"/>
                    </a:lnTo>
                    <a:lnTo>
                      <a:pt x="72" y="113"/>
                    </a:lnTo>
                    <a:lnTo>
                      <a:pt x="64" y="100"/>
                    </a:lnTo>
                    <a:lnTo>
                      <a:pt x="56" y="87"/>
                    </a:lnTo>
                    <a:lnTo>
                      <a:pt x="46" y="74"/>
                    </a:lnTo>
                    <a:lnTo>
                      <a:pt x="41" y="67"/>
                    </a:lnTo>
                    <a:lnTo>
                      <a:pt x="36" y="62"/>
                    </a:lnTo>
                    <a:lnTo>
                      <a:pt x="31" y="58"/>
                    </a:lnTo>
                    <a:lnTo>
                      <a:pt x="26" y="55"/>
                    </a:lnTo>
                    <a:lnTo>
                      <a:pt x="26" y="60"/>
                    </a:lnTo>
                    <a:lnTo>
                      <a:pt x="27" y="64"/>
                    </a:lnTo>
                    <a:lnTo>
                      <a:pt x="29" y="69"/>
                    </a:lnTo>
                    <a:lnTo>
                      <a:pt x="31" y="74"/>
                    </a:lnTo>
                    <a:lnTo>
                      <a:pt x="34" y="78"/>
                    </a:lnTo>
                    <a:lnTo>
                      <a:pt x="37" y="81"/>
                    </a:lnTo>
                    <a:lnTo>
                      <a:pt x="41" y="84"/>
                    </a:lnTo>
                    <a:lnTo>
                      <a:pt x="46" y="87"/>
                    </a:lnTo>
                    <a:lnTo>
                      <a:pt x="46" y="105"/>
                    </a:lnTo>
                    <a:lnTo>
                      <a:pt x="19" y="105"/>
                    </a:lnTo>
                    <a:lnTo>
                      <a:pt x="13" y="98"/>
                    </a:lnTo>
                    <a:lnTo>
                      <a:pt x="8" y="91"/>
                    </a:lnTo>
                    <a:lnTo>
                      <a:pt x="4" y="84"/>
                    </a:lnTo>
                    <a:lnTo>
                      <a:pt x="2" y="77"/>
                    </a:lnTo>
                    <a:lnTo>
                      <a:pt x="0" y="60"/>
                    </a:lnTo>
                    <a:lnTo>
                      <a:pt x="0" y="43"/>
                    </a:lnTo>
                    <a:lnTo>
                      <a:pt x="0" y="38"/>
                    </a:lnTo>
                    <a:lnTo>
                      <a:pt x="1" y="31"/>
                    </a:lnTo>
                    <a:lnTo>
                      <a:pt x="3" y="28"/>
                    </a:lnTo>
                    <a:lnTo>
                      <a:pt x="5" y="25"/>
                    </a:lnTo>
                    <a:lnTo>
                      <a:pt x="8" y="22"/>
                    </a:lnTo>
                    <a:lnTo>
                      <a:pt x="13" y="19"/>
                    </a:lnTo>
                    <a:lnTo>
                      <a:pt x="14" y="13"/>
                    </a:lnTo>
                    <a:lnTo>
                      <a:pt x="18" y="7"/>
                    </a:lnTo>
                    <a:lnTo>
                      <a:pt x="20" y="4"/>
                    </a:lnTo>
                    <a:lnTo>
                      <a:pt x="24" y="2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126" y="6"/>
                    </a:lnTo>
                    <a:lnTo>
                      <a:pt x="126" y="13"/>
                    </a:lnTo>
                    <a:lnTo>
                      <a:pt x="127" y="21"/>
                    </a:lnTo>
                    <a:lnTo>
                      <a:pt x="128" y="29"/>
                    </a:lnTo>
                    <a:lnTo>
                      <a:pt x="130" y="37"/>
                    </a:lnTo>
                    <a:lnTo>
                      <a:pt x="136" y="53"/>
                    </a:lnTo>
                    <a:lnTo>
                      <a:pt x="143" y="70"/>
                    </a:lnTo>
                    <a:lnTo>
                      <a:pt x="153" y="87"/>
                    </a:lnTo>
                    <a:lnTo>
                      <a:pt x="165" y="102"/>
                    </a:lnTo>
                    <a:lnTo>
                      <a:pt x="171" y="110"/>
                    </a:lnTo>
                    <a:lnTo>
                      <a:pt x="177" y="117"/>
                    </a:lnTo>
                    <a:lnTo>
                      <a:pt x="185" y="123"/>
                    </a:lnTo>
                    <a:lnTo>
                      <a:pt x="192" y="130"/>
                    </a:lnTo>
                    <a:lnTo>
                      <a:pt x="191" y="137"/>
                    </a:lnTo>
                    <a:lnTo>
                      <a:pt x="189" y="143"/>
                    </a:lnTo>
                    <a:lnTo>
                      <a:pt x="189" y="149"/>
                    </a:lnTo>
                    <a:lnTo>
                      <a:pt x="189" y="156"/>
                    </a:lnTo>
                    <a:lnTo>
                      <a:pt x="192" y="171"/>
                    </a:lnTo>
                    <a:lnTo>
                      <a:pt x="192" y="191"/>
                    </a:lnTo>
                    <a:lnTo>
                      <a:pt x="192" y="185"/>
                    </a:lnTo>
                    <a:lnTo>
                      <a:pt x="205" y="185"/>
                    </a:lnTo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3" name="Freeform 224">
                <a:extLst>
                  <a:ext uri="{FF2B5EF4-FFF2-40B4-BE49-F238E27FC236}">
                    <a16:creationId xmlns:a16="http://schemas.microsoft.com/office/drawing/2014/main" id="{60E5387F-453B-43CA-A4FD-C8D2A134E544}"/>
                  </a:ext>
                </a:extLst>
              </p:cNvPr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auto">
              <a:xfrm>
                <a:off x="1524814" y="4185390"/>
                <a:ext cx="171933" cy="89656"/>
              </a:xfrm>
              <a:custGeom>
                <a:avLst/>
                <a:gdLst>
                  <a:gd name="T0" fmla="*/ 565854 w 329"/>
                  <a:gd name="T1" fmla="*/ 15408028 h 154"/>
                  <a:gd name="T2" fmla="*/ 0 w 329"/>
                  <a:gd name="T3" fmla="*/ 11157857 h 154"/>
                  <a:gd name="T4" fmla="*/ 377381 w 329"/>
                  <a:gd name="T5" fmla="*/ 8235414 h 154"/>
                  <a:gd name="T6" fmla="*/ 3206219 w 329"/>
                  <a:gd name="T7" fmla="*/ 8766814 h 154"/>
                  <a:gd name="T8" fmla="*/ 6789385 w 329"/>
                  <a:gd name="T9" fmla="*/ 10891899 h 154"/>
                  <a:gd name="T10" fmla="*/ 9240842 w 329"/>
                  <a:gd name="T11" fmla="*/ 11423300 h 154"/>
                  <a:gd name="T12" fmla="*/ 12635535 w 329"/>
                  <a:gd name="T13" fmla="*/ 11423300 h 154"/>
                  <a:gd name="T14" fmla="*/ 16218701 w 329"/>
                  <a:gd name="T15" fmla="*/ 10360499 h 154"/>
                  <a:gd name="T16" fmla="*/ 20745103 w 329"/>
                  <a:gd name="T17" fmla="*/ 7969972 h 154"/>
                  <a:gd name="T18" fmla="*/ 26402779 w 329"/>
                  <a:gd name="T19" fmla="*/ 3453328 h 154"/>
                  <a:gd name="T20" fmla="*/ 30551799 w 329"/>
                  <a:gd name="T21" fmla="*/ 1062800 h 154"/>
                  <a:gd name="T22" fmla="*/ 33757584 w 329"/>
                  <a:gd name="T23" fmla="*/ 0 h 154"/>
                  <a:gd name="T24" fmla="*/ 38283986 w 329"/>
                  <a:gd name="T25" fmla="*/ 0 h 154"/>
                  <a:gd name="T26" fmla="*/ 42244533 w 329"/>
                  <a:gd name="T27" fmla="*/ 1594200 h 154"/>
                  <a:gd name="T28" fmla="*/ 45827699 w 329"/>
                  <a:gd name="T29" fmla="*/ 3984728 h 154"/>
                  <a:gd name="T30" fmla="*/ 48845011 w 329"/>
                  <a:gd name="T31" fmla="*/ 7438571 h 154"/>
                  <a:gd name="T32" fmla="*/ 52805558 w 329"/>
                  <a:gd name="T33" fmla="*/ 12220142 h 154"/>
                  <a:gd name="T34" fmla="*/ 56954578 w 329"/>
                  <a:gd name="T35" fmla="*/ 16205386 h 154"/>
                  <a:gd name="T36" fmla="*/ 60160363 w 329"/>
                  <a:gd name="T37" fmla="*/ 17799071 h 154"/>
                  <a:gd name="T38" fmla="*/ 59029089 w 329"/>
                  <a:gd name="T39" fmla="*/ 21784314 h 154"/>
                  <a:gd name="T40" fmla="*/ 55257015 w 329"/>
                  <a:gd name="T41" fmla="*/ 28160085 h 154"/>
                  <a:gd name="T42" fmla="*/ 52239703 w 329"/>
                  <a:gd name="T43" fmla="*/ 36660942 h 154"/>
                  <a:gd name="T44" fmla="*/ 49976720 w 329"/>
                  <a:gd name="T45" fmla="*/ 40646185 h 154"/>
                  <a:gd name="T46" fmla="*/ 47713302 w 329"/>
                  <a:gd name="T47" fmla="*/ 38786542 h 154"/>
                  <a:gd name="T48" fmla="*/ 45261845 w 329"/>
                  <a:gd name="T49" fmla="*/ 36129541 h 154"/>
                  <a:gd name="T50" fmla="*/ 43375808 w 329"/>
                  <a:gd name="T51" fmla="*/ 33473056 h 154"/>
                  <a:gd name="T52" fmla="*/ 43375808 w 329"/>
                  <a:gd name="T53" fmla="*/ 30285170 h 154"/>
                  <a:gd name="T54" fmla="*/ 44319043 w 329"/>
                  <a:gd name="T55" fmla="*/ 26565885 h 154"/>
                  <a:gd name="T56" fmla="*/ 46958974 w 329"/>
                  <a:gd name="T57" fmla="*/ 22846599 h 154"/>
                  <a:gd name="T58" fmla="*/ 43941662 w 329"/>
                  <a:gd name="T59" fmla="*/ 18065028 h 154"/>
                  <a:gd name="T60" fmla="*/ 39038314 w 329"/>
                  <a:gd name="T61" fmla="*/ 14611185 h 154"/>
                  <a:gd name="T62" fmla="*/ 36775330 w 329"/>
                  <a:gd name="T63" fmla="*/ 10891899 h 154"/>
                  <a:gd name="T64" fmla="*/ 33757584 w 329"/>
                  <a:gd name="T65" fmla="*/ 9032256 h 154"/>
                  <a:gd name="T66" fmla="*/ 30740273 w 329"/>
                  <a:gd name="T67" fmla="*/ 10891899 h 154"/>
                  <a:gd name="T68" fmla="*/ 28288816 w 329"/>
                  <a:gd name="T69" fmla="*/ 13282942 h 154"/>
                  <a:gd name="T70" fmla="*/ 26402779 w 329"/>
                  <a:gd name="T71" fmla="*/ 16205386 h 154"/>
                  <a:gd name="T72" fmla="*/ 24894123 w 329"/>
                  <a:gd name="T73" fmla="*/ 19658713 h 154"/>
                  <a:gd name="T74" fmla="*/ 24139795 w 329"/>
                  <a:gd name="T75" fmla="*/ 23377999 h 154"/>
                  <a:gd name="T76" fmla="*/ 23196560 w 329"/>
                  <a:gd name="T77" fmla="*/ 28956928 h 154"/>
                  <a:gd name="T78" fmla="*/ 23008086 w 329"/>
                  <a:gd name="T79" fmla="*/ 33207614 h 154"/>
                  <a:gd name="T80" fmla="*/ 22253758 w 329"/>
                  <a:gd name="T81" fmla="*/ 34269899 h 154"/>
                  <a:gd name="T82" fmla="*/ 20367722 w 329"/>
                  <a:gd name="T83" fmla="*/ 35864099 h 154"/>
                  <a:gd name="T84" fmla="*/ 18104738 w 329"/>
                  <a:gd name="T85" fmla="*/ 35864099 h 154"/>
                  <a:gd name="T86" fmla="*/ 15652847 w 329"/>
                  <a:gd name="T87" fmla="*/ 34269899 h 154"/>
                  <a:gd name="T88" fmla="*/ 12447062 w 329"/>
                  <a:gd name="T89" fmla="*/ 30816571 h 154"/>
                  <a:gd name="T90" fmla="*/ 9052369 w 329"/>
                  <a:gd name="T91" fmla="*/ 24972200 h 154"/>
                  <a:gd name="T92" fmla="*/ 6223531 w 329"/>
                  <a:gd name="T93" fmla="*/ 21252914 h 154"/>
                  <a:gd name="T94" fmla="*/ 4149021 w 329"/>
                  <a:gd name="T95" fmla="*/ 19658713 h 154"/>
                  <a:gd name="T96" fmla="*/ 565854 w 329"/>
                  <a:gd name="T97" fmla="*/ 19393271 h 15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329" h="154">
                    <a:moveTo>
                      <a:pt x="3" y="73"/>
                    </a:moveTo>
                    <a:lnTo>
                      <a:pt x="3" y="58"/>
                    </a:lnTo>
                    <a:lnTo>
                      <a:pt x="0" y="47"/>
                    </a:lnTo>
                    <a:lnTo>
                      <a:pt x="0" y="42"/>
                    </a:lnTo>
                    <a:lnTo>
                      <a:pt x="0" y="37"/>
                    </a:lnTo>
                    <a:lnTo>
                      <a:pt x="2" y="31"/>
                    </a:lnTo>
                    <a:lnTo>
                      <a:pt x="3" y="25"/>
                    </a:lnTo>
                    <a:lnTo>
                      <a:pt x="17" y="33"/>
                    </a:lnTo>
                    <a:lnTo>
                      <a:pt x="30" y="39"/>
                    </a:lnTo>
                    <a:lnTo>
                      <a:pt x="36" y="41"/>
                    </a:lnTo>
                    <a:lnTo>
                      <a:pt x="42" y="42"/>
                    </a:lnTo>
                    <a:lnTo>
                      <a:pt x="49" y="43"/>
                    </a:lnTo>
                    <a:lnTo>
                      <a:pt x="56" y="43"/>
                    </a:lnTo>
                    <a:lnTo>
                      <a:pt x="67" y="43"/>
                    </a:lnTo>
                    <a:lnTo>
                      <a:pt x="77" y="41"/>
                    </a:lnTo>
                    <a:lnTo>
                      <a:pt x="86" y="39"/>
                    </a:lnTo>
                    <a:lnTo>
                      <a:pt x="95" y="36"/>
                    </a:lnTo>
                    <a:lnTo>
                      <a:pt x="110" y="30"/>
                    </a:lnTo>
                    <a:lnTo>
                      <a:pt x="126" y="21"/>
                    </a:lnTo>
                    <a:lnTo>
                      <a:pt x="140" y="13"/>
                    </a:lnTo>
                    <a:lnTo>
                      <a:pt x="154" y="6"/>
                    </a:lnTo>
                    <a:lnTo>
                      <a:pt x="162" y="4"/>
                    </a:lnTo>
                    <a:lnTo>
                      <a:pt x="171" y="2"/>
                    </a:lnTo>
                    <a:lnTo>
                      <a:pt x="179" y="0"/>
                    </a:lnTo>
                    <a:lnTo>
                      <a:pt x="189" y="0"/>
                    </a:lnTo>
                    <a:lnTo>
                      <a:pt x="203" y="0"/>
                    </a:lnTo>
                    <a:lnTo>
                      <a:pt x="214" y="3"/>
                    </a:lnTo>
                    <a:lnTo>
                      <a:pt x="224" y="6"/>
                    </a:lnTo>
                    <a:lnTo>
                      <a:pt x="234" y="10"/>
                    </a:lnTo>
                    <a:lnTo>
                      <a:pt x="243" y="15"/>
                    </a:lnTo>
                    <a:lnTo>
                      <a:pt x="251" y="21"/>
                    </a:lnTo>
                    <a:lnTo>
                      <a:pt x="259" y="28"/>
                    </a:lnTo>
                    <a:lnTo>
                      <a:pt x="266" y="34"/>
                    </a:lnTo>
                    <a:lnTo>
                      <a:pt x="280" y="46"/>
                    </a:lnTo>
                    <a:lnTo>
                      <a:pt x="295" y="57"/>
                    </a:lnTo>
                    <a:lnTo>
                      <a:pt x="302" y="61"/>
                    </a:lnTo>
                    <a:lnTo>
                      <a:pt x="310" y="64"/>
                    </a:lnTo>
                    <a:lnTo>
                      <a:pt x="319" y="67"/>
                    </a:lnTo>
                    <a:lnTo>
                      <a:pt x="329" y="67"/>
                    </a:lnTo>
                    <a:lnTo>
                      <a:pt x="313" y="82"/>
                    </a:lnTo>
                    <a:lnTo>
                      <a:pt x="301" y="94"/>
                    </a:lnTo>
                    <a:lnTo>
                      <a:pt x="293" y="106"/>
                    </a:lnTo>
                    <a:lnTo>
                      <a:pt x="286" y="117"/>
                    </a:lnTo>
                    <a:lnTo>
                      <a:pt x="277" y="138"/>
                    </a:lnTo>
                    <a:lnTo>
                      <a:pt x="268" y="154"/>
                    </a:lnTo>
                    <a:lnTo>
                      <a:pt x="265" y="153"/>
                    </a:lnTo>
                    <a:lnTo>
                      <a:pt x="260" y="150"/>
                    </a:lnTo>
                    <a:lnTo>
                      <a:pt x="253" y="146"/>
                    </a:lnTo>
                    <a:lnTo>
                      <a:pt x="246" y="141"/>
                    </a:lnTo>
                    <a:lnTo>
                      <a:pt x="240" y="136"/>
                    </a:lnTo>
                    <a:lnTo>
                      <a:pt x="234" y="130"/>
                    </a:lnTo>
                    <a:lnTo>
                      <a:pt x="230" y="126"/>
                    </a:lnTo>
                    <a:lnTo>
                      <a:pt x="229" y="123"/>
                    </a:lnTo>
                    <a:lnTo>
                      <a:pt x="230" y="114"/>
                    </a:lnTo>
                    <a:lnTo>
                      <a:pt x="232" y="107"/>
                    </a:lnTo>
                    <a:lnTo>
                      <a:pt x="235" y="100"/>
                    </a:lnTo>
                    <a:lnTo>
                      <a:pt x="240" y="95"/>
                    </a:lnTo>
                    <a:lnTo>
                      <a:pt x="249" y="86"/>
                    </a:lnTo>
                    <a:lnTo>
                      <a:pt x="255" y="80"/>
                    </a:lnTo>
                    <a:lnTo>
                      <a:pt x="233" y="68"/>
                    </a:lnTo>
                    <a:lnTo>
                      <a:pt x="215" y="60"/>
                    </a:lnTo>
                    <a:lnTo>
                      <a:pt x="207" y="55"/>
                    </a:lnTo>
                    <a:lnTo>
                      <a:pt x="200" y="49"/>
                    </a:lnTo>
                    <a:lnTo>
                      <a:pt x="195" y="41"/>
                    </a:lnTo>
                    <a:lnTo>
                      <a:pt x="189" y="31"/>
                    </a:lnTo>
                    <a:lnTo>
                      <a:pt x="179" y="34"/>
                    </a:lnTo>
                    <a:lnTo>
                      <a:pt x="171" y="37"/>
                    </a:lnTo>
                    <a:lnTo>
                      <a:pt x="163" y="41"/>
                    </a:lnTo>
                    <a:lnTo>
                      <a:pt x="156" y="45"/>
                    </a:lnTo>
                    <a:lnTo>
                      <a:pt x="150" y="50"/>
                    </a:lnTo>
                    <a:lnTo>
                      <a:pt x="144" y="55"/>
                    </a:lnTo>
                    <a:lnTo>
                      <a:pt x="140" y="61"/>
                    </a:lnTo>
                    <a:lnTo>
                      <a:pt x="136" y="67"/>
                    </a:lnTo>
                    <a:lnTo>
                      <a:pt x="132" y="74"/>
                    </a:lnTo>
                    <a:lnTo>
                      <a:pt x="130" y="81"/>
                    </a:lnTo>
                    <a:lnTo>
                      <a:pt x="128" y="88"/>
                    </a:lnTo>
                    <a:lnTo>
                      <a:pt x="126" y="95"/>
                    </a:lnTo>
                    <a:lnTo>
                      <a:pt x="123" y="109"/>
                    </a:lnTo>
                    <a:lnTo>
                      <a:pt x="122" y="123"/>
                    </a:lnTo>
                    <a:lnTo>
                      <a:pt x="122" y="125"/>
                    </a:lnTo>
                    <a:lnTo>
                      <a:pt x="120" y="127"/>
                    </a:lnTo>
                    <a:lnTo>
                      <a:pt x="118" y="129"/>
                    </a:lnTo>
                    <a:lnTo>
                      <a:pt x="115" y="131"/>
                    </a:lnTo>
                    <a:lnTo>
                      <a:pt x="108" y="135"/>
                    </a:lnTo>
                    <a:lnTo>
                      <a:pt x="103" y="136"/>
                    </a:lnTo>
                    <a:lnTo>
                      <a:pt x="96" y="135"/>
                    </a:lnTo>
                    <a:lnTo>
                      <a:pt x="89" y="132"/>
                    </a:lnTo>
                    <a:lnTo>
                      <a:pt x="83" y="129"/>
                    </a:lnTo>
                    <a:lnTo>
                      <a:pt x="77" y="125"/>
                    </a:lnTo>
                    <a:lnTo>
                      <a:pt x="66" y="116"/>
                    </a:lnTo>
                    <a:lnTo>
                      <a:pt x="58" y="105"/>
                    </a:lnTo>
                    <a:lnTo>
                      <a:pt x="48" y="94"/>
                    </a:lnTo>
                    <a:lnTo>
                      <a:pt x="38" y="84"/>
                    </a:lnTo>
                    <a:lnTo>
                      <a:pt x="33" y="80"/>
                    </a:lnTo>
                    <a:lnTo>
                      <a:pt x="28" y="76"/>
                    </a:lnTo>
                    <a:lnTo>
                      <a:pt x="22" y="74"/>
                    </a:lnTo>
                    <a:lnTo>
                      <a:pt x="16" y="73"/>
                    </a:lnTo>
                    <a:lnTo>
                      <a:pt x="3" y="73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0872A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4" name="Freeform 225">
                <a:extLst>
                  <a:ext uri="{FF2B5EF4-FFF2-40B4-BE49-F238E27FC236}">
                    <a16:creationId xmlns:a16="http://schemas.microsoft.com/office/drawing/2014/main" id="{32DA1DA5-B776-4DC3-8534-D5AEE43578E3}"/>
                  </a:ext>
                </a:extLst>
              </p:cNvPr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auto">
              <a:xfrm>
                <a:off x="2346475" y="5595284"/>
                <a:ext cx="161074" cy="175797"/>
              </a:xfrm>
              <a:custGeom>
                <a:avLst/>
                <a:gdLst>
                  <a:gd name="T0" fmla="*/ 56402692 w 306"/>
                  <a:gd name="T1" fmla="*/ 51029662 h 293"/>
                  <a:gd name="T2" fmla="*/ 56212690 w 306"/>
                  <a:gd name="T3" fmla="*/ 52157448 h 293"/>
                  <a:gd name="T4" fmla="*/ 55263116 w 306"/>
                  <a:gd name="T5" fmla="*/ 54694966 h 293"/>
                  <a:gd name="T6" fmla="*/ 53553970 w 306"/>
                  <a:gd name="T7" fmla="*/ 56104699 h 293"/>
                  <a:gd name="T8" fmla="*/ 51654822 w 306"/>
                  <a:gd name="T9" fmla="*/ 56668592 h 293"/>
                  <a:gd name="T10" fmla="*/ 49945676 w 306"/>
                  <a:gd name="T11" fmla="*/ 58359740 h 293"/>
                  <a:gd name="T12" fmla="*/ 48046528 w 306"/>
                  <a:gd name="T13" fmla="*/ 64562563 h 293"/>
                  <a:gd name="T14" fmla="*/ 45957814 w 306"/>
                  <a:gd name="T15" fmla="*/ 71610695 h 293"/>
                  <a:gd name="T16" fmla="*/ 43868664 w 306"/>
                  <a:gd name="T17" fmla="*/ 75275999 h 293"/>
                  <a:gd name="T18" fmla="*/ 41969516 w 306"/>
                  <a:gd name="T19" fmla="*/ 76967678 h 293"/>
                  <a:gd name="T20" fmla="*/ 37981653 w 306"/>
                  <a:gd name="T21" fmla="*/ 79222719 h 293"/>
                  <a:gd name="T22" fmla="*/ 31145069 w 306"/>
                  <a:gd name="T23" fmla="*/ 81760238 h 293"/>
                  <a:gd name="T24" fmla="*/ 26397199 w 306"/>
                  <a:gd name="T25" fmla="*/ 82606077 h 293"/>
                  <a:gd name="T26" fmla="*/ 23358475 w 306"/>
                  <a:gd name="T27" fmla="*/ 82606077 h 293"/>
                  <a:gd name="T28" fmla="*/ 20130185 w 306"/>
                  <a:gd name="T29" fmla="*/ 81760238 h 293"/>
                  <a:gd name="T30" fmla="*/ 17471465 w 306"/>
                  <a:gd name="T31" fmla="*/ 80632452 h 293"/>
                  <a:gd name="T32" fmla="*/ 15192749 w 306"/>
                  <a:gd name="T33" fmla="*/ 78376880 h 293"/>
                  <a:gd name="T34" fmla="*/ 13483602 w 306"/>
                  <a:gd name="T35" fmla="*/ 75557946 h 293"/>
                  <a:gd name="T36" fmla="*/ 190002 w 306"/>
                  <a:gd name="T37" fmla="*/ 66536189 h 293"/>
                  <a:gd name="T38" fmla="*/ 0 w 306"/>
                  <a:gd name="T39" fmla="*/ 24810230 h 293"/>
                  <a:gd name="T40" fmla="*/ 190002 w 306"/>
                  <a:gd name="T41" fmla="*/ 13814848 h 293"/>
                  <a:gd name="T42" fmla="*/ 759572 w 306"/>
                  <a:gd name="T43" fmla="*/ 9867597 h 293"/>
                  <a:gd name="T44" fmla="*/ 2089150 w 306"/>
                  <a:gd name="T45" fmla="*/ 5920346 h 293"/>
                  <a:gd name="T46" fmla="*/ 3798296 w 306"/>
                  <a:gd name="T47" fmla="*/ 2255572 h 293"/>
                  <a:gd name="T48" fmla="*/ 7786158 w 306"/>
                  <a:gd name="T49" fmla="*/ 563893 h 293"/>
                  <a:gd name="T50" fmla="*/ 10065310 w 306"/>
                  <a:gd name="T51" fmla="*/ 0 h 293"/>
                  <a:gd name="T52" fmla="*/ 13673169 w 306"/>
                  <a:gd name="T53" fmla="*/ 1691679 h 293"/>
                  <a:gd name="T54" fmla="*/ 15192749 w 306"/>
                  <a:gd name="T55" fmla="*/ 1973626 h 293"/>
                  <a:gd name="T56" fmla="*/ 15952321 w 306"/>
                  <a:gd name="T57" fmla="*/ 1127786 h 293"/>
                  <a:gd name="T58" fmla="*/ 16521891 w 306"/>
                  <a:gd name="T59" fmla="*/ 1409733 h 293"/>
                  <a:gd name="T60" fmla="*/ 17091897 w 306"/>
                  <a:gd name="T61" fmla="*/ 3101412 h 293"/>
                  <a:gd name="T62" fmla="*/ 18801043 w 306"/>
                  <a:gd name="T63" fmla="*/ 5356453 h 293"/>
                  <a:gd name="T64" fmla="*/ 22978907 w 306"/>
                  <a:gd name="T65" fmla="*/ 8739811 h 293"/>
                  <a:gd name="T66" fmla="*/ 28106345 w 306"/>
                  <a:gd name="T67" fmla="*/ 11559276 h 293"/>
                  <a:gd name="T68" fmla="*/ 34563361 w 306"/>
                  <a:gd name="T69" fmla="*/ 16633782 h 293"/>
                  <a:gd name="T70" fmla="*/ 39880801 w 306"/>
                  <a:gd name="T71" fmla="*/ 22272712 h 293"/>
                  <a:gd name="T72" fmla="*/ 45767812 w 306"/>
                  <a:gd name="T73" fmla="*/ 28756950 h 293"/>
                  <a:gd name="T74" fmla="*/ 49566108 w 306"/>
                  <a:gd name="T75" fmla="*/ 32986148 h 293"/>
                  <a:gd name="T76" fmla="*/ 50515682 w 306"/>
                  <a:gd name="T77" fmla="*/ 34959773 h 293"/>
                  <a:gd name="T78" fmla="*/ 53174402 w 306"/>
                  <a:gd name="T79" fmla="*/ 38060654 h 293"/>
                  <a:gd name="T80" fmla="*/ 56782696 w 306"/>
                  <a:gd name="T81" fmla="*/ 42571798 h 293"/>
                  <a:gd name="T82" fmla="*/ 58111838 w 306"/>
                  <a:gd name="T83" fmla="*/ 45391263 h 293"/>
                  <a:gd name="T84" fmla="*/ 57731834 w 306"/>
                  <a:gd name="T85" fmla="*/ 46800464 h 29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306" h="293">
                    <a:moveTo>
                      <a:pt x="300" y="169"/>
                    </a:moveTo>
                    <a:lnTo>
                      <a:pt x="297" y="181"/>
                    </a:lnTo>
                    <a:lnTo>
                      <a:pt x="297" y="185"/>
                    </a:lnTo>
                    <a:lnTo>
                      <a:pt x="296" y="185"/>
                    </a:lnTo>
                    <a:lnTo>
                      <a:pt x="294" y="187"/>
                    </a:lnTo>
                    <a:lnTo>
                      <a:pt x="291" y="194"/>
                    </a:lnTo>
                    <a:lnTo>
                      <a:pt x="286" y="197"/>
                    </a:lnTo>
                    <a:lnTo>
                      <a:pt x="282" y="199"/>
                    </a:lnTo>
                    <a:lnTo>
                      <a:pt x="276" y="200"/>
                    </a:lnTo>
                    <a:lnTo>
                      <a:pt x="272" y="201"/>
                    </a:lnTo>
                    <a:lnTo>
                      <a:pt x="267" y="203"/>
                    </a:lnTo>
                    <a:lnTo>
                      <a:pt x="263" y="207"/>
                    </a:lnTo>
                    <a:lnTo>
                      <a:pt x="260" y="212"/>
                    </a:lnTo>
                    <a:lnTo>
                      <a:pt x="253" y="229"/>
                    </a:lnTo>
                    <a:lnTo>
                      <a:pt x="248" y="242"/>
                    </a:lnTo>
                    <a:lnTo>
                      <a:pt x="242" y="254"/>
                    </a:lnTo>
                    <a:lnTo>
                      <a:pt x="236" y="263"/>
                    </a:lnTo>
                    <a:lnTo>
                      <a:pt x="231" y="267"/>
                    </a:lnTo>
                    <a:lnTo>
                      <a:pt x="227" y="270"/>
                    </a:lnTo>
                    <a:lnTo>
                      <a:pt x="221" y="273"/>
                    </a:lnTo>
                    <a:lnTo>
                      <a:pt x="215" y="276"/>
                    </a:lnTo>
                    <a:lnTo>
                      <a:pt x="200" y="281"/>
                    </a:lnTo>
                    <a:lnTo>
                      <a:pt x="181" y="286"/>
                    </a:lnTo>
                    <a:lnTo>
                      <a:pt x="164" y="290"/>
                    </a:lnTo>
                    <a:lnTo>
                      <a:pt x="148" y="292"/>
                    </a:lnTo>
                    <a:lnTo>
                      <a:pt x="139" y="293"/>
                    </a:lnTo>
                    <a:lnTo>
                      <a:pt x="130" y="293"/>
                    </a:lnTo>
                    <a:lnTo>
                      <a:pt x="123" y="293"/>
                    </a:lnTo>
                    <a:lnTo>
                      <a:pt x="114" y="292"/>
                    </a:lnTo>
                    <a:lnTo>
                      <a:pt x="106" y="290"/>
                    </a:lnTo>
                    <a:lnTo>
                      <a:pt x="98" y="288"/>
                    </a:lnTo>
                    <a:lnTo>
                      <a:pt x="92" y="286"/>
                    </a:lnTo>
                    <a:lnTo>
                      <a:pt x="85" y="282"/>
                    </a:lnTo>
                    <a:lnTo>
                      <a:pt x="80" y="278"/>
                    </a:lnTo>
                    <a:lnTo>
                      <a:pt x="74" y="274"/>
                    </a:lnTo>
                    <a:lnTo>
                      <a:pt x="71" y="268"/>
                    </a:lnTo>
                    <a:lnTo>
                      <a:pt x="68" y="262"/>
                    </a:lnTo>
                    <a:lnTo>
                      <a:pt x="1" y="236"/>
                    </a:lnTo>
                    <a:lnTo>
                      <a:pt x="1" y="119"/>
                    </a:lnTo>
                    <a:lnTo>
                      <a:pt x="0" y="88"/>
                    </a:lnTo>
                    <a:lnTo>
                      <a:pt x="0" y="56"/>
                    </a:lnTo>
                    <a:lnTo>
                      <a:pt x="1" y="49"/>
                    </a:lnTo>
                    <a:lnTo>
                      <a:pt x="2" y="42"/>
                    </a:lnTo>
                    <a:lnTo>
                      <a:pt x="4" y="35"/>
                    </a:lnTo>
                    <a:lnTo>
                      <a:pt x="6" y="28"/>
                    </a:lnTo>
                    <a:lnTo>
                      <a:pt x="11" y="21"/>
                    </a:lnTo>
                    <a:lnTo>
                      <a:pt x="15" y="14"/>
                    </a:lnTo>
                    <a:lnTo>
                      <a:pt x="20" y="8"/>
                    </a:lnTo>
                    <a:lnTo>
                      <a:pt x="28" y="2"/>
                    </a:lnTo>
                    <a:lnTo>
                      <a:pt x="41" y="2"/>
                    </a:lnTo>
                    <a:lnTo>
                      <a:pt x="48" y="0"/>
                    </a:lnTo>
                    <a:lnTo>
                      <a:pt x="53" y="0"/>
                    </a:lnTo>
                    <a:lnTo>
                      <a:pt x="68" y="2"/>
                    </a:lnTo>
                    <a:lnTo>
                      <a:pt x="72" y="6"/>
                    </a:lnTo>
                    <a:lnTo>
                      <a:pt x="76" y="7"/>
                    </a:lnTo>
                    <a:lnTo>
                      <a:pt x="80" y="7"/>
                    </a:lnTo>
                    <a:lnTo>
                      <a:pt x="82" y="6"/>
                    </a:lnTo>
                    <a:lnTo>
                      <a:pt x="84" y="4"/>
                    </a:lnTo>
                    <a:lnTo>
                      <a:pt x="86" y="4"/>
                    </a:lnTo>
                    <a:lnTo>
                      <a:pt x="87" y="5"/>
                    </a:lnTo>
                    <a:lnTo>
                      <a:pt x="87" y="9"/>
                    </a:lnTo>
                    <a:lnTo>
                      <a:pt x="90" y="11"/>
                    </a:lnTo>
                    <a:lnTo>
                      <a:pt x="94" y="15"/>
                    </a:lnTo>
                    <a:lnTo>
                      <a:pt x="99" y="19"/>
                    </a:lnTo>
                    <a:lnTo>
                      <a:pt x="107" y="23"/>
                    </a:lnTo>
                    <a:lnTo>
                      <a:pt x="121" y="31"/>
                    </a:lnTo>
                    <a:lnTo>
                      <a:pt x="127" y="34"/>
                    </a:lnTo>
                    <a:lnTo>
                      <a:pt x="148" y="41"/>
                    </a:lnTo>
                    <a:lnTo>
                      <a:pt x="165" y="49"/>
                    </a:lnTo>
                    <a:lnTo>
                      <a:pt x="182" y="59"/>
                    </a:lnTo>
                    <a:lnTo>
                      <a:pt x="196" y="69"/>
                    </a:lnTo>
                    <a:lnTo>
                      <a:pt x="210" y="79"/>
                    </a:lnTo>
                    <a:lnTo>
                      <a:pt x="226" y="91"/>
                    </a:lnTo>
                    <a:lnTo>
                      <a:pt x="241" y="102"/>
                    </a:lnTo>
                    <a:lnTo>
                      <a:pt x="260" y="113"/>
                    </a:lnTo>
                    <a:lnTo>
                      <a:pt x="261" y="117"/>
                    </a:lnTo>
                    <a:lnTo>
                      <a:pt x="263" y="120"/>
                    </a:lnTo>
                    <a:lnTo>
                      <a:pt x="266" y="124"/>
                    </a:lnTo>
                    <a:lnTo>
                      <a:pt x="270" y="128"/>
                    </a:lnTo>
                    <a:lnTo>
                      <a:pt x="280" y="135"/>
                    </a:lnTo>
                    <a:lnTo>
                      <a:pt x="291" y="144"/>
                    </a:lnTo>
                    <a:lnTo>
                      <a:pt x="299" y="151"/>
                    </a:lnTo>
                    <a:lnTo>
                      <a:pt x="305" y="158"/>
                    </a:lnTo>
                    <a:lnTo>
                      <a:pt x="306" y="161"/>
                    </a:lnTo>
                    <a:lnTo>
                      <a:pt x="306" y="164"/>
                    </a:lnTo>
                    <a:lnTo>
                      <a:pt x="304" y="166"/>
                    </a:lnTo>
                    <a:lnTo>
                      <a:pt x="300" y="169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5" name="Freeform 226">
                <a:extLst>
                  <a:ext uri="{FF2B5EF4-FFF2-40B4-BE49-F238E27FC236}">
                    <a16:creationId xmlns:a16="http://schemas.microsoft.com/office/drawing/2014/main" id="{F550D6CB-761A-4315-8545-23B9115065E3}"/>
                  </a:ext>
                </a:extLst>
              </p:cNvPr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auto">
              <a:xfrm>
                <a:off x="4210596" y="1791031"/>
                <a:ext cx="285952" cy="103720"/>
              </a:xfrm>
              <a:custGeom>
                <a:avLst/>
                <a:gdLst>
                  <a:gd name="T0" fmla="*/ 13888101 w 546"/>
                  <a:gd name="T1" fmla="*/ 5381864 h 173"/>
                  <a:gd name="T2" fmla="*/ 17641501 w 546"/>
                  <a:gd name="T3" fmla="*/ 9631151 h 173"/>
                  <a:gd name="T4" fmla="*/ 20644568 w 546"/>
                  <a:gd name="T5" fmla="*/ 7648079 h 173"/>
                  <a:gd name="T6" fmla="*/ 24773568 w 546"/>
                  <a:gd name="T7" fmla="*/ 7648079 h 173"/>
                  <a:gd name="T8" fmla="*/ 30216085 w 546"/>
                  <a:gd name="T9" fmla="*/ 12463655 h 173"/>
                  <a:gd name="T10" fmla="*/ 39224853 w 546"/>
                  <a:gd name="T11" fmla="*/ 5381864 h 173"/>
                  <a:gd name="T12" fmla="*/ 45605720 w 546"/>
                  <a:gd name="T13" fmla="*/ 5381864 h 173"/>
                  <a:gd name="T14" fmla="*/ 48796370 w 546"/>
                  <a:gd name="T15" fmla="*/ 4532432 h 173"/>
                  <a:gd name="T16" fmla="*/ 50485487 w 546"/>
                  <a:gd name="T17" fmla="*/ 3965612 h 173"/>
                  <a:gd name="T18" fmla="*/ 52362187 w 546"/>
                  <a:gd name="T19" fmla="*/ 3115648 h 173"/>
                  <a:gd name="T20" fmla="*/ 53675704 w 546"/>
                  <a:gd name="T21" fmla="*/ 849964 h 173"/>
                  <a:gd name="T22" fmla="*/ 60244588 w 546"/>
                  <a:gd name="T23" fmla="*/ 1416252 h 173"/>
                  <a:gd name="T24" fmla="*/ 62496888 w 546"/>
                  <a:gd name="T25" fmla="*/ 3399324 h 173"/>
                  <a:gd name="T26" fmla="*/ 65311938 w 546"/>
                  <a:gd name="T27" fmla="*/ 1983072 h 173"/>
                  <a:gd name="T28" fmla="*/ 66250288 w 546"/>
                  <a:gd name="T29" fmla="*/ 0 h 173"/>
                  <a:gd name="T30" fmla="*/ 68877755 w 546"/>
                  <a:gd name="T31" fmla="*/ 1983072 h 173"/>
                  <a:gd name="T32" fmla="*/ 73006755 w 546"/>
                  <a:gd name="T33" fmla="*/ 1983072 h 173"/>
                  <a:gd name="T34" fmla="*/ 81827506 w 546"/>
                  <a:gd name="T35" fmla="*/ 283144 h 173"/>
                  <a:gd name="T36" fmla="*/ 90460673 w 546"/>
                  <a:gd name="T37" fmla="*/ 1699396 h 173"/>
                  <a:gd name="T38" fmla="*/ 99093840 w 546"/>
                  <a:gd name="T39" fmla="*/ 3399324 h 173"/>
                  <a:gd name="T40" fmla="*/ 102284491 w 546"/>
                  <a:gd name="T41" fmla="*/ 13879907 h 173"/>
                  <a:gd name="T42" fmla="*/ 100782957 w 546"/>
                  <a:gd name="T43" fmla="*/ 16996087 h 173"/>
                  <a:gd name="T44" fmla="*/ 96278790 w 546"/>
                  <a:gd name="T45" fmla="*/ 17562375 h 173"/>
                  <a:gd name="T46" fmla="*/ 90648256 w 546"/>
                  <a:gd name="T47" fmla="*/ 15296159 h 173"/>
                  <a:gd name="T48" fmla="*/ 77510922 w 546"/>
                  <a:gd name="T49" fmla="*/ 12463655 h 173"/>
                  <a:gd name="T50" fmla="*/ 82202673 w 546"/>
                  <a:gd name="T51" fmla="*/ 22944238 h 173"/>
                  <a:gd name="T52" fmla="*/ 88396390 w 546"/>
                  <a:gd name="T53" fmla="*/ 28892922 h 173"/>
                  <a:gd name="T54" fmla="*/ 92524957 w 546"/>
                  <a:gd name="T55" fmla="*/ 33708498 h 173"/>
                  <a:gd name="T56" fmla="*/ 89147156 w 546"/>
                  <a:gd name="T57" fmla="*/ 38524074 h 173"/>
                  <a:gd name="T58" fmla="*/ 84267389 w 546"/>
                  <a:gd name="T59" fmla="*/ 40223469 h 173"/>
                  <a:gd name="T60" fmla="*/ 79950806 w 546"/>
                  <a:gd name="T61" fmla="*/ 39940325 h 173"/>
                  <a:gd name="T62" fmla="*/ 77323339 w 546"/>
                  <a:gd name="T63" fmla="*/ 37957253 h 173"/>
                  <a:gd name="T64" fmla="*/ 74883455 w 546"/>
                  <a:gd name="T65" fmla="*/ 36824146 h 173"/>
                  <a:gd name="T66" fmla="*/ 72255988 w 546"/>
                  <a:gd name="T67" fmla="*/ 34274786 h 173"/>
                  <a:gd name="T68" fmla="*/ 70379288 w 546"/>
                  <a:gd name="T69" fmla="*/ 29459210 h 173"/>
                  <a:gd name="T70" fmla="*/ 68502588 w 546"/>
                  <a:gd name="T71" fmla="*/ 26060418 h 173"/>
                  <a:gd name="T72" fmla="*/ 64561171 w 546"/>
                  <a:gd name="T73" fmla="*/ 23794202 h 173"/>
                  <a:gd name="T74" fmla="*/ 60995354 w 546"/>
                  <a:gd name="T75" fmla="*/ 21527987 h 173"/>
                  <a:gd name="T76" fmla="*/ 56866354 w 546"/>
                  <a:gd name="T77" fmla="*/ 24644166 h 173"/>
                  <a:gd name="T78" fmla="*/ 48420770 w 546"/>
                  <a:gd name="T79" fmla="*/ 37957253 h 173"/>
                  <a:gd name="T80" fmla="*/ 44291770 w 546"/>
                  <a:gd name="T81" fmla="*/ 46172153 h 173"/>
                  <a:gd name="T82" fmla="*/ 41289136 w 546"/>
                  <a:gd name="T83" fmla="*/ 48721513 h 173"/>
                  <a:gd name="T84" fmla="*/ 35283436 w 546"/>
                  <a:gd name="T85" fmla="*/ 47305261 h 173"/>
                  <a:gd name="T86" fmla="*/ 30966852 w 546"/>
                  <a:gd name="T87" fmla="*/ 43905937 h 173"/>
                  <a:gd name="T88" fmla="*/ 21207751 w 546"/>
                  <a:gd name="T89" fmla="*/ 29742886 h 173"/>
                  <a:gd name="T90" fmla="*/ 17829518 w 546"/>
                  <a:gd name="T91" fmla="*/ 25777274 h 173"/>
                  <a:gd name="T92" fmla="*/ 11260634 w 546"/>
                  <a:gd name="T93" fmla="*/ 21527987 h 173"/>
                  <a:gd name="T94" fmla="*/ 3002634 w 546"/>
                  <a:gd name="T95" fmla="*/ 16429267 h 173"/>
                  <a:gd name="T96" fmla="*/ 2064284 w 546"/>
                  <a:gd name="T97" fmla="*/ 9631151 h 173"/>
                  <a:gd name="T98" fmla="*/ 5254934 w 546"/>
                  <a:gd name="T99" fmla="*/ 5381864 h 173"/>
                  <a:gd name="T100" fmla="*/ 8820751 w 546"/>
                  <a:gd name="T101" fmla="*/ 3399324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6" name="Freeform 227">
                <a:extLst>
                  <a:ext uri="{FF2B5EF4-FFF2-40B4-BE49-F238E27FC236}">
                    <a16:creationId xmlns:a16="http://schemas.microsoft.com/office/drawing/2014/main" id="{3B2EB69C-5103-4364-9DFA-777489E035DF}"/>
                  </a:ext>
                </a:extLst>
              </p:cNvPr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auto">
              <a:xfrm>
                <a:off x="4121914" y="2051211"/>
                <a:ext cx="542948" cy="406091"/>
              </a:xfrm>
              <a:custGeom>
                <a:avLst/>
                <a:gdLst>
                  <a:gd name="T0" fmla="*/ 45045772 w 1037"/>
                  <a:gd name="T1" fmla="*/ 171155139 h 690"/>
                  <a:gd name="T2" fmla="*/ 29091989 w 1037"/>
                  <a:gd name="T3" fmla="*/ 187940177 h 690"/>
                  <a:gd name="T4" fmla="*/ 6005901 w 1037"/>
                  <a:gd name="T5" fmla="*/ 179960491 h 690"/>
                  <a:gd name="T6" fmla="*/ 12575437 w 1037"/>
                  <a:gd name="T7" fmla="*/ 174456753 h 690"/>
                  <a:gd name="T8" fmla="*/ 3378346 w 1037"/>
                  <a:gd name="T9" fmla="*/ 164000594 h 690"/>
                  <a:gd name="T10" fmla="*/ 8258276 w 1037"/>
                  <a:gd name="T11" fmla="*/ 163725197 h 690"/>
                  <a:gd name="T12" fmla="*/ 12575437 w 1037"/>
                  <a:gd name="T13" fmla="*/ 156020383 h 690"/>
                  <a:gd name="T14" fmla="*/ 1501584 w 1037"/>
                  <a:gd name="T15" fmla="*/ 150242298 h 690"/>
                  <a:gd name="T16" fmla="*/ 13888998 w 1037"/>
                  <a:gd name="T17" fmla="*/ 143913418 h 690"/>
                  <a:gd name="T18" fmla="*/ 0 w 1037"/>
                  <a:gd name="T19" fmla="*/ 137309142 h 690"/>
                  <a:gd name="T20" fmla="*/ 3753959 w 1037"/>
                  <a:gd name="T21" fmla="*/ 125477049 h 690"/>
                  <a:gd name="T22" fmla="*/ 6944715 w 1037"/>
                  <a:gd name="T23" fmla="*/ 126852984 h 690"/>
                  <a:gd name="T24" fmla="*/ 14452200 w 1037"/>
                  <a:gd name="T25" fmla="*/ 123550846 h 690"/>
                  <a:gd name="T26" fmla="*/ 17267344 w 1037"/>
                  <a:gd name="T27" fmla="*/ 116671697 h 690"/>
                  <a:gd name="T28" fmla="*/ 24399649 w 1037"/>
                  <a:gd name="T29" fmla="*/ 112543894 h 690"/>
                  <a:gd name="T30" fmla="*/ 41291813 w 1037"/>
                  <a:gd name="T31" fmla="*/ 105114477 h 690"/>
                  <a:gd name="T32" fmla="*/ 42605807 w 1037"/>
                  <a:gd name="T33" fmla="*/ 93282383 h 690"/>
                  <a:gd name="T34" fmla="*/ 53116459 w 1037"/>
                  <a:gd name="T35" fmla="*/ 89429977 h 690"/>
                  <a:gd name="T36" fmla="*/ 52928869 w 1037"/>
                  <a:gd name="T37" fmla="*/ 85302173 h 690"/>
                  <a:gd name="T38" fmla="*/ 55931603 w 1037"/>
                  <a:gd name="T39" fmla="*/ 78423025 h 690"/>
                  <a:gd name="T40" fmla="*/ 62876318 w 1037"/>
                  <a:gd name="T41" fmla="*/ 66865804 h 690"/>
                  <a:gd name="T42" fmla="*/ 64377902 w 1037"/>
                  <a:gd name="T43" fmla="*/ 62188256 h 690"/>
                  <a:gd name="T44" fmla="*/ 73199380 w 1037"/>
                  <a:gd name="T45" fmla="*/ 55033711 h 690"/>
                  <a:gd name="T46" fmla="*/ 72636178 w 1037"/>
                  <a:gd name="T47" fmla="*/ 43201618 h 690"/>
                  <a:gd name="T48" fmla="*/ 70008623 w 1037"/>
                  <a:gd name="T49" fmla="*/ 39073814 h 690"/>
                  <a:gd name="T50" fmla="*/ 62688728 w 1037"/>
                  <a:gd name="T51" fmla="*/ 42375952 h 690"/>
                  <a:gd name="T52" fmla="*/ 73199380 w 1037"/>
                  <a:gd name="T53" fmla="*/ 28342259 h 690"/>
                  <a:gd name="T54" fmla="*/ 77140928 w 1037"/>
                  <a:gd name="T55" fmla="*/ 26416055 h 690"/>
                  <a:gd name="T56" fmla="*/ 86900788 w 1037"/>
                  <a:gd name="T57" fmla="*/ 31369000 h 690"/>
                  <a:gd name="T58" fmla="*/ 87463557 w 1037"/>
                  <a:gd name="T59" fmla="*/ 25040121 h 690"/>
                  <a:gd name="T60" fmla="*/ 104731334 w 1037"/>
                  <a:gd name="T61" fmla="*/ 16785038 h 690"/>
                  <a:gd name="T62" fmla="*/ 110924824 w 1037"/>
                  <a:gd name="T63" fmla="*/ 17335831 h 690"/>
                  <a:gd name="T64" fmla="*/ 121060296 w 1037"/>
                  <a:gd name="T65" fmla="*/ 15134231 h 690"/>
                  <a:gd name="T66" fmla="*/ 121060296 w 1037"/>
                  <a:gd name="T67" fmla="*/ 9080748 h 690"/>
                  <a:gd name="T68" fmla="*/ 131195335 w 1037"/>
                  <a:gd name="T69" fmla="*/ 3577010 h 690"/>
                  <a:gd name="T70" fmla="*/ 132321739 w 1037"/>
                  <a:gd name="T71" fmla="*/ 7979686 h 690"/>
                  <a:gd name="T72" fmla="*/ 133635300 w 1037"/>
                  <a:gd name="T73" fmla="*/ 11006952 h 690"/>
                  <a:gd name="T74" fmla="*/ 142269188 w 1037"/>
                  <a:gd name="T75" fmla="*/ 3302138 h 690"/>
                  <a:gd name="T76" fmla="*/ 153343042 w 1037"/>
                  <a:gd name="T77" fmla="*/ 1650807 h 690"/>
                  <a:gd name="T78" fmla="*/ 158410561 w 1037"/>
                  <a:gd name="T79" fmla="*/ 2201600 h 690"/>
                  <a:gd name="T80" fmla="*/ 161788907 w 1037"/>
                  <a:gd name="T81" fmla="*/ 3026741 h 690"/>
                  <a:gd name="T82" fmla="*/ 173425963 w 1037"/>
                  <a:gd name="T83" fmla="*/ 1650807 h 690"/>
                  <a:gd name="T84" fmla="*/ 194634855 w 1037"/>
                  <a:gd name="T85" fmla="*/ 11832093 h 690"/>
                  <a:gd name="T86" fmla="*/ 188628954 w 1037"/>
                  <a:gd name="T87" fmla="*/ 21738507 h 690"/>
                  <a:gd name="T88" fmla="*/ 174551934 w 1037"/>
                  <a:gd name="T89" fmla="*/ 15134231 h 690"/>
                  <a:gd name="T90" fmla="*/ 163853693 w 1037"/>
                  <a:gd name="T91" fmla="*/ 20362573 h 690"/>
                  <a:gd name="T92" fmla="*/ 159161353 w 1037"/>
                  <a:gd name="T93" fmla="*/ 31919793 h 690"/>
                  <a:gd name="T94" fmla="*/ 152216637 w 1037"/>
                  <a:gd name="T95" fmla="*/ 30543859 h 690"/>
                  <a:gd name="T96" fmla="*/ 139829223 w 1037"/>
                  <a:gd name="T97" fmla="*/ 35221407 h 690"/>
                  <a:gd name="T98" fmla="*/ 130256953 w 1037"/>
                  <a:gd name="T99" fmla="*/ 25315517 h 690"/>
                  <a:gd name="T100" fmla="*/ 116367956 w 1037"/>
                  <a:gd name="T101" fmla="*/ 30818731 h 690"/>
                  <a:gd name="T102" fmla="*/ 100226583 w 1037"/>
                  <a:gd name="T103" fmla="*/ 36872738 h 690"/>
                  <a:gd name="T104" fmla="*/ 91217515 w 1037"/>
                  <a:gd name="T105" fmla="*/ 57785580 h 690"/>
                  <a:gd name="T106" fmla="*/ 80706864 w 1037"/>
                  <a:gd name="T107" fmla="*/ 76772218 h 690"/>
                  <a:gd name="T108" fmla="*/ 74888553 w 1037"/>
                  <a:gd name="T109" fmla="*/ 100161532 h 690"/>
                  <a:gd name="T110" fmla="*/ 62500706 w 1037"/>
                  <a:gd name="T111" fmla="*/ 116946570 h 690"/>
                  <a:gd name="T112" fmla="*/ 66630277 w 1037"/>
                  <a:gd name="T113" fmla="*/ 136758873 h 690"/>
                  <a:gd name="T114" fmla="*/ 66442254 w 1037"/>
                  <a:gd name="T115" fmla="*/ 153543911 h 690"/>
                  <a:gd name="T116" fmla="*/ 62125526 w 1037"/>
                  <a:gd name="T117" fmla="*/ 169228936 h 690"/>
                  <a:gd name="T118" fmla="*/ 55368834 w 1037"/>
                  <a:gd name="T119" fmla="*/ 177484018 h 690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037" h="690">
                    <a:moveTo>
                      <a:pt x="286" y="647"/>
                    </a:moveTo>
                    <a:lnTo>
                      <a:pt x="273" y="631"/>
                    </a:lnTo>
                    <a:lnTo>
                      <a:pt x="262" y="621"/>
                    </a:lnTo>
                    <a:lnTo>
                      <a:pt x="253" y="612"/>
                    </a:lnTo>
                    <a:lnTo>
                      <a:pt x="246" y="604"/>
                    </a:lnTo>
                    <a:lnTo>
                      <a:pt x="243" y="613"/>
                    </a:lnTo>
                    <a:lnTo>
                      <a:pt x="240" y="622"/>
                    </a:lnTo>
                    <a:lnTo>
                      <a:pt x="239" y="627"/>
                    </a:lnTo>
                    <a:lnTo>
                      <a:pt x="235" y="632"/>
                    </a:lnTo>
                    <a:lnTo>
                      <a:pt x="231" y="638"/>
                    </a:lnTo>
                    <a:lnTo>
                      <a:pt x="224" y="644"/>
                    </a:lnTo>
                    <a:lnTo>
                      <a:pt x="208" y="655"/>
                    </a:lnTo>
                    <a:lnTo>
                      <a:pt x="190" y="665"/>
                    </a:lnTo>
                    <a:lnTo>
                      <a:pt x="155" y="683"/>
                    </a:lnTo>
                    <a:lnTo>
                      <a:pt x="140" y="690"/>
                    </a:lnTo>
                    <a:lnTo>
                      <a:pt x="107" y="690"/>
                    </a:lnTo>
                    <a:lnTo>
                      <a:pt x="86" y="683"/>
                    </a:lnTo>
                    <a:lnTo>
                      <a:pt x="60" y="672"/>
                    </a:lnTo>
                    <a:lnTo>
                      <a:pt x="48" y="666"/>
                    </a:lnTo>
                    <a:lnTo>
                      <a:pt x="37" y="658"/>
                    </a:lnTo>
                    <a:lnTo>
                      <a:pt x="32" y="654"/>
                    </a:lnTo>
                    <a:lnTo>
                      <a:pt x="30" y="650"/>
                    </a:lnTo>
                    <a:lnTo>
                      <a:pt x="28" y="646"/>
                    </a:lnTo>
                    <a:lnTo>
                      <a:pt x="27" y="641"/>
                    </a:lnTo>
                    <a:lnTo>
                      <a:pt x="40" y="641"/>
                    </a:lnTo>
                    <a:lnTo>
                      <a:pt x="50" y="640"/>
                    </a:lnTo>
                    <a:lnTo>
                      <a:pt x="58" y="639"/>
                    </a:lnTo>
                    <a:lnTo>
                      <a:pt x="67" y="634"/>
                    </a:lnTo>
                    <a:lnTo>
                      <a:pt x="59" y="627"/>
                    </a:lnTo>
                    <a:lnTo>
                      <a:pt x="49" y="620"/>
                    </a:lnTo>
                    <a:lnTo>
                      <a:pt x="38" y="613"/>
                    </a:lnTo>
                    <a:lnTo>
                      <a:pt x="27" y="606"/>
                    </a:lnTo>
                    <a:lnTo>
                      <a:pt x="8" y="596"/>
                    </a:lnTo>
                    <a:lnTo>
                      <a:pt x="0" y="592"/>
                    </a:lnTo>
                    <a:lnTo>
                      <a:pt x="18" y="596"/>
                    </a:lnTo>
                    <a:lnTo>
                      <a:pt x="32" y="599"/>
                    </a:lnTo>
                    <a:lnTo>
                      <a:pt x="38" y="600"/>
                    </a:lnTo>
                    <a:lnTo>
                      <a:pt x="43" y="600"/>
                    </a:lnTo>
                    <a:lnTo>
                      <a:pt x="49" y="600"/>
                    </a:lnTo>
                    <a:lnTo>
                      <a:pt x="54" y="598"/>
                    </a:lnTo>
                    <a:lnTo>
                      <a:pt x="49" y="597"/>
                    </a:lnTo>
                    <a:lnTo>
                      <a:pt x="44" y="595"/>
                    </a:lnTo>
                    <a:lnTo>
                      <a:pt x="40" y="591"/>
                    </a:lnTo>
                    <a:lnTo>
                      <a:pt x="36" y="587"/>
                    </a:lnTo>
                    <a:lnTo>
                      <a:pt x="32" y="583"/>
                    </a:lnTo>
                    <a:lnTo>
                      <a:pt x="29" y="576"/>
                    </a:lnTo>
                    <a:lnTo>
                      <a:pt x="28" y="571"/>
                    </a:lnTo>
                    <a:lnTo>
                      <a:pt x="27" y="567"/>
                    </a:lnTo>
                    <a:lnTo>
                      <a:pt x="67" y="567"/>
                    </a:lnTo>
                    <a:lnTo>
                      <a:pt x="56" y="566"/>
                    </a:lnTo>
                    <a:lnTo>
                      <a:pt x="45" y="564"/>
                    </a:lnTo>
                    <a:lnTo>
                      <a:pt x="35" y="562"/>
                    </a:lnTo>
                    <a:lnTo>
                      <a:pt x="25" y="558"/>
                    </a:lnTo>
                    <a:lnTo>
                      <a:pt x="16" y="554"/>
                    </a:lnTo>
                    <a:lnTo>
                      <a:pt x="10" y="549"/>
                    </a:lnTo>
                    <a:lnTo>
                      <a:pt x="8" y="546"/>
                    </a:lnTo>
                    <a:lnTo>
                      <a:pt x="7" y="543"/>
                    </a:lnTo>
                    <a:lnTo>
                      <a:pt x="7" y="540"/>
                    </a:lnTo>
                    <a:lnTo>
                      <a:pt x="7" y="536"/>
                    </a:lnTo>
                    <a:lnTo>
                      <a:pt x="0" y="523"/>
                    </a:lnTo>
                    <a:lnTo>
                      <a:pt x="29" y="523"/>
                    </a:lnTo>
                    <a:lnTo>
                      <a:pt x="54" y="523"/>
                    </a:lnTo>
                    <a:lnTo>
                      <a:pt x="74" y="523"/>
                    </a:lnTo>
                    <a:lnTo>
                      <a:pt x="87" y="523"/>
                    </a:lnTo>
                    <a:lnTo>
                      <a:pt x="72" y="519"/>
                    </a:lnTo>
                    <a:lnTo>
                      <a:pt x="39" y="511"/>
                    </a:lnTo>
                    <a:lnTo>
                      <a:pt x="22" y="507"/>
                    </a:lnTo>
                    <a:lnTo>
                      <a:pt x="8" y="503"/>
                    </a:lnTo>
                    <a:lnTo>
                      <a:pt x="0" y="500"/>
                    </a:lnTo>
                    <a:lnTo>
                      <a:pt x="0" y="499"/>
                    </a:lnTo>
                    <a:lnTo>
                      <a:pt x="2" y="485"/>
                    </a:lnTo>
                    <a:lnTo>
                      <a:pt x="3" y="476"/>
                    </a:lnTo>
                    <a:lnTo>
                      <a:pt x="4" y="472"/>
                    </a:lnTo>
                    <a:lnTo>
                      <a:pt x="4" y="467"/>
                    </a:lnTo>
                    <a:lnTo>
                      <a:pt x="3" y="462"/>
                    </a:lnTo>
                    <a:lnTo>
                      <a:pt x="0" y="456"/>
                    </a:lnTo>
                    <a:lnTo>
                      <a:pt x="20" y="456"/>
                    </a:lnTo>
                    <a:lnTo>
                      <a:pt x="21" y="460"/>
                    </a:lnTo>
                    <a:lnTo>
                      <a:pt x="24" y="463"/>
                    </a:lnTo>
                    <a:lnTo>
                      <a:pt x="25" y="464"/>
                    </a:lnTo>
                    <a:lnTo>
                      <a:pt x="26" y="464"/>
                    </a:lnTo>
                    <a:lnTo>
                      <a:pt x="27" y="463"/>
                    </a:lnTo>
                    <a:lnTo>
                      <a:pt x="27" y="462"/>
                    </a:lnTo>
                    <a:lnTo>
                      <a:pt x="37" y="461"/>
                    </a:lnTo>
                    <a:lnTo>
                      <a:pt x="51" y="459"/>
                    </a:lnTo>
                    <a:lnTo>
                      <a:pt x="67" y="457"/>
                    </a:lnTo>
                    <a:lnTo>
                      <a:pt x="81" y="456"/>
                    </a:lnTo>
                    <a:lnTo>
                      <a:pt x="78" y="455"/>
                    </a:lnTo>
                    <a:lnTo>
                      <a:pt x="77" y="454"/>
                    </a:lnTo>
                    <a:lnTo>
                      <a:pt x="77" y="452"/>
                    </a:lnTo>
                    <a:lnTo>
                      <a:pt x="77" y="449"/>
                    </a:lnTo>
                    <a:lnTo>
                      <a:pt x="80" y="443"/>
                    </a:lnTo>
                    <a:lnTo>
                      <a:pt x="81" y="437"/>
                    </a:lnTo>
                    <a:lnTo>
                      <a:pt x="91" y="437"/>
                    </a:lnTo>
                    <a:lnTo>
                      <a:pt x="100" y="437"/>
                    </a:lnTo>
                    <a:lnTo>
                      <a:pt x="99" y="433"/>
                    </a:lnTo>
                    <a:lnTo>
                      <a:pt x="96" y="428"/>
                    </a:lnTo>
                    <a:lnTo>
                      <a:pt x="92" y="424"/>
                    </a:lnTo>
                    <a:lnTo>
                      <a:pt x="87" y="419"/>
                    </a:lnTo>
                    <a:lnTo>
                      <a:pt x="97" y="416"/>
                    </a:lnTo>
                    <a:lnTo>
                      <a:pt x="107" y="413"/>
                    </a:lnTo>
                    <a:lnTo>
                      <a:pt x="117" y="412"/>
                    </a:lnTo>
                    <a:lnTo>
                      <a:pt x="127" y="412"/>
                    </a:lnTo>
                    <a:lnTo>
                      <a:pt x="129" y="412"/>
                    </a:lnTo>
                    <a:lnTo>
                      <a:pt x="130" y="409"/>
                    </a:lnTo>
                    <a:lnTo>
                      <a:pt x="130" y="406"/>
                    </a:lnTo>
                    <a:lnTo>
                      <a:pt x="129" y="402"/>
                    </a:lnTo>
                    <a:lnTo>
                      <a:pt x="128" y="394"/>
                    </a:lnTo>
                    <a:lnTo>
                      <a:pt x="127" y="388"/>
                    </a:lnTo>
                    <a:lnTo>
                      <a:pt x="147" y="388"/>
                    </a:lnTo>
                    <a:lnTo>
                      <a:pt x="133" y="382"/>
                    </a:lnTo>
                    <a:lnTo>
                      <a:pt x="220" y="382"/>
                    </a:lnTo>
                    <a:lnTo>
                      <a:pt x="207" y="376"/>
                    </a:lnTo>
                    <a:lnTo>
                      <a:pt x="213" y="373"/>
                    </a:lnTo>
                    <a:lnTo>
                      <a:pt x="218" y="370"/>
                    </a:lnTo>
                    <a:lnTo>
                      <a:pt x="221" y="367"/>
                    </a:lnTo>
                    <a:lnTo>
                      <a:pt x="224" y="362"/>
                    </a:lnTo>
                    <a:lnTo>
                      <a:pt x="227" y="351"/>
                    </a:lnTo>
                    <a:lnTo>
                      <a:pt x="227" y="339"/>
                    </a:lnTo>
                    <a:lnTo>
                      <a:pt x="243" y="339"/>
                    </a:lnTo>
                    <a:lnTo>
                      <a:pt x="255" y="339"/>
                    </a:lnTo>
                    <a:lnTo>
                      <a:pt x="266" y="339"/>
                    </a:lnTo>
                    <a:lnTo>
                      <a:pt x="279" y="339"/>
                    </a:lnTo>
                    <a:lnTo>
                      <a:pt x="279" y="333"/>
                    </a:lnTo>
                    <a:lnTo>
                      <a:pt x="282" y="327"/>
                    </a:lnTo>
                    <a:lnTo>
                      <a:pt x="283" y="325"/>
                    </a:lnTo>
                    <a:lnTo>
                      <a:pt x="285" y="323"/>
                    </a:lnTo>
                    <a:lnTo>
                      <a:pt x="288" y="321"/>
                    </a:lnTo>
                    <a:lnTo>
                      <a:pt x="293" y="321"/>
                    </a:lnTo>
                    <a:lnTo>
                      <a:pt x="286" y="318"/>
                    </a:lnTo>
                    <a:lnTo>
                      <a:pt x="279" y="314"/>
                    </a:lnTo>
                    <a:lnTo>
                      <a:pt x="280" y="312"/>
                    </a:lnTo>
                    <a:lnTo>
                      <a:pt x="282" y="310"/>
                    </a:lnTo>
                    <a:lnTo>
                      <a:pt x="284" y="308"/>
                    </a:lnTo>
                    <a:lnTo>
                      <a:pt x="287" y="305"/>
                    </a:lnTo>
                    <a:lnTo>
                      <a:pt x="294" y="300"/>
                    </a:lnTo>
                    <a:lnTo>
                      <a:pt x="299" y="295"/>
                    </a:lnTo>
                    <a:lnTo>
                      <a:pt x="298" y="292"/>
                    </a:lnTo>
                    <a:lnTo>
                      <a:pt x="297" y="288"/>
                    </a:lnTo>
                    <a:lnTo>
                      <a:pt x="298" y="285"/>
                    </a:lnTo>
                    <a:lnTo>
                      <a:pt x="299" y="281"/>
                    </a:lnTo>
                    <a:lnTo>
                      <a:pt x="305" y="274"/>
                    </a:lnTo>
                    <a:lnTo>
                      <a:pt x="311" y="267"/>
                    </a:lnTo>
                    <a:lnTo>
                      <a:pt x="325" y="254"/>
                    </a:lnTo>
                    <a:lnTo>
                      <a:pt x="333" y="246"/>
                    </a:lnTo>
                    <a:lnTo>
                      <a:pt x="333" y="244"/>
                    </a:lnTo>
                    <a:lnTo>
                      <a:pt x="335" y="243"/>
                    </a:lnTo>
                    <a:lnTo>
                      <a:pt x="338" y="243"/>
                    </a:lnTo>
                    <a:lnTo>
                      <a:pt x="340" y="244"/>
                    </a:lnTo>
                    <a:lnTo>
                      <a:pt x="344" y="245"/>
                    </a:lnTo>
                    <a:lnTo>
                      <a:pt x="346" y="246"/>
                    </a:lnTo>
                    <a:lnTo>
                      <a:pt x="344" y="239"/>
                    </a:lnTo>
                    <a:lnTo>
                      <a:pt x="343" y="233"/>
                    </a:lnTo>
                    <a:lnTo>
                      <a:pt x="343" y="226"/>
                    </a:lnTo>
                    <a:lnTo>
                      <a:pt x="344" y="220"/>
                    </a:lnTo>
                    <a:lnTo>
                      <a:pt x="345" y="210"/>
                    </a:lnTo>
                    <a:lnTo>
                      <a:pt x="346" y="204"/>
                    </a:lnTo>
                    <a:lnTo>
                      <a:pt x="370" y="204"/>
                    </a:lnTo>
                    <a:lnTo>
                      <a:pt x="385" y="203"/>
                    </a:lnTo>
                    <a:lnTo>
                      <a:pt x="388" y="202"/>
                    </a:lnTo>
                    <a:lnTo>
                      <a:pt x="390" y="200"/>
                    </a:lnTo>
                    <a:lnTo>
                      <a:pt x="392" y="198"/>
                    </a:lnTo>
                    <a:lnTo>
                      <a:pt x="394" y="196"/>
                    </a:lnTo>
                    <a:lnTo>
                      <a:pt x="397" y="188"/>
                    </a:lnTo>
                    <a:lnTo>
                      <a:pt x="399" y="178"/>
                    </a:lnTo>
                    <a:lnTo>
                      <a:pt x="395" y="173"/>
                    </a:lnTo>
                    <a:lnTo>
                      <a:pt x="390" y="166"/>
                    </a:lnTo>
                    <a:lnTo>
                      <a:pt x="387" y="157"/>
                    </a:lnTo>
                    <a:lnTo>
                      <a:pt x="386" y="148"/>
                    </a:lnTo>
                    <a:lnTo>
                      <a:pt x="384" y="148"/>
                    </a:lnTo>
                    <a:lnTo>
                      <a:pt x="379" y="147"/>
                    </a:lnTo>
                    <a:lnTo>
                      <a:pt x="377" y="147"/>
                    </a:lnTo>
                    <a:lnTo>
                      <a:pt x="375" y="146"/>
                    </a:lnTo>
                    <a:lnTo>
                      <a:pt x="373" y="144"/>
                    </a:lnTo>
                    <a:lnTo>
                      <a:pt x="373" y="142"/>
                    </a:lnTo>
                    <a:lnTo>
                      <a:pt x="363" y="150"/>
                    </a:lnTo>
                    <a:lnTo>
                      <a:pt x="353" y="156"/>
                    </a:lnTo>
                    <a:lnTo>
                      <a:pt x="347" y="158"/>
                    </a:lnTo>
                    <a:lnTo>
                      <a:pt x="343" y="159"/>
                    </a:lnTo>
                    <a:lnTo>
                      <a:pt x="338" y="160"/>
                    </a:lnTo>
                    <a:lnTo>
                      <a:pt x="333" y="160"/>
                    </a:lnTo>
                    <a:lnTo>
                      <a:pt x="334" y="154"/>
                    </a:lnTo>
                    <a:lnTo>
                      <a:pt x="338" y="148"/>
                    </a:lnTo>
                    <a:lnTo>
                      <a:pt x="341" y="143"/>
                    </a:lnTo>
                    <a:lnTo>
                      <a:pt x="345" y="138"/>
                    </a:lnTo>
                    <a:lnTo>
                      <a:pt x="355" y="128"/>
                    </a:lnTo>
                    <a:lnTo>
                      <a:pt x="367" y="120"/>
                    </a:lnTo>
                    <a:lnTo>
                      <a:pt x="378" y="112"/>
                    </a:lnTo>
                    <a:lnTo>
                      <a:pt x="390" y="103"/>
                    </a:lnTo>
                    <a:lnTo>
                      <a:pt x="395" y="98"/>
                    </a:lnTo>
                    <a:lnTo>
                      <a:pt x="399" y="93"/>
                    </a:lnTo>
                    <a:lnTo>
                      <a:pt x="403" y="87"/>
                    </a:lnTo>
                    <a:lnTo>
                      <a:pt x="406" y="80"/>
                    </a:lnTo>
                    <a:lnTo>
                      <a:pt x="407" y="83"/>
                    </a:lnTo>
                    <a:lnTo>
                      <a:pt x="409" y="88"/>
                    </a:lnTo>
                    <a:lnTo>
                      <a:pt x="411" y="96"/>
                    </a:lnTo>
                    <a:lnTo>
                      <a:pt x="412" y="105"/>
                    </a:lnTo>
                    <a:lnTo>
                      <a:pt x="414" y="107"/>
                    </a:lnTo>
                    <a:lnTo>
                      <a:pt x="420" y="111"/>
                    </a:lnTo>
                    <a:lnTo>
                      <a:pt x="426" y="115"/>
                    </a:lnTo>
                    <a:lnTo>
                      <a:pt x="432" y="117"/>
                    </a:lnTo>
                    <a:lnTo>
                      <a:pt x="450" y="116"/>
                    </a:lnTo>
                    <a:lnTo>
                      <a:pt x="463" y="114"/>
                    </a:lnTo>
                    <a:lnTo>
                      <a:pt x="473" y="112"/>
                    </a:lnTo>
                    <a:lnTo>
                      <a:pt x="479" y="111"/>
                    </a:lnTo>
                    <a:lnTo>
                      <a:pt x="474" y="106"/>
                    </a:lnTo>
                    <a:lnTo>
                      <a:pt x="469" y="101"/>
                    </a:lnTo>
                    <a:lnTo>
                      <a:pt x="468" y="98"/>
                    </a:lnTo>
                    <a:lnTo>
                      <a:pt x="467" y="95"/>
                    </a:lnTo>
                    <a:lnTo>
                      <a:pt x="466" y="91"/>
                    </a:lnTo>
                    <a:lnTo>
                      <a:pt x="466" y="87"/>
                    </a:lnTo>
                    <a:lnTo>
                      <a:pt x="485" y="83"/>
                    </a:lnTo>
                    <a:lnTo>
                      <a:pt x="510" y="78"/>
                    </a:lnTo>
                    <a:lnTo>
                      <a:pt x="523" y="75"/>
                    </a:lnTo>
                    <a:lnTo>
                      <a:pt x="536" y="72"/>
                    </a:lnTo>
                    <a:lnTo>
                      <a:pt x="548" y="67"/>
                    </a:lnTo>
                    <a:lnTo>
                      <a:pt x="558" y="61"/>
                    </a:lnTo>
                    <a:lnTo>
                      <a:pt x="565" y="57"/>
                    </a:lnTo>
                    <a:lnTo>
                      <a:pt x="573" y="53"/>
                    </a:lnTo>
                    <a:lnTo>
                      <a:pt x="579" y="50"/>
                    </a:lnTo>
                    <a:lnTo>
                      <a:pt x="586" y="49"/>
                    </a:lnTo>
                    <a:lnTo>
                      <a:pt x="587" y="55"/>
                    </a:lnTo>
                    <a:lnTo>
                      <a:pt x="589" y="61"/>
                    </a:lnTo>
                    <a:lnTo>
                      <a:pt x="591" y="63"/>
                    </a:lnTo>
                    <a:lnTo>
                      <a:pt x="593" y="65"/>
                    </a:lnTo>
                    <a:lnTo>
                      <a:pt x="596" y="67"/>
                    </a:lnTo>
                    <a:lnTo>
                      <a:pt x="599" y="67"/>
                    </a:lnTo>
                    <a:lnTo>
                      <a:pt x="609" y="66"/>
                    </a:lnTo>
                    <a:lnTo>
                      <a:pt x="624" y="61"/>
                    </a:lnTo>
                    <a:lnTo>
                      <a:pt x="638" y="57"/>
                    </a:lnTo>
                    <a:lnTo>
                      <a:pt x="645" y="55"/>
                    </a:lnTo>
                    <a:lnTo>
                      <a:pt x="643" y="53"/>
                    </a:lnTo>
                    <a:lnTo>
                      <a:pt x="641" y="51"/>
                    </a:lnTo>
                    <a:lnTo>
                      <a:pt x="638" y="48"/>
                    </a:lnTo>
                    <a:lnTo>
                      <a:pt x="638" y="46"/>
                    </a:lnTo>
                    <a:lnTo>
                      <a:pt x="638" y="42"/>
                    </a:lnTo>
                    <a:lnTo>
                      <a:pt x="641" y="37"/>
                    </a:lnTo>
                    <a:lnTo>
                      <a:pt x="645" y="33"/>
                    </a:lnTo>
                    <a:lnTo>
                      <a:pt x="650" y="28"/>
                    </a:lnTo>
                    <a:lnTo>
                      <a:pt x="657" y="24"/>
                    </a:lnTo>
                    <a:lnTo>
                      <a:pt x="665" y="20"/>
                    </a:lnTo>
                    <a:lnTo>
                      <a:pt x="674" y="17"/>
                    </a:lnTo>
                    <a:lnTo>
                      <a:pt x="682" y="15"/>
                    </a:lnTo>
                    <a:lnTo>
                      <a:pt x="691" y="14"/>
                    </a:lnTo>
                    <a:lnTo>
                      <a:pt x="699" y="13"/>
                    </a:lnTo>
                    <a:lnTo>
                      <a:pt x="708" y="13"/>
                    </a:lnTo>
                    <a:lnTo>
                      <a:pt x="714" y="13"/>
                    </a:lnTo>
                    <a:lnTo>
                      <a:pt x="721" y="15"/>
                    </a:lnTo>
                    <a:lnTo>
                      <a:pt x="725" y="18"/>
                    </a:lnTo>
                    <a:lnTo>
                      <a:pt x="717" y="20"/>
                    </a:lnTo>
                    <a:lnTo>
                      <a:pt x="709" y="26"/>
                    </a:lnTo>
                    <a:lnTo>
                      <a:pt x="705" y="29"/>
                    </a:lnTo>
                    <a:lnTo>
                      <a:pt x="701" y="32"/>
                    </a:lnTo>
                    <a:lnTo>
                      <a:pt x="699" y="35"/>
                    </a:lnTo>
                    <a:lnTo>
                      <a:pt x="699" y="37"/>
                    </a:lnTo>
                    <a:lnTo>
                      <a:pt x="702" y="39"/>
                    </a:lnTo>
                    <a:lnTo>
                      <a:pt x="705" y="40"/>
                    </a:lnTo>
                    <a:lnTo>
                      <a:pt x="709" y="41"/>
                    </a:lnTo>
                    <a:lnTo>
                      <a:pt x="712" y="40"/>
                    </a:lnTo>
                    <a:lnTo>
                      <a:pt x="719" y="39"/>
                    </a:lnTo>
                    <a:lnTo>
                      <a:pt x="725" y="36"/>
                    </a:lnTo>
                    <a:lnTo>
                      <a:pt x="733" y="32"/>
                    </a:lnTo>
                    <a:lnTo>
                      <a:pt x="741" y="29"/>
                    </a:lnTo>
                    <a:lnTo>
                      <a:pt x="748" y="26"/>
                    </a:lnTo>
                    <a:lnTo>
                      <a:pt x="758" y="24"/>
                    </a:lnTo>
                    <a:lnTo>
                      <a:pt x="758" y="12"/>
                    </a:lnTo>
                    <a:lnTo>
                      <a:pt x="758" y="0"/>
                    </a:lnTo>
                    <a:lnTo>
                      <a:pt x="777" y="0"/>
                    </a:lnTo>
                    <a:lnTo>
                      <a:pt x="793" y="1"/>
                    </a:lnTo>
                    <a:lnTo>
                      <a:pt x="800" y="1"/>
                    </a:lnTo>
                    <a:lnTo>
                      <a:pt x="806" y="2"/>
                    </a:lnTo>
                    <a:lnTo>
                      <a:pt x="813" y="4"/>
                    </a:lnTo>
                    <a:lnTo>
                      <a:pt x="817" y="6"/>
                    </a:lnTo>
                    <a:lnTo>
                      <a:pt x="812" y="11"/>
                    </a:lnTo>
                    <a:lnTo>
                      <a:pt x="805" y="18"/>
                    </a:lnTo>
                    <a:lnTo>
                      <a:pt x="800" y="26"/>
                    </a:lnTo>
                    <a:lnTo>
                      <a:pt x="798" y="31"/>
                    </a:lnTo>
                    <a:lnTo>
                      <a:pt x="815" y="22"/>
                    </a:lnTo>
                    <a:lnTo>
                      <a:pt x="828" y="15"/>
                    </a:lnTo>
                    <a:lnTo>
                      <a:pt x="844" y="8"/>
                    </a:lnTo>
                    <a:lnTo>
                      <a:pt x="865" y="0"/>
                    </a:lnTo>
                    <a:lnTo>
                      <a:pt x="865" y="4"/>
                    </a:lnTo>
                    <a:lnTo>
                      <a:pt x="864" y="9"/>
                    </a:lnTo>
                    <a:lnTo>
                      <a:pt x="861" y="14"/>
                    </a:lnTo>
                    <a:lnTo>
                      <a:pt x="858" y="18"/>
                    </a:lnTo>
                    <a:lnTo>
                      <a:pt x="860" y="14"/>
                    </a:lnTo>
                    <a:lnTo>
                      <a:pt x="862" y="11"/>
                    </a:lnTo>
                    <a:lnTo>
                      <a:pt x="866" y="9"/>
                    </a:lnTo>
                    <a:lnTo>
                      <a:pt x="869" y="7"/>
                    </a:lnTo>
                    <a:lnTo>
                      <a:pt x="876" y="6"/>
                    </a:lnTo>
                    <a:lnTo>
                      <a:pt x="884" y="6"/>
                    </a:lnTo>
                    <a:lnTo>
                      <a:pt x="892" y="6"/>
                    </a:lnTo>
                    <a:lnTo>
                      <a:pt x="907" y="6"/>
                    </a:lnTo>
                    <a:lnTo>
                      <a:pt x="924" y="6"/>
                    </a:lnTo>
                    <a:lnTo>
                      <a:pt x="930" y="6"/>
                    </a:lnTo>
                    <a:lnTo>
                      <a:pt x="947" y="12"/>
                    </a:lnTo>
                    <a:lnTo>
                      <a:pt x="979" y="22"/>
                    </a:lnTo>
                    <a:lnTo>
                      <a:pt x="996" y="28"/>
                    </a:lnTo>
                    <a:lnTo>
                      <a:pt x="1013" y="33"/>
                    </a:lnTo>
                    <a:lnTo>
                      <a:pt x="1027" y="38"/>
                    </a:lnTo>
                    <a:lnTo>
                      <a:pt x="1037" y="43"/>
                    </a:lnTo>
                    <a:lnTo>
                      <a:pt x="1031" y="52"/>
                    </a:lnTo>
                    <a:lnTo>
                      <a:pt x="1025" y="61"/>
                    </a:lnTo>
                    <a:lnTo>
                      <a:pt x="1022" y="66"/>
                    </a:lnTo>
                    <a:lnTo>
                      <a:pt x="1019" y="70"/>
                    </a:lnTo>
                    <a:lnTo>
                      <a:pt x="1017" y="75"/>
                    </a:lnTo>
                    <a:lnTo>
                      <a:pt x="1017" y="80"/>
                    </a:lnTo>
                    <a:lnTo>
                      <a:pt x="1005" y="79"/>
                    </a:lnTo>
                    <a:lnTo>
                      <a:pt x="993" y="76"/>
                    </a:lnTo>
                    <a:lnTo>
                      <a:pt x="982" y="72"/>
                    </a:lnTo>
                    <a:lnTo>
                      <a:pt x="971" y="67"/>
                    </a:lnTo>
                    <a:lnTo>
                      <a:pt x="961" y="63"/>
                    </a:lnTo>
                    <a:lnTo>
                      <a:pt x="951" y="59"/>
                    </a:lnTo>
                    <a:lnTo>
                      <a:pt x="940" y="56"/>
                    </a:lnTo>
                    <a:lnTo>
                      <a:pt x="930" y="55"/>
                    </a:lnTo>
                    <a:lnTo>
                      <a:pt x="919" y="55"/>
                    </a:lnTo>
                    <a:lnTo>
                      <a:pt x="906" y="55"/>
                    </a:lnTo>
                    <a:lnTo>
                      <a:pt x="892" y="55"/>
                    </a:lnTo>
                    <a:lnTo>
                      <a:pt x="878" y="55"/>
                    </a:lnTo>
                    <a:lnTo>
                      <a:pt x="877" y="62"/>
                    </a:lnTo>
                    <a:lnTo>
                      <a:pt x="876" y="68"/>
                    </a:lnTo>
                    <a:lnTo>
                      <a:pt x="873" y="74"/>
                    </a:lnTo>
                    <a:lnTo>
                      <a:pt x="871" y="80"/>
                    </a:lnTo>
                    <a:lnTo>
                      <a:pt x="869" y="88"/>
                    </a:lnTo>
                    <a:lnTo>
                      <a:pt x="867" y="95"/>
                    </a:lnTo>
                    <a:lnTo>
                      <a:pt x="865" y="102"/>
                    </a:lnTo>
                    <a:lnTo>
                      <a:pt x="865" y="111"/>
                    </a:lnTo>
                    <a:lnTo>
                      <a:pt x="854" y="114"/>
                    </a:lnTo>
                    <a:lnTo>
                      <a:pt x="848" y="116"/>
                    </a:lnTo>
                    <a:lnTo>
                      <a:pt x="844" y="116"/>
                    </a:lnTo>
                    <a:lnTo>
                      <a:pt x="842" y="115"/>
                    </a:lnTo>
                    <a:lnTo>
                      <a:pt x="838" y="114"/>
                    </a:lnTo>
                    <a:lnTo>
                      <a:pt x="835" y="113"/>
                    </a:lnTo>
                    <a:lnTo>
                      <a:pt x="828" y="111"/>
                    </a:lnTo>
                    <a:lnTo>
                      <a:pt x="817" y="111"/>
                    </a:lnTo>
                    <a:lnTo>
                      <a:pt x="811" y="111"/>
                    </a:lnTo>
                    <a:lnTo>
                      <a:pt x="804" y="112"/>
                    </a:lnTo>
                    <a:lnTo>
                      <a:pt x="798" y="113"/>
                    </a:lnTo>
                    <a:lnTo>
                      <a:pt x="790" y="115"/>
                    </a:lnTo>
                    <a:lnTo>
                      <a:pt x="776" y="121"/>
                    </a:lnTo>
                    <a:lnTo>
                      <a:pt x="758" y="129"/>
                    </a:lnTo>
                    <a:lnTo>
                      <a:pt x="750" y="129"/>
                    </a:lnTo>
                    <a:lnTo>
                      <a:pt x="745" y="128"/>
                    </a:lnTo>
                    <a:lnTo>
                      <a:pt x="738" y="126"/>
                    </a:lnTo>
                    <a:lnTo>
                      <a:pt x="734" y="124"/>
                    </a:lnTo>
                    <a:lnTo>
                      <a:pt x="724" y="119"/>
                    </a:lnTo>
                    <a:lnTo>
                      <a:pt x="716" y="112"/>
                    </a:lnTo>
                    <a:lnTo>
                      <a:pt x="709" y="105"/>
                    </a:lnTo>
                    <a:lnTo>
                      <a:pt x="702" y="98"/>
                    </a:lnTo>
                    <a:lnTo>
                      <a:pt x="694" y="92"/>
                    </a:lnTo>
                    <a:lnTo>
                      <a:pt x="685" y="87"/>
                    </a:lnTo>
                    <a:lnTo>
                      <a:pt x="677" y="92"/>
                    </a:lnTo>
                    <a:lnTo>
                      <a:pt x="669" y="96"/>
                    </a:lnTo>
                    <a:lnTo>
                      <a:pt x="661" y="100"/>
                    </a:lnTo>
                    <a:lnTo>
                      <a:pt x="654" y="103"/>
                    </a:lnTo>
                    <a:lnTo>
                      <a:pt x="637" y="109"/>
                    </a:lnTo>
                    <a:lnTo>
                      <a:pt x="620" y="112"/>
                    </a:lnTo>
                    <a:lnTo>
                      <a:pt x="602" y="116"/>
                    </a:lnTo>
                    <a:lnTo>
                      <a:pt x="584" y="119"/>
                    </a:lnTo>
                    <a:lnTo>
                      <a:pt x="565" y="123"/>
                    </a:lnTo>
                    <a:lnTo>
                      <a:pt x="545" y="129"/>
                    </a:lnTo>
                    <a:lnTo>
                      <a:pt x="542" y="130"/>
                    </a:lnTo>
                    <a:lnTo>
                      <a:pt x="537" y="131"/>
                    </a:lnTo>
                    <a:lnTo>
                      <a:pt x="534" y="134"/>
                    </a:lnTo>
                    <a:lnTo>
                      <a:pt x="530" y="138"/>
                    </a:lnTo>
                    <a:lnTo>
                      <a:pt x="521" y="147"/>
                    </a:lnTo>
                    <a:lnTo>
                      <a:pt x="513" y="158"/>
                    </a:lnTo>
                    <a:lnTo>
                      <a:pt x="506" y="170"/>
                    </a:lnTo>
                    <a:lnTo>
                      <a:pt x="498" y="184"/>
                    </a:lnTo>
                    <a:lnTo>
                      <a:pt x="491" y="198"/>
                    </a:lnTo>
                    <a:lnTo>
                      <a:pt x="486" y="210"/>
                    </a:lnTo>
                    <a:lnTo>
                      <a:pt x="482" y="217"/>
                    </a:lnTo>
                    <a:lnTo>
                      <a:pt x="478" y="225"/>
                    </a:lnTo>
                    <a:lnTo>
                      <a:pt x="473" y="232"/>
                    </a:lnTo>
                    <a:lnTo>
                      <a:pt x="466" y="239"/>
                    </a:lnTo>
                    <a:lnTo>
                      <a:pt x="453" y="255"/>
                    </a:lnTo>
                    <a:lnTo>
                      <a:pt x="437" y="270"/>
                    </a:lnTo>
                    <a:lnTo>
                      <a:pt x="430" y="279"/>
                    </a:lnTo>
                    <a:lnTo>
                      <a:pt x="423" y="288"/>
                    </a:lnTo>
                    <a:lnTo>
                      <a:pt x="417" y="298"/>
                    </a:lnTo>
                    <a:lnTo>
                      <a:pt x="411" y="309"/>
                    </a:lnTo>
                    <a:lnTo>
                      <a:pt x="406" y="321"/>
                    </a:lnTo>
                    <a:lnTo>
                      <a:pt x="402" y="334"/>
                    </a:lnTo>
                    <a:lnTo>
                      <a:pt x="400" y="348"/>
                    </a:lnTo>
                    <a:lnTo>
                      <a:pt x="399" y="364"/>
                    </a:lnTo>
                    <a:lnTo>
                      <a:pt x="396" y="362"/>
                    </a:lnTo>
                    <a:lnTo>
                      <a:pt x="392" y="361"/>
                    </a:lnTo>
                    <a:lnTo>
                      <a:pt x="387" y="361"/>
                    </a:lnTo>
                    <a:lnTo>
                      <a:pt x="381" y="362"/>
                    </a:lnTo>
                    <a:lnTo>
                      <a:pt x="367" y="363"/>
                    </a:lnTo>
                    <a:lnTo>
                      <a:pt x="353" y="364"/>
                    </a:lnTo>
                    <a:lnTo>
                      <a:pt x="333" y="425"/>
                    </a:lnTo>
                    <a:lnTo>
                      <a:pt x="333" y="441"/>
                    </a:lnTo>
                    <a:lnTo>
                      <a:pt x="336" y="464"/>
                    </a:lnTo>
                    <a:lnTo>
                      <a:pt x="340" y="477"/>
                    </a:lnTo>
                    <a:lnTo>
                      <a:pt x="344" y="487"/>
                    </a:lnTo>
                    <a:lnTo>
                      <a:pt x="347" y="491"/>
                    </a:lnTo>
                    <a:lnTo>
                      <a:pt x="351" y="495"/>
                    </a:lnTo>
                    <a:lnTo>
                      <a:pt x="355" y="497"/>
                    </a:lnTo>
                    <a:lnTo>
                      <a:pt x="360" y="499"/>
                    </a:lnTo>
                    <a:lnTo>
                      <a:pt x="358" y="515"/>
                    </a:lnTo>
                    <a:lnTo>
                      <a:pt x="357" y="528"/>
                    </a:lnTo>
                    <a:lnTo>
                      <a:pt x="356" y="537"/>
                    </a:lnTo>
                    <a:lnTo>
                      <a:pt x="354" y="544"/>
                    </a:lnTo>
                    <a:lnTo>
                      <a:pt x="354" y="551"/>
                    </a:lnTo>
                    <a:lnTo>
                      <a:pt x="354" y="558"/>
                    </a:lnTo>
                    <a:lnTo>
                      <a:pt x="355" y="567"/>
                    </a:lnTo>
                    <a:lnTo>
                      <a:pt x="360" y="579"/>
                    </a:lnTo>
                    <a:lnTo>
                      <a:pt x="352" y="585"/>
                    </a:lnTo>
                    <a:lnTo>
                      <a:pt x="346" y="591"/>
                    </a:lnTo>
                    <a:lnTo>
                      <a:pt x="340" y="598"/>
                    </a:lnTo>
                    <a:lnTo>
                      <a:pt x="335" y="606"/>
                    </a:lnTo>
                    <a:lnTo>
                      <a:pt x="331" y="615"/>
                    </a:lnTo>
                    <a:lnTo>
                      <a:pt x="329" y="625"/>
                    </a:lnTo>
                    <a:lnTo>
                      <a:pt x="327" y="635"/>
                    </a:lnTo>
                    <a:lnTo>
                      <a:pt x="327" y="647"/>
                    </a:lnTo>
                    <a:lnTo>
                      <a:pt x="318" y="646"/>
                    </a:lnTo>
                    <a:lnTo>
                      <a:pt x="306" y="645"/>
                    </a:lnTo>
                    <a:lnTo>
                      <a:pt x="300" y="645"/>
                    </a:lnTo>
                    <a:lnTo>
                      <a:pt x="295" y="645"/>
                    </a:lnTo>
                    <a:lnTo>
                      <a:pt x="289" y="646"/>
                    </a:lnTo>
                    <a:lnTo>
                      <a:pt x="286" y="6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7" name="Freeform 228">
                <a:extLst>
                  <a:ext uri="{FF2B5EF4-FFF2-40B4-BE49-F238E27FC236}">
                    <a16:creationId xmlns:a16="http://schemas.microsoft.com/office/drawing/2014/main" id="{4CA7B180-A352-41D1-BE50-4E43D4A76DF9}"/>
                  </a:ext>
                </a:extLst>
              </p:cNvPr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auto">
              <a:xfrm>
                <a:off x="4532745" y="2997000"/>
                <a:ext cx="59724" cy="101962"/>
              </a:xfrm>
              <a:custGeom>
                <a:avLst/>
                <a:gdLst>
                  <a:gd name="T0" fmla="*/ 20181841 w 120"/>
                  <a:gd name="T1" fmla="*/ 27084381 h 173"/>
                  <a:gd name="T2" fmla="*/ 15472663 w 120"/>
                  <a:gd name="T3" fmla="*/ 16414760 h 173"/>
                  <a:gd name="T4" fmla="*/ 11772741 w 120"/>
                  <a:gd name="T5" fmla="*/ 7660012 h 173"/>
                  <a:gd name="T6" fmla="*/ 10090921 w 120"/>
                  <a:gd name="T7" fmla="*/ 4377374 h 173"/>
                  <a:gd name="T8" fmla="*/ 8913524 w 120"/>
                  <a:gd name="T9" fmla="*/ 2188425 h 173"/>
                  <a:gd name="T10" fmla="*/ 8072819 w 120"/>
                  <a:gd name="T11" fmla="*/ 1094213 h 173"/>
                  <a:gd name="T12" fmla="*/ 7568396 w 120"/>
                  <a:gd name="T13" fmla="*/ 547106 h 173"/>
                  <a:gd name="T14" fmla="*/ 7231703 w 120"/>
                  <a:gd name="T15" fmla="*/ 273553 h 173"/>
                  <a:gd name="T16" fmla="*/ 6559139 w 120"/>
                  <a:gd name="T17" fmla="*/ 0 h 173"/>
                  <a:gd name="T18" fmla="*/ 5549883 w 120"/>
                  <a:gd name="T19" fmla="*/ 0 h 173"/>
                  <a:gd name="T20" fmla="*/ 4541037 w 120"/>
                  <a:gd name="T21" fmla="*/ 273553 h 173"/>
                  <a:gd name="T22" fmla="*/ 4036204 w 120"/>
                  <a:gd name="T23" fmla="*/ 820660 h 173"/>
                  <a:gd name="T24" fmla="*/ 3531781 w 120"/>
                  <a:gd name="T25" fmla="*/ 1367766 h 173"/>
                  <a:gd name="T26" fmla="*/ 3195499 w 120"/>
                  <a:gd name="T27" fmla="*/ 2188425 h 173"/>
                  <a:gd name="T28" fmla="*/ 2691076 w 120"/>
                  <a:gd name="T29" fmla="*/ 3283161 h 173"/>
                  <a:gd name="T30" fmla="*/ 2522935 w 120"/>
                  <a:gd name="T31" fmla="*/ 4103821 h 173"/>
                  <a:gd name="T32" fmla="*/ 2522935 w 120"/>
                  <a:gd name="T33" fmla="*/ 5471587 h 173"/>
                  <a:gd name="T34" fmla="*/ 2354384 w 120"/>
                  <a:gd name="T35" fmla="*/ 8207119 h 173"/>
                  <a:gd name="T36" fmla="*/ 2018102 w 120"/>
                  <a:gd name="T37" fmla="*/ 11490280 h 173"/>
                  <a:gd name="T38" fmla="*/ 1681820 w 120"/>
                  <a:gd name="T39" fmla="*/ 13131599 h 173"/>
                  <a:gd name="T40" fmla="*/ 1345538 w 120"/>
                  <a:gd name="T41" fmla="*/ 14772918 h 173"/>
                  <a:gd name="T42" fmla="*/ 672564 w 120"/>
                  <a:gd name="T43" fmla="*/ 16688313 h 173"/>
                  <a:gd name="T44" fmla="*/ 0 w 120"/>
                  <a:gd name="T45" fmla="*/ 18603186 h 173"/>
                  <a:gd name="T46" fmla="*/ 841115 w 120"/>
                  <a:gd name="T47" fmla="*/ 22433453 h 173"/>
                  <a:gd name="T48" fmla="*/ 1681820 w 120"/>
                  <a:gd name="T49" fmla="*/ 27084381 h 173"/>
                  <a:gd name="T50" fmla="*/ 2522935 w 120"/>
                  <a:gd name="T51" fmla="*/ 31461232 h 173"/>
                  <a:gd name="T52" fmla="*/ 3363640 w 120"/>
                  <a:gd name="T53" fmla="*/ 35291499 h 173"/>
                  <a:gd name="T54" fmla="*/ 4036204 w 120"/>
                  <a:gd name="T55" fmla="*/ 36659265 h 173"/>
                  <a:gd name="T56" fmla="*/ 5045460 w 120"/>
                  <a:gd name="T57" fmla="*/ 38027031 h 173"/>
                  <a:gd name="T58" fmla="*/ 6222857 w 120"/>
                  <a:gd name="T59" fmla="*/ 39668873 h 173"/>
                  <a:gd name="T60" fmla="*/ 7736537 w 120"/>
                  <a:gd name="T61" fmla="*/ 41310192 h 173"/>
                  <a:gd name="T62" fmla="*/ 9081665 w 120"/>
                  <a:gd name="T63" fmla="*/ 42951511 h 173"/>
                  <a:gd name="T64" fmla="*/ 10090921 w 120"/>
                  <a:gd name="T65" fmla="*/ 44593354 h 173"/>
                  <a:gd name="T66" fmla="*/ 10427203 w 120"/>
                  <a:gd name="T67" fmla="*/ 45140460 h 173"/>
                  <a:gd name="T68" fmla="*/ 10932036 w 120"/>
                  <a:gd name="T69" fmla="*/ 45961119 h 173"/>
                  <a:gd name="T70" fmla="*/ 11100177 w 120"/>
                  <a:gd name="T71" fmla="*/ 46508226 h 173"/>
                  <a:gd name="T72" fmla="*/ 11268318 w 120"/>
                  <a:gd name="T73" fmla="*/ 47328885 h 173"/>
                  <a:gd name="T74" fmla="*/ 12781997 w 120"/>
                  <a:gd name="T75" fmla="*/ 45687566 h 173"/>
                  <a:gd name="T76" fmla="*/ 14463817 w 120"/>
                  <a:gd name="T77" fmla="*/ 43772171 h 173"/>
                  <a:gd name="T78" fmla="*/ 15640804 w 120"/>
                  <a:gd name="T79" fmla="*/ 41583745 h 173"/>
                  <a:gd name="T80" fmla="*/ 16986342 w 120"/>
                  <a:gd name="T81" fmla="*/ 38848214 h 173"/>
                  <a:gd name="T82" fmla="*/ 17827457 w 120"/>
                  <a:gd name="T83" fmla="*/ 36112159 h 173"/>
                  <a:gd name="T84" fmla="*/ 18836303 w 120"/>
                  <a:gd name="T85" fmla="*/ 33103074 h 173"/>
                  <a:gd name="T86" fmla="*/ 19509277 w 120"/>
                  <a:gd name="T87" fmla="*/ 30093466 h 173"/>
                  <a:gd name="T88" fmla="*/ 20181841 w 120"/>
                  <a:gd name="T89" fmla="*/ 27084381 h 173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120" h="173">
                    <a:moveTo>
                      <a:pt x="120" y="99"/>
                    </a:moveTo>
                    <a:lnTo>
                      <a:pt x="92" y="60"/>
                    </a:lnTo>
                    <a:lnTo>
                      <a:pt x="70" y="28"/>
                    </a:lnTo>
                    <a:lnTo>
                      <a:pt x="60" y="16"/>
                    </a:lnTo>
                    <a:lnTo>
                      <a:pt x="53" y="8"/>
                    </a:lnTo>
                    <a:lnTo>
                      <a:pt x="48" y="4"/>
                    </a:lnTo>
                    <a:lnTo>
                      <a:pt x="45" y="2"/>
                    </a:lnTo>
                    <a:lnTo>
                      <a:pt x="43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7" y="1"/>
                    </a:lnTo>
                    <a:lnTo>
                      <a:pt x="24" y="3"/>
                    </a:lnTo>
                    <a:lnTo>
                      <a:pt x="21" y="5"/>
                    </a:lnTo>
                    <a:lnTo>
                      <a:pt x="19" y="8"/>
                    </a:lnTo>
                    <a:lnTo>
                      <a:pt x="16" y="12"/>
                    </a:lnTo>
                    <a:lnTo>
                      <a:pt x="15" y="15"/>
                    </a:lnTo>
                    <a:lnTo>
                      <a:pt x="15" y="20"/>
                    </a:lnTo>
                    <a:lnTo>
                      <a:pt x="14" y="30"/>
                    </a:lnTo>
                    <a:lnTo>
                      <a:pt x="12" y="42"/>
                    </a:lnTo>
                    <a:lnTo>
                      <a:pt x="10" y="48"/>
                    </a:lnTo>
                    <a:lnTo>
                      <a:pt x="8" y="54"/>
                    </a:lnTo>
                    <a:lnTo>
                      <a:pt x="4" y="61"/>
                    </a:lnTo>
                    <a:lnTo>
                      <a:pt x="0" y="68"/>
                    </a:lnTo>
                    <a:lnTo>
                      <a:pt x="5" y="82"/>
                    </a:lnTo>
                    <a:lnTo>
                      <a:pt x="10" y="99"/>
                    </a:lnTo>
                    <a:lnTo>
                      <a:pt x="15" y="115"/>
                    </a:lnTo>
                    <a:lnTo>
                      <a:pt x="20" y="129"/>
                    </a:lnTo>
                    <a:lnTo>
                      <a:pt x="24" y="134"/>
                    </a:lnTo>
                    <a:lnTo>
                      <a:pt x="30" y="139"/>
                    </a:lnTo>
                    <a:lnTo>
                      <a:pt x="37" y="145"/>
                    </a:lnTo>
                    <a:lnTo>
                      <a:pt x="46" y="151"/>
                    </a:lnTo>
                    <a:lnTo>
                      <a:pt x="54" y="157"/>
                    </a:lnTo>
                    <a:lnTo>
                      <a:pt x="60" y="163"/>
                    </a:lnTo>
                    <a:lnTo>
                      <a:pt x="62" y="165"/>
                    </a:lnTo>
                    <a:lnTo>
                      <a:pt x="65" y="168"/>
                    </a:lnTo>
                    <a:lnTo>
                      <a:pt x="66" y="170"/>
                    </a:lnTo>
                    <a:lnTo>
                      <a:pt x="67" y="173"/>
                    </a:lnTo>
                    <a:lnTo>
                      <a:pt x="76" y="167"/>
                    </a:lnTo>
                    <a:lnTo>
                      <a:pt x="86" y="160"/>
                    </a:lnTo>
                    <a:lnTo>
                      <a:pt x="93" y="152"/>
                    </a:lnTo>
                    <a:lnTo>
                      <a:pt x="101" y="142"/>
                    </a:lnTo>
                    <a:lnTo>
                      <a:pt x="106" y="132"/>
                    </a:lnTo>
                    <a:lnTo>
                      <a:pt x="112" y="121"/>
                    </a:lnTo>
                    <a:lnTo>
                      <a:pt x="116" y="110"/>
                    </a:lnTo>
                    <a:lnTo>
                      <a:pt x="120" y="99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8" name="Freeform 229">
                <a:extLst>
                  <a:ext uri="{FF2B5EF4-FFF2-40B4-BE49-F238E27FC236}">
                    <a16:creationId xmlns:a16="http://schemas.microsoft.com/office/drawing/2014/main" id="{B572EB68-3AF9-4B29-BAA8-627228C57660}"/>
                  </a:ext>
                </a:extLst>
              </p:cNvPr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auto">
              <a:xfrm>
                <a:off x="4179828" y="2815929"/>
                <a:ext cx="101350" cy="66803"/>
              </a:xfrm>
              <a:custGeom>
                <a:avLst/>
                <a:gdLst>
                  <a:gd name="T0" fmla="*/ 35395174 w 200"/>
                  <a:gd name="T1" fmla="*/ 19758145 h 98"/>
                  <a:gd name="T2" fmla="*/ 34510473 w 200"/>
                  <a:gd name="T3" fmla="*/ 20117765 h 98"/>
                  <a:gd name="T4" fmla="*/ 32917339 w 200"/>
                  <a:gd name="T5" fmla="*/ 21554449 h 98"/>
                  <a:gd name="T6" fmla="*/ 31324626 w 200"/>
                  <a:gd name="T7" fmla="*/ 23350752 h 98"/>
                  <a:gd name="T8" fmla="*/ 29378116 w 200"/>
                  <a:gd name="T9" fmla="*/ 26224719 h 98"/>
                  <a:gd name="T10" fmla="*/ 27431186 w 200"/>
                  <a:gd name="T11" fmla="*/ 28739065 h 98"/>
                  <a:gd name="T12" fmla="*/ 25661364 w 200"/>
                  <a:gd name="T13" fmla="*/ 31254010 h 98"/>
                  <a:gd name="T14" fmla="*/ 24245759 w 200"/>
                  <a:gd name="T15" fmla="*/ 33409335 h 98"/>
                  <a:gd name="T16" fmla="*/ 23537746 w 200"/>
                  <a:gd name="T17" fmla="*/ 35205639 h 98"/>
                  <a:gd name="T18" fmla="*/ 22475937 w 200"/>
                  <a:gd name="T19" fmla="*/ 35205639 h 98"/>
                  <a:gd name="T20" fmla="*/ 21591237 w 200"/>
                  <a:gd name="T21" fmla="*/ 35205639 h 98"/>
                  <a:gd name="T22" fmla="*/ 20529007 w 200"/>
                  <a:gd name="T23" fmla="*/ 34846618 h 98"/>
                  <a:gd name="T24" fmla="*/ 19644307 w 200"/>
                  <a:gd name="T25" fmla="*/ 34127977 h 98"/>
                  <a:gd name="T26" fmla="*/ 18759606 w 200"/>
                  <a:gd name="T27" fmla="*/ 33409335 h 98"/>
                  <a:gd name="T28" fmla="*/ 18228702 w 200"/>
                  <a:gd name="T29" fmla="*/ 31613031 h 98"/>
                  <a:gd name="T30" fmla="*/ 17874485 w 200"/>
                  <a:gd name="T31" fmla="*/ 29457706 h 98"/>
                  <a:gd name="T32" fmla="*/ 17697797 w 200"/>
                  <a:gd name="T33" fmla="*/ 26583740 h 98"/>
                  <a:gd name="T34" fmla="*/ 16104663 w 200"/>
                  <a:gd name="T35" fmla="*/ 28739065 h 98"/>
                  <a:gd name="T36" fmla="*/ 14511950 w 200"/>
                  <a:gd name="T37" fmla="*/ 30894989 h 98"/>
                  <a:gd name="T38" fmla="*/ 13803937 w 200"/>
                  <a:gd name="T39" fmla="*/ 32331673 h 98"/>
                  <a:gd name="T40" fmla="*/ 12742128 w 200"/>
                  <a:gd name="T41" fmla="*/ 33409335 h 98"/>
                  <a:gd name="T42" fmla="*/ 11857427 w 200"/>
                  <a:gd name="T43" fmla="*/ 34486998 h 98"/>
                  <a:gd name="T44" fmla="*/ 10618510 w 200"/>
                  <a:gd name="T45" fmla="*/ 35205639 h 98"/>
                  <a:gd name="T46" fmla="*/ 6902179 w 200"/>
                  <a:gd name="T47" fmla="*/ 35205639 h 98"/>
                  <a:gd name="T48" fmla="*/ 6017058 w 200"/>
                  <a:gd name="T49" fmla="*/ 35205639 h 98"/>
                  <a:gd name="T50" fmla="*/ 4955249 w 200"/>
                  <a:gd name="T51" fmla="*/ 34127977 h 98"/>
                  <a:gd name="T52" fmla="*/ 3893440 w 200"/>
                  <a:gd name="T53" fmla="*/ 33050314 h 98"/>
                  <a:gd name="T54" fmla="*/ 2654522 w 200"/>
                  <a:gd name="T55" fmla="*/ 31972652 h 98"/>
                  <a:gd name="T56" fmla="*/ 1592713 w 200"/>
                  <a:gd name="T57" fmla="*/ 30535369 h 98"/>
                  <a:gd name="T58" fmla="*/ 708013 w 200"/>
                  <a:gd name="T59" fmla="*/ 29098685 h 98"/>
                  <a:gd name="T60" fmla="*/ 177108 w 200"/>
                  <a:gd name="T61" fmla="*/ 27661402 h 98"/>
                  <a:gd name="T62" fmla="*/ 0 w 200"/>
                  <a:gd name="T63" fmla="*/ 26583740 h 98"/>
                  <a:gd name="T64" fmla="*/ 884701 w 200"/>
                  <a:gd name="T65" fmla="*/ 25506077 h 98"/>
                  <a:gd name="T66" fmla="*/ 1769822 w 200"/>
                  <a:gd name="T67" fmla="*/ 24069394 h 98"/>
                  <a:gd name="T68" fmla="*/ 2477835 w 200"/>
                  <a:gd name="T69" fmla="*/ 21554449 h 98"/>
                  <a:gd name="T70" fmla="*/ 3539644 w 200"/>
                  <a:gd name="T71" fmla="*/ 19039503 h 98"/>
                  <a:gd name="T72" fmla="*/ 4070548 w 200"/>
                  <a:gd name="T73" fmla="*/ 16166136 h 98"/>
                  <a:gd name="T74" fmla="*/ 4778140 w 200"/>
                  <a:gd name="T75" fmla="*/ 13292170 h 98"/>
                  <a:gd name="T76" fmla="*/ 5309465 w 200"/>
                  <a:gd name="T77" fmla="*/ 10058583 h 98"/>
                  <a:gd name="T78" fmla="*/ 5840370 w 200"/>
                  <a:gd name="T79" fmla="*/ 6825595 h 98"/>
                  <a:gd name="T80" fmla="*/ 11680319 w 200"/>
                  <a:gd name="T81" fmla="*/ 5029291 h 98"/>
                  <a:gd name="T82" fmla="*/ 18228702 w 200"/>
                  <a:gd name="T83" fmla="*/ 3232987 h 98"/>
                  <a:gd name="T84" fmla="*/ 25661364 w 200"/>
                  <a:gd name="T85" fmla="*/ 1436684 h 98"/>
                  <a:gd name="T86" fmla="*/ 34156257 w 200"/>
                  <a:gd name="T87" fmla="*/ 0 h 98"/>
                  <a:gd name="T88" fmla="*/ 29378116 w 200"/>
                  <a:gd name="T89" fmla="*/ 11136245 h 98"/>
                  <a:gd name="T90" fmla="*/ 29378116 w 200"/>
                  <a:gd name="T91" fmla="*/ 12213908 h 98"/>
                  <a:gd name="T92" fmla="*/ 29023900 w 200"/>
                  <a:gd name="T93" fmla="*/ 13292170 h 98"/>
                  <a:gd name="T94" fmla="*/ 28670103 w 200"/>
                  <a:gd name="T95" fmla="*/ 14010212 h 98"/>
                  <a:gd name="T96" fmla="*/ 28492995 w 200"/>
                  <a:gd name="T97" fmla="*/ 14728853 h 98"/>
                  <a:gd name="T98" fmla="*/ 27785403 w 200"/>
                  <a:gd name="T99" fmla="*/ 16166136 h 98"/>
                  <a:gd name="T100" fmla="*/ 27608294 w 200"/>
                  <a:gd name="T101" fmla="*/ 16884178 h 98"/>
                  <a:gd name="T102" fmla="*/ 27608294 w 200"/>
                  <a:gd name="T103" fmla="*/ 17602820 h 98"/>
                  <a:gd name="T104" fmla="*/ 27785403 w 200"/>
                  <a:gd name="T105" fmla="*/ 17961841 h 98"/>
                  <a:gd name="T106" fmla="*/ 28139199 w 200"/>
                  <a:gd name="T107" fmla="*/ 17961841 h 98"/>
                  <a:gd name="T108" fmla="*/ 28847212 w 200"/>
                  <a:gd name="T109" fmla="*/ 18321461 h 98"/>
                  <a:gd name="T110" fmla="*/ 31324626 w 200"/>
                  <a:gd name="T111" fmla="*/ 19039503 h 98"/>
                  <a:gd name="T112" fmla="*/ 35395174 w 200"/>
                  <a:gd name="T113" fmla="*/ 19758145 h 9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00" h="98">
                    <a:moveTo>
                      <a:pt x="200" y="55"/>
                    </a:moveTo>
                    <a:lnTo>
                      <a:pt x="195" y="56"/>
                    </a:lnTo>
                    <a:lnTo>
                      <a:pt x="186" y="60"/>
                    </a:lnTo>
                    <a:lnTo>
                      <a:pt x="177" y="65"/>
                    </a:lnTo>
                    <a:lnTo>
                      <a:pt x="166" y="73"/>
                    </a:lnTo>
                    <a:lnTo>
                      <a:pt x="155" y="80"/>
                    </a:lnTo>
                    <a:lnTo>
                      <a:pt x="145" y="87"/>
                    </a:lnTo>
                    <a:lnTo>
                      <a:pt x="137" y="93"/>
                    </a:lnTo>
                    <a:lnTo>
                      <a:pt x="133" y="98"/>
                    </a:lnTo>
                    <a:lnTo>
                      <a:pt x="127" y="98"/>
                    </a:lnTo>
                    <a:lnTo>
                      <a:pt x="122" y="98"/>
                    </a:lnTo>
                    <a:lnTo>
                      <a:pt x="116" y="97"/>
                    </a:lnTo>
                    <a:lnTo>
                      <a:pt x="111" y="95"/>
                    </a:lnTo>
                    <a:lnTo>
                      <a:pt x="106" y="93"/>
                    </a:lnTo>
                    <a:lnTo>
                      <a:pt x="103" y="88"/>
                    </a:lnTo>
                    <a:lnTo>
                      <a:pt x="101" y="82"/>
                    </a:lnTo>
                    <a:lnTo>
                      <a:pt x="100" y="74"/>
                    </a:lnTo>
                    <a:lnTo>
                      <a:pt x="91" y="80"/>
                    </a:lnTo>
                    <a:lnTo>
                      <a:pt x="82" y="86"/>
                    </a:lnTo>
                    <a:lnTo>
                      <a:pt x="78" y="90"/>
                    </a:lnTo>
                    <a:lnTo>
                      <a:pt x="72" y="93"/>
                    </a:lnTo>
                    <a:lnTo>
                      <a:pt x="67" y="96"/>
                    </a:lnTo>
                    <a:lnTo>
                      <a:pt x="60" y="98"/>
                    </a:lnTo>
                    <a:lnTo>
                      <a:pt x="39" y="98"/>
                    </a:lnTo>
                    <a:lnTo>
                      <a:pt x="34" y="98"/>
                    </a:lnTo>
                    <a:lnTo>
                      <a:pt x="28" y="95"/>
                    </a:lnTo>
                    <a:lnTo>
                      <a:pt x="22" y="92"/>
                    </a:lnTo>
                    <a:lnTo>
                      <a:pt x="15" y="89"/>
                    </a:lnTo>
                    <a:lnTo>
                      <a:pt x="9" y="85"/>
                    </a:lnTo>
                    <a:lnTo>
                      <a:pt x="4" y="81"/>
                    </a:lnTo>
                    <a:lnTo>
                      <a:pt x="1" y="77"/>
                    </a:lnTo>
                    <a:lnTo>
                      <a:pt x="0" y="74"/>
                    </a:lnTo>
                    <a:lnTo>
                      <a:pt x="5" y="71"/>
                    </a:lnTo>
                    <a:lnTo>
                      <a:pt x="10" y="67"/>
                    </a:lnTo>
                    <a:lnTo>
                      <a:pt x="14" y="60"/>
                    </a:lnTo>
                    <a:lnTo>
                      <a:pt x="20" y="53"/>
                    </a:lnTo>
                    <a:lnTo>
                      <a:pt x="23" y="45"/>
                    </a:lnTo>
                    <a:lnTo>
                      <a:pt x="27" y="37"/>
                    </a:lnTo>
                    <a:lnTo>
                      <a:pt x="30" y="28"/>
                    </a:lnTo>
                    <a:lnTo>
                      <a:pt x="33" y="19"/>
                    </a:lnTo>
                    <a:lnTo>
                      <a:pt x="66" y="14"/>
                    </a:lnTo>
                    <a:lnTo>
                      <a:pt x="103" y="9"/>
                    </a:lnTo>
                    <a:lnTo>
                      <a:pt x="145" y="4"/>
                    </a:lnTo>
                    <a:lnTo>
                      <a:pt x="193" y="0"/>
                    </a:lnTo>
                    <a:lnTo>
                      <a:pt x="166" y="31"/>
                    </a:lnTo>
                    <a:lnTo>
                      <a:pt x="166" y="34"/>
                    </a:lnTo>
                    <a:lnTo>
                      <a:pt x="164" y="37"/>
                    </a:lnTo>
                    <a:lnTo>
                      <a:pt x="162" y="39"/>
                    </a:lnTo>
                    <a:lnTo>
                      <a:pt x="161" y="41"/>
                    </a:lnTo>
                    <a:lnTo>
                      <a:pt x="157" y="45"/>
                    </a:lnTo>
                    <a:lnTo>
                      <a:pt x="156" y="47"/>
                    </a:lnTo>
                    <a:lnTo>
                      <a:pt x="156" y="49"/>
                    </a:lnTo>
                    <a:lnTo>
                      <a:pt x="157" y="50"/>
                    </a:lnTo>
                    <a:lnTo>
                      <a:pt x="159" y="50"/>
                    </a:lnTo>
                    <a:lnTo>
                      <a:pt x="163" y="51"/>
                    </a:lnTo>
                    <a:lnTo>
                      <a:pt x="177" y="53"/>
                    </a:lnTo>
                    <a:lnTo>
                      <a:pt x="20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19" name="Freeform 230">
                <a:extLst>
                  <a:ext uri="{FF2B5EF4-FFF2-40B4-BE49-F238E27FC236}">
                    <a16:creationId xmlns:a16="http://schemas.microsoft.com/office/drawing/2014/main" id="{101354A9-532E-43C0-8740-625863FDF72B}"/>
                  </a:ext>
                </a:extLst>
              </p:cNvPr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auto">
              <a:xfrm>
                <a:off x="4105626" y="2613762"/>
                <a:ext cx="101350" cy="80867"/>
              </a:xfrm>
              <a:custGeom>
                <a:avLst/>
                <a:gdLst>
                  <a:gd name="T0" fmla="*/ 0 w 186"/>
                  <a:gd name="T1" fmla="*/ 29619866 h 142"/>
                  <a:gd name="T2" fmla="*/ 409381 w 186"/>
                  <a:gd name="T3" fmla="*/ 30677700 h 142"/>
                  <a:gd name="T4" fmla="*/ 613846 w 186"/>
                  <a:gd name="T5" fmla="*/ 28297702 h 142"/>
                  <a:gd name="T6" fmla="*/ 613846 w 186"/>
                  <a:gd name="T7" fmla="*/ 24595026 h 142"/>
                  <a:gd name="T8" fmla="*/ 1841537 w 186"/>
                  <a:gd name="T9" fmla="*/ 21685854 h 142"/>
                  <a:gd name="T10" fmla="*/ 3478609 w 186"/>
                  <a:gd name="T11" fmla="*/ 18248022 h 142"/>
                  <a:gd name="T12" fmla="*/ 4092454 w 186"/>
                  <a:gd name="T13" fmla="*/ 14810190 h 142"/>
                  <a:gd name="T14" fmla="*/ 4706300 w 186"/>
                  <a:gd name="T15" fmla="*/ 12165348 h 142"/>
                  <a:gd name="T16" fmla="*/ 5729526 w 186"/>
                  <a:gd name="T17" fmla="*/ 9785350 h 142"/>
                  <a:gd name="T18" fmla="*/ 7161682 w 186"/>
                  <a:gd name="T19" fmla="*/ 8462672 h 142"/>
                  <a:gd name="T20" fmla="*/ 8389825 w 186"/>
                  <a:gd name="T21" fmla="*/ 10049680 h 142"/>
                  <a:gd name="T22" fmla="*/ 8798754 w 186"/>
                  <a:gd name="T23" fmla="*/ 12958852 h 142"/>
                  <a:gd name="T24" fmla="*/ 9617516 w 186"/>
                  <a:gd name="T25" fmla="*/ 15338850 h 142"/>
                  <a:gd name="T26" fmla="*/ 11254588 w 186"/>
                  <a:gd name="T27" fmla="*/ 17190188 h 142"/>
                  <a:gd name="T28" fmla="*/ 17802425 w 186"/>
                  <a:gd name="T29" fmla="*/ 17718848 h 142"/>
                  <a:gd name="T30" fmla="*/ 16165353 w 186"/>
                  <a:gd name="T31" fmla="*/ 10843184 h 142"/>
                  <a:gd name="T32" fmla="*/ 14118899 w 186"/>
                  <a:gd name="T33" fmla="*/ 9520506 h 142"/>
                  <a:gd name="T34" fmla="*/ 12891208 w 186"/>
                  <a:gd name="T35" fmla="*/ 7934012 h 142"/>
                  <a:gd name="T36" fmla="*/ 12482279 w 186"/>
                  <a:gd name="T37" fmla="*/ 6082674 h 142"/>
                  <a:gd name="T38" fmla="*/ 14323816 w 186"/>
                  <a:gd name="T39" fmla="*/ 4495666 h 142"/>
                  <a:gd name="T40" fmla="*/ 17802425 w 186"/>
                  <a:gd name="T41" fmla="*/ 3702676 h 142"/>
                  <a:gd name="T42" fmla="*/ 20053342 w 186"/>
                  <a:gd name="T43" fmla="*/ 2644842 h 142"/>
                  <a:gd name="T44" fmla="*/ 22713189 w 186"/>
                  <a:gd name="T45" fmla="*/ 1587008 h 142"/>
                  <a:gd name="T46" fmla="*/ 26601179 w 186"/>
                  <a:gd name="T47" fmla="*/ 793504 h 142"/>
                  <a:gd name="T48" fmla="*/ 30079787 w 186"/>
                  <a:gd name="T49" fmla="*/ 264330 h 142"/>
                  <a:gd name="T50" fmla="*/ 32535169 w 186"/>
                  <a:gd name="T51" fmla="*/ 529174 h 142"/>
                  <a:gd name="T52" fmla="*/ 36013778 w 186"/>
                  <a:gd name="T53" fmla="*/ 264330 h 142"/>
                  <a:gd name="T54" fmla="*/ 37446386 w 186"/>
                  <a:gd name="T55" fmla="*/ 2644842 h 142"/>
                  <a:gd name="T56" fmla="*/ 36423159 w 186"/>
                  <a:gd name="T57" fmla="*/ 6876178 h 142"/>
                  <a:gd name="T58" fmla="*/ 34581623 w 186"/>
                  <a:gd name="T59" fmla="*/ 10578340 h 142"/>
                  <a:gd name="T60" fmla="*/ 32535169 w 186"/>
                  <a:gd name="T61" fmla="*/ 13487512 h 142"/>
                  <a:gd name="T62" fmla="*/ 31716860 w 186"/>
                  <a:gd name="T63" fmla="*/ 16661014 h 142"/>
                  <a:gd name="T64" fmla="*/ 31307478 w 186"/>
                  <a:gd name="T65" fmla="*/ 20099360 h 142"/>
                  <a:gd name="T66" fmla="*/ 24555178 w 186"/>
                  <a:gd name="T67" fmla="*/ 37553878 h 142"/>
                  <a:gd name="T68" fmla="*/ 16369817 w 186"/>
                  <a:gd name="T69" fmla="*/ 32264708 h 142"/>
                  <a:gd name="T70" fmla="*/ 7161682 w 186"/>
                  <a:gd name="T71" fmla="*/ 30942030 h 142"/>
                  <a:gd name="T72" fmla="*/ 1637072 w 186"/>
                  <a:gd name="T73" fmla="*/ 29884196 h 142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86" h="142">
                    <a:moveTo>
                      <a:pt x="0" y="111"/>
                    </a:moveTo>
                    <a:lnTo>
                      <a:pt x="0" y="112"/>
                    </a:lnTo>
                    <a:lnTo>
                      <a:pt x="1" y="114"/>
                    </a:lnTo>
                    <a:lnTo>
                      <a:pt x="2" y="116"/>
                    </a:lnTo>
                    <a:lnTo>
                      <a:pt x="7" y="117"/>
                    </a:lnTo>
                    <a:lnTo>
                      <a:pt x="3" y="107"/>
                    </a:lnTo>
                    <a:lnTo>
                      <a:pt x="2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3" y="76"/>
                    </a:lnTo>
                    <a:lnTo>
                      <a:pt x="17" y="69"/>
                    </a:lnTo>
                    <a:lnTo>
                      <a:pt x="20" y="61"/>
                    </a:lnTo>
                    <a:lnTo>
                      <a:pt x="20" y="56"/>
                    </a:lnTo>
                    <a:lnTo>
                      <a:pt x="21" y="51"/>
                    </a:lnTo>
                    <a:lnTo>
                      <a:pt x="23" y="46"/>
                    </a:lnTo>
                    <a:lnTo>
                      <a:pt x="25" y="42"/>
                    </a:lnTo>
                    <a:lnTo>
                      <a:pt x="28" y="37"/>
                    </a:lnTo>
                    <a:lnTo>
                      <a:pt x="31" y="34"/>
                    </a:lnTo>
                    <a:lnTo>
                      <a:pt x="35" y="32"/>
                    </a:lnTo>
                    <a:lnTo>
                      <a:pt x="40" y="31"/>
                    </a:lnTo>
                    <a:lnTo>
                      <a:pt x="41" y="38"/>
                    </a:lnTo>
                    <a:lnTo>
                      <a:pt x="41" y="43"/>
                    </a:lnTo>
                    <a:lnTo>
                      <a:pt x="43" y="49"/>
                    </a:lnTo>
                    <a:lnTo>
                      <a:pt x="45" y="54"/>
                    </a:lnTo>
                    <a:lnTo>
                      <a:pt x="47" y="58"/>
                    </a:lnTo>
                    <a:lnTo>
                      <a:pt x="51" y="62"/>
                    </a:lnTo>
                    <a:lnTo>
                      <a:pt x="55" y="65"/>
                    </a:lnTo>
                    <a:lnTo>
                      <a:pt x="59" y="67"/>
                    </a:lnTo>
                    <a:lnTo>
                      <a:pt x="87" y="67"/>
                    </a:lnTo>
                    <a:lnTo>
                      <a:pt x="87" y="43"/>
                    </a:lnTo>
                    <a:lnTo>
                      <a:pt x="79" y="41"/>
                    </a:lnTo>
                    <a:lnTo>
                      <a:pt x="74" y="38"/>
                    </a:lnTo>
                    <a:lnTo>
                      <a:pt x="69" y="36"/>
                    </a:lnTo>
                    <a:lnTo>
                      <a:pt x="66" y="33"/>
                    </a:lnTo>
                    <a:lnTo>
                      <a:pt x="63" y="30"/>
                    </a:lnTo>
                    <a:lnTo>
                      <a:pt x="62" y="27"/>
                    </a:lnTo>
                    <a:lnTo>
                      <a:pt x="61" y="23"/>
                    </a:lnTo>
                    <a:lnTo>
                      <a:pt x="59" y="18"/>
                    </a:lnTo>
                    <a:lnTo>
                      <a:pt x="70" y="17"/>
                    </a:lnTo>
                    <a:lnTo>
                      <a:pt x="79" y="16"/>
                    </a:lnTo>
                    <a:lnTo>
                      <a:pt x="87" y="14"/>
                    </a:lnTo>
                    <a:lnTo>
                      <a:pt x="92" y="12"/>
                    </a:lnTo>
                    <a:lnTo>
                      <a:pt x="98" y="10"/>
                    </a:lnTo>
                    <a:lnTo>
                      <a:pt x="103" y="8"/>
                    </a:lnTo>
                    <a:lnTo>
                      <a:pt x="111" y="6"/>
                    </a:lnTo>
                    <a:lnTo>
                      <a:pt x="120" y="6"/>
                    </a:lnTo>
                    <a:lnTo>
                      <a:pt x="130" y="3"/>
                    </a:lnTo>
                    <a:lnTo>
                      <a:pt x="140" y="0"/>
                    </a:lnTo>
                    <a:lnTo>
                      <a:pt x="147" y="1"/>
                    </a:lnTo>
                    <a:lnTo>
                      <a:pt x="154" y="2"/>
                    </a:lnTo>
                    <a:lnTo>
                      <a:pt x="159" y="2"/>
                    </a:lnTo>
                    <a:lnTo>
                      <a:pt x="165" y="2"/>
                    </a:lnTo>
                    <a:lnTo>
                      <a:pt x="176" y="1"/>
                    </a:lnTo>
                    <a:lnTo>
                      <a:pt x="186" y="0"/>
                    </a:lnTo>
                    <a:lnTo>
                      <a:pt x="183" y="10"/>
                    </a:lnTo>
                    <a:lnTo>
                      <a:pt x="181" y="19"/>
                    </a:lnTo>
                    <a:lnTo>
                      <a:pt x="178" y="26"/>
                    </a:lnTo>
                    <a:lnTo>
                      <a:pt x="176" y="32"/>
                    </a:lnTo>
                    <a:lnTo>
                      <a:pt x="169" y="40"/>
                    </a:lnTo>
                    <a:lnTo>
                      <a:pt x="165" y="45"/>
                    </a:lnTo>
                    <a:lnTo>
                      <a:pt x="159" y="51"/>
                    </a:lnTo>
                    <a:lnTo>
                      <a:pt x="156" y="58"/>
                    </a:lnTo>
                    <a:lnTo>
                      <a:pt x="155" y="63"/>
                    </a:lnTo>
                    <a:lnTo>
                      <a:pt x="154" y="69"/>
                    </a:lnTo>
                    <a:lnTo>
                      <a:pt x="153" y="76"/>
                    </a:lnTo>
                    <a:lnTo>
                      <a:pt x="153" y="86"/>
                    </a:lnTo>
                    <a:lnTo>
                      <a:pt x="120" y="142"/>
                    </a:lnTo>
                    <a:lnTo>
                      <a:pt x="93" y="123"/>
                    </a:lnTo>
                    <a:lnTo>
                      <a:pt x="80" y="122"/>
                    </a:lnTo>
                    <a:lnTo>
                      <a:pt x="52" y="119"/>
                    </a:lnTo>
                    <a:lnTo>
                      <a:pt x="35" y="117"/>
                    </a:lnTo>
                    <a:lnTo>
                      <a:pt x="20" y="115"/>
                    </a:lnTo>
                    <a:lnTo>
                      <a:pt x="8" y="113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0" name="Freeform 231">
                <a:extLst>
                  <a:ext uri="{FF2B5EF4-FFF2-40B4-BE49-F238E27FC236}">
                    <a16:creationId xmlns:a16="http://schemas.microsoft.com/office/drawing/2014/main" id="{97874228-2AB3-4F8B-9542-B5921DC9CB88}"/>
                  </a:ext>
                </a:extLst>
              </p:cNvPr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auto">
              <a:xfrm>
                <a:off x="4082098" y="2684081"/>
                <a:ext cx="101350" cy="65044"/>
              </a:xfrm>
              <a:custGeom>
                <a:avLst/>
                <a:gdLst>
                  <a:gd name="T0" fmla="*/ 36870849 w 192"/>
                  <a:gd name="T1" fmla="*/ 18070830 h 105"/>
                  <a:gd name="T2" fmla="*/ 36294592 w 192"/>
                  <a:gd name="T3" fmla="*/ 18367466 h 105"/>
                  <a:gd name="T4" fmla="*/ 35334454 w 192"/>
                  <a:gd name="T5" fmla="*/ 18663557 h 105"/>
                  <a:gd name="T6" fmla="*/ 34566257 w 192"/>
                  <a:gd name="T7" fmla="*/ 18959649 h 105"/>
                  <a:gd name="T8" fmla="*/ 33990437 w 192"/>
                  <a:gd name="T9" fmla="*/ 19848467 h 105"/>
                  <a:gd name="T10" fmla="*/ 32262103 w 192"/>
                  <a:gd name="T11" fmla="*/ 21330013 h 105"/>
                  <a:gd name="T12" fmla="*/ 30725708 w 192"/>
                  <a:gd name="T13" fmla="*/ 23403741 h 105"/>
                  <a:gd name="T14" fmla="*/ 29573631 w 192"/>
                  <a:gd name="T15" fmla="*/ 25477470 h 105"/>
                  <a:gd name="T16" fmla="*/ 28229175 w 192"/>
                  <a:gd name="T17" fmla="*/ 27551199 h 105"/>
                  <a:gd name="T18" fmla="*/ 27460978 w 192"/>
                  <a:gd name="T19" fmla="*/ 29328291 h 105"/>
                  <a:gd name="T20" fmla="*/ 26692781 w 192"/>
                  <a:gd name="T21" fmla="*/ 31105929 h 105"/>
                  <a:gd name="T22" fmla="*/ 23044171 w 192"/>
                  <a:gd name="T23" fmla="*/ 28736109 h 105"/>
                  <a:gd name="T24" fmla="*/ 19587502 w 192"/>
                  <a:gd name="T25" fmla="*/ 26365744 h 105"/>
                  <a:gd name="T26" fmla="*/ 16515150 w 192"/>
                  <a:gd name="T27" fmla="*/ 23699833 h 105"/>
                  <a:gd name="T28" fmla="*/ 13250420 w 192"/>
                  <a:gd name="T29" fmla="*/ 21033377 h 105"/>
                  <a:gd name="T30" fmla="*/ 10178069 w 192"/>
                  <a:gd name="T31" fmla="*/ 18070830 h 105"/>
                  <a:gd name="T32" fmla="*/ 6913339 w 192"/>
                  <a:gd name="T33" fmla="*/ 15701010 h 105"/>
                  <a:gd name="T34" fmla="*/ 3648609 w 192"/>
                  <a:gd name="T35" fmla="*/ 13035099 h 105"/>
                  <a:gd name="T36" fmla="*/ 0 w 192"/>
                  <a:gd name="T37" fmla="*/ 10961370 h 105"/>
                  <a:gd name="T38" fmla="*/ 0 w 192"/>
                  <a:gd name="T39" fmla="*/ 3851366 h 105"/>
                  <a:gd name="T40" fmla="*/ 1344455 w 192"/>
                  <a:gd name="T41" fmla="*/ 2073729 h 105"/>
                  <a:gd name="T42" fmla="*/ 3072790 w 192"/>
                  <a:gd name="T43" fmla="*/ 1184910 h 105"/>
                  <a:gd name="T44" fmla="*/ 5568884 w 192"/>
                  <a:gd name="T45" fmla="*/ 296091 h 105"/>
                  <a:gd name="T46" fmla="*/ 7681536 w 192"/>
                  <a:gd name="T47" fmla="*/ 0 h 105"/>
                  <a:gd name="T48" fmla="*/ 11522086 w 192"/>
                  <a:gd name="T49" fmla="*/ 592727 h 105"/>
                  <a:gd name="T50" fmla="*/ 17859167 w 192"/>
                  <a:gd name="T51" fmla="*/ 1481001 h 105"/>
                  <a:gd name="T52" fmla="*/ 21315836 w 192"/>
                  <a:gd name="T53" fmla="*/ 2073729 h 105"/>
                  <a:gd name="T54" fmla="*/ 24580566 w 192"/>
                  <a:gd name="T55" fmla="*/ 2073729 h 105"/>
                  <a:gd name="T56" fmla="*/ 27460978 w 192"/>
                  <a:gd name="T57" fmla="*/ 2073729 h 105"/>
                  <a:gd name="T58" fmla="*/ 29381253 w 192"/>
                  <a:gd name="T59" fmla="*/ 1777637 h 105"/>
                  <a:gd name="T60" fmla="*/ 29765570 w 192"/>
                  <a:gd name="T61" fmla="*/ 3258639 h 105"/>
                  <a:gd name="T62" fmla="*/ 30533768 w 192"/>
                  <a:gd name="T63" fmla="*/ 5036276 h 105"/>
                  <a:gd name="T64" fmla="*/ 30917647 w 192"/>
                  <a:gd name="T65" fmla="*/ 5925094 h 105"/>
                  <a:gd name="T66" fmla="*/ 31493905 w 192"/>
                  <a:gd name="T67" fmla="*/ 6813913 h 105"/>
                  <a:gd name="T68" fmla="*/ 31685845 w 192"/>
                  <a:gd name="T69" fmla="*/ 7998823 h 105"/>
                  <a:gd name="T70" fmla="*/ 31877785 w 192"/>
                  <a:gd name="T71" fmla="*/ 9183733 h 105"/>
                  <a:gd name="T72" fmla="*/ 32645982 w 192"/>
                  <a:gd name="T73" fmla="*/ 9479824 h 105"/>
                  <a:gd name="T74" fmla="*/ 33990437 w 192"/>
                  <a:gd name="T75" fmla="*/ 9775916 h 105"/>
                  <a:gd name="T76" fmla="*/ 34566257 w 192"/>
                  <a:gd name="T77" fmla="*/ 10072551 h 105"/>
                  <a:gd name="T78" fmla="*/ 35142514 w 192"/>
                  <a:gd name="T79" fmla="*/ 10072551 h 105"/>
                  <a:gd name="T80" fmla="*/ 36102652 w 192"/>
                  <a:gd name="T81" fmla="*/ 9775916 h 105"/>
                  <a:gd name="T82" fmla="*/ 36870849 w 192"/>
                  <a:gd name="T83" fmla="*/ 9183733 h 105"/>
                  <a:gd name="T84" fmla="*/ 36870849 w 192"/>
                  <a:gd name="T85" fmla="*/ 18070830 h 10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92" h="105">
                    <a:moveTo>
                      <a:pt x="192" y="61"/>
                    </a:moveTo>
                    <a:lnTo>
                      <a:pt x="189" y="62"/>
                    </a:lnTo>
                    <a:lnTo>
                      <a:pt x="184" y="63"/>
                    </a:lnTo>
                    <a:lnTo>
                      <a:pt x="180" y="64"/>
                    </a:lnTo>
                    <a:lnTo>
                      <a:pt x="177" y="67"/>
                    </a:lnTo>
                    <a:lnTo>
                      <a:pt x="168" y="72"/>
                    </a:lnTo>
                    <a:lnTo>
                      <a:pt x="160" y="79"/>
                    </a:lnTo>
                    <a:lnTo>
                      <a:pt x="154" y="86"/>
                    </a:lnTo>
                    <a:lnTo>
                      <a:pt x="147" y="93"/>
                    </a:lnTo>
                    <a:lnTo>
                      <a:pt x="143" y="99"/>
                    </a:lnTo>
                    <a:lnTo>
                      <a:pt x="139" y="105"/>
                    </a:lnTo>
                    <a:lnTo>
                      <a:pt x="120" y="97"/>
                    </a:lnTo>
                    <a:lnTo>
                      <a:pt x="102" y="89"/>
                    </a:lnTo>
                    <a:lnTo>
                      <a:pt x="86" y="80"/>
                    </a:lnTo>
                    <a:lnTo>
                      <a:pt x="69" y="71"/>
                    </a:lnTo>
                    <a:lnTo>
                      <a:pt x="53" y="61"/>
                    </a:lnTo>
                    <a:lnTo>
                      <a:pt x="36" y="53"/>
                    </a:lnTo>
                    <a:lnTo>
                      <a:pt x="19" y="44"/>
                    </a:lnTo>
                    <a:lnTo>
                      <a:pt x="0" y="37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16" y="4"/>
                    </a:lnTo>
                    <a:lnTo>
                      <a:pt x="29" y="1"/>
                    </a:lnTo>
                    <a:lnTo>
                      <a:pt x="40" y="0"/>
                    </a:lnTo>
                    <a:lnTo>
                      <a:pt x="60" y="2"/>
                    </a:lnTo>
                    <a:lnTo>
                      <a:pt x="93" y="5"/>
                    </a:lnTo>
                    <a:lnTo>
                      <a:pt x="111" y="7"/>
                    </a:lnTo>
                    <a:lnTo>
                      <a:pt x="128" y="7"/>
                    </a:lnTo>
                    <a:lnTo>
                      <a:pt x="143" y="7"/>
                    </a:lnTo>
                    <a:lnTo>
                      <a:pt x="153" y="6"/>
                    </a:lnTo>
                    <a:lnTo>
                      <a:pt x="155" y="11"/>
                    </a:lnTo>
                    <a:lnTo>
                      <a:pt x="159" y="17"/>
                    </a:lnTo>
                    <a:lnTo>
                      <a:pt x="161" y="20"/>
                    </a:lnTo>
                    <a:lnTo>
                      <a:pt x="164" y="23"/>
                    </a:lnTo>
                    <a:lnTo>
                      <a:pt x="165" y="27"/>
                    </a:lnTo>
                    <a:lnTo>
                      <a:pt x="166" y="31"/>
                    </a:lnTo>
                    <a:lnTo>
                      <a:pt x="170" y="32"/>
                    </a:lnTo>
                    <a:lnTo>
                      <a:pt x="177" y="33"/>
                    </a:lnTo>
                    <a:lnTo>
                      <a:pt x="180" y="34"/>
                    </a:lnTo>
                    <a:lnTo>
                      <a:pt x="183" y="34"/>
                    </a:lnTo>
                    <a:lnTo>
                      <a:pt x="188" y="33"/>
                    </a:lnTo>
                    <a:lnTo>
                      <a:pt x="192" y="31"/>
                    </a:lnTo>
                    <a:lnTo>
                      <a:pt x="192" y="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1" name="Freeform 232">
                <a:extLst>
                  <a:ext uri="{FF2B5EF4-FFF2-40B4-BE49-F238E27FC236}">
                    <a16:creationId xmlns:a16="http://schemas.microsoft.com/office/drawing/2014/main" id="{595A9A1D-16E9-4277-B8FF-5D73AAE3234D}"/>
                  </a:ext>
                </a:extLst>
              </p:cNvPr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auto">
              <a:xfrm>
                <a:off x="4999680" y="3306404"/>
                <a:ext cx="39816" cy="149427"/>
              </a:xfrm>
              <a:custGeom>
                <a:avLst/>
                <a:gdLst>
                  <a:gd name="T0" fmla="*/ 5730630 w 80"/>
                  <a:gd name="T1" fmla="*/ 0 h 254"/>
                  <a:gd name="T2" fmla="*/ 6424873 w 80"/>
                  <a:gd name="T3" fmla="*/ 537942 h 254"/>
                  <a:gd name="T4" fmla="*/ 6946181 w 80"/>
                  <a:gd name="T5" fmla="*/ 1076402 h 254"/>
                  <a:gd name="T6" fmla="*/ 7467071 w 80"/>
                  <a:gd name="T7" fmla="*/ 1883574 h 254"/>
                  <a:gd name="T8" fmla="*/ 7987962 w 80"/>
                  <a:gd name="T9" fmla="*/ 2690746 h 254"/>
                  <a:gd name="T10" fmla="*/ 9029743 w 80"/>
                  <a:gd name="T11" fmla="*/ 4843550 h 254"/>
                  <a:gd name="T12" fmla="*/ 9724403 w 80"/>
                  <a:gd name="T13" fmla="*/ 6727643 h 254"/>
                  <a:gd name="T14" fmla="*/ 10766184 w 80"/>
                  <a:gd name="T15" fmla="*/ 8611217 h 254"/>
                  <a:gd name="T16" fmla="*/ 11634613 w 80"/>
                  <a:gd name="T17" fmla="*/ 10225561 h 254"/>
                  <a:gd name="T18" fmla="*/ 12155504 w 80"/>
                  <a:gd name="T19" fmla="*/ 10764022 h 254"/>
                  <a:gd name="T20" fmla="*/ 12676394 w 80"/>
                  <a:gd name="T21" fmla="*/ 11301963 h 254"/>
                  <a:gd name="T22" fmla="*/ 13197285 w 80"/>
                  <a:gd name="T23" fmla="*/ 11571194 h 254"/>
                  <a:gd name="T24" fmla="*/ 13891945 w 80"/>
                  <a:gd name="T25" fmla="*/ 11840424 h 254"/>
                  <a:gd name="T26" fmla="*/ 13891945 w 80"/>
                  <a:gd name="T27" fmla="*/ 14262458 h 254"/>
                  <a:gd name="T28" fmla="*/ 13891945 w 80"/>
                  <a:gd name="T29" fmla="*/ 16683974 h 254"/>
                  <a:gd name="T30" fmla="*/ 9203512 w 80"/>
                  <a:gd name="T31" fmla="*/ 68351278 h 254"/>
                  <a:gd name="T32" fmla="*/ 0 w 80"/>
                  <a:gd name="T33" fmla="*/ 25026480 h 254"/>
                  <a:gd name="T34" fmla="*/ 694660 w 80"/>
                  <a:gd name="T35" fmla="*/ 23680848 h 254"/>
                  <a:gd name="T36" fmla="*/ 1910210 w 80"/>
                  <a:gd name="T37" fmla="*/ 19106009 h 254"/>
                  <a:gd name="T38" fmla="*/ 2951991 w 80"/>
                  <a:gd name="T39" fmla="*/ 15338861 h 254"/>
                  <a:gd name="T40" fmla="*/ 3820420 w 80"/>
                  <a:gd name="T41" fmla="*/ 11033252 h 254"/>
                  <a:gd name="T42" fmla="*/ 4862201 w 80"/>
                  <a:gd name="T43" fmla="*/ 6189183 h 254"/>
                  <a:gd name="T44" fmla="*/ 5730630 w 80"/>
                  <a:gd name="T45" fmla="*/ 0 h 254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80" h="254">
                    <a:moveTo>
                      <a:pt x="33" y="0"/>
                    </a:moveTo>
                    <a:lnTo>
                      <a:pt x="37" y="2"/>
                    </a:lnTo>
                    <a:lnTo>
                      <a:pt x="40" y="4"/>
                    </a:lnTo>
                    <a:lnTo>
                      <a:pt x="43" y="7"/>
                    </a:lnTo>
                    <a:lnTo>
                      <a:pt x="46" y="10"/>
                    </a:lnTo>
                    <a:lnTo>
                      <a:pt x="52" y="18"/>
                    </a:lnTo>
                    <a:lnTo>
                      <a:pt x="56" y="25"/>
                    </a:lnTo>
                    <a:lnTo>
                      <a:pt x="62" y="32"/>
                    </a:lnTo>
                    <a:lnTo>
                      <a:pt x="67" y="38"/>
                    </a:lnTo>
                    <a:lnTo>
                      <a:pt x="70" y="40"/>
                    </a:lnTo>
                    <a:lnTo>
                      <a:pt x="73" y="42"/>
                    </a:lnTo>
                    <a:lnTo>
                      <a:pt x="76" y="43"/>
                    </a:lnTo>
                    <a:lnTo>
                      <a:pt x="80" y="44"/>
                    </a:lnTo>
                    <a:lnTo>
                      <a:pt x="80" y="53"/>
                    </a:lnTo>
                    <a:lnTo>
                      <a:pt x="80" y="62"/>
                    </a:lnTo>
                    <a:lnTo>
                      <a:pt x="53" y="254"/>
                    </a:lnTo>
                    <a:lnTo>
                      <a:pt x="0" y="93"/>
                    </a:lnTo>
                    <a:lnTo>
                      <a:pt x="4" y="88"/>
                    </a:lnTo>
                    <a:lnTo>
                      <a:pt x="11" y="71"/>
                    </a:lnTo>
                    <a:lnTo>
                      <a:pt x="17" y="57"/>
                    </a:lnTo>
                    <a:lnTo>
                      <a:pt x="22" y="41"/>
                    </a:lnTo>
                    <a:lnTo>
                      <a:pt x="28" y="23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2" name="Freeform 233">
                <a:extLst>
                  <a:ext uri="{FF2B5EF4-FFF2-40B4-BE49-F238E27FC236}">
                    <a16:creationId xmlns:a16="http://schemas.microsoft.com/office/drawing/2014/main" id="{C99D0823-712D-45A4-A0B1-AE160B11B8A7}"/>
                  </a:ext>
                </a:extLst>
              </p:cNvPr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auto">
              <a:xfrm>
                <a:off x="4938146" y="3366175"/>
                <a:ext cx="85061" cy="145911"/>
              </a:xfrm>
              <a:custGeom>
                <a:avLst/>
                <a:gdLst>
                  <a:gd name="T0" fmla="*/ 19943639 w 167"/>
                  <a:gd name="T1" fmla="*/ 0 h 259"/>
                  <a:gd name="T2" fmla="*/ 29215704 w 167"/>
                  <a:gd name="T3" fmla="*/ 39155032 h 259"/>
                  <a:gd name="T4" fmla="*/ 21168314 w 167"/>
                  <a:gd name="T5" fmla="*/ 65426759 h 259"/>
                  <a:gd name="T6" fmla="*/ 19768805 w 167"/>
                  <a:gd name="T7" fmla="*/ 65426759 h 259"/>
                  <a:gd name="T8" fmla="*/ 18718963 w 167"/>
                  <a:gd name="T9" fmla="*/ 64921640 h 259"/>
                  <a:gd name="T10" fmla="*/ 17494288 w 167"/>
                  <a:gd name="T11" fmla="*/ 64163710 h 259"/>
                  <a:gd name="T12" fmla="*/ 16619699 w 167"/>
                  <a:gd name="T13" fmla="*/ 63405780 h 259"/>
                  <a:gd name="T14" fmla="*/ 15569858 w 167"/>
                  <a:gd name="T15" fmla="*/ 61890422 h 259"/>
                  <a:gd name="T16" fmla="*/ 14870103 w 167"/>
                  <a:gd name="T17" fmla="*/ 60626870 h 259"/>
                  <a:gd name="T18" fmla="*/ 13995514 w 167"/>
                  <a:gd name="T19" fmla="*/ 59363821 h 259"/>
                  <a:gd name="T20" fmla="*/ 13295759 w 167"/>
                  <a:gd name="T21" fmla="*/ 57848463 h 259"/>
                  <a:gd name="T22" fmla="*/ 12071084 w 167"/>
                  <a:gd name="T23" fmla="*/ 54817245 h 259"/>
                  <a:gd name="T24" fmla="*/ 11371329 w 167"/>
                  <a:gd name="T25" fmla="*/ 51785525 h 259"/>
                  <a:gd name="T26" fmla="*/ 10846408 w 167"/>
                  <a:gd name="T27" fmla="*/ 49007118 h 259"/>
                  <a:gd name="T28" fmla="*/ 10846408 w 167"/>
                  <a:gd name="T29" fmla="*/ 46733328 h 259"/>
                  <a:gd name="T30" fmla="*/ 9621733 w 167"/>
                  <a:gd name="T31" fmla="*/ 46481019 h 259"/>
                  <a:gd name="T32" fmla="*/ 8921978 w 167"/>
                  <a:gd name="T33" fmla="*/ 46228208 h 259"/>
                  <a:gd name="T34" fmla="*/ 7872555 w 167"/>
                  <a:gd name="T35" fmla="*/ 45975397 h 259"/>
                  <a:gd name="T36" fmla="*/ 7347634 w 167"/>
                  <a:gd name="T37" fmla="*/ 45470278 h 259"/>
                  <a:gd name="T38" fmla="*/ 6822714 w 167"/>
                  <a:gd name="T39" fmla="*/ 44712348 h 259"/>
                  <a:gd name="T40" fmla="*/ 6297793 w 167"/>
                  <a:gd name="T41" fmla="*/ 43954418 h 259"/>
                  <a:gd name="T42" fmla="*/ 5948125 w 167"/>
                  <a:gd name="T43" fmla="*/ 42944180 h 259"/>
                  <a:gd name="T44" fmla="*/ 5598038 w 167"/>
                  <a:gd name="T45" fmla="*/ 42186250 h 259"/>
                  <a:gd name="T46" fmla="*/ 5248370 w 167"/>
                  <a:gd name="T47" fmla="*/ 39912962 h 259"/>
                  <a:gd name="T48" fmla="*/ 5073536 w 167"/>
                  <a:gd name="T49" fmla="*/ 37639171 h 259"/>
                  <a:gd name="T50" fmla="*/ 4898284 w 167"/>
                  <a:gd name="T51" fmla="*/ 35365884 h 259"/>
                  <a:gd name="T52" fmla="*/ 4898284 w 167"/>
                  <a:gd name="T53" fmla="*/ 32586974 h 259"/>
                  <a:gd name="T54" fmla="*/ 3674026 w 167"/>
                  <a:gd name="T55" fmla="*/ 32586974 h 259"/>
                  <a:gd name="T56" fmla="*/ 2799019 w 167"/>
                  <a:gd name="T57" fmla="*/ 32081855 h 259"/>
                  <a:gd name="T58" fmla="*/ 1924430 w 167"/>
                  <a:gd name="T59" fmla="*/ 31576736 h 259"/>
                  <a:gd name="T60" fmla="*/ 1224675 w 167"/>
                  <a:gd name="T61" fmla="*/ 30565995 h 259"/>
                  <a:gd name="T62" fmla="*/ 874589 w 167"/>
                  <a:gd name="T63" fmla="*/ 29555756 h 259"/>
                  <a:gd name="T64" fmla="*/ 350087 w 167"/>
                  <a:gd name="T65" fmla="*/ 28292707 h 259"/>
                  <a:gd name="T66" fmla="*/ 0 w 167"/>
                  <a:gd name="T67" fmla="*/ 27029658 h 259"/>
                  <a:gd name="T68" fmla="*/ 0 w 167"/>
                  <a:gd name="T69" fmla="*/ 25513797 h 259"/>
                  <a:gd name="T70" fmla="*/ 0 w 167"/>
                  <a:gd name="T71" fmla="*/ 18945740 h 259"/>
                  <a:gd name="T72" fmla="*/ 174834 w 167"/>
                  <a:gd name="T73" fmla="*/ 12630493 h 259"/>
                  <a:gd name="T74" fmla="*/ 2099264 w 167"/>
                  <a:gd name="T75" fmla="*/ 13136115 h 259"/>
                  <a:gd name="T76" fmla="*/ 3848860 w 167"/>
                  <a:gd name="T77" fmla="*/ 13388423 h 259"/>
                  <a:gd name="T78" fmla="*/ 5598038 w 167"/>
                  <a:gd name="T79" fmla="*/ 13388423 h 259"/>
                  <a:gd name="T80" fmla="*/ 7347634 w 167"/>
                  <a:gd name="T81" fmla="*/ 13136115 h 259"/>
                  <a:gd name="T82" fmla="*/ 8747144 w 167"/>
                  <a:gd name="T83" fmla="*/ 12883304 h 259"/>
                  <a:gd name="T84" fmla="*/ 10146654 w 167"/>
                  <a:gd name="T85" fmla="*/ 12378185 h 259"/>
                  <a:gd name="T86" fmla="*/ 11546163 w 167"/>
                  <a:gd name="T87" fmla="*/ 11872563 h 259"/>
                  <a:gd name="T88" fmla="*/ 12770839 w 167"/>
                  <a:gd name="T89" fmla="*/ 11115136 h 259"/>
                  <a:gd name="T90" fmla="*/ 13820680 w 167"/>
                  <a:gd name="T91" fmla="*/ 10104395 h 259"/>
                  <a:gd name="T92" fmla="*/ 15045355 w 167"/>
                  <a:gd name="T93" fmla="*/ 9094156 h 259"/>
                  <a:gd name="T94" fmla="*/ 15919944 w 167"/>
                  <a:gd name="T95" fmla="*/ 7831107 h 259"/>
                  <a:gd name="T96" fmla="*/ 16969786 w 167"/>
                  <a:gd name="T97" fmla="*/ 6568058 h 259"/>
                  <a:gd name="T98" fmla="*/ 18718963 w 167"/>
                  <a:gd name="T99" fmla="*/ 3284029 h 259"/>
                  <a:gd name="T100" fmla="*/ 19943639 w 167"/>
                  <a:gd name="T101" fmla="*/ 0 h 25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67" h="259">
                    <a:moveTo>
                      <a:pt x="114" y="0"/>
                    </a:moveTo>
                    <a:lnTo>
                      <a:pt x="167" y="155"/>
                    </a:lnTo>
                    <a:lnTo>
                      <a:pt x="121" y="259"/>
                    </a:lnTo>
                    <a:lnTo>
                      <a:pt x="113" y="259"/>
                    </a:lnTo>
                    <a:lnTo>
                      <a:pt x="107" y="257"/>
                    </a:lnTo>
                    <a:lnTo>
                      <a:pt x="100" y="254"/>
                    </a:lnTo>
                    <a:lnTo>
                      <a:pt x="95" y="251"/>
                    </a:lnTo>
                    <a:lnTo>
                      <a:pt x="89" y="245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6" y="229"/>
                    </a:lnTo>
                    <a:lnTo>
                      <a:pt x="69" y="217"/>
                    </a:lnTo>
                    <a:lnTo>
                      <a:pt x="65" y="205"/>
                    </a:lnTo>
                    <a:lnTo>
                      <a:pt x="62" y="194"/>
                    </a:lnTo>
                    <a:lnTo>
                      <a:pt x="62" y="185"/>
                    </a:lnTo>
                    <a:lnTo>
                      <a:pt x="55" y="184"/>
                    </a:lnTo>
                    <a:lnTo>
                      <a:pt x="51" y="183"/>
                    </a:lnTo>
                    <a:lnTo>
                      <a:pt x="45" y="182"/>
                    </a:lnTo>
                    <a:lnTo>
                      <a:pt x="42" y="180"/>
                    </a:lnTo>
                    <a:lnTo>
                      <a:pt x="39" y="177"/>
                    </a:lnTo>
                    <a:lnTo>
                      <a:pt x="36" y="174"/>
                    </a:lnTo>
                    <a:lnTo>
                      <a:pt x="34" y="170"/>
                    </a:lnTo>
                    <a:lnTo>
                      <a:pt x="32" y="167"/>
                    </a:lnTo>
                    <a:lnTo>
                      <a:pt x="30" y="158"/>
                    </a:lnTo>
                    <a:lnTo>
                      <a:pt x="29" y="149"/>
                    </a:lnTo>
                    <a:lnTo>
                      <a:pt x="28" y="140"/>
                    </a:lnTo>
                    <a:lnTo>
                      <a:pt x="28" y="129"/>
                    </a:lnTo>
                    <a:lnTo>
                      <a:pt x="21" y="129"/>
                    </a:lnTo>
                    <a:lnTo>
                      <a:pt x="16" y="127"/>
                    </a:lnTo>
                    <a:lnTo>
                      <a:pt x="11" y="125"/>
                    </a:lnTo>
                    <a:lnTo>
                      <a:pt x="7" y="121"/>
                    </a:lnTo>
                    <a:lnTo>
                      <a:pt x="5" y="117"/>
                    </a:lnTo>
                    <a:lnTo>
                      <a:pt x="2" y="112"/>
                    </a:lnTo>
                    <a:lnTo>
                      <a:pt x="0" y="107"/>
                    </a:lnTo>
                    <a:lnTo>
                      <a:pt x="0" y="101"/>
                    </a:lnTo>
                    <a:lnTo>
                      <a:pt x="0" y="75"/>
                    </a:lnTo>
                    <a:lnTo>
                      <a:pt x="1" y="50"/>
                    </a:lnTo>
                    <a:lnTo>
                      <a:pt x="12" y="52"/>
                    </a:lnTo>
                    <a:lnTo>
                      <a:pt x="22" y="53"/>
                    </a:lnTo>
                    <a:lnTo>
                      <a:pt x="32" y="53"/>
                    </a:lnTo>
                    <a:lnTo>
                      <a:pt x="42" y="52"/>
                    </a:lnTo>
                    <a:lnTo>
                      <a:pt x="50" y="51"/>
                    </a:lnTo>
                    <a:lnTo>
                      <a:pt x="58" y="49"/>
                    </a:lnTo>
                    <a:lnTo>
                      <a:pt x="66" y="47"/>
                    </a:lnTo>
                    <a:lnTo>
                      <a:pt x="73" y="44"/>
                    </a:lnTo>
                    <a:lnTo>
                      <a:pt x="79" y="40"/>
                    </a:lnTo>
                    <a:lnTo>
                      <a:pt x="86" y="36"/>
                    </a:lnTo>
                    <a:lnTo>
                      <a:pt x="91" y="31"/>
                    </a:lnTo>
                    <a:lnTo>
                      <a:pt x="97" y="26"/>
                    </a:lnTo>
                    <a:lnTo>
                      <a:pt x="107" y="13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3" name="Freeform 234">
                <a:extLst>
                  <a:ext uri="{FF2B5EF4-FFF2-40B4-BE49-F238E27FC236}">
                    <a16:creationId xmlns:a16="http://schemas.microsoft.com/office/drawing/2014/main" id="{B00C4EE5-2E6C-4167-BD6C-FE098AB2F1FB}"/>
                  </a:ext>
                </a:extLst>
              </p:cNvPr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auto">
              <a:xfrm>
                <a:off x="3734611" y="2527621"/>
                <a:ext cx="115829" cy="161733"/>
              </a:xfrm>
              <a:custGeom>
                <a:avLst/>
                <a:gdLst>
                  <a:gd name="T0" fmla="*/ 34268601 w 225"/>
                  <a:gd name="T1" fmla="*/ 18761140 h 273"/>
                  <a:gd name="T2" fmla="*/ 32046061 w 225"/>
                  <a:gd name="T3" fmla="*/ 21841430 h 273"/>
                  <a:gd name="T4" fmla="*/ 29452525 w 225"/>
                  <a:gd name="T5" fmla="*/ 22961679 h 273"/>
                  <a:gd name="T6" fmla="*/ 30193658 w 225"/>
                  <a:gd name="T7" fmla="*/ 26041969 h 273"/>
                  <a:gd name="T8" fmla="*/ 32231130 w 225"/>
                  <a:gd name="T9" fmla="*/ 28281940 h 273"/>
                  <a:gd name="T10" fmla="*/ 36121004 w 225"/>
                  <a:gd name="T11" fmla="*/ 29402189 h 273"/>
                  <a:gd name="T12" fmla="*/ 41678214 w 225"/>
                  <a:gd name="T13" fmla="*/ 29682119 h 273"/>
                  <a:gd name="T14" fmla="*/ 41678214 w 225"/>
                  <a:gd name="T15" fmla="*/ 42563139 h 273"/>
                  <a:gd name="T16" fmla="*/ 41493146 w 225"/>
                  <a:gd name="T17" fmla="*/ 49283579 h 273"/>
                  <a:gd name="T18" fmla="*/ 39825811 w 225"/>
                  <a:gd name="T19" fmla="*/ 52363869 h 273"/>
                  <a:gd name="T20" fmla="*/ 36491571 w 225"/>
                  <a:gd name="T21" fmla="*/ 57404199 h 273"/>
                  <a:gd name="T22" fmla="*/ 35565369 w 225"/>
                  <a:gd name="T23" fmla="*/ 59924099 h 273"/>
                  <a:gd name="T24" fmla="*/ 33157331 w 225"/>
                  <a:gd name="T25" fmla="*/ 61044349 h 273"/>
                  <a:gd name="T26" fmla="*/ 30378726 w 225"/>
                  <a:gd name="T27" fmla="*/ 63004389 h 273"/>
                  <a:gd name="T28" fmla="*/ 29452525 w 225"/>
                  <a:gd name="T29" fmla="*/ 66084679 h 273"/>
                  <a:gd name="T30" fmla="*/ 25933216 w 225"/>
                  <a:gd name="T31" fmla="*/ 67764789 h 273"/>
                  <a:gd name="T32" fmla="*/ 23710246 w 225"/>
                  <a:gd name="T33" fmla="*/ 70564619 h 273"/>
                  <a:gd name="T34" fmla="*/ 18709102 w 225"/>
                  <a:gd name="T35" fmla="*/ 71404939 h 273"/>
                  <a:gd name="T36" fmla="*/ 11113990 w 225"/>
                  <a:gd name="T37" fmla="*/ 73085049 h 273"/>
                  <a:gd name="T38" fmla="*/ 3519308 w 225"/>
                  <a:gd name="T39" fmla="*/ 73085049 h 273"/>
                  <a:gd name="T40" fmla="*/ 0 w 225"/>
                  <a:gd name="T41" fmla="*/ 60764419 h 273"/>
                  <a:gd name="T42" fmla="*/ 3889875 w 225"/>
                  <a:gd name="T43" fmla="*/ 59364239 h 273"/>
                  <a:gd name="T44" fmla="*/ 4816077 w 225"/>
                  <a:gd name="T45" fmla="*/ 57404199 h 273"/>
                  <a:gd name="T46" fmla="*/ 11113990 w 225"/>
                  <a:gd name="T47" fmla="*/ 56563879 h 273"/>
                  <a:gd name="T48" fmla="*/ 13336960 w 225"/>
                  <a:gd name="T49" fmla="*/ 54043979 h 273"/>
                  <a:gd name="T50" fmla="*/ 8891450 w 225"/>
                  <a:gd name="T51" fmla="*/ 55443629 h 273"/>
                  <a:gd name="T52" fmla="*/ 7409613 w 225"/>
                  <a:gd name="T53" fmla="*/ 55163699 h 273"/>
                  <a:gd name="T54" fmla="*/ 7224115 w 225"/>
                  <a:gd name="T55" fmla="*/ 52643799 h 273"/>
                  <a:gd name="T56" fmla="*/ 8520883 w 225"/>
                  <a:gd name="T57" fmla="*/ 48443259 h 273"/>
                  <a:gd name="T58" fmla="*/ 7224115 w 225"/>
                  <a:gd name="T59" fmla="*/ 44803109 h 273"/>
                  <a:gd name="T60" fmla="*/ 2593106 w 225"/>
                  <a:gd name="T61" fmla="*/ 42002750 h 273"/>
                  <a:gd name="T62" fmla="*/ 1111270 w 225"/>
                  <a:gd name="T63" fmla="*/ 36402559 h 273"/>
                  <a:gd name="T64" fmla="*/ 4075373 w 225"/>
                  <a:gd name="T65" fmla="*/ 32202020 h 273"/>
                  <a:gd name="T66" fmla="*/ 6483412 w 225"/>
                  <a:gd name="T67" fmla="*/ 28561870 h 273"/>
                  <a:gd name="T68" fmla="*/ 12596257 w 225"/>
                  <a:gd name="T69" fmla="*/ 26321899 h 273"/>
                  <a:gd name="T70" fmla="*/ 16671200 w 225"/>
                  <a:gd name="T71" fmla="*/ 26321899 h 273"/>
                  <a:gd name="T72" fmla="*/ 18523603 w 225"/>
                  <a:gd name="T73" fmla="*/ 24641789 h 273"/>
                  <a:gd name="T74" fmla="*/ 20005440 w 225"/>
                  <a:gd name="T75" fmla="*/ 14561130 h 273"/>
                  <a:gd name="T76" fmla="*/ 22228410 w 225"/>
                  <a:gd name="T77" fmla="*/ 8680480 h 273"/>
                  <a:gd name="T78" fmla="*/ 24080813 w 225"/>
                  <a:gd name="T79" fmla="*/ 5600190 h 273"/>
                  <a:gd name="T80" fmla="*/ 26118285 w 225"/>
                  <a:gd name="T81" fmla="*/ 1960040 h 273"/>
                  <a:gd name="T82" fmla="*/ 28711821 w 225"/>
                  <a:gd name="T83" fmla="*/ 279930 h 273"/>
                  <a:gd name="T84" fmla="*/ 33157331 w 225"/>
                  <a:gd name="T85" fmla="*/ 840320 h 273"/>
                  <a:gd name="T86" fmla="*/ 36121004 w 225"/>
                  <a:gd name="T87" fmla="*/ 10640520 h 273"/>
                  <a:gd name="T88" fmla="*/ 36306503 w 225"/>
                  <a:gd name="T89" fmla="*/ 13160950 h 273"/>
                  <a:gd name="T90" fmla="*/ 35194803 w 225"/>
                  <a:gd name="T91" fmla="*/ 15680850 h 273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225" h="273">
                    <a:moveTo>
                      <a:pt x="192" y="58"/>
                    </a:moveTo>
                    <a:lnTo>
                      <a:pt x="189" y="63"/>
                    </a:lnTo>
                    <a:lnTo>
                      <a:pt x="185" y="67"/>
                    </a:lnTo>
                    <a:lnTo>
                      <a:pt x="182" y="71"/>
                    </a:lnTo>
                    <a:lnTo>
                      <a:pt x="178" y="75"/>
                    </a:lnTo>
                    <a:lnTo>
                      <a:pt x="173" y="78"/>
                    </a:lnTo>
                    <a:lnTo>
                      <a:pt x="169" y="80"/>
                    </a:lnTo>
                    <a:lnTo>
                      <a:pt x="163" y="82"/>
                    </a:lnTo>
                    <a:lnTo>
                      <a:pt x="159" y="82"/>
                    </a:lnTo>
                    <a:lnTo>
                      <a:pt x="159" y="86"/>
                    </a:lnTo>
                    <a:lnTo>
                      <a:pt x="161" y="90"/>
                    </a:lnTo>
                    <a:lnTo>
                      <a:pt x="163" y="93"/>
                    </a:lnTo>
                    <a:lnTo>
                      <a:pt x="167" y="96"/>
                    </a:lnTo>
                    <a:lnTo>
                      <a:pt x="170" y="99"/>
                    </a:lnTo>
                    <a:lnTo>
                      <a:pt x="174" y="101"/>
                    </a:lnTo>
                    <a:lnTo>
                      <a:pt x="179" y="102"/>
                    </a:lnTo>
                    <a:lnTo>
                      <a:pt x="184" y="103"/>
                    </a:lnTo>
                    <a:lnTo>
                      <a:pt x="195" y="105"/>
                    </a:lnTo>
                    <a:lnTo>
                      <a:pt x="206" y="106"/>
                    </a:lnTo>
                    <a:lnTo>
                      <a:pt x="216" y="106"/>
                    </a:lnTo>
                    <a:lnTo>
                      <a:pt x="225" y="106"/>
                    </a:lnTo>
                    <a:lnTo>
                      <a:pt x="225" y="124"/>
                    </a:lnTo>
                    <a:lnTo>
                      <a:pt x="225" y="138"/>
                    </a:lnTo>
                    <a:lnTo>
                      <a:pt x="225" y="152"/>
                    </a:lnTo>
                    <a:lnTo>
                      <a:pt x="225" y="169"/>
                    </a:lnTo>
                    <a:lnTo>
                      <a:pt x="225" y="172"/>
                    </a:lnTo>
                    <a:lnTo>
                      <a:pt x="224" y="176"/>
                    </a:lnTo>
                    <a:lnTo>
                      <a:pt x="222" y="179"/>
                    </a:lnTo>
                    <a:lnTo>
                      <a:pt x="220" y="182"/>
                    </a:lnTo>
                    <a:lnTo>
                      <a:pt x="215" y="187"/>
                    </a:lnTo>
                    <a:lnTo>
                      <a:pt x="208" y="193"/>
                    </a:lnTo>
                    <a:lnTo>
                      <a:pt x="203" y="199"/>
                    </a:lnTo>
                    <a:lnTo>
                      <a:pt x="197" y="205"/>
                    </a:lnTo>
                    <a:lnTo>
                      <a:pt x="195" y="208"/>
                    </a:lnTo>
                    <a:lnTo>
                      <a:pt x="193" y="211"/>
                    </a:lnTo>
                    <a:lnTo>
                      <a:pt x="192" y="214"/>
                    </a:lnTo>
                    <a:lnTo>
                      <a:pt x="192" y="217"/>
                    </a:lnTo>
                    <a:lnTo>
                      <a:pt x="184" y="218"/>
                    </a:lnTo>
                    <a:lnTo>
                      <a:pt x="179" y="218"/>
                    </a:lnTo>
                    <a:lnTo>
                      <a:pt x="172" y="220"/>
                    </a:lnTo>
                    <a:lnTo>
                      <a:pt x="168" y="223"/>
                    </a:lnTo>
                    <a:lnTo>
                      <a:pt x="164" y="225"/>
                    </a:lnTo>
                    <a:lnTo>
                      <a:pt x="161" y="229"/>
                    </a:lnTo>
                    <a:lnTo>
                      <a:pt x="159" y="232"/>
                    </a:lnTo>
                    <a:lnTo>
                      <a:pt x="159" y="236"/>
                    </a:lnTo>
                    <a:lnTo>
                      <a:pt x="151" y="237"/>
                    </a:lnTo>
                    <a:lnTo>
                      <a:pt x="146" y="239"/>
                    </a:lnTo>
                    <a:lnTo>
                      <a:pt x="140" y="242"/>
                    </a:lnTo>
                    <a:lnTo>
                      <a:pt x="136" y="246"/>
                    </a:lnTo>
                    <a:lnTo>
                      <a:pt x="131" y="249"/>
                    </a:lnTo>
                    <a:lnTo>
                      <a:pt x="128" y="252"/>
                    </a:lnTo>
                    <a:lnTo>
                      <a:pt x="124" y="254"/>
                    </a:lnTo>
                    <a:lnTo>
                      <a:pt x="118" y="255"/>
                    </a:lnTo>
                    <a:lnTo>
                      <a:pt x="101" y="255"/>
                    </a:lnTo>
                    <a:lnTo>
                      <a:pt x="85" y="257"/>
                    </a:lnTo>
                    <a:lnTo>
                      <a:pt x="72" y="259"/>
                    </a:lnTo>
                    <a:lnTo>
                      <a:pt x="60" y="261"/>
                    </a:lnTo>
                    <a:lnTo>
                      <a:pt x="38" y="267"/>
                    </a:lnTo>
                    <a:lnTo>
                      <a:pt x="13" y="273"/>
                    </a:lnTo>
                    <a:lnTo>
                      <a:pt x="19" y="261"/>
                    </a:lnTo>
                    <a:lnTo>
                      <a:pt x="10" y="261"/>
                    </a:lnTo>
                    <a:lnTo>
                      <a:pt x="0" y="261"/>
                    </a:lnTo>
                    <a:lnTo>
                      <a:pt x="0" y="217"/>
                    </a:lnTo>
                    <a:lnTo>
                      <a:pt x="8" y="216"/>
                    </a:lnTo>
                    <a:lnTo>
                      <a:pt x="17" y="214"/>
                    </a:lnTo>
                    <a:lnTo>
                      <a:pt x="21" y="212"/>
                    </a:lnTo>
                    <a:lnTo>
                      <a:pt x="24" y="210"/>
                    </a:lnTo>
                    <a:lnTo>
                      <a:pt x="25" y="208"/>
                    </a:lnTo>
                    <a:lnTo>
                      <a:pt x="26" y="205"/>
                    </a:lnTo>
                    <a:lnTo>
                      <a:pt x="40" y="205"/>
                    </a:lnTo>
                    <a:lnTo>
                      <a:pt x="54" y="204"/>
                    </a:lnTo>
                    <a:lnTo>
                      <a:pt x="60" y="202"/>
                    </a:lnTo>
                    <a:lnTo>
                      <a:pt x="64" y="200"/>
                    </a:lnTo>
                    <a:lnTo>
                      <a:pt x="69" y="197"/>
                    </a:lnTo>
                    <a:lnTo>
                      <a:pt x="72" y="193"/>
                    </a:lnTo>
                    <a:lnTo>
                      <a:pt x="64" y="195"/>
                    </a:lnTo>
                    <a:lnTo>
                      <a:pt x="54" y="198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1" y="198"/>
                    </a:lnTo>
                    <a:lnTo>
                      <a:pt x="40" y="197"/>
                    </a:lnTo>
                    <a:lnTo>
                      <a:pt x="39" y="195"/>
                    </a:lnTo>
                    <a:lnTo>
                      <a:pt x="39" y="193"/>
                    </a:lnTo>
                    <a:lnTo>
                      <a:pt x="39" y="188"/>
                    </a:lnTo>
                    <a:lnTo>
                      <a:pt x="41" y="183"/>
                    </a:lnTo>
                    <a:lnTo>
                      <a:pt x="44" y="178"/>
                    </a:lnTo>
                    <a:lnTo>
                      <a:pt x="46" y="173"/>
                    </a:lnTo>
                    <a:lnTo>
                      <a:pt x="50" y="166"/>
                    </a:lnTo>
                    <a:lnTo>
                      <a:pt x="52" y="162"/>
                    </a:lnTo>
                    <a:lnTo>
                      <a:pt x="39" y="160"/>
                    </a:lnTo>
                    <a:lnTo>
                      <a:pt x="28" y="157"/>
                    </a:lnTo>
                    <a:lnTo>
                      <a:pt x="21" y="154"/>
                    </a:lnTo>
                    <a:lnTo>
                      <a:pt x="14" y="150"/>
                    </a:lnTo>
                    <a:lnTo>
                      <a:pt x="10" y="145"/>
                    </a:lnTo>
                    <a:lnTo>
                      <a:pt x="7" y="138"/>
                    </a:lnTo>
                    <a:lnTo>
                      <a:pt x="6" y="130"/>
                    </a:lnTo>
                    <a:lnTo>
                      <a:pt x="6" y="120"/>
                    </a:lnTo>
                    <a:lnTo>
                      <a:pt x="15" y="117"/>
                    </a:lnTo>
                    <a:lnTo>
                      <a:pt x="22" y="115"/>
                    </a:lnTo>
                    <a:lnTo>
                      <a:pt x="26" y="112"/>
                    </a:lnTo>
                    <a:lnTo>
                      <a:pt x="30" y="109"/>
                    </a:lnTo>
                    <a:lnTo>
                      <a:pt x="35" y="102"/>
                    </a:lnTo>
                    <a:lnTo>
                      <a:pt x="39" y="94"/>
                    </a:lnTo>
                    <a:lnTo>
                      <a:pt x="56" y="94"/>
                    </a:lnTo>
                    <a:lnTo>
                      <a:pt x="68" y="94"/>
                    </a:lnTo>
                    <a:lnTo>
                      <a:pt x="77" y="94"/>
                    </a:lnTo>
                    <a:lnTo>
                      <a:pt x="85" y="94"/>
                    </a:lnTo>
                    <a:lnTo>
                      <a:pt x="90" y="94"/>
                    </a:lnTo>
                    <a:lnTo>
                      <a:pt x="94" y="93"/>
                    </a:lnTo>
                    <a:lnTo>
                      <a:pt x="97" y="91"/>
                    </a:lnTo>
                    <a:lnTo>
                      <a:pt x="100" y="88"/>
                    </a:lnTo>
                    <a:lnTo>
                      <a:pt x="104" y="82"/>
                    </a:lnTo>
                    <a:lnTo>
                      <a:pt x="106" y="73"/>
                    </a:lnTo>
                    <a:lnTo>
                      <a:pt x="108" y="52"/>
                    </a:lnTo>
                    <a:lnTo>
                      <a:pt x="112" y="33"/>
                    </a:lnTo>
                    <a:lnTo>
                      <a:pt x="117" y="32"/>
                    </a:lnTo>
                    <a:lnTo>
                      <a:pt x="120" y="31"/>
                    </a:lnTo>
                    <a:lnTo>
                      <a:pt x="124" y="29"/>
                    </a:lnTo>
                    <a:lnTo>
                      <a:pt x="126" y="26"/>
                    </a:lnTo>
                    <a:lnTo>
                      <a:pt x="130" y="20"/>
                    </a:lnTo>
                    <a:lnTo>
                      <a:pt x="136" y="13"/>
                    </a:lnTo>
                    <a:lnTo>
                      <a:pt x="138" y="10"/>
                    </a:lnTo>
                    <a:lnTo>
                      <a:pt x="141" y="7"/>
                    </a:lnTo>
                    <a:lnTo>
                      <a:pt x="145" y="4"/>
                    </a:lnTo>
                    <a:lnTo>
                      <a:pt x="149" y="2"/>
                    </a:lnTo>
                    <a:lnTo>
                      <a:pt x="155" y="1"/>
                    </a:lnTo>
                    <a:lnTo>
                      <a:pt x="161" y="0"/>
                    </a:lnTo>
                    <a:lnTo>
                      <a:pt x="169" y="1"/>
                    </a:lnTo>
                    <a:lnTo>
                      <a:pt x="179" y="3"/>
                    </a:lnTo>
                    <a:lnTo>
                      <a:pt x="186" y="20"/>
                    </a:lnTo>
                    <a:lnTo>
                      <a:pt x="194" y="34"/>
                    </a:lnTo>
                    <a:lnTo>
                      <a:pt x="195" y="38"/>
                    </a:lnTo>
                    <a:lnTo>
                      <a:pt x="196" y="41"/>
                    </a:lnTo>
                    <a:lnTo>
                      <a:pt x="196" y="44"/>
                    </a:lnTo>
                    <a:lnTo>
                      <a:pt x="196" y="47"/>
                    </a:lnTo>
                    <a:lnTo>
                      <a:pt x="195" y="50"/>
                    </a:lnTo>
                    <a:lnTo>
                      <a:pt x="193" y="52"/>
                    </a:lnTo>
                    <a:lnTo>
                      <a:pt x="190" y="56"/>
                    </a:lnTo>
                    <a:lnTo>
                      <a:pt x="185" y="58"/>
                    </a:lnTo>
                    <a:lnTo>
                      <a:pt x="192" y="5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4" name="Freeform 235">
                <a:extLst>
                  <a:ext uri="{FF2B5EF4-FFF2-40B4-BE49-F238E27FC236}">
                    <a16:creationId xmlns:a16="http://schemas.microsoft.com/office/drawing/2014/main" id="{AEE0D472-7551-444A-900C-A31C7C0BF84A}"/>
                  </a:ext>
                </a:extLst>
              </p:cNvPr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auto">
              <a:xfrm>
                <a:off x="3508384" y="3552520"/>
                <a:ext cx="369204" cy="437735"/>
              </a:xfrm>
              <a:custGeom>
                <a:avLst/>
                <a:gdLst>
                  <a:gd name="T0" fmla="*/ 163943993 w 232"/>
                  <a:gd name="T1" fmla="*/ 610000050 h 248"/>
                  <a:gd name="T2" fmla="*/ 167431798 w 232"/>
                  <a:gd name="T3" fmla="*/ 602561179 h 248"/>
                  <a:gd name="T4" fmla="*/ 170920923 w 232"/>
                  <a:gd name="T5" fmla="*/ 590162010 h 248"/>
                  <a:gd name="T6" fmla="*/ 174408728 w 232"/>
                  <a:gd name="T7" fmla="*/ 575284267 h 248"/>
                  <a:gd name="T8" fmla="*/ 179641095 w 232"/>
                  <a:gd name="T9" fmla="*/ 572804118 h 248"/>
                  <a:gd name="T10" fmla="*/ 181384337 w 232"/>
                  <a:gd name="T11" fmla="*/ 590162010 h 248"/>
                  <a:gd name="T12" fmla="*/ 184873463 w 232"/>
                  <a:gd name="T13" fmla="*/ 597600881 h 248"/>
                  <a:gd name="T14" fmla="*/ 188361267 w 232"/>
                  <a:gd name="T15" fmla="*/ 600081030 h 248"/>
                  <a:gd name="T16" fmla="*/ 191849072 w 232"/>
                  <a:gd name="T17" fmla="*/ 600081030 h 248"/>
                  <a:gd name="T18" fmla="*/ 197081440 w 232"/>
                  <a:gd name="T19" fmla="*/ 597600881 h 248"/>
                  <a:gd name="T20" fmla="*/ 202313807 w 232"/>
                  <a:gd name="T21" fmla="*/ 590162010 h 248"/>
                  <a:gd name="T22" fmla="*/ 376722535 w 232"/>
                  <a:gd name="T23" fmla="*/ 580242990 h 248"/>
                  <a:gd name="T24" fmla="*/ 371490167 w 232"/>
                  <a:gd name="T25" fmla="*/ 505852701 h 248"/>
                  <a:gd name="T26" fmla="*/ 361025432 w 232"/>
                  <a:gd name="T27" fmla="*/ 342194382 h 248"/>
                  <a:gd name="T28" fmla="*/ 350560698 w 232"/>
                  <a:gd name="T29" fmla="*/ 181016211 h 248"/>
                  <a:gd name="T30" fmla="*/ 345328330 w 232"/>
                  <a:gd name="T31" fmla="*/ 106625923 h 248"/>
                  <a:gd name="T32" fmla="*/ 374977972 w 232"/>
                  <a:gd name="T33" fmla="*/ 109106071 h 248"/>
                  <a:gd name="T34" fmla="*/ 404627614 w 232"/>
                  <a:gd name="T35" fmla="*/ 114064794 h 248"/>
                  <a:gd name="T36" fmla="*/ 280797999 w 232"/>
                  <a:gd name="T37" fmla="*/ 4958723 h 248"/>
                  <a:gd name="T38" fmla="*/ 279053436 w 232"/>
                  <a:gd name="T39" fmla="*/ 19838040 h 248"/>
                  <a:gd name="T40" fmla="*/ 280797999 w 232"/>
                  <a:gd name="T41" fmla="*/ 44634803 h 248"/>
                  <a:gd name="T42" fmla="*/ 170920923 w 232"/>
                  <a:gd name="T43" fmla="*/ 59512546 h 248"/>
                  <a:gd name="T44" fmla="*/ 170920923 w 232"/>
                  <a:gd name="T45" fmla="*/ 183496360 h 248"/>
                  <a:gd name="T46" fmla="*/ 165688555 w 232"/>
                  <a:gd name="T47" fmla="*/ 188455082 h 248"/>
                  <a:gd name="T48" fmla="*/ 151736016 w 232"/>
                  <a:gd name="T49" fmla="*/ 193413805 h 248"/>
                  <a:gd name="T50" fmla="*/ 125574178 w 232"/>
                  <a:gd name="T51" fmla="*/ 203332825 h 248"/>
                  <a:gd name="T52" fmla="*/ 129061983 w 232"/>
                  <a:gd name="T53" fmla="*/ 218210568 h 248"/>
                  <a:gd name="T54" fmla="*/ 136038913 w 232"/>
                  <a:gd name="T55" fmla="*/ 238048608 h 248"/>
                  <a:gd name="T56" fmla="*/ 139526718 w 232"/>
                  <a:gd name="T57" fmla="*/ 260365222 h 248"/>
                  <a:gd name="T58" fmla="*/ 141271281 w 232"/>
                  <a:gd name="T59" fmla="*/ 285161985 h 248"/>
                  <a:gd name="T60" fmla="*/ 15697102 w 232"/>
                  <a:gd name="T61" fmla="*/ 295081005 h 248"/>
                  <a:gd name="T62" fmla="*/ 8720172 w 232"/>
                  <a:gd name="T63" fmla="*/ 322357916 h 248"/>
                  <a:gd name="T64" fmla="*/ 10464735 w 232"/>
                  <a:gd name="T65" fmla="*/ 354593551 h 248"/>
                  <a:gd name="T66" fmla="*/ 13952540 w 232"/>
                  <a:gd name="T67" fmla="*/ 384349036 h 248"/>
                  <a:gd name="T68" fmla="*/ 15697102 w 232"/>
                  <a:gd name="T69" fmla="*/ 416584670 h 248"/>
                  <a:gd name="T70" fmla="*/ 15697102 w 232"/>
                  <a:gd name="T71" fmla="*/ 451300453 h 248"/>
                  <a:gd name="T72" fmla="*/ 13952540 w 232"/>
                  <a:gd name="T73" fmla="*/ 481055939 h 248"/>
                  <a:gd name="T74" fmla="*/ 10464735 w 232"/>
                  <a:gd name="T75" fmla="*/ 510812999 h 248"/>
                  <a:gd name="T76" fmla="*/ 3487805 w 232"/>
                  <a:gd name="T77" fmla="*/ 535609762 h 248"/>
                  <a:gd name="T78" fmla="*/ 3487805 w 232"/>
                  <a:gd name="T79" fmla="*/ 543048633 h 248"/>
                  <a:gd name="T80" fmla="*/ 5232367 w 232"/>
                  <a:gd name="T81" fmla="*/ 545527207 h 248"/>
                  <a:gd name="T82" fmla="*/ 5232367 w 232"/>
                  <a:gd name="T83" fmla="*/ 550487504 h 248"/>
                  <a:gd name="T84" fmla="*/ 12207977 w 232"/>
                  <a:gd name="T85" fmla="*/ 538088336 h 248"/>
                  <a:gd name="T86" fmla="*/ 31392884 w 232"/>
                  <a:gd name="T87" fmla="*/ 528170890 h 248"/>
                  <a:gd name="T88" fmla="*/ 62787089 w 232"/>
                  <a:gd name="T89" fmla="*/ 513291573 h 248"/>
                  <a:gd name="T90" fmla="*/ 78484192 w 232"/>
                  <a:gd name="T91" fmla="*/ 515771721 h 248"/>
                  <a:gd name="T92" fmla="*/ 88948927 w 232"/>
                  <a:gd name="T93" fmla="*/ 525690742 h 248"/>
                  <a:gd name="T94" fmla="*/ 97669099 w 232"/>
                  <a:gd name="T95" fmla="*/ 530649464 h 248"/>
                  <a:gd name="T96" fmla="*/ 108133834 w 232"/>
                  <a:gd name="T97" fmla="*/ 533129613 h 248"/>
                  <a:gd name="T98" fmla="*/ 115109443 w 232"/>
                  <a:gd name="T99" fmla="*/ 543048633 h 248"/>
                  <a:gd name="T100" fmla="*/ 116854006 w 232"/>
                  <a:gd name="T101" fmla="*/ 557926376 h 248"/>
                  <a:gd name="T102" fmla="*/ 122086374 w 232"/>
                  <a:gd name="T103" fmla="*/ 572804118 h 248"/>
                  <a:gd name="T104" fmla="*/ 129061983 w 232"/>
                  <a:gd name="T105" fmla="*/ 582723139 h 248"/>
                  <a:gd name="T106" fmla="*/ 148246890 w 232"/>
                  <a:gd name="T107" fmla="*/ 602561179 h 248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2" h="248">
                    <a:moveTo>
                      <a:pt x="91" y="248"/>
                    </a:moveTo>
                    <a:lnTo>
                      <a:pt x="94" y="246"/>
                    </a:lnTo>
                    <a:lnTo>
                      <a:pt x="95" y="245"/>
                    </a:lnTo>
                    <a:lnTo>
                      <a:pt x="96" y="243"/>
                    </a:lnTo>
                    <a:lnTo>
                      <a:pt x="97" y="240"/>
                    </a:lnTo>
                    <a:lnTo>
                      <a:pt x="98" y="238"/>
                    </a:lnTo>
                    <a:lnTo>
                      <a:pt x="99" y="235"/>
                    </a:lnTo>
                    <a:lnTo>
                      <a:pt x="100" y="232"/>
                    </a:lnTo>
                    <a:lnTo>
                      <a:pt x="103" y="230"/>
                    </a:lnTo>
                    <a:lnTo>
                      <a:pt x="103" y="231"/>
                    </a:lnTo>
                    <a:lnTo>
                      <a:pt x="103" y="236"/>
                    </a:lnTo>
                    <a:lnTo>
                      <a:pt x="104" y="238"/>
                    </a:lnTo>
                    <a:lnTo>
                      <a:pt x="105" y="240"/>
                    </a:lnTo>
                    <a:lnTo>
                      <a:pt x="106" y="241"/>
                    </a:lnTo>
                    <a:lnTo>
                      <a:pt x="107" y="241"/>
                    </a:lnTo>
                    <a:lnTo>
                      <a:pt x="108" y="242"/>
                    </a:lnTo>
                    <a:lnTo>
                      <a:pt x="109" y="242"/>
                    </a:lnTo>
                    <a:lnTo>
                      <a:pt x="110" y="242"/>
                    </a:lnTo>
                    <a:lnTo>
                      <a:pt x="112" y="241"/>
                    </a:lnTo>
                    <a:lnTo>
                      <a:pt x="113" y="241"/>
                    </a:lnTo>
                    <a:lnTo>
                      <a:pt x="114" y="240"/>
                    </a:lnTo>
                    <a:lnTo>
                      <a:pt x="116" y="238"/>
                    </a:lnTo>
                    <a:lnTo>
                      <a:pt x="118" y="236"/>
                    </a:lnTo>
                    <a:lnTo>
                      <a:pt x="216" y="234"/>
                    </a:lnTo>
                    <a:lnTo>
                      <a:pt x="215" y="225"/>
                    </a:lnTo>
                    <a:lnTo>
                      <a:pt x="213" y="204"/>
                    </a:lnTo>
                    <a:lnTo>
                      <a:pt x="210" y="173"/>
                    </a:lnTo>
                    <a:lnTo>
                      <a:pt x="207" y="138"/>
                    </a:lnTo>
                    <a:lnTo>
                      <a:pt x="204" y="103"/>
                    </a:lnTo>
                    <a:lnTo>
                      <a:pt x="201" y="73"/>
                    </a:lnTo>
                    <a:lnTo>
                      <a:pt x="199" y="51"/>
                    </a:lnTo>
                    <a:lnTo>
                      <a:pt x="198" y="43"/>
                    </a:lnTo>
                    <a:lnTo>
                      <a:pt x="203" y="43"/>
                    </a:lnTo>
                    <a:lnTo>
                      <a:pt x="215" y="44"/>
                    </a:lnTo>
                    <a:lnTo>
                      <a:pt x="226" y="45"/>
                    </a:lnTo>
                    <a:lnTo>
                      <a:pt x="232" y="46"/>
                    </a:lnTo>
                    <a:lnTo>
                      <a:pt x="161" y="0"/>
                    </a:lnTo>
                    <a:lnTo>
                      <a:pt x="161" y="2"/>
                    </a:lnTo>
                    <a:lnTo>
                      <a:pt x="160" y="5"/>
                    </a:lnTo>
                    <a:lnTo>
                      <a:pt x="160" y="8"/>
                    </a:lnTo>
                    <a:lnTo>
                      <a:pt x="161" y="11"/>
                    </a:lnTo>
                    <a:lnTo>
                      <a:pt x="161" y="18"/>
                    </a:lnTo>
                    <a:lnTo>
                      <a:pt x="161" y="24"/>
                    </a:lnTo>
                    <a:lnTo>
                      <a:pt x="98" y="24"/>
                    </a:lnTo>
                    <a:lnTo>
                      <a:pt x="94" y="22"/>
                    </a:lnTo>
                    <a:lnTo>
                      <a:pt x="98" y="74"/>
                    </a:lnTo>
                    <a:lnTo>
                      <a:pt x="97" y="75"/>
                    </a:lnTo>
                    <a:lnTo>
                      <a:pt x="95" y="76"/>
                    </a:lnTo>
                    <a:lnTo>
                      <a:pt x="91" y="77"/>
                    </a:lnTo>
                    <a:lnTo>
                      <a:pt x="87" y="78"/>
                    </a:lnTo>
                    <a:lnTo>
                      <a:pt x="78" y="80"/>
                    </a:lnTo>
                    <a:lnTo>
                      <a:pt x="72" y="82"/>
                    </a:lnTo>
                    <a:lnTo>
                      <a:pt x="73" y="85"/>
                    </a:lnTo>
                    <a:lnTo>
                      <a:pt x="74" y="88"/>
                    </a:lnTo>
                    <a:lnTo>
                      <a:pt x="76" y="92"/>
                    </a:lnTo>
                    <a:lnTo>
                      <a:pt x="78" y="96"/>
                    </a:lnTo>
                    <a:lnTo>
                      <a:pt x="79" y="99"/>
                    </a:lnTo>
                    <a:lnTo>
                      <a:pt x="80" y="105"/>
                    </a:lnTo>
                    <a:lnTo>
                      <a:pt x="80" y="112"/>
                    </a:lnTo>
                    <a:lnTo>
                      <a:pt x="81" y="115"/>
                    </a:lnTo>
                    <a:lnTo>
                      <a:pt x="13" y="115"/>
                    </a:lnTo>
                    <a:lnTo>
                      <a:pt x="9" y="119"/>
                    </a:lnTo>
                    <a:lnTo>
                      <a:pt x="4" y="123"/>
                    </a:lnTo>
                    <a:lnTo>
                      <a:pt x="5" y="130"/>
                    </a:lnTo>
                    <a:lnTo>
                      <a:pt x="5" y="137"/>
                    </a:lnTo>
                    <a:lnTo>
                      <a:pt x="6" y="143"/>
                    </a:lnTo>
                    <a:lnTo>
                      <a:pt x="7" y="149"/>
                    </a:lnTo>
                    <a:lnTo>
                      <a:pt x="8" y="155"/>
                    </a:lnTo>
                    <a:lnTo>
                      <a:pt x="8" y="161"/>
                    </a:lnTo>
                    <a:lnTo>
                      <a:pt x="9" y="168"/>
                    </a:lnTo>
                    <a:lnTo>
                      <a:pt x="9" y="176"/>
                    </a:lnTo>
                    <a:lnTo>
                      <a:pt x="9" y="182"/>
                    </a:lnTo>
                    <a:lnTo>
                      <a:pt x="8" y="188"/>
                    </a:lnTo>
                    <a:lnTo>
                      <a:pt x="8" y="194"/>
                    </a:lnTo>
                    <a:lnTo>
                      <a:pt x="7" y="200"/>
                    </a:lnTo>
                    <a:lnTo>
                      <a:pt x="6" y="206"/>
                    </a:lnTo>
                    <a:lnTo>
                      <a:pt x="4" y="211"/>
                    </a:lnTo>
                    <a:lnTo>
                      <a:pt x="2" y="216"/>
                    </a:lnTo>
                    <a:lnTo>
                      <a:pt x="0" y="221"/>
                    </a:lnTo>
                    <a:lnTo>
                      <a:pt x="2" y="219"/>
                    </a:lnTo>
                    <a:lnTo>
                      <a:pt x="3" y="219"/>
                    </a:lnTo>
                    <a:lnTo>
                      <a:pt x="3" y="220"/>
                    </a:lnTo>
                    <a:lnTo>
                      <a:pt x="3" y="221"/>
                    </a:lnTo>
                    <a:lnTo>
                      <a:pt x="3" y="222"/>
                    </a:lnTo>
                    <a:lnTo>
                      <a:pt x="4" y="217"/>
                    </a:lnTo>
                    <a:lnTo>
                      <a:pt x="7" y="217"/>
                    </a:lnTo>
                    <a:lnTo>
                      <a:pt x="12" y="215"/>
                    </a:lnTo>
                    <a:lnTo>
                      <a:pt x="18" y="213"/>
                    </a:lnTo>
                    <a:lnTo>
                      <a:pt x="25" y="211"/>
                    </a:lnTo>
                    <a:lnTo>
                      <a:pt x="36" y="207"/>
                    </a:lnTo>
                    <a:lnTo>
                      <a:pt x="41" y="205"/>
                    </a:lnTo>
                    <a:lnTo>
                      <a:pt x="45" y="208"/>
                    </a:lnTo>
                    <a:lnTo>
                      <a:pt x="48" y="210"/>
                    </a:lnTo>
                    <a:lnTo>
                      <a:pt x="51" y="212"/>
                    </a:lnTo>
                    <a:lnTo>
                      <a:pt x="53" y="213"/>
                    </a:lnTo>
                    <a:lnTo>
                      <a:pt x="56" y="214"/>
                    </a:lnTo>
                    <a:lnTo>
                      <a:pt x="59" y="215"/>
                    </a:lnTo>
                    <a:lnTo>
                      <a:pt x="62" y="215"/>
                    </a:lnTo>
                    <a:lnTo>
                      <a:pt x="66" y="215"/>
                    </a:lnTo>
                    <a:lnTo>
                      <a:pt x="66" y="219"/>
                    </a:lnTo>
                    <a:lnTo>
                      <a:pt x="66" y="222"/>
                    </a:lnTo>
                    <a:lnTo>
                      <a:pt x="67" y="225"/>
                    </a:lnTo>
                    <a:lnTo>
                      <a:pt x="69" y="228"/>
                    </a:lnTo>
                    <a:lnTo>
                      <a:pt x="70" y="231"/>
                    </a:lnTo>
                    <a:lnTo>
                      <a:pt x="72" y="233"/>
                    </a:lnTo>
                    <a:lnTo>
                      <a:pt x="74" y="235"/>
                    </a:lnTo>
                    <a:lnTo>
                      <a:pt x="76" y="237"/>
                    </a:lnTo>
                    <a:lnTo>
                      <a:pt x="85" y="243"/>
                    </a:lnTo>
                    <a:lnTo>
                      <a:pt x="91" y="248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5" name="Freeform 236">
                <a:extLst>
                  <a:ext uri="{FF2B5EF4-FFF2-40B4-BE49-F238E27FC236}">
                    <a16:creationId xmlns:a16="http://schemas.microsoft.com/office/drawing/2014/main" id="{AC9B8B1B-8771-4C52-B4D9-A676B4E09378}"/>
                  </a:ext>
                </a:extLst>
              </p:cNvPr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auto">
              <a:xfrm>
                <a:off x="3647740" y="3619323"/>
                <a:ext cx="499512" cy="527392"/>
              </a:xfrm>
              <a:custGeom>
                <a:avLst/>
                <a:gdLst>
                  <a:gd name="T0" fmla="*/ 17192363 w 948"/>
                  <a:gd name="T1" fmla="*/ 216718265 h 893"/>
                  <a:gd name="T2" fmla="*/ 23114148 w 948"/>
                  <a:gd name="T3" fmla="*/ 216718265 h 893"/>
                  <a:gd name="T4" fmla="*/ 27889513 w 948"/>
                  <a:gd name="T5" fmla="*/ 215343218 h 893"/>
                  <a:gd name="T6" fmla="*/ 35530709 w 948"/>
                  <a:gd name="T7" fmla="*/ 213418048 h 893"/>
                  <a:gd name="T8" fmla="*/ 37632114 w 948"/>
                  <a:gd name="T9" fmla="*/ 223594023 h 893"/>
                  <a:gd name="T10" fmla="*/ 40497508 w 948"/>
                  <a:gd name="T11" fmla="*/ 229644333 h 893"/>
                  <a:gd name="T12" fmla="*/ 43171905 w 948"/>
                  <a:gd name="T13" fmla="*/ 232669750 h 893"/>
                  <a:gd name="T14" fmla="*/ 46992284 w 948"/>
                  <a:gd name="T15" fmla="*/ 233769998 h 893"/>
                  <a:gd name="T16" fmla="*/ 46992284 w 948"/>
                  <a:gd name="T17" fmla="*/ 242295602 h 893"/>
                  <a:gd name="T18" fmla="*/ 62274239 w 948"/>
                  <a:gd name="T19" fmla="*/ 244495571 h 893"/>
                  <a:gd name="T20" fmla="*/ 63802216 w 948"/>
                  <a:gd name="T21" fmla="*/ 240920555 h 893"/>
                  <a:gd name="T22" fmla="*/ 66285616 w 948"/>
                  <a:gd name="T23" fmla="*/ 239545508 h 893"/>
                  <a:gd name="T24" fmla="*/ 66476613 w 948"/>
                  <a:gd name="T25" fmla="*/ 244220772 h 893"/>
                  <a:gd name="T26" fmla="*/ 68387021 w 948"/>
                  <a:gd name="T27" fmla="*/ 245595819 h 893"/>
                  <a:gd name="T28" fmla="*/ 73544818 w 948"/>
                  <a:gd name="T29" fmla="*/ 245595819 h 893"/>
                  <a:gd name="T30" fmla="*/ 76601208 w 948"/>
                  <a:gd name="T31" fmla="*/ 234869720 h 893"/>
                  <a:gd name="T32" fmla="*/ 78702614 w 948"/>
                  <a:gd name="T33" fmla="*/ 216718265 h 893"/>
                  <a:gd name="T34" fmla="*/ 80994579 w 948"/>
                  <a:gd name="T35" fmla="*/ 212043001 h 893"/>
                  <a:gd name="T36" fmla="*/ 86343373 w 948"/>
                  <a:gd name="T37" fmla="*/ 207367738 h 893"/>
                  <a:gd name="T38" fmla="*/ 92647152 w 948"/>
                  <a:gd name="T39" fmla="*/ 204342320 h 893"/>
                  <a:gd name="T40" fmla="*/ 95703543 w 948"/>
                  <a:gd name="T41" fmla="*/ 200491980 h 893"/>
                  <a:gd name="T42" fmla="*/ 98377940 w 948"/>
                  <a:gd name="T43" fmla="*/ 193066623 h 893"/>
                  <a:gd name="T44" fmla="*/ 102198319 w 948"/>
                  <a:gd name="T45" fmla="*/ 183715571 h 893"/>
                  <a:gd name="T46" fmla="*/ 104490721 w 948"/>
                  <a:gd name="T47" fmla="*/ 181515602 h 893"/>
                  <a:gd name="T48" fmla="*/ 109266524 w 948"/>
                  <a:gd name="T49" fmla="*/ 181240278 h 893"/>
                  <a:gd name="T50" fmla="*/ 115570303 w 948"/>
                  <a:gd name="T51" fmla="*/ 177115138 h 893"/>
                  <a:gd name="T52" fmla="*/ 122065079 w 948"/>
                  <a:gd name="T53" fmla="*/ 171614426 h 893"/>
                  <a:gd name="T54" fmla="*/ 128750852 w 948"/>
                  <a:gd name="T55" fmla="*/ 168589533 h 893"/>
                  <a:gd name="T56" fmla="*/ 138302456 w 948"/>
                  <a:gd name="T57" fmla="*/ 167764086 h 893"/>
                  <a:gd name="T58" fmla="*/ 150528020 w 948"/>
                  <a:gd name="T59" fmla="*/ 165564116 h 893"/>
                  <a:gd name="T60" fmla="*/ 155685379 w 948"/>
                  <a:gd name="T61" fmla="*/ 163363622 h 893"/>
                  <a:gd name="T62" fmla="*/ 164854989 w 948"/>
                  <a:gd name="T63" fmla="*/ 162263899 h 893"/>
                  <a:gd name="T64" fmla="*/ 172113754 w 948"/>
                  <a:gd name="T65" fmla="*/ 160338729 h 893"/>
                  <a:gd name="T66" fmla="*/ 174406157 w 948"/>
                  <a:gd name="T67" fmla="*/ 157863435 h 893"/>
                  <a:gd name="T68" fmla="*/ 177844542 w 948"/>
                  <a:gd name="T69" fmla="*/ 149612631 h 893"/>
                  <a:gd name="T70" fmla="*/ 180136944 w 948"/>
                  <a:gd name="T71" fmla="*/ 138611733 h 893"/>
                  <a:gd name="T72" fmla="*/ 181091930 w 948"/>
                  <a:gd name="T73" fmla="*/ 126785912 h 893"/>
                  <a:gd name="T74" fmla="*/ 180900933 w 948"/>
                  <a:gd name="T75" fmla="*/ 115785014 h 893"/>
                  <a:gd name="T76" fmla="*/ 180136944 w 948"/>
                  <a:gd name="T77" fmla="*/ 99833528 h 893"/>
                  <a:gd name="T78" fmla="*/ 176125131 w 948"/>
                  <a:gd name="T79" fmla="*/ 97908358 h 893"/>
                  <a:gd name="T80" fmla="*/ 164663555 w 948"/>
                  <a:gd name="T81" fmla="*/ 88557307 h 893"/>
                  <a:gd name="T82" fmla="*/ 151674003 w 948"/>
                  <a:gd name="T83" fmla="*/ 76456686 h 893"/>
                  <a:gd name="T84" fmla="*/ 140976416 w 948"/>
                  <a:gd name="T85" fmla="*/ 59404953 h 893"/>
                  <a:gd name="T86" fmla="*/ 78702614 w 948"/>
                  <a:gd name="T87" fmla="*/ 3300217 h 893"/>
                  <a:gd name="T88" fmla="*/ 66476613 w 948"/>
                  <a:gd name="T89" fmla="*/ 28052630 h 893"/>
                  <a:gd name="T90" fmla="*/ 72398398 w 948"/>
                  <a:gd name="T91" fmla="*/ 111384550 h 893"/>
                  <a:gd name="T92" fmla="*/ 74881797 w 948"/>
                  <a:gd name="T93" fmla="*/ 155388141 h 893"/>
                  <a:gd name="T94" fmla="*/ 17765354 w 948"/>
                  <a:gd name="T95" fmla="*/ 162538699 h 893"/>
                  <a:gd name="T96" fmla="*/ 15090958 w 948"/>
                  <a:gd name="T97" fmla="*/ 166664363 h 893"/>
                  <a:gd name="T98" fmla="*/ 12798555 w 948"/>
                  <a:gd name="T99" fmla="*/ 167764086 h 893"/>
                  <a:gd name="T100" fmla="*/ 10888584 w 948"/>
                  <a:gd name="T101" fmla="*/ 166939163 h 893"/>
                  <a:gd name="T102" fmla="*/ 9360170 w 948"/>
                  <a:gd name="T103" fmla="*/ 162538699 h 893"/>
                  <a:gd name="T104" fmla="*/ 7641196 w 948"/>
                  <a:gd name="T105" fmla="*/ 159788605 h 893"/>
                  <a:gd name="T106" fmla="*/ 5539791 w 948"/>
                  <a:gd name="T107" fmla="*/ 166389039 h 893"/>
                  <a:gd name="T108" fmla="*/ 2865394 w 948"/>
                  <a:gd name="T109" fmla="*/ 171339627 h 893"/>
                  <a:gd name="T110" fmla="*/ 12798555 w 948"/>
                  <a:gd name="T111" fmla="*/ 201592227 h 893"/>
                  <a:gd name="T112" fmla="*/ 11652573 w 948"/>
                  <a:gd name="T113" fmla="*/ 205717367 h 893"/>
                  <a:gd name="T114" fmla="*/ 11843570 w 948"/>
                  <a:gd name="T115" fmla="*/ 209017584 h 893"/>
                  <a:gd name="T116" fmla="*/ 10315156 w 948"/>
                  <a:gd name="T117" fmla="*/ 216718265 h 893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948" h="893">
                    <a:moveTo>
                      <a:pt x="54" y="788"/>
                    </a:moveTo>
                    <a:lnTo>
                      <a:pt x="74" y="788"/>
                    </a:lnTo>
                    <a:lnTo>
                      <a:pt x="90" y="788"/>
                    </a:lnTo>
                    <a:lnTo>
                      <a:pt x="100" y="788"/>
                    </a:lnTo>
                    <a:lnTo>
                      <a:pt x="106" y="788"/>
                    </a:lnTo>
                    <a:lnTo>
                      <a:pt x="121" y="788"/>
                    </a:lnTo>
                    <a:lnTo>
                      <a:pt x="135" y="787"/>
                    </a:lnTo>
                    <a:lnTo>
                      <a:pt x="140" y="785"/>
                    </a:lnTo>
                    <a:lnTo>
                      <a:pt x="146" y="783"/>
                    </a:lnTo>
                    <a:lnTo>
                      <a:pt x="150" y="780"/>
                    </a:lnTo>
                    <a:lnTo>
                      <a:pt x="152" y="776"/>
                    </a:lnTo>
                    <a:lnTo>
                      <a:pt x="186" y="776"/>
                    </a:lnTo>
                    <a:lnTo>
                      <a:pt x="189" y="788"/>
                    </a:lnTo>
                    <a:lnTo>
                      <a:pt x="193" y="800"/>
                    </a:lnTo>
                    <a:lnTo>
                      <a:pt x="197" y="813"/>
                    </a:lnTo>
                    <a:lnTo>
                      <a:pt x="204" y="825"/>
                    </a:lnTo>
                    <a:lnTo>
                      <a:pt x="207" y="830"/>
                    </a:lnTo>
                    <a:lnTo>
                      <a:pt x="212" y="835"/>
                    </a:lnTo>
                    <a:lnTo>
                      <a:pt x="216" y="839"/>
                    </a:lnTo>
                    <a:lnTo>
                      <a:pt x="221" y="843"/>
                    </a:lnTo>
                    <a:lnTo>
                      <a:pt x="226" y="846"/>
                    </a:lnTo>
                    <a:lnTo>
                      <a:pt x="233" y="848"/>
                    </a:lnTo>
                    <a:lnTo>
                      <a:pt x="239" y="849"/>
                    </a:lnTo>
                    <a:lnTo>
                      <a:pt x="246" y="850"/>
                    </a:lnTo>
                    <a:lnTo>
                      <a:pt x="246" y="862"/>
                    </a:lnTo>
                    <a:lnTo>
                      <a:pt x="246" y="871"/>
                    </a:lnTo>
                    <a:lnTo>
                      <a:pt x="246" y="881"/>
                    </a:lnTo>
                    <a:lnTo>
                      <a:pt x="246" y="893"/>
                    </a:lnTo>
                    <a:lnTo>
                      <a:pt x="326" y="893"/>
                    </a:lnTo>
                    <a:lnTo>
                      <a:pt x="326" y="889"/>
                    </a:lnTo>
                    <a:lnTo>
                      <a:pt x="328" y="884"/>
                    </a:lnTo>
                    <a:lnTo>
                      <a:pt x="330" y="880"/>
                    </a:lnTo>
                    <a:lnTo>
                      <a:pt x="334" y="876"/>
                    </a:lnTo>
                    <a:lnTo>
                      <a:pt x="339" y="868"/>
                    </a:lnTo>
                    <a:lnTo>
                      <a:pt x="346" y="862"/>
                    </a:lnTo>
                    <a:lnTo>
                      <a:pt x="347" y="871"/>
                    </a:lnTo>
                    <a:lnTo>
                      <a:pt x="348" y="880"/>
                    </a:lnTo>
                    <a:lnTo>
                      <a:pt x="349" y="884"/>
                    </a:lnTo>
                    <a:lnTo>
                      <a:pt x="348" y="888"/>
                    </a:lnTo>
                    <a:lnTo>
                      <a:pt x="348" y="891"/>
                    </a:lnTo>
                    <a:lnTo>
                      <a:pt x="346" y="893"/>
                    </a:lnTo>
                    <a:lnTo>
                      <a:pt x="358" y="893"/>
                    </a:lnTo>
                    <a:lnTo>
                      <a:pt x="371" y="893"/>
                    </a:lnTo>
                    <a:lnTo>
                      <a:pt x="381" y="893"/>
                    </a:lnTo>
                    <a:lnTo>
                      <a:pt x="385" y="893"/>
                    </a:lnTo>
                    <a:lnTo>
                      <a:pt x="392" y="881"/>
                    </a:lnTo>
                    <a:lnTo>
                      <a:pt x="397" y="868"/>
                    </a:lnTo>
                    <a:lnTo>
                      <a:pt x="401" y="854"/>
                    </a:lnTo>
                    <a:lnTo>
                      <a:pt x="404" y="841"/>
                    </a:lnTo>
                    <a:lnTo>
                      <a:pt x="408" y="813"/>
                    </a:lnTo>
                    <a:lnTo>
                      <a:pt x="412" y="788"/>
                    </a:lnTo>
                    <a:lnTo>
                      <a:pt x="415" y="782"/>
                    </a:lnTo>
                    <a:lnTo>
                      <a:pt x="418" y="776"/>
                    </a:lnTo>
                    <a:lnTo>
                      <a:pt x="424" y="771"/>
                    </a:lnTo>
                    <a:lnTo>
                      <a:pt x="428" y="767"/>
                    </a:lnTo>
                    <a:lnTo>
                      <a:pt x="440" y="759"/>
                    </a:lnTo>
                    <a:lnTo>
                      <a:pt x="452" y="754"/>
                    </a:lnTo>
                    <a:lnTo>
                      <a:pt x="464" y="750"/>
                    </a:lnTo>
                    <a:lnTo>
                      <a:pt x="475" y="746"/>
                    </a:lnTo>
                    <a:lnTo>
                      <a:pt x="485" y="743"/>
                    </a:lnTo>
                    <a:lnTo>
                      <a:pt x="492" y="739"/>
                    </a:lnTo>
                    <a:lnTo>
                      <a:pt x="496" y="734"/>
                    </a:lnTo>
                    <a:lnTo>
                      <a:pt x="501" y="729"/>
                    </a:lnTo>
                    <a:lnTo>
                      <a:pt x="505" y="723"/>
                    </a:lnTo>
                    <a:lnTo>
                      <a:pt x="508" y="716"/>
                    </a:lnTo>
                    <a:lnTo>
                      <a:pt x="515" y="702"/>
                    </a:lnTo>
                    <a:lnTo>
                      <a:pt x="521" y="690"/>
                    </a:lnTo>
                    <a:lnTo>
                      <a:pt x="528" y="678"/>
                    </a:lnTo>
                    <a:lnTo>
                      <a:pt x="535" y="668"/>
                    </a:lnTo>
                    <a:lnTo>
                      <a:pt x="539" y="664"/>
                    </a:lnTo>
                    <a:lnTo>
                      <a:pt x="542" y="662"/>
                    </a:lnTo>
                    <a:lnTo>
                      <a:pt x="547" y="660"/>
                    </a:lnTo>
                    <a:lnTo>
                      <a:pt x="551" y="659"/>
                    </a:lnTo>
                    <a:lnTo>
                      <a:pt x="562" y="660"/>
                    </a:lnTo>
                    <a:lnTo>
                      <a:pt x="572" y="659"/>
                    </a:lnTo>
                    <a:lnTo>
                      <a:pt x="581" y="657"/>
                    </a:lnTo>
                    <a:lnTo>
                      <a:pt x="588" y="653"/>
                    </a:lnTo>
                    <a:lnTo>
                      <a:pt x="605" y="644"/>
                    </a:lnTo>
                    <a:lnTo>
                      <a:pt x="620" y="634"/>
                    </a:lnTo>
                    <a:lnTo>
                      <a:pt x="629" y="629"/>
                    </a:lnTo>
                    <a:lnTo>
                      <a:pt x="639" y="624"/>
                    </a:lnTo>
                    <a:lnTo>
                      <a:pt x="649" y="620"/>
                    </a:lnTo>
                    <a:lnTo>
                      <a:pt x="661" y="616"/>
                    </a:lnTo>
                    <a:lnTo>
                      <a:pt x="674" y="613"/>
                    </a:lnTo>
                    <a:lnTo>
                      <a:pt x="688" y="610"/>
                    </a:lnTo>
                    <a:lnTo>
                      <a:pt x="706" y="609"/>
                    </a:lnTo>
                    <a:lnTo>
                      <a:pt x="724" y="610"/>
                    </a:lnTo>
                    <a:lnTo>
                      <a:pt x="777" y="610"/>
                    </a:lnTo>
                    <a:lnTo>
                      <a:pt x="783" y="606"/>
                    </a:lnTo>
                    <a:lnTo>
                      <a:pt x="788" y="602"/>
                    </a:lnTo>
                    <a:lnTo>
                      <a:pt x="795" y="600"/>
                    </a:lnTo>
                    <a:lnTo>
                      <a:pt x="800" y="598"/>
                    </a:lnTo>
                    <a:lnTo>
                      <a:pt x="815" y="594"/>
                    </a:lnTo>
                    <a:lnTo>
                      <a:pt x="830" y="592"/>
                    </a:lnTo>
                    <a:lnTo>
                      <a:pt x="845" y="591"/>
                    </a:lnTo>
                    <a:lnTo>
                      <a:pt x="863" y="590"/>
                    </a:lnTo>
                    <a:lnTo>
                      <a:pt x="879" y="588"/>
                    </a:lnTo>
                    <a:lnTo>
                      <a:pt x="897" y="585"/>
                    </a:lnTo>
                    <a:lnTo>
                      <a:pt x="901" y="583"/>
                    </a:lnTo>
                    <a:lnTo>
                      <a:pt x="906" y="580"/>
                    </a:lnTo>
                    <a:lnTo>
                      <a:pt x="909" y="577"/>
                    </a:lnTo>
                    <a:lnTo>
                      <a:pt x="913" y="574"/>
                    </a:lnTo>
                    <a:lnTo>
                      <a:pt x="920" y="565"/>
                    </a:lnTo>
                    <a:lnTo>
                      <a:pt x="925" y="555"/>
                    </a:lnTo>
                    <a:lnTo>
                      <a:pt x="931" y="544"/>
                    </a:lnTo>
                    <a:lnTo>
                      <a:pt x="935" y="531"/>
                    </a:lnTo>
                    <a:lnTo>
                      <a:pt x="940" y="518"/>
                    </a:lnTo>
                    <a:lnTo>
                      <a:pt x="943" y="504"/>
                    </a:lnTo>
                    <a:lnTo>
                      <a:pt x="945" y="490"/>
                    </a:lnTo>
                    <a:lnTo>
                      <a:pt x="947" y="475"/>
                    </a:lnTo>
                    <a:lnTo>
                      <a:pt x="948" y="461"/>
                    </a:lnTo>
                    <a:lnTo>
                      <a:pt x="948" y="447"/>
                    </a:lnTo>
                    <a:lnTo>
                      <a:pt x="948" y="434"/>
                    </a:lnTo>
                    <a:lnTo>
                      <a:pt x="947" y="421"/>
                    </a:lnTo>
                    <a:lnTo>
                      <a:pt x="945" y="410"/>
                    </a:lnTo>
                    <a:lnTo>
                      <a:pt x="943" y="400"/>
                    </a:lnTo>
                    <a:lnTo>
                      <a:pt x="943" y="363"/>
                    </a:lnTo>
                    <a:lnTo>
                      <a:pt x="939" y="362"/>
                    </a:lnTo>
                    <a:lnTo>
                      <a:pt x="931" y="359"/>
                    </a:lnTo>
                    <a:lnTo>
                      <a:pt x="922" y="356"/>
                    </a:lnTo>
                    <a:lnTo>
                      <a:pt x="912" y="350"/>
                    </a:lnTo>
                    <a:lnTo>
                      <a:pt x="888" y="337"/>
                    </a:lnTo>
                    <a:lnTo>
                      <a:pt x="862" y="322"/>
                    </a:lnTo>
                    <a:lnTo>
                      <a:pt x="835" y="305"/>
                    </a:lnTo>
                    <a:lnTo>
                      <a:pt x="811" y="290"/>
                    </a:lnTo>
                    <a:lnTo>
                      <a:pt x="794" y="278"/>
                    </a:lnTo>
                    <a:lnTo>
                      <a:pt x="784" y="271"/>
                    </a:lnTo>
                    <a:lnTo>
                      <a:pt x="764" y="240"/>
                    </a:lnTo>
                    <a:lnTo>
                      <a:pt x="738" y="216"/>
                    </a:lnTo>
                    <a:lnTo>
                      <a:pt x="405" y="0"/>
                    </a:lnTo>
                    <a:lnTo>
                      <a:pt x="408" y="6"/>
                    </a:lnTo>
                    <a:lnTo>
                      <a:pt x="412" y="12"/>
                    </a:lnTo>
                    <a:lnTo>
                      <a:pt x="339" y="12"/>
                    </a:lnTo>
                    <a:lnTo>
                      <a:pt x="341" y="36"/>
                    </a:lnTo>
                    <a:lnTo>
                      <a:pt x="348" y="102"/>
                    </a:lnTo>
                    <a:lnTo>
                      <a:pt x="358" y="193"/>
                    </a:lnTo>
                    <a:lnTo>
                      <a:pt x="368" y="299"/>
                    </a:lnTo>
                    <a:lnTo>
                      <a:pt x="379" y="405"/>
                    </a:lnTo>
                    <a:lnTo>
                      <a:pt x="386" y="498"/>
                    </a:lnTo>
                    <a:lnTo>
                      <a:pt x="390" y="535"/>
                    </a:lnTo>
                    <a:lnTo>
                      <a:pt x="392" y="565"/>
                    </a:lnTo>
                    <a:lnTo>
                      <a:pt x="393" y="583"/>
                    </a:lnTo>
                    <a:lnTo>
                      <a:pt x="392" y="591"/>
                    </a:lnTo>
                    <a:lnTo>
                      <a:pt x="93" y="591"/>
                    </a:lnTo>
                    <a:lnTo>
                      <a:pt x="88" y="597"/>
                    </a:lnTo>
                    <a:lnTo>
                      <a:pt x="82" y="603"/>
                    </a:lnTo>
                    <a:lnTo>
                      <a:pt x="79" y="606"/>
                    </a:lnTo>
                    <a:lnTo>
                      <a:pt x="76" y="608"/>
                    </a:lnTo>
                    <a:lnTo>
                      <a:pt x="71" y="609"/>
                    </a:lnTo>
                    <a:lnTo>
                      <a:pt x="67" y="610"/>
                    </a:lnTo>
                    <a:lnTo>
                      <a:pt x="64" y="609"/>
                    </a:lnTo>
                    <a:lnTo>
                      <a:pt x="60" y="608"/>
                    </a:lnTo>
                    <a:lnTo>
                      <a:pt x="57" y="607"/>
                    </a:lnTo>
                    <a:lnTo>
                      <a:pt x="55" y="604"/>
                    </a:lnTo>
                    <a:lnTo>
                      <a:pt x="51" y="598"/>
                    </a:lnTo>
                    <a:lnTo>
                      <a:pt x="49" y="591"/>
                    </a:lnTo>
                    <a:lnTo>
                      <a:pt x="47" y="578"/>
                    </a:lnTo>
                    <a:lnTo>
                      <a:pt x="47" y="573"/>
                    </a:lnTo>
                    <a:lnTo>
                      <a:pt x="40" y="581"/>
                    </a:lnTo>
                    <a:lnTo>
                      <a:pt x="36" y="590"/>
                    </a:lnTo>
                    <a:lnTo>
                      <a:pt x="33" y="598"/>
                    </a:lnTo>
                    <a:lnTo>
                      <a:pt x="29" y="605"/>
                    </a:lnTo>
                    <a:lnTo>
                      <a:pt x="26" y="612"/>
                    </a:lnTo>
                    <a:lnTo>
                      <a:pt x="22" y="618"/>
                    </a:lnTo>
                    <a:lnTo>
                      <a:pt x="15" y="623"/>
                    </a:lnTo>
                    <a:lnTo>
                      <a:pt x="6" y="628"/>
                    </a:lnTo>
                    <a:lnTo>
                      <a:pt x="0" y="709"/>
                    </a:lnTo>
                    <a:lnTo>
                      <a:pt x="67" y="733"/>
                    </a:lnTo>
                    <a:lnTo>
                      <a:pt x="65" y="738"/>
                    </a:lnTo>
                    <a:lnTo>
                      <a:pt x="62" y="743"/>
                    </a:lnTo>
                    <a:lnTo>
                      <a:pt x="61" y="748"/>
                    </a:lnTo>
                    <a:lnTo>
                      <a:pt x="61" y="753"/>
                    </a:lnTo>
                    <a:lnTo>
                      <a:pt x="61" y="757"/>
                    </a:lnTo>
                    <a:lnTo>
                      <a:pt x="62" y="760"/>
                    </a:lnTo>
                    <a:lnTo>
                      <a:pt x="65" y="763"/>
                    </a:lnTo>
                    <a:lnTo>
                      <a:pt x="67" y="764"/>
                    </a:lnTo>
                    <a:lnTo>
                      <a:pt x="54" y="788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6" name="Freeform 237">
                <a:extLst>
                  <a:ext uri="{FF2B5EF4-FFF2-40B4-BE49-F238E27FC236}">
                    <a16:creationId xmlns:a16="http://schemas.microsoft.com/office/drawing/2014/main" id="{FB9F6D1B-358B-409E-8CBF-AD861CE1C364}"/>
                  </a:ext>
                </a:extLst>
              </p:cNvPr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auto">
              <a:xfrm>
                <a:off x="3767188" y="3176314"/>
                <a:ext cx="595433" cy="652207"/>
              </a:xfrm>
              <a:custGeom>
                <a:avLst/>
                <a:gdLst>
                  <a:gd name="T0" fmla="*/ 416972213 w 373"/>
                  <a:gd name="T1" fmla="*/ 900070800 h 370"/>
                  <a:gd name="T2" fmla="*/ 427483116 w 373"/>
                  <a:gd name="T3" fmla="*/ 895165936 h 370"/>
                  <a:gd name="T4" fmla="*/ 446755091 w 373"/>
                  <a:gd name="T5" fmla="*/ 902523233 h 370"/>
                  <a:gd name="T6" fmla="*/ 651736901 w 373"/>
                  <a:gd name="T7" fmla="*/ 679344074 h 370"/>
                  <a:gd name="T8" fmla="*/ 646482112 w 373"/>
                  <a:gd name="T9" fmla="*/ 662177048 h 370"/>
                  <a:gd name="T10" fmla="*/ 632466250 w 373"/>
                  <a:gd name="T11" fmla="*/ 647462455 h 370"/>
                  <a:gd name="T12" fmla="*/ 607938161 w 373"/>
                  <a:gd name="T13" fmla="*/ 635200294 h 370"/>
                  <a:gd name="T14" fmla="*/ 593922300 w 373"/>
                  <a:gd name="T15" fmla="*/ 622936567 h 370"/>
                  <a:gd name="T16" fmla="*/ 588666186 w 373"/>
                  <a:gd name="T17" fmla="*/ 605769542 h 370"/>
                  <a:gd name="T18" fmla="*/ 590418665 w 373"/>
                  <a:gd name="T19" fmla="*/ 559171764 h 370"/>
                  <a:gd name="T20" fmla="*/ 590418665 w 373"/>
                  <a:gd name="T21" fmla="*/ 480692369 h 370"/>
                  <a:gd name="T22" fmla="*/ 585162552 w 373"/>
                  <a:gd name="T23" fmla="*/ 412021135 h 370"/>
                  <a:gd name="T24" fmla="*/ 576402804 w 373"/>
                  <a:gd name="T25" fmla="*/ 380139517 h 370"/>
                  <a:gd name="T26" fmla="*/ 565890577 w 373"/>
                  <a:gd name="T27" fmla="*/ 348256332 h 370"/>
                  <a:gd name="T28" fmla="*/ 551874715 w 373"/>
                  <a:gd name="T29" fmla="*/ 267322938 h 370"/>
                  <a:gd name="T30" fmla="*/ 536106374 w 373"/>
                  <a:gd name="T31" fmla="*/ 220725161 h 370"/>
                  <a:gd name="T32" fmla="*/ 520339357 w 373"/>
                  <a:gd name="T33" fmla="*/ 191295975 h 370"/>
                  <a:gd name="T34" fmla="*/ 525594147 w 373"/>
                  <a:gd name="T35" fmla="*/ 154507926 h 370"/>
                  <a:gd name="T36" fmla="*/ 527346626 w 373"/>
                  <a:gd name="T37" fmla="*/ 105457716 h 370"/>
                  <a:gd name="T38" fmla="*/ 529099105 w 373"/>
                  <a:gd name="T39" fmla="*/ 56407506 h 370"/>
                  <a:gd name="T40" fmla="*/ 543114967 w 373"/>
                  <a:gd name="T41" fmla="*/ 17167025 h 370"/>
                  <a:gd name="T42" fmla="*/ 529099105 w 373"/>
                  <a:gd name="T43" fmla="*/ 14714593 h 370"/>
                  <a:gd name="T44" fmla="*/ 487051521 w 373"/>
                  <a:gd name="T45" fmla="*/ 29430752 h 370"/>
                  <a:gd name="T46" fmla="*/ 429235595 w 373"/>
                  <a:gd name="T47" fmla="*/ 29430752 h 370"/>
                  <a:gd name="T48" fmla="*/ 360908766 w 373"/>
                  <a:gd name="T49" fmla="*/ 34335617 h 370"/>
                  <a:gd name="T50" fmla="*/ 294333093 w 373"/>
                  <a:gd name="T51" fmla="*/ 58859938 h 370"/>
                  <a:gd name="T52" fmla="*/ 254037987 w 373"/>
                  <a:gd name="T53" fmla="*/ 78480962 h 370"/>
                  <a:gd name="T54" fmla="*/ 217245193 w 373"/>
                  <a:gd name="T55" fmla="*/ 107910148 h 370"/>
                  <a:gd name="T56" fmla="*/ 215494037 w 373"/>
                  <a:gd name="T57" fmla="*/ 127531172 h 370"/>
                  <a:gd name="T58" fmla="*/ 229509899 w 373"/>
                  <a:gd name="T59" fmla="*/ 218272729 h 370"/>
                  <a:gd name="T60" fmla="*/ 234766012 w 373"/>
                  <a:gd name="T61" fmla="*/ 228084023 h 370"/>
                  <a:gd name="T62" fmla="*/ 247029395 w 373"/>
                  <a:gd name="T63" fmla="*/ 240346184 h 370"/>
                  <a:gd name="T64" fmla="*/ 248781874 w 373"/>
                  <a:gd name="T65" fmla="*/ 250155913 h 370"/>
                  <a:gd name="T66" fmla="*/ 243525760 w 373"/>
                  <a:gd name="T67" fmla="*/ 262418074 h 370"/>
                  <a:gd name="T68" fmla="*/ 224253785 w 373"/>
                  <a:gd name="T69" fmla="*/ 262418074 h 370"/>
                  <a:gd name="T70" fmla="*/ 185709835 w 373"/>
                  <a:gd name="T71" fmla="*/ 277132667 h 370"/>
                  <a:gd name="T72" fmla="*/ 166437860 w 373"/>
                  <a:gd name="T73" fmla="*/ 299206123 h 370"/>
                  <a:gd name="T74" fmla="*/ 157678112 w 373"/>
                  <a:gd name="T75" fmla="*/ 321278012 h 370"/>
                  <a:gd name="T76" fmla="*/ 143662250 w 373"/>
                  <a:gd name="T77" fmla="*/ 335994172 h 370"/>
                  <a:gd name="T78" fmla="*/ 115630527 w 373"/>
                  <a:gd name="T79" fmla="*/ 367875790 h 370"/>
                  <a:gd name="T80" fmla="*/ 89351283 w 373"/>
                  <a:gd name="T81" fmla="*/ 387496813 h 370"/>
                  <a:gd name="T82" fmla="*/ 54310967 w 373"/>
                  <a:gd name="T83" fmla="*/ 392401678 h 370"/>
                  <a:gd name="T84" fmla="*/ 35038992 w 373"/>
                  <a:gd name="T85" fmla="*/ 402211407 h 370"/>
                  <a:gd name="T86" fmla="*/ 14015862 w 373"/>
                  <a:gd name="T87" fmla="*/ 426735728 h 370"/>
                  <a:gd name="T88" fmla="*/ 0 w 373"/>
                  <a:gd name="T89" fmla="*/ 490502097 h 370"/>
                  <a:gd name="T90" fmla="*/ 313605068 w 373"/>
                  <a:gd name="T91" fmla="*/ 811780110 h 370"/>
                  <a:gd name="T92" fmla="*/ 352149018 w 373"/>
                  <a:gd name="T93" fmla="*/ 863282752 h 370"/>
                  <a:gd name="T94" fmla="*/ 401203872 w 373"/>
                  <a:gd name="T95" fmla="*/ 902523233 h 37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73" h="370">
                    <a:moveTo>
                      <a:pt x="235" y="370"/>
                    </a:moveTo>
                    <a:lnTo>
                      <a:pt x="237" y="369"/>
                    </a:lnTo>
                    <a:lnTo>
                      <a:pt x="238" y="367"/>
                    </a:lnTo>
                    <a:lnTo>
                      <a:pt x="240" y="366"/>
                    </a:lnTo>
                    <a:lnTo>
                      <a:pt x="241" y="366"/>
                    </a:lnTo>
                    <a:lnTo>
                      <a:pt x="242" y="365"/>
                    </a:lnTo>
                    <a:lnTo>
                      <a:pt x="244" y="365"/>
                    </a:lnTo>
                    <a:lnTo>
                      <a:pt x="245" y="365"/>
                    </a:lnTo>
                    <a:lnTo>
                      <a:pt x="249" y="366"/>
                    </a:lnTo>
                    <a:lnTo>
                      <a:pt x="252" y="367"/>
                    </a:lnTo>
                    <a:lnTo>
                      <a:pt x="255" y="368"/>
                    </a:lnTo>
                    <a:lnTo>
                      <a:pt x="257" y="370"/>
                    </a:lnTo>
                    <a:lnTo>
                      <a:pt x="373" y="282"/>
                    </a:lnTo>
                    <a:lnTo>
                      <a:pt x="373" y="279"/>
                    </a:lnTo>
                    <a:lnTo>
                      <a:pt x="372" y="277"/>
                    </a:lnTo>
                    <a:lnTo>
                      <a:pt x="372" y="275"/>
                    </a:lnTo>
                    <a:lnTo>
                      <a:pt x="371" y="273"/>
                    </a:lnTo>
                    <a:lnTo>
                      <a:pt x="370" y="271"/>
                    </a:lnTo>
                    <a:lnTo>
                      <a:pt x="369" y="270"/>
                    </a:lnTo>
                    <a:lnTo>
                      <a:pt x="368" y="268"/>
                    </a:lnTo>
                    <a:lnTo>
                      <a:pt x="367" y="267"/>
                    </a:lnTo>
                    <a:lnTo>
                      <a:pt x="364" y="265"/>
                    </a:lnTo>
                    <a:lnTo>
                      <a:pt x="361" y="264"/>
                    </a:lnTo>
                    <a:lnTo>
                      <a:pt x="358" y="262"/>
                    </a:lnTo>
                    <a:lnTo>
                      <a:pt x="354" y="261"/>
                    </a:lnTo>
                    <a:lnTo>
                      <a:pt x="351" y="260"/>
                    </a:lnTo>
                    <a:lnTo>
                      <a:pt x="347" y="259"/>
                    </a:lnTo>
                    <a:lnTo>
                      <a:pt x="344" y="258"/>
                    </a:lnTo>
                    <a:lnTo>
                      <a:pt x="342" y="256"/>
                    </a:lnTo>
                    <a:lnTo>
                      <a:pt x="340" y="255"/>
                    </a:lnTo>
                    <a:lnTo>
                      <a:pt x="339" y="254"/>
                    </a:lnTo>
                    <a:lnTo>
                      <a:pt x="338" y="252"/>
                    </a:lnTo>
                    <a:lnTo>
                      <a:pt x="337" y="251"/>
                    </a:lnTo>
                    <a:lnTo>
                      <a:pt x="337" y="249"/>
                    </a:lnTo>
                    <a:lnTo>
                      <a:pt x="336" y="247"/>
                    </a:lnTo>
                    <a:lnTo>
                      <a:pt x="336" y="245"/>
                    </a:lnTo>
                    <a:lnTo>
                      <a:pt x="336" y="243"/>
                    </a:lnTo>
                    <a:lnTo>
                      <a:pt x="336" y="235"/>
                    </a:lnTo>
                    <a:lnTo>
                      <a:pt x="337" y="228"/>
                    </a:lnTo>
                    <a:lnTo>
                      <a:pt x="338" y="220"/>
                    </a:lnTo>
                    <a:lnTo>
                      <a:pt x="338" y="214"/>
                    </a:lnTo>
                    <a:lnTo>
                      <a:pt x="338" y="205"/>
                    </a:lnTo>
                    <a:lnTo>
                      <a:pt x="337" y="196"/>
                    </a:lnTo>
                    <a:lnTo>
                      <a:pt x="337" y="186"/>
                    </a:lnTo>
                    <a:lnTo>
                      <a:pt x="336" y="177"/>
                    </a:lnTo>
                    <a:lnTo>
                      <a:pt x="335" y="172"/>
                    </a:lnTo>
                    <a:lnTo>
                      <a:pt x="334" y="168"/>
                    </a:lnTo>
                    <a:lnTo>
                      <a:pt x="333" y="164"/>
                    </a:lnTo>
                    <a:lnTo>
                      <a:pt x="332" y="160"/>
                    </a:lnTo>
                    <a:lnTo>
                      <a:pt x="330" y="157"/>
                    </a:lnTo>
                    <a:lnTo>
                      <a:pt x="329" y="155"/>
                    </a:lnTo>
                    <a:lnTo>
                      <a:pt x="327" y="153"/>
                    </a:lnTo>
                    <a:lnTo>
                      <a:pt x="325" y="152"/>
                    </a:lnTo>
                    <a:lnTo>
                      <a:pt x="324" y="147"/>
                    </a:lnTo>
                    <a:lnTo>
                      <a:pt x="323" y="142"/>
                    </a:lnTo>
                    <a:lnTo>
                      <a:pt x="322" y="136"/>
                    </a:lnTo>
                    <a:lnTo>
                      <a:pt x="321" y="130"/>
                    </a:lnTo>
                    <a:lnTo>
                      <a:pt x="319" y="120"/>
                    </a:lnTo>
                    <a:lnTo>
                      <a:pt x="315" y="109"/>
                    </a:lnTo>
                    <a:lnTo>
                      <a:pt x="313" y="104"/>
                    </a:lnTo>
                    <a:lnTo>
                      <a:pt x="311" y="99"/>
                    </a:lnTo>
                    <a:lnTo>
                      <a:pt x="308" y="94"/>
                    </a:lnTo>
                    <a:lnTo>
                      <a:pt x="306" y="90"/>
                    </a:lnTo>
                    <a:lnTo>
                      <a:pt x="304" y="86"/>
                    </a:lnTo>
                    <a:lnTo>
                      <a:pt x="301" y="83"/>
                    </a:lnTo>
                    <a:lnTo>
                      <a:pt x="299" y="80"/>
                    </a:lnTo>
                    <a:lnTo>
                      <a:pt x="297" y="78"/>
                    </a:lnTo>
                    <a:lnTo>
                      <a:pt x="298" y="74"/>
                    </a:lnTo>
                    <a:lnTo>
                      <a:pt x="299" y="69"/>
                    </a:lnTo>
                    <a:lnTo>
                      <a:pt x="300" y="66"/>
                    </a:lnTo>
                    <a:lnTo>
                      <a:pt x="300" y="63"/>
                    </a:lnTo>
                    <a:lnTo>
                      <a:pt x="301" y="60"/>
                    </a:lnTo>
                    <a:lnTo>
                      <a:pt x="303" y="57"/>
                    </a:lnTo>
                    <a:lnTo>
                      <a:pt x="302" y="50"/>
                    </a:lnTo>
                    <a:lnTo>
                      <a:pt x="301" y="43"/>
                    </a:lnTo>
                    <a:lnTo>
                      <a:pt x="301" y="37"/>
                    </a:lnTo>
                    <a:lnTo>
                      <a:pt x="301" y="32"/>
                    </a:lnTo>
                    <a:lnTo>
                      <a:pt x="301" y="27"/>
                    </a:lnTo>
                    <a:lnTo>
                      <a:pt x="302" y="23"/>
                    </a:lnTo>
                    <a:lnTo>
                      <a:pt x="303" y="19"/>
                    </a:lnTo>
                    <a:lnTo>
                      <a:pt x="304" y="16"/>
                    </a:lnTo>
                    <a:lnTo>
                      <a:pt x="307" y="11"/>
                    </a:lnTo>
                    <a:lnTo>
                      <a:pt x="310" y="7"/>
                    </a:lnTo>
                    <a:lnTo>
                      <a:pt x="312" y="3"/>
                    </a:lnTo>
                    <a:lnTo>
                      <a:pt x="314" y="0"/>
                    </a:lnTo>
                    <a:lnTo>
                      <a:pt x="308" y="3"/>
                    </a:lnTo>
                    <a:lnTo>
                      <a:pt x="302" y="6"/>
                    </a:lnTo>
                    <a:lnTo>
                      <a:pt x="297" y="8"/>
                    </a:lnTo>
                    <a:lnTo>
                      <a:pt x="290" y="9"/>
                    </a:lnTo>
                    <a:lnTo>
                      <a:pt x="284" y="11"/>
                    </a:lnTo>
                    <a:lnTo>
                      <a:pt x="278" y="12"/>
                    </a:lnTo>
                    <a:lnTo>
                      <a:pt x="271" y="12"/>
                    </a:lnTo>
                    <a:lnTo>
                      <a:pt x="264" y="12"/>
                    </a:lnTo>
                    <a:lnTo>
                      <a:pt x="256" y="12"/>
                    </a:lnTo>
                    <a:lnTo>
                      <a:pt x="245" y="12"/>
                    </a:lnTo>
                    <a:lnTo>
                      <a:pt x="233" y="12"/>
                    </a:lnTo>
                    <a:lnTo>
                      <a:pt x="222" y="12"/>
                    </a:lnTo>
                    <a:lnTo>
                      <a:pt x="215" y="13"/>
                    </a:lnTo>
                    <a:lnTo>
                      <a:pt x="206" y="14"/>
                    </a:lnTo>
                    <a:lnTo>
                      <a:pt x="197" y="16"/>
                    </a:lnTo>
                    <a:lnTo>
                      <a:pt x="187" y="18"/>
                    </a:lnTo>
                    <a:lnTo>
                      <a:pt x="177" y="21"/>
                    </a:lnTo>
                    <a:lnTo>
                      <a:pt x="168" y="24"/>
                    </a:lnTo>
                    <a:lnTo>
                      <a:pt x="159" y="26"/>
                    </a:lnTo>
                    <a:lnTo>
                      <a:pt x="153" y="29"/>
                    </a:lnTo>
                    <a:lnTo>
                      <a:pt x="150" y="30"/>
                    </a:lnTo>
                    <a:lnTo>
                      <a:pt x="145" y="32"/>
                    </a:lnTo>
                    <a:lnTo>
                      <a:pt x="140" y="34"/>
                    </a:lnTo>
                    <a:lnTo>
                      <a:pt x="135" y="37"/>
                    </a:lnTo>
                    <a:lnTo>
                      <a:pt x="130" y="40"/>
                    </a:lnTo>
                    <a:lnTo>
                      <a:pt x="124" y="44"/>
                    </a:lnTo>
                    <a:lnTo>
                      <a:pt x="119" y="48"/>
                    </a:lnTo>
                    <a:lnTo>
                      <a:pt x="116" y="51"/>
                    </a:lnTo>
                    <a:lnTo>
                      <a:pt x="118" y="52"/>
                    </a:lnTo>
                    <a:lnTo>
                      <a:pt x="123" y="52"/>
                    </a:lnTo>
                    <a:lnTo>
                      <a:pt x="128" y="53"/>
                    </a:lnTo>
                    <a:lnTo>
                      <a:pt x="131" y="53"/>
                    </a:lnTo>
                    <a:lnTo>
                      <a:pt x="131" y="88"/>
                    </a:lnTo>
                    <a:lnTo>
                      <a:pt x="131" y="89"/>
                    </a:lnTo>
                    <a:lnTo>
                      <a:pt x="131" y="90"/>
                    </a:lnTo>
                    <a:lnTo>
                      <a:pt x="132" y="91"/>
                    </a:lnTo>
                    <a:lnTo>
                      <a:pt x="133" y="92"/>
                    </a:lnTo>
                    <a:lnTo>
                      <a:pt x="134" y="93"/>
                    </a:lnTo>
                    <a:lnTo>
                      <a:pt x="136" y="94"/>
                    </a:lnTo>
                    <a:lnTo>
                      <a:pt x="138" y="95"/>
                    </a:lnTo>
                    <a:lnTo>
                      <a:pt x="140" y="97"/>
                    </a:lnTo>
                    <a:lnTo>
                      <a:pt x="141" y="98"/>
                    </a:lnTo>
                    <a:lnTo>
                      <a:pt x="141" y="99"/>
                    </a:lnTo>
                    <a:lnTo>
                      <a:pt x="142" y="100"/>
                    </a:lnTo>
                    <a:lnTo>
                      <a:pt x="142" y="101"/>
                    </a:lnTo>
                    <a:lnTo>
                      <a:pt x="142" y="102"/>
                    </a:lnTo>
                    <a:lnTo>
                      <a:pt x="141" y="104"/>
                    </a:lnTo>
                    <a:lnTo>
                      <a:pt x="141" y="105"/>
                    </a:lnTo>
                    <a:lnTo>
                      <a:pt x="140" y="106"/>
                    </a:lnTo>
                    <a:lnTo>
                      <a:pt x="139" y="107"/>
                    </a:lnTo>
                    <a:lnTo>
                      <a:pt x="138" y="107"/>
                    </a:lnTo>
                    <a:lnTo>
                      <a:pt x="136" y="107"/>
                    </a:lnTo>
                    <a:lnTo>
                      <a:pt x="135" y="108"/>
                    </a:lnTo>
                    <a:lnTo>
                      <a:pt x="128" y="107"/>
                    </a:lnTo>
                    <a:lnTo>
                      <a:pt x="120" y="107"/>
                    </a:lnTo>
                    <a:lnTo>
                      <a:pt x="116" y="108"/>
                    </a:lnTo>
                    <a:lnTo>
                      <a:pt x="112" y="111"/>
                    </a:lnTo>
                    <a:lnTo>
                      <a:pt x="106" y="113"/>
                    </a:lnTo>
                    <a:lnTo>
                      <a:pt x="101" y="116"/>
                    </a:lnTo>
                    <a:lnTo>
                      <a:pt x="99" y="118"/>
                    </a:lnTo>
                    <a:lnTo>
                      <a:pt x="97" y="120"/>
                    </a:lnTo>
                    <a:lnTo>
                      <a:pt x="95" y="122"/>
                    </a:lnTo>
                    <a:lnTo>
                      <a:pt x="93" y="124"/>
                    </a:lnTo>
                    <a:lnTo>
                      <a:pt x="92" y="126"/>
                    </a:lnTo>
                    <a:lnTo>
                      <a:pt x="91" y="128"/>
                    </a:lnTo>
                    <a:lnTo>
                      <a:pt x="90" y="131"/>
                    </a:lnTo>
                    <a:lnTo>
                      <a:pt x="90" y="133"/>
                    </a:lnTo>
                    <a:lnTo>
                      <a:pt x="87" y="134"/>
                    </a:lnTo>
                    <a:lnTo>
                      <a:pt x="84" y="135"/>
                    </a:lnTo>
                    <a:lnTo>
                      <a:pt x="82" y="137"/>
                    </a:lnTo>
                    <a:lnTo>
                      <a:pt x="79" y="139"/>
                    </a:lnTo>
                    <a:lnTo>
                      <a:pt x="74" y="143"/>
                    </a:lnTo>
                    <a:lnTo>
                      <a:pt x="69" y="148"/>
                    </a:lnTo>
                    <a:lnTo>
                      <a:pt x="66" y="150"/>
                    </a:lnTo>
                    <a:lnTo>
                      <a:pt x="62" y="152"/>
                    </a:lnTo>
                    <a:lnTo>
                      <a:pt x="59" y="155"/>
                    </a:lnTo>
                    <a:lnTo>
                      <a:pt x="55" y="156"/>
                    </a:lnTo>
                    <a:lnTo>
                      <a:pt x="51" y="158"/>
                    </a:lnTo>
                    <a:lnTo>
                      <a:pt x="46" y="159"/>
                    </a:lnTo>
                    <a:lnTo>
                      <a:pt x="41" y="160"/>
                    </a:lnTo>
                    <a:lnTo>
                      <a:pt x="35" y="160"/>
                    </a:lnTo>
                    <a:lnTo>
                      <a:pt x="31" y="160"/>
                    </a:lnTo>
                    <a:lnTo>
                      <a:pt x="29" y="161"/>
                    </a:lnTo>
                    <a:lnTo>
                      <a:pt x="26" y="161"/>
                    </a:lnTo>
                    <a:lnTo>
                      <a:pt x="24" y="162"/>
                    </a:lnTo>
                    <a:lnTo>
                      <a:pt x="20" y="164"/>
                    </a:lnTo>
                    <a:lnTo>
                      <a:pt x="17" y="167"/>
                    </a:lnTo>
                    <a:lnTo>
                      <a:pt x="13" y="169"/>
                    </a:lnTo>
                    <a:lnTo>
                      <a:pt x="10" y="172"/>
                    </a:lnTo>
                    <a:lnTo>
                      <a:pt x="8" y="174"/>
                    </a:lnTo>
                    <a:lnTo>
                      <a:pt x="6" y="175"/>
                    </a:lnTo>
                    <a:lnTo>
                      <a:pt x="3" y="176"/>
                    </a:lnTo>
                    <a:lnTo>
                      <a:pt x="0" y="177"/>
                    </a:lnTo>
                    <a:lnTo>
                      <a:pt x="0" y="200"/>
                    </a:lnTo>
                    <a:lnTo>
                      <a:pt x="0" y="208"/>
                    </a:lnTo>
                    <a:lnTo>
                      <a:pt x="69" y="253"/>
                    </a:lnTo>
                    <a:lnTo>
                      <a:pt x="170" y="323"/>
                    </a:lnTo>
                    <a:lnTo>
                      <a:pt x="179" y="331"/>
                    </a:lnTo>
                    <a:lnTo>
                      <a:pt x="185" y="341"/>
                    </a:lnTo>
                    <a:lnTo>
                      <a:pt x="189" y="344"/>
                    </a:lnTo>
                    <a:lnTo>
                      <a:pt x="194" y="347"/>
                    </a:lnTo>
                    <a:lnTo>
                      <a:pt x="201" y="352"/>
                    </a:lnTo>
                    <a:lnTo>
                      <a:pt x="210" y="357"/>
                    </a:lnTo>
                    <a:lnTo>
                      <a:pt x="218" y="362"/>
                    </a:lnTo>
                    <a:lnTo>
                      <a:pt x="226" y="366"/>
                    </a:lnTo>
                    <a:lnTo>
                      <a:pt x="229" y="368"/>
                    </a:lnTo>
                    <a:lnTo>
                      <a:pt x="232" y="369"/>
                    </a:lnTo>
                    <a:lnTo>
                      <a:pt x="234" y="370"/>
                    </a:lnTo>
                    <a:lnTo>
                      <a:pt x="235" y="37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7" name="Freeform 238">
                <a:extLst>
                  <a:ext uri="{FF2B5EF4-FFF2-40B4-BE49-F238E27FC236}">
                    <a16:creationId xmlns:a16="http://schemas.microsoft.com/office/drawing/2014/main" id="{F59B7EEC-EEBD-4203-9343-3E6850F468A8}"/>
                  </a:ext>
                </a:extLst>
              </p:cNvPr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auto">
              <a:xfrm>
                <a:off x="4293848" y="3329257"/>
                <a:ext cx="461505" cy="490475"/>
              </a:xfrm>
              <a:custGeom>
                <a:avLst/>
                <a:gdLst>
                  <a:gd name="T0" fmla="*/ 6908141 w 877"/>
                  <a:gd name="T1" fmla="*/ 39386772 h 826"/>
                  <a:gd name="T2" fmla="*/ 8827264 w 877"/>
                  <a:gd name="T3" fmla="*/ 30447821 h 826"/>
                  <a:gd name="T4" fmla="*/ 8827264 w 877"/>
                  <a:gd name="T5" fmla="*/ 19553855 h 826"/>
                  <a:gd name="T6" fmla="*/ 11705291 w 877"/>
                  <a:gd name="T7" fmla="*/ 17877901 h 826"/>
                  <a:gd name="T8" fmla="*/ 17078484 w 877"/>
                  <a:gd name="T9" fmla="*/ 15363706 h 826"/>
                  <a:gd name="T10" fmla="*/ 18997607 w 877"/>
                  <a:gd name="T11" fmla="*/ 5587042 h 826"/>
                  <a:gd name="T12" fmla="*/ 32237846 w 877"/>
                  <a:gd name="T13" fmla="*/ 1675954 h 826"/>
                  <a:gd name="T14" fmla="*/ 46438303 w 877"/>
                  <a:gd name="T15" fmla="*/ 6704345 h 826"/>
                  <a:gd name="T16" fmla="*/ 52386664 w 877"/>
                  <a:gd name="T17" fmla="*/ 12011797 h 826"/>
                  <a:gd name="T18" fmla="*/ 54689523 w 877"/>
                  <a:gd name="T19" fmla="*/ 21788461 h 826"/>
                  <a:gd name="T20" fmla="*/ 56608208 w 877"/>
                  <a:gd name="T21" fmla="*/ 28213216 h 826"/>
                  <a:gd name="T22" fmla="*/ 62365138 w 877"/>
                  <a:gd name="T23" fmla="*/ 30727411 h 826"/>
                  <a:gd name="T24" fmla="*/ 69657016 w 877"/>
                  <a:gd name="T25" fmla="*/ 30447821 h 826"/>
                  <a:gd name="T26" fmla="*/ 80787140 w 877"/>
                  <a:gd name="T27" fmla="*/ 37152166 h 826"/>
                  <a:gd name="T28" fmla="*/ 91724957 w 877"/>
                  <a:gd name="T29" fmla="*/ 45252875 h 826"/>
                  <a:gd name="T30" fmla="*/ 98441230 w 877"/>
                  <a:gd name="T31" fmla="*/ 46370178 h 826"/>
                  <a:gd name="T32" fmla="*/ 103238380 w 877"/>
                  <a:gd name="T33" fmla="*/ 44135573 h 826"/>
                  <a:gd name="T34" fmla="*/ 105349371 w 877"/>
                  <a:gd name="T35" fmla="*/ 35196622 h 826"/>
                  <a:gd name="T36" fmla="*/ 104389590 w 877"/>
                  <a:gd name="T37" fmla="*/ 28771867 h 826"/>
                  <a:gd name="T38" fmla="*/ 101895300 w 877"/>
                  <a:gd name="T39" fmla="*/ 22626702 h 826"/>
                  <a:gd name="T40" fmla="*/ 103430248 w 877"/>
                  <a:gd name="T41" fmla="*/ 13687751 h 826"/>
                  <a:gd name="T42" fmla="*/ 110146521 w 877"/>
                  <a:gd name="T43" fmla="*/ 9497602 h 826"/>
                  <a:gd name="T44" fmla="*/ 118397741 w 877"/>
                  <a:gd name="T45" fmla="*/ 1117303 h 826"/>
                  <a:gd name="T46" fmla="*/ 124730277 w 877"/>
                  <a:gd name="T47" fmla="*/ 0 h 826"/>
                  <a:gd name="T48" fmla="*/ 130679076 w 877"/>
                  <a:gd name="T49" fmla="*/ 1675954 h 826"/>
                  <a:gd name="T50" fmla="*/ 133365672 w 877"/>
                  <a:gd name="T51" fmla="*/ 6704345 h 826"/>
                  <a:gd name="T52" fmla="*/ 135476225 w 877"/>
                  <a:gd name="T53" fmla="*/ 13966813 h 826"/>
                  <a:gd name="T54" fmla="*/ 139698208 w 877"/>
                  <a:gd name="T55" fmla="*/ 17598311 h 826"/>
                  <a:gd name="T56" fmla="*/ 153130753 w 877"/>
                  <a:gd name="T57" fmla="*/ 19832917 h 826"/>
                  <a:gd name="T58" fmla="*/ 159270982 w 877"/>
                  <a:gd name="T59" fmla="*/ 27095913 h 826"/>
                  <a:gd name="T60" fmla="*/ 160038894 w 877"/>
                  <a:gd name="T61" fmla="*/ 32682427 h 826"/>
                  <a:gd name="T62" fmla="*/ 161765711 w 877"/>
                  <a:gd name="T63" fmla="*/ 39107710 h 826"/>
                  <a:gd name="T64" fmla="*/ 160422631 w 877"/>
                  <a:gd name="T65" fmla="*/ 44415163 h 826"/>
                  <a:gd name="T66" fmla="*/ 158119772 w 877"/>
                  <a:gd name="T67" fmla="*/ 47487481 h 826"/>
                  <a:gd name="T68" fmla="*/ 159079114 w 877"/>
                  <a:gd name="T69" fmla="*/ 57823324 h 826"/>
                  <a:gd name="T70" fmla="*/ 164644176 w 877"/>
                  <a:gd name="T71" fmla="*/ 68438229 h 826"/>
                  <a:gd name="T72" fmla="*/ 168098246 w 877"/>
                  <a:gd name="T73" fmla="*/ 191905996 h 826"/>
                  <a:gd name="T74" fmla="*/ 168290115 w 877"/>
                  <a:gd name="T75" fmla="*/ 206990111 h 826"/>
                  <a:gd name="T76" fmla="*/ 166947035 w 877"/>
                  <a:gd name="T77" fmla="*/ 216487713 h 826"/>
                  <a:gd name="T78" fmla="*/ 162725053 w 877"/>
                  <a:gd name="T79" fmla="*/ 218722319 h 826"/>
                  <a:gd name="T80" fmla="*/ 159270982 w 877"/>
                  <a:gd name="T81" fmla="*/ 224588422 h 826"/>
                  <a:gd name="T82" fmla="*/ 70232622 w 877"/>
                  <a:gd name="T83" fmla="*/ 165648324 h 826"/>
                  <a:gd name="T84" fmla="*/ 63516349 w 877"/>
                  <a:gd name="T85" fmla="*/ 169558884 h 826"/>
                  <a:gd name="T86" fmla="*/ 56032603 w 877"/>
                  <a:gd name="T87" fmla="*/ 174866336 h 826"/>
                  <a:gd name="T88" fmla="*/ 50467979 w 877"/>
                  <a:gd name="T89" fmla="*/ 175145398 h 826"/>
                  <a:gd name="T90" fmla="*/ 44135443 w 877"/>
                  <a:gd name="T91" fmla="*/ 170117535 h 826"/>
                  <a:gd name="T92" fmla="*/ 37035434 w 877"/>
                  <a:gd name="T93" fmla="*/ 163692780 h 826"/>
                  <a:gd name="T94" fmla="*/ 29167512 w 877"/>
                  <a:gd name="T95" fmla="*/ 161458175 h 826"/>
                  <a:gd name="T96" fmla="*/ 26481354 w 877"/>
                  <a:gd name="T97" fmla="*/ 161178585 h 826"/>
                  <a:gd name="T98" fmla="*/ 24945968 w 877"/>
                  <a:gd name="T99" fmla="*/ 154474768 h 826"/>
                  <a:gd name="T100" fmla="*/ 20916292 w 877"/>
                  <a:gd name="T101" fmla="*/ 149446377 h 826"/>
                  <a:gd name="T102" fmla="*/ 12089466 w 877"/>
                  <a:gd name="T103" fmla="*/ 144418515 h 826"/>
                  <a:gd name="T104" fmla="*/ 5373193 w 877"/>
                  <a:gd name="T105" fmla="*/ 139390124 h 826"/>
                  <a:gd name="T106" fmla="*/ 3070334 w 877"/>
                  <a:gd name="T107" fmla="*/ 134641323 h 826"/>
                  <a:gd name="T108" fmla="*/ 2686597 w 877"/>
                  <a:gd name="T109" fmla="*/ 122630054 h 826"/>
                  <a:gd name="T110" fmla="*/ 3645939 w 877"/>
                  <a:gd name="T111" fmla="*/ 98327398 h 826"/>
                  <a:gd name="T112" fmla="*/ 3262202 w 877"/>
                  <a:gd name="T113" fmla="*/ 72069727 h 826"/>
                  <a:gd name="T114" fmla="*/ 767474 w 877"/>
                  <a:gd name="T115" fmla="*/ 56426431 h 82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877" h="826">
                    <a:moveTo>
                      <a:pt x="0" y="190"/>
                    </a:moveTo>
                    <a:lnTo>
                      <a:pt x="16" y="167"/>
                    </a:lnTo>
                    <a:lnTo>
                      <a:pt x="33" y="147"/>
                    </a:lnTo>
                    <a:lnTo>
                      <a:pt x="36" y="141"/>
                    </a:lnTo>
                    <a:lnTo>
                      <a:pt x="39" y="133"/>
                    </a:lnTo>
                    <a:lnTo>
                      <a:pt x="41" y="126"/>
                    </a:lnTo>
                    <a:lnTo>
                      <a:pt x="43" y="118"/>
                    </a:lnTo>
                    <a:lnTo>
                      <a:pt x="46" y="109"/>
                    </a:lnTo>
                    <a:lnTo>
                      <a:pt x="47" y="99"/>
                    </a:lnTo>
                    <a:lnTo>
                      <a:pt x="47" y="87"/>
                    </a:lnTo>
                    <a:lnTo>
                      <a:pt x="46" y="73"/>
                    </a:lnTo>
                    <a:lnTo>
                      <a:pt x="46" y="70"/>
                    </a:lnTo>
                    <a:lnTo>
                      <a:pt x="47" y="67"/>
                    </a:lnTo>
                    <a:lnTo>
                      <a:pt x="49" y="66"/>
                    </a:lnTo>
                    <a:lnTo>
                      <a:pt x="52" y="65"/>
                    </a:lnTo>
                    <a:lnTo>
                      <a:pt x="61" y="64"/>
                    </a:lnTo>
                    <a:lnTo>
                      <a:pt x="72" y="63"/>
                    </a:lnTo>
                    <a:lnTo>
                      <a:pt x="78" y="61"/>
                    </a:lnTo>
                    <a:lnTo>
                      <a:pt x="83" y="59"/>
                    </a:lnTo>
                    <a:lnTo>
                      <a:pt x="89" y="55"/>
                    </a:lnTo>
                    <a:lnTo>
                      <a:pt x="93" y="50"/>
                    </a:lnTo>
                    <a:lnTo>
                      <a:pt x="96" y="42"/>
                    </a:lnTo>
                    <a:lnTo>
                      <a:pt x="98" y="33"/>
                    </a:lnTo>
                    <a:lnTo>
                      <a:pt x="99" y="20"/>
                    </a:lnTo>
                    <a:lnTo>
                      <a:pt x="98" y="6"/>
                    </a:lnTo>
                    <a:lnTo>
                      <a:pt x="124" y="4"/>
                    </a:lnTo>
                    <a:lnTo>
                      <a:pt x="147" y="5"/>
                    </a:lnTo>
                    <a:lnTo>
                      <a:pt x="168" y="6"/>
                    </a:lnTo>
                    <a:lnTo>
                      <a:pt x="188" y="9"/>
                    </a:lnTo>
                    <a:lnTo>
                      <a:pt x="208" y="13"/>
                    </a:lnTo>
                    <a:lnTo>
                      <a:pt x="226" y="18"/>
                    </a:lnTo>
                    <a:lnTo>
                      <a:pt x="242" y="24"/>
                    </a:lnTo>
                    <a:lnTo>
                      <a:pt x="259" y="31"/>
                    </a:lnTo>
                    <a:lnTo>
                      <a:pt x="264" y="35"/>
                    </a:lnTo>
                    <a:lnTo>
                      <a:pt x="269" y="39"/>
                    </a:lnTo>
                    <a:lnTo>
                      <a:pt x="273" y="43"/>
                    </a:lnTo>
                    <a:lnTo>
                      <a:pt x="276" y="47"/>
                    </a:lnTo>
                    <a:lnTo>
                      <a:pt x="281" y="57"/>
                    </a:lnTo>
                    <a:lnTo>
                      <a:pt x="283" y="67"/>
                    </a:lnTo>
                    <a:lnTo>
                      <a:pt x="285" y="78"/>
                    </a:lnTo>
                    <a:lnTo>
                      <a:pt x="288" y="88"/>
                    </a:lnTo>
                    <a:lnTo>
                      <a:pt x="289" y="93"/>
                    </a:lnTo>
                    <a:lnTo>
                      <a:pt x="292" y="97"/>
                    </a:lnTo>
                    <a:lnTo>
                      <a:pt x="295" y="101"/>
                    </a:lnTo>
                    <a:lnTo>
                      <a:pt x="298" y="105"/>
                    </a:lnTo>
                    <a:lnTo>
                      <a:pt x="306" y="108"/>
                    </a:lnTo>
                    <a:lnTo>
                      <a:pt x="315" y="110"/>
                    </a:lnTo>
                    <a:lnTo>
                      <a:pt x="325" y="110"/>
                    </a:lnTo>
                    <a:lnTo>
                      <a:pt x="334" y="110"/>
                    </a:lnTo>
                    <a:lnTo>
                      <a:pt x="344" y="109"/>
                    </a:lnTo>
                    <a:lnTo>
                      <a:pt x="354" y="109"/>
                    </a:lnTo>
                    <a:lnTo>
                      <a:pt x="363" y="109"/>
                    </a:lnTo>
                    <a:lnTo>
                      <a:pt x="372" y="111"/>
                    </a:lnTo>
                    <a:lnTo>
                      <a:pt x="388" y="117"/>
                    </a:lnTo>
                    <a:lnTo>
                      <a:pt x="405" y="124"/>
                    </a:lnTo>
                    <a:lnTo>
                      <a:pt x="421" y="133"/>
                    </a:lnTo>
                    <a:lnTo>
                      <a:pt x="438" y="143"/>
                    </a:lnTo>
                    <a:lnTo>
                      <a:pt x="454" y="152"/>
                    </a:lnTo>
                    <a:lnTo>
                      <a:pt x="471" y="159"/>
                    </a:lnTo>
                    <a:lnTo>
                      <a:pt x="478" y="162"/>
                    </a:lnTo>
                    <a:lnTo>
                      <a:pt x="487" y="164"/>
                    </a:lnTo>
                    <a:lnTo>
                      <a:pt x="496" y="166"/>
                    </a:lnTo>
                    <a:lnTo>
                      <a:pt x="505" y="166"/>
                    </a:lnTo>
                    <a:lnTo>
                      <a:pt x="513" y="166"/>
                    </a:lnTo>
                    <a:lnTo>
                      <a:pt x="521" y="166"/>
                    </a:lnTo>
                    <a:lnTo>
                      <a:pt x="529" y="166"/>
                    </a:lnTo>
                    <a:lnTo>
                      <a:pt x="538" y="166"/>
                    </a:lnTo>
                    <a:lnTo>
                      <a:pt x="538" y="158"/>
                    </a:lnTo>
                    <a:lnTo>
                      <a:pt x="540" y="150"/>
                    </a:lnTo>
                    <a:lnTo>
                      <a:pt x="542" y="143"/>
                    </a:lnTo>
                    <a:lnTo>
                      <a:pt x="544" y="137"/>
                    </a:lnTo>
                    <a:lnTo>
                      <a:pt x="549" y="126"/>
                    </a:lnTo>
                    <a:lnTo>
                      <a:pt x="551" y="117"/>
                    </a:lnTo>
                    <a:lnTo>
                      <a:pt x="550" y="112"/>
                    </a:lnTo>
                    <a:lnTo>
                      <a:pt x="547" y="108"/>
                    </a:lnTo>
                    <a:lnTo>
                      <a:pt x="544" y="103"/>
                    </a:lnTo>
                    <a:lnTo>
                      <a:pt x="541" y="98"/>
                    </a:lnTo>
                    <a:lnTo>
                      <a:pt x="537" y="93"/>
                    </a:lnTo>
                    <a:lnTo>
                      <a:pt x="534" y="87"/>
                    </a:lnTo>
                    <a:lnTo>
                      <a:pt x="531" y="81"/>
                    </a:lnTo>
                    <a:lnTo>
                      <a:pt x="531" y="73"/>
                    </a:lnTo>
                    <a:lnTo>
                      <a:pt x="531" y="61"/>
                    </a:lnTo>
                    <a:lnTo>
                      <a:pt x="531" y="49"/>
                    </a:lnTo>
                    <a:lnTo>
                      <a:pt x="539" y="49"/>
                    </a:lnTo>
                    <a:lnTo>
                      <a:pt x="547" y="47"/>
                    </a:lnTo>
                    <a:lnTo>
                      <a:pt x="554" y="45"/>
                    </a:lnTo>
                    <a:lnTo>
                      <a:pt x="562" y="42"/>
                    </a:lnTo>
                    <a:lnTo>
                      <a:pt x="574" y="34"/>
                    </a:lnTo>
                    <a:lnTo>
                      <a:pt x="586" y="24"/>
                    </a:lnTo>
                    <a:lnTo>
                      <a:pt x="598" y="15"/>
                    </a:lnTo>
                    <a:lnTo>
                      <a:pt x="610" y="7"/>
                    </a:lnTo>
                    <a:lnTo>
                      <a:pt x="617" y="4"/>
                    </a:lnTo>
                    <a:lnTo>
                      <a:pt x="623" y="2"/>
                    </a:lnTo>
                    <a:lnTo>
                      <a:pt x="630" y="0"/>
                    </a:lnTo>
                    <a:lnTo>
                      <a:pt x="638" y="0"/>
                    </a:lnTo>
                    <a:lnTo>
                      <a:pt x="650" y="0"/>
                    </a:lnTo>
                    <a:lnTo>
                      <a:pt x="659" y="1"/>
                    </a:lnTo>
                    <a:lnTo>
                      <a:pt x="668" y="2"/>
                    </a:lnTo>
                    <a:lnTo>
                      <a:pt x="676" y="4"/>
                    </a:lnTo>
                    <a:lnTo>
                      <a:pt x="681" y="6"/>
                    </a:lnTo>
                    <a:lnTo>
                      <a:pt x="685" y="9"/>
                    </a:lnTo>
                    <a:lnTo>
                      <a:pt x="688" y="12"/>
                    </a:lnTo>
                    <a:lnTo>
                      <a:pt x="691" y="16"/>
                    </a:lnTo>
                    <a:lnTo>
                      <a:pt x="695" y="24"/>
                    </a:lnTo>
                    <a:lnTo>
                      <a:pt x="698" y="34"/>
                    </a:lnTo>
                    <a:lnTo>
                      <a:pt x="700" y="39"/>
                    </a:lnTo>
                    <a:lnTo>
                      <a:pt x="702" y="44"/>
                    </a:lnTo>
                    <a:lnTo>
                      <a:pt x="706" y="50"/>
                    </a:lnTo>
                    <a:lnTo>
                      <a:pt x="710" y="55"/>
                    </a:lnTo>
                    <a:lnTo>
                      <a:pt x="715" y="58"/>
                    </a:lnTo>
                    <a:lnTo>
                      <a:pt x="721" y="61"/>
                    </a:lnTo>
                    <a:lnTo>
                      <a:pt x="728" y="63"/>
                    </a:lnTo>
                    <a:lnTo>
                      <a:pt x="734" y="65"/>
                    </a:lnTo>
                    <a:lnTo>
                      <a:pt x="750" y="67"/>
                    </a:lnTo>
                    <a:lnTo>
                      <a:pt x="765" y="69"/>
                    </a:lnTo>
                    <a:lnTo>
                      <a:pt x="798" y="71"/>
                    </a:lnTo>
                    <a:lnTo>
                      <a:pt x="830" y="73"/>
                    </a:lnTo>
                    <a:lnTo>
                      <a:pt x="830" y="83"/>
                    </a:lnTo>
                    <a:lnTo>
                      <a:pt x="830" y="90"/>
                    </a:lnTo>
                    <a:lnTo>
                      <a:pt x="830" y="97"/>
                    </a:lnTo>
                    <a:lnTo>
                      <a:pt x="830" y="105"/>
                    </a:lnTo>
                    <a:lnTo>
                      <a:pt x="830" y="109"/>
                    </a:lnTo>
                    <a:lnTo>
                      <a:pt x="832" y="113"/>
                    </a:lnTo>
                    <a:lnTo>
                      <a:pt x="834" y="117"/>
                    </a:lnTo>
                    <a:lnTo>
                      <a:pt x="836" y="121"/>
                    </a:lnTo>
                    <a:lnTo>
                      <a:pt x="838" y="126"/>
                    </a:lnTo>
                    <a:lnTo>
                      <a:pt x="841" y="132"/>
                    </a:lnTo>
                    <a:lnTo>
                      <a:pt x="843" y="140"/>
                    </a:lnTo>
                    <a:lnTo>
                      <a:pt x="843" y="148"/>
                    </a:lnTo>
                    <a:lnTo>
                      <a:pt x="842" y="152"/>
                    </a:lnTo>
                    <a:lnTo>
                      <a:pt x="840" y="156"/>
                    </a:lnTo>
                    <a:lnTo>
                      <a:pt x="836" y="159"/>
                    </a:lnTo>
                    <a:lnTo>
                      <a:pt x="833" y="162"/>
                    </a:lnTo>
                    <a:lnTo>
                      <a:pt x="830" y="165"/>
                    </a:lnTo>
                    <a:lnTo>
                      <a:pt x="826" y="168"/>
                    </a:lnTo>
                    <a:lnTo>
                      <a:pt x="824" y="170"/>
                    </a:lnTo>
                    <a:lnTo>
                      <a:pt x="823" y="172"/>
                    </a:lnTo>
                    <a:lnTo>
                      <a:pt x="824" y="184"/>
                    </a:lnTo>
                    <a:lnTo>
                      <a:pt x="825" y="196"/>
                    </a:lnTo>
                    <a:lnTo>
                      <a:pt x="829" y="207"/>
                    </a:lnTo>
                    <a:lnTo>
                      <a:pt x="834" y="217"/>
                    </a:lnTo>
                    <a:lnTo>
                      <a:pt x="841" y="227"/>
                    </a:lnTo>
                    <a:lnTo>
                      <a:pt x="848" y="236"/>
                    </a:lnTo>
                    <a:lnTo>
                      <a:pt x="858" y="245"/>
                    </a:lnTo>
                    <a:lnTo>
                      <a:pt x="869" y="253"/>
                    </a:lnTo>
                    <a:lnTo>
                      <a:pt x="876" y="671"/>
                    </a:lnTo>
                    <a:lnTo>
                      <a:pt x="876" y="680"/>
                    </a:lnTo>
                    <a:lnTo>
                      <a:pt x="876" y="687"/>
                    </a:lnTo>
                    <a:lnTo>
                      <a:pt x="876" y="697"/>
                    </a:lnTo>
                    <a:lnTo>
                      <a:pt x="876" y="709"/>
                    </a:lnTo>
                    <a:lnTo>
                      <a:pt x="877" y="726"/>
                    </a:lnTo>
                    <a:lnTo>
                      <a:pt x="877" y="741"/>
                    </a:lnTo>
                    <a:lnTo>
                      <a:pt x="877" y="756"/>
                    </a:lnTo>
                    <a:lnTo>
                      <a:pt x="876" y="766"/>
                    </a:lnTo>
                    <a:lnTo>
                      <a:pt x="874" y="771"/>
                    </a:lnTo>
                    <a:lnTo>
                      <a:pt x="870" y="775"/>
                    </a:lnTo>
                    <a:lnTo>
                      <a:pt x="867" y="778"/>
                    </a:lnTo>
                    <a:lnTo>
                      <a:pt x="863" y="780"/>
                    </a:lnTo>
                    <a:lnTo>
                      <a:pt x="856" y="782"/>
                    </a:lnTo>
                    <a:lnTo>
                      <a:pt x="848" y="783"/>
                    </a:lnTo>
                    <a:lnTo>
                      <a:pt x="840" y="783"/>
                    </a:lnTo>
                    <a:lnTo>
                      <a:pt x="830" y="782"/>
                    </a:lnTo>
                    <a:lnTo>
                      <a:pt x="830" y="792"/>
                    </a:lnTo>
                    <a:lnTo>
                      <a:pt x="830" y="804"/>
                    </a:lnTo>
                    <a:lnTo>
                      <a:pt x="830" y="816"/>
                    </a:lnTo>
                    <a:lnTo>
                      <a:pt x="830" y="826"/>
                    </a:lnTo>
                    <a:lnTo>
                      <a:pt x="378" y="592"/>
                    </a:lnTo>
                    <a:lnTo>
                      <a:pt x="366" y="593"/>
                    </a:lnTo>
                    <a:lnTo>
                      <a:pt x="359" y="595"/>
                    </a:lnTo>
                    <a:lnTo>
                      <a:pt x="353" y="597"/>
                    </a:lnTo>
                    <a:lnTo>
                      <a:pt x="344" y="598"/>
                    </a:lnTo>
                    <a:lnTo>
                      <a:pt x="331" y="607"/>
                    </a:lnTo>
                    <a:lnTo>
                      <a:pt x="318" y="616"/>
                    </a:lnTo>
                    <a:lnTo>
                      <a:pt x="308" y="620"/>
                    </a:lnTo>
                    <a:lnTo>
                      <a:pt x="297" y="624"/>
                    </a:lnTo>
                    <a:lnTo>
                      <a:pt x="292" y="626"/>
                    </a:lnTo>
                    <a:lnTo>
                      <a:pt x="285" y="627"/>
                    </a:lnTo>
                    <a:lnTo>
                      <a:pt x="278" y="628"/>
                    </a:lnTo>
                    <a:lnTo>
                      <a:pt x="272" y="628"/>
                    </a:lnTo>
                    <a:lnTo>
                      <a:pt x="263" y="627"/>
                    </a:lnTo>
                    <a:lnTo>
                      <a:pt x="254" y="624"/>
                    </a:lnTo>
                    <a:lnTo>
                      <a:pt x="246" y="620"/>
                    </a:lnTo>
                    <a:lnTo>
                      <a:pt x="238" y="614"/>
                    </a:lnTo>
                    <a:lnTo>
                      <a:pt x="230" y="609"/>
                    </a:lnTo>
                    <a:lnTo>
                      <a:pt x="224" y="602"/>
                    </a:lnTo>
                    <a:lnTo>
                      <a:pt x="220" y="597"/>
                    </a:lnTo>
                    <a:lnTo>
                      <a:pt x="218" y="592"/>
                    </a:lnTo>
                    <a:lnTo>
                      <a:pt x="193" y="586"/>
                    </a:lnTo>
                    <a:lnTo>
                      <a:pt x="173" y="579"/>
                    </a:lnTo>
                    <a:lnTo>
                      <a:pt x="165" y="577"/>
                    </a:lnTo>
                    <a:lnTo>
                      <a:pt x="157" y="577"/>
                    </a:lnTo>
                    <a:lnTo>
                      <a:pt x="152" y="578"/>
                    </a:lnTo>
                    <a:lnTo>
                      <a:pt x="148" y="579"/>
                    </a:lnTo>
                    <a:lnTo>
                      <a:pt x="143" y="583"/>
                    </a:lnTo>
                    <a:lnTo>
                      <a:pt x="139" y="586"/>
                    </a:lnTo>
                    <a:lnTo>
                      <a:pt x="138" y="577"/>
                    </a:lnTo>
                    <a:lnTo>
                      <a:pt x="137" y="570"/>
                    </a:lnTo>
                    <a:lnTo>
                      <a:pt x="136" y="564"/>
                    </a:lnTo>
                    <a:lnTo>
                      <a:pt x="134" y="558"/>
                    </a:lnTo>
                    <a:lnTo>
                      <a:pt x="130" y="553"/>
                    </a:lnTo>
                    <a:lnTo>
                      <a:pt x="127" y="549"/>
                    </a:lnTo>
                    <a:lnTo>
                      <a:pt x="124" y="545"/>
                    </a:lnTo>
                    <a:lnTo>
                      <a:pt x="119" y="541"/>
                    </a:lnTo>
                    <a:lnTo>
                      <a:pt x="109" y="535"/>
                    </a:lnTo>
                    <a:lnTo>
                      <a:pt x="98" y="530"/>
                    </a:lnTo>
                    <a:lnTo>
                      <a:pt x="87" y="526"/>
                    </a:lnTo>
                    <a:lnTo>
                      <a:pt x="75" y="521"/>
                    </a:lnTo>
                    <a:lnTo>
                      <a:pt x="63" y="517"/>
                    </a:lnTo>
                    <a:lnTo>
                      <a:pt x="52" y="513"/>
                    </a:lnTo>
                    <a:lnTo>
                      <a:pt x="41" y="509"/>
                    </a:lnTo>
                    <a:lnTo>
                      <a:pt x="33" y="503"/>
                    </a:lnTo>
                    <a:lnTo>
                      <a:pt x="28" y="499"/>
                    </a:lnTo>
                    <a:lnTo>
                      <a:pt x="24" y="496"/>
                    </a:lnTo>
                    <a:lnTo>
                      <a:pt x="20" y="492"/>
                    </a:lnTo>
                    <a:lnTo>
                      <a:pt x="18" y="487"/>
                    </a:lnTo>
                    <a:lnTo>
                      <a:pt x="16" y="482"/>
                    </a:lnTo>
                    <a:lnTo>
                      <a:pt x="14" y="476"/>
                    </a:lnTo>
                    <a:lnTo>
                      <a:pt x="13" y="469"/>
                    </a:lnTo>
                    <a:lnTo>
                      <a:pt x="13" y="462"/>
                    </a:lnTo>
                    <a:lnTo>
                      <a:pt x="14" y="439"/>
                    </a:lnTo>
                    <a:lnTo>
                      <a:pt x="16" y="417"/>
                    </a:lnTo>
                    <a:lnTo>
                      <a:pt x="18" y="395"/>
                    </a:lnTo>
                    <a:lnTo>
                      <a:pt x="19" y="376"/>
                    </a:lnTo>
                    <a:lnTo>
                      <a:pt x="19" y="352"/>
                    </a:lnTo>
                    <a:lnTo>
                      <a:pt x="19" y="329"/>
                    </a:lnTo>
                    <a:lnTo>
                      <a:pt x="19" y="305"/>
                    </a:lnTo>
                    <a:lnTo>
                      <a:pt x="19" y="281"/>
                    </a:lnTo>
                    <a:lnTo>
                      <a:pt x="17" y="258"/>
                    </a:lnTo>
                    <a:lnTo>
                      <a:pt x="14" y="234"/>
                    </a:lnTo>
                    <a:lnTo>
                      <a:pt x="11" y="223"/>
                    </a:lnTo>
                    <a:lnTo>
                      <a:pt x="7" y="212"/>
                    </a:lnTo>
                    <a:lnTo>
                      <a:pt x="4" y="202"/>
                    </a:lnTo>
                    <a:lnTo>
                      <a:pt x="0" y="19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8" name="Freeform 239">
                <a:extLst>
                  <a:ext uri="{FF2B5EF4-FFF2-40B4-BE49-F238E27FC236}">
                    <a16:creationId xmlns:a16="http://schemas.microsoft.com/office/drawing/2014/main" id="{73064606-5C17-4C8F-A6D4-2B4B83446618}"/>
                  </a:ext>
                </a:extLst>
              </p:cNvPr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auto">
              <a:xfrm>
                <a:off x="4235934" y="3176314"/>
                <a:ext cx="112209" cy="267212"/>
              </a:xfrm>
              <a:custGeom>
                <a:avLst/>
                <a:gdLst>
                  <a:gd name="T0" fmla="*/ 21293328 w 206"/>
                  <a:gd name="T1" fmla="*/ 119183960 h 455"/>
                  <a:gd name="T2" fmla="*/ 25840985 w 206"/>
                  <a:gd name="T3" fmla="*/ 113508608 h 455"/>
                  <a:gd name="T4" fmla="*/ 28941867 w 206"/>
                  <a:gd name="T5" fmla="*/ 109184381 h 455"/>
                  <a:gd name="T6" fmla="*/ 30389097 w 206"/>
                  <a:gd name="T7" fmla="*/ 105400813 h 455"/>
                  <a:gd name="T8" fmla="*/ 31423027 w 206"/>
                  <a:gd name="T9" fmla="*/ 100806257 h 455"/>
                  <a:gd name="T10" fmla="*/ 31836327 w 206"/>
                  <a:gd name="T11" fmla="*/ 95130905 h 455"/>
                  <a:gd name="T12" fmla="*/ 31629449 w 206"/>
                  <a:gd name="T13" fmla="*/ 90536349 h 455"/>
                  <a:gd name="T14" fmla="*/ 32249626 w 206"/>
                  <a:gd name="T15" fmla="*/ 89455552 h 455"/>
                  <a:gd name="T16" fmla="*/ 34730331 w 206"/>
                  <a:gd name="T17" fmla="*/ 88914894 h 455"/>
                  <a:gd name="T18" fmla="*/ 38244967 w 206"/>
                  <a:gd name="T19" fmla="*/ 87834097 h 455"/>
                  <a:gd name="T20" fmla="*/ 40518796 w 206"/>
                  <a:gd name="T21" fmla="*/ 85942313 h 455"/>
                  <a:gd name="T22" fmla="*/ 41966025 w 206"/>
                  <a:gd name="T23" fmla="*/ 82158745 h 455"/>
                  <a:gd name="T24" fmla="*/ 42586202 w 206"/>
                  <a:gd name="T25" fmla="*/ 75672405 h 455"/>
                  <a:gd name="T26" fmla="*/ 41759148 w 206"/>
                  <a:gd name="T27" fmla="*/ 71618508 h 455"/>
                  <a:gd name="T28" fmla="*/ 39898619 w 206"/>
                  <a:gd name="T29" fmla="*/ 71348179 h 455"/>
                  <a:gd name="T30" fmla="*/ 36590860 w 206"/>
                  <a:gd name="T31" fmla="*/ 69186065 h 455"/>
                  <a:gd name="T32" fmla="*/ 32043204 w 206"/>
                  <a:gd name="T33" fmla="*/ 65402497 h 455"/>
                  <a:gd name="T34" fmla="*/ 28941867 w 206"/>
                  <a:gd name="T35" fmla="*/ 62429916 h 455"/>
                  <a:gd name="T36" fmla="*/ 26874916 w 206"/>
                  <a:gd name="T37" fmla="*/ 61618929 h 455"/>
                  <a:gd name="T38" fmla="*/ 24600632 w 206"/>
                  <a:gd name="T39" fmla="*/ 59997474 h 455"/>
                  <a:gd name="T40" fmla="*/ 20879574 w 206"/>
                  <a:gd name="T41" fmla="*/ 57294702 h 455"/>
                  <a:gd name="T42" fmla="*/ 19639221 w 206"/>
                  <a:gd name="T43" fmla="*/ 55673247 h 455"/>
                  <a:gd name="T44" fmla="*/ 19639221 w 206"/>
                  <a:gd name="T45" fmla="*/ 53781463 h 455"/>
                  <a:gd name="T46" fmla="*/ 21499751 w 206"/>
                  <a:gd name="T47" fmla="*/ 48916578 h 455"/>
                  <a:gd name="T48" fmla="*/ 24600632 w 206"/>
                  <a:gd name="T49" fmla="*/ 42700568 h 455"/>
                  <a:gd name="T50" fmla="*/ 27701514 w 206"/>
                  <a:gd name="T51" fmla="*/ 37836203 h 455"/>
                  <a:gd name="T52" fmla="*/ 28115268 w 206"/>
                  <a:gd name="T53" fmla="*/ 34863102 h 455"/>
                  <a:gd name="T54" fmla="*/ 26047862 w 206"/>
                  <a:gd name="T55" fmla="*/ 31349863 h 455"/>
                  <a:gd name="T56" fmla="*/ 23774034 w 206"/>
                  <a:gd name="T57" fmla="*/ 28377282 h 455"/>
                  <a:gd name="T58" fmla="*/ 22326804 w 206"/>
                  <a:gd name="T59" fmla="*/ 25133852 h 455"/>
                  <a:gd name="T60" fmla="*/ 22119927 w 206"/>
                  <a:gd name="T61" fmla="*/ 22701929 h 455"/>
                  <a:gd name="T62" fmla="*/ 22946980 w 206"/>
                  <a:gd name="T63" fmla="*/ 21079955 h 455"/>
                  <a:gd name="T64" fmla="*/ 23980456 w 206"/>
                  <a:gd name="T65" fmla="*/ 19458500 h 455"/>
                  <a:gd name="T66" fmla="*/ 25427686 w 206"/>
                  <a:gd name="T67" fmla="*/ 18648032 h 455"/>
                  <a:gd name="T68" fmla="*/ 26047862 w 206"/>
                  <a:gd name="T69" fmla="*/ 9999579 h 455"/>
                  <a:gd name="T70" fmla="*/ 22740103 w 206"/>
                  <a:gd name="T71" fmla="*/ 8648453 h 455"/>
                  <a:gd name="T72" fmla="*/ 17985569 w 206"/>
                  <a:gd name="T73" fmla="*/ 5675352 h 455"/>
                  <a:gd name="T74" fmla="*/ 10956752 w 206"/>
                  <a:gd name="T75" fmla="*/ 0 h 455"/>
                  <a:gd name="T76" fmla="*/ 9716400 w 206"/>
                  <a:gd name="T77" fmla="*/ 2973101 h 455"/>
                  <a:gd name="T78" fmla="*/ 7028817 w 206"/>
                  <a:gd name="T79" fmla="*/ 11891363 h 455"/>
                  <a:gd name="T80" fmla="*/ 5788464 w 206"/>
                  <a:gd name="T81" fmla="*/ 18917841 h 455"/>
                  <a:gd name="T82" fmla="*/ 4548112 w 206"/>
                  <a:gd name="T83" fmla="*/ 26755827 h 455"/>
                  <a:gd name="T84" fmla="*/ 4134358 w 206"/>
                  <a:gd name="T85" fmla="*/ 35944418 h 455"/>
                  <a:gd name="T86" fmla="*/ 4134358 w 206"/>
                  <a:gd name="T87" fmla="*/ 46484656 h 455"/>
                  <a:gd name="T88" fmla="*/ 2480705 w 206"/>
                  <a:gd name="T89" fmla="*/ 50808362 h 455"/>
                  <a:gd name="T90" fmla="*/ 1653652 w 206"/>
                  <a:gd name="T91" fmla="*/ 55673247 h 455"/>
                  <a:gd name="T92" fmla="*/ 0 w 206"/>
                  <a:gd name="T93" fmla="*/ 63510713 h 455"/>
                  <a:gd name="T94" fmla="*/ 4548112 w 206"/>
                  <a:gd name="T95" fmla="*/ 69997053 h 455"/>
                  <a:gd name="T96" fmla="*/ 8476047 w 206"/>
                  <a:gd name="T97" fmla="*/ 75942734 h 455"/>
                  <a:gd name="T98" fmla="*/ 11370052 w 206"/>
                  <a:gd name="T99" fmla="*/ 82428554 h 455"/>
                  <a:gd name="T100" fmla="*/ 13644335 w 206"/>
                  <a:gd name="T101" fmla="*/ 88914894 h 455"/>
                  <a:gd name="T102" fmla="*/ 15504864 w 206"/>
                  <a:gd name="T103" fmla="*/ 95941892 h 455"/>
                  <a:gd name="T104" fmla="*/ 16951639 w 206"/>
                  <a:gd name="T105" fmla="*/ 103779358 h 455"/>
                  <a:gd name="T106" fmla="*/ 19225922 w 206"/>
                  <a:gd name="T107" fmla="*/ 122967528 h 455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06" h="455">
                    <a:moveTo>
                      <a:pt x="93" y="455"/>
                    </a:moveTo>
                    <a:lnTo>
                      <a:pt x="103" y="441"/>
                    </a:lnTo>
                    <a:lnTo>
                      <a:pt x="114" y="430"/>
                    </a:lnTo>
                    <a:lnTo>
                      <a:pt x="125" y="420"/>
                    </a:lnTo>
                    <a:lnTo>
                      <a:pt x="135" y="409"/>
                    </a:lnTo>
                    <a:lnTo>
                      <a:pt x="140" y="404"/>
                    </a:lnTo>
                    <a:lnTo>
                      <a:pt x="144" y="397"/>
                    </a:lnTo>
                    <a:lnTo>
                      <a:pt x="147" y="390"/>
                    </a:lnTo>
                    <a:lnTo>
                      <a:pt x="149" y="382"/>
                    </a:lnTo>
                    <a:lnTo>
                      <a:pt x="152" y="373"/>
                    </a:lnTo>
                    <a:lnTo>
                      <a:pt x="153" y="363"/>
                    </a:lnTo>
                    <a:lnTo>
                      <a:pt x="154" y="352"/>
                    </a:lnTo>
                    <a:lnTo>
                      <a:pt x="153" y="338"/>
                    </a:lnTo>
                    <a:lnTo>
                      <a:pt x="153" y="335"/>
                    </a:lnTo>
                    <a:lnTo>
                      <a:pt x="154" y="332"/>
                    </a:lnTo>
                    <a:lnTo>
                      <a:pt x="156" y="331"/>
                    </a:lnTo>
                    <a:lnTo>
                      <a:pt x="159" y="330"/>
                    </a:lnTo>
                    <a:lnTo>
                      <a:pt x="168" y="329"/>
                    </a:lnTo>
                    <a:lnTo>
                      <a:pt x="179" y="327"/>
                    </a:lnTo>
                    <a:lnTo>
                      <a:pt x="185" y="325"/>
                    </a:lnTo>
                    <a:lnTo>
                      <a:pt x="190" y="322"/>
                    </a:lnTo>
                    <a:lnTo>
                      <a:pt x="196" y="318"/>
                    </a:lnTo>
                    <a:lnTo>
                      <a:pt x="200" y="312"/>
                    </a:lnTo>
                    <a:lnTo>
                      <a:pt x="203" y="304"/>
                    </a:lnTo>
                    <a:lnTo>
                      <a:pt x="205" y="294"/>
                    </a:lnTo>
                    <a:lnTo>
                      <a:pt x="206" y="280"/>
                    </a:lnTo>
                    <a:lnTo>
                      <a:pt x="205" y="265"/>
                    </a:lnTo>
                    <a:lnTo>
                      <a:pt x="202" y="265"/>
                    </a:lnTo>
                    <a:lnTo>
                      <a:pt x="198" y="265"/>
                    </a:lnTo>
                    <a:lnTo>
                      <a:pt x="193" y="264"/>
                    </a:lnTo>
                    <a:lnTo>
                      <a:pt x="188" y="262"/>
                    </a:lnTo>
                    <a:lnTo>
                      <a:pt x="177" y="256"/>
                    </a:lnTo>
                    <a:lnTo>
                      <a:pt x="166" y="249"/>
                    </a:lnTo>
                    <a:lnTo>
                      <a:pt x="155" y="242"/>
                    </a:lnTo>
                    <a:lnTo>
                      <a:pt x="144" y="235"/>
                    </a:lnTo>
                    <a:lnTo>
                      <a:pt x="140" y="231"/>
                    </a:lnTo>
                    <a:lnTo>
                      <a:pt x="134" y="229"/>
                    </a:lnTo>
                    <a:lnTo>
                      <a:pt x="130" y="228"/>
                    </a:lnTo>
                    <a:lnTo>
                      <a:pt x="126" y="227"/>
                    </a:lnTo>
                    <a:lnTo>
                      <a:pt x="119" y="222"/>
                    </a:lnTo>
                    <a:lnTo>
                      <a:pt x="107" y="215"/>
                    </a:lnTo>
                    <a:lnTo>
                      <a:pt x="101" y="212"/>
                    </a:lnTo>
                    <a:lnTo>
                      <a:pt x="97" y="209"/>
                    </a:lnTo>
                    <a:lnTo>
                      <a:pt x="95" y="206"/>
                    </a:lnTo>
                    <a:lnTo>
                      <a:pt x="93" y="203"/>
                    </a:lnTo>
                    <a:lnTo>
                      <a:pt x="95" y="199"/>
                    </a:lnTo>
                    <a:lnTo>
                      <a:pt x="98" y="191"/>
                    </a:lnTo>
                    <a:lnTo>
                      <a:pt x="104" y="181"/>
                    </a:lnTo>
                    <a:lnTo>
                      <a:pt x="111" y="169"/>
                    </a:lnTo>
                    <a:lnTo>
                      <a:pt x="119" y="158"/>
                    </a:lnTo>
                    <a:lnTo>
                      <a:pt x="126" y="148"/>
                    </a:lnTo>
                    <a:lnTo>
                      <a:pt x="134" y="140"/>
                    </a:lnTo>
                    <a:lnTo>
                      <a:pt x="140" y="136"/>
                    </a:lnTo>
                    <a:lnTo>
                      <a:pt x="136" y="129"/>
                    </a:lnTo>
                    <a:lnTo>
                      <a:pt x="132" y="122"/>
                    </a:lnTo>
                    <a:lnTo>
                      <a:pt x="126" y="116"/>
                    </a:lnTo>
                    <a:lnTo>
                      <a:pt x="121" y="111"/>
                    </a:lnTo>
                    <a:lnTo>
                      <a:pt x="115" y="105"/>
                    </a:lnTo>
                    <a:lnTo>
                      <a:pt x="111" y="99"/>
                    </a:lnTo>
                    <a:lnTo>
                      <a:pt x="108" y="93"/>
                    </a:lnTo>
                    <a:lnTo>
                      <a:pt x="107" y="86"/>
                    </a:lnTo>
                    <a:lnTo>
                      <a:pt x="107" y="84"/>
                    </a:lnTo>
                    <a:lnTo>
                      <a:pt x="109" y="81"/>
                    </a:lnTo>
                    <a:lnTo>
                      <a:pt x="111" y="78"/>
                    </a:lnTo>
                    <a:lnTo>
                      <a:pt x="113" y="75"/>
                    </a:lnTo>
                    <a:lnTo>
                      <a:pt x="116" y="72"/>
                    </a:lnTo>
                    <a:lnTo>
                      <a:pt x="120" y="70"/>
                    </a:lnTo>
                    <a:lnTo>
                      <a:pt x="123" y="69"/>
                    </a:lnTo>
                    <a:lnTo>
                      <a:pt x="126" y="68"/>
                    </a:lnTo>
                    <a:lnTo>
                      <a:pt x="126" y="37"/>
                    </a:lnTo>
                    <a:lnTo>
                      <a:pt x="120" y="36"/>
                    </a:lnTo>
                    <a:lnTo>
                      <a:pt x="110" y="32"/>
                    </a:lnTo>
                    <a:lnTo>
                      <a:pt x="99" y="27"/>
                    </a:lnTo>
                    <a:lnTo>
                      <a:pt x="87" y="21"/>
                    </a:lnTo>
                    <a:lnTo>
                      <a:pt x="65" y="8"/>
                    </a:lnTo>
                    <a:lnTo>
                      <a:pt x="53" y="0"/>
                    </a:lnTo>
                    <a:lnTo>
                      <a:pt x="52" y="2"/>
                    </a:lnTo>
                    <a:lnTo>
                      <a:pt x="47" y="11"/>
                    </a:lnTo>
                    <a:lnTo>
                      <a:pt x="41" y="26"/>
                    </a:lnTo>
                    <a:lnTo>
                      <a:pt x="34" y="44"/>
                    </a:lnTo>
                    <a:lnTo>
                      <a:pt x="31" y="56"/>
                    </a:lnTo>
                    <a:lnTo>
                      <a:pt x="28" y="70"/>
                    </a:lnTo>
                    <a:lnTo>
                      <a:pt x="24" y="83"/>
                    </a:lnTo>
                    <a:lnTo>
                      <a:pt x="22" y="99"/>
                    </a:lnTo>
                    <a:lnTo>
                      <a:pt x="20" y="115"/>
                    </a:lnTo>
                    <a:lnTo>
                      <a:pt x="20" y="133"/>
                    </a:lnTo>
                    <a:lnTo>
                      <a:pt x="19" y="152"/>
                    </a:lnTo>
                    <a:lnTo>
                      <a:pt x="20" y="172"/>
                    </a:lnTo>
                    <a:lnTo>
                      <a:pt x="15" y="180"/>
                    </a:lnTo>
                    <a:lnTo>
                      <a:pt x="12" y="188"/>
                    </a:lnTo>
                    <a:lnTo>
                      <a:pt x="9" y="197"/>
                    </a:lnTo>
                    <a:lnTo>
                      <a:pt x="8" y="206"/>
                    </a:lnTo>
                    <a:lnTo>
                      <a:pt x="3" y="222"/>
                    </a:lnTo>
                    <a:lnTo>
                      <a:pt x="0" y="235"/>
                    </a:lnTo>
                    <a:lnTo>
                      <a:pt x="12" y="247"/>
                    </a:lnTo>
                    <a:lnTo>
                      <a:pt x="22" y="259"/>
                    </a:lnTo>
                    <a:lnTo>
                      <a:pt x="32" y="270"/>
                    </a:lnTo>
                    <a:lnTo>
                      <a:pt x="41" y="281"/>
                    </a:lnTo>
                    <a:lnTo>
                      <a:pt x="48" y="294"/>
                    </a:lnTo>
                    <a:lnTo>
                      <a:pt x="55" y="305"/>
                    </a:lnTo>
                    <a:lnTo>
                      <a:pt x="60" y="317"/>
                    </a:lnTo>
                    <a:lnTo>
                      <a:pt x="66" y="329"/>
                    </a:lnTo>
                    <a:lnTo>
                      <a:pt x="71" y="341"/>
                    </a:lnTo>
                    <a:lnTo>
                      <a:pt x="75" y="355"/>
                    </a:lnTo>
                    <a:lnTo>
                      <a:pt x="79" y="369"/>
                    </a:lnTo>
                    <a:lnTo>
                      <a:pt x="82" y="384"/>
                    </a:lnTo>
                    <a:lnTo>
                      <a:pt x="88" y="417"/>
                    </a:lnTo>
                    <a:lnTo>
                      <a:pt x="93" y="455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29" name="Freeform 240">
                <a:extLst>
                  <a:ext uri="{FF2B5EF4-FFF2-40B4-BE49-F238E27FC236}">
                    <a16:creationId xmlns:a16="http://schemas.microsoft.com/office/drawing/2014/main" id="{29BAA854-175D-48EC-B511-2E972A7AA4D4}"/>
                  </a:ext>
                </a:extLst>
              </p:cNvPr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auto">
              <a:xfrm>
                <a:off x="3490285" y="3526150"/>
                <a:ext cx="280522" cy="242600"/>
              </a:xfrm>
              <a:custGeom>
                <a:avLst/>
                <a:gdLst>
                  <a:gd name="T0" fmla="*/ 65266587 w 518"/>
                  <a:gd name="T1" fmla="*/ 31106085 h 406"/>
                  <a:gd name="T2" fmla="*/ 65266587 w 518"/>
                  <a:gd name="T3" fmla="*/ 73240618 h 406"/>
                  <a:gd name="T4" fmla="*/ 63064277 w 518"/>
                  <a:gd name="T5" fmla="*/ 74654604 h 406"/>
                  <a:gd name="T6" fmla="*/ 58259644 w 518"/>
                  <a:gd name="T7" fmla="*/ 76634396 h 406"/>
                  <a:gd name="T8" fmla="*/ 49250398 w 518"/>
                  <a:gd name="T9" fmla="*/ 80027642 h 406"/>
                  <a:gd name="T10" fmla="*/ 50651786 w 518"/>
                  <a:gd name="T11" fmla="*/ 85400681 h 406"/>
                  <a:gd name="T12" fmla="*/ 53054103 w 518"/>
                  <a:gd name="T13" fmla="*/ 92187173 h 406"/>
                  <a:gd name="T14" fmla="*/ 53855024 w 518"/>
                  <a:gd name="T15" fmla="*/ 99822375 h 406"/>
                  <a:gd name="T16" fmla="*/ 54455492 w 518"/>
                  <a:gd name="T17" fmla="*/ 108022853 h 406"/>
                  <a:gd name="T18" fmla="*/ 10410635 w 518"/>
                  <a:gd name="T19" fmla="*/ 111416631 h 406"/>
                  <a:gd name="T20" fmla="*/ 4404620 w 518"/>
                  <a:gd name="T21" fmla="*/ 114809877 h 406"/>
                  <a:gd name="T22" fmla="*/ 1000928 w 518"/>
                  <a:gd name="T23" fmla="*/ 113961698 h 406"/>
                  <a:gd name="T24" fmla="*/ 200007 w 518"/>
                  <a:gd name="T25" fmla="*/ 112547713 h 406"/>
                  <a:gd name="T26" fmla="*/ 200007 w 518"/>
                  <a:gd name="T27" fmla="*/ 108871563 h 406"/>
                  <a:gd name="T28" fmla="*/ 800921 w 518"/>
                  <a:gd name="T29" fmla="*/ 104912510 h 406"/>
                  <a:gd name="T30" fmla="*/ 2202310 w 518"/>
                  <a:gd name="T31" fmla="*/ 100105279 h 406"/>
                  <a:gd name="T32" fmla="*/ 4004159 w 518"/>
                  <a:gd name="T33" fmla="*/ 96429129 h 406"/>
                  <a:gd name="T34" fmla="*/ 6006015 w 518"/>
                  <a:gd name="T35" fmla="*/ 94449337 h 406"/>
                  <a:gd name="T36" fmla="*/ 7607858 w 518"/>
                  <a:gd name="T37" fmla="*/ 92187173 h 406"/>
                  <a:gd name="T38" fmla="*/ 8808792 w 518"/>
                  <a:gd name="T39" fmla="*/ 89642105 h 406"/>
                  <a:gd name="T40" fmla="*/ 9810168 w 518"/>
                  <a:gd name="T41" fmla="*/ 82572710 h 406"/>
                  <a:gd name="T42" fmla="*/ 11211556 w 518"/>
                  <a:gd name="T43" fmla="*/ 74937507 h 406"/>
                  <a:gd name="T44" fmla="*/ 12412491 w 518"/>
                  <a:gd name="T45" fmla="*/ 72675343 h 406"/>
                  <a:gd name="T46" fmla="*/ 14815255 w 518"/>
                  <a:gd name="T47" fmla="*/ 69564469 h 406"/>
                  <a:gd name="T48" fmla="*/ 18418953 w 518"/>
                  <a:gd name="T49" fmla="*/ 67302305 h 406"/>
                  <a:gd name="T50" fmla="*/ 21421737 w 518"/>
                  <a:gd name="T51" fmla="*/ 65323044 h 406"/>
                  <a:gd name="T52" fmla="*/ 24424969 w 518"/>
                  <a:gd name="T53" fmla="*/ 61646895 h 406"/>
                  <a:gd name="T54" fmla="*/ 27227746 w 518"/>
                  <a:gd name="T55" fmla="*/ 55142774 h 406"/>
                  <a:gd name="T56" fmla="*/ 30030523 w 518"/>
                  <a:gd name="T57" fmla="*/ 44114326 h 406"/>
                  <a:gd name="T58" fmla="*/ 32433287 w 518"/>
                  <a:gd name="T59" fmla="*/ 33085346 h 406"/>
                  <a:gd name="T60" fmla="*/ 34435143 w 518"/>
                  <a:gd name="T61" fmla="*/ 26581757 h 406"/>
                  <a:gd name="T62" fmla="*/ 37237920 w 518"/>
                  <a:gd name="T63" fmla="*/ 20642912 h 406"/>
                  <a:gd name="T64" fmla="*/ 40241151 w 518"/>
                  <a:gd name="T65" fmla="*/ 17532569 h 406"/>
                  <a:gd name="T66" fmla="*/ 42643468 w 518"/>
                  <a:gd name="T67" fmla="*/ 16118583 h 406"/>
                  <a:gd name="T68" fmla="*/ 43844850 w 518"/>
                  <a:gd name="T69" fmla="*/ 12442434 h 406"/>
                  <a:gd name="T70" fmla="*/ 44645771 w 518"/>
                  <a:gd name="T71" fmla="*/ 7918106 h 406"/>
                  <a:gd name="T72" fmla="*/ 45646699 w 518"/>
                  <a:gd name="T73" fmla="*/ 4524328 h 406"/>
                  <a:gd name="T74" fmla="*/ 47849009 w 518"/>
                  <a:gd name="T75" fmla="*/ 2262164 h 406"/>
                  <a:gd name="T76" fmla="*/ 102304501 w 518"/>
                  <a:gd name="T77" fmla="*/ 0 h 406"/>
                  <a:gd name="T78" fmla="*/ 103105422 w 518"/>
                  <a:gd name="T79" fmla="*/ 13008241 h 406"/>
                  <a:gd name="T80" fmla="*/ 103705889 w 518"/>
                  <a:gd name="T81" fmla="*/ 31106085 h 40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518" h="406">
                    <a:moveTo>
                      <a:pt x="518" y="110"/>
                    </a:moveTo>
                    <a:lnTo>
                      <a:pt x="326" y="110"/>
                    </a:lnTo>
                    <a:lnTo>
                      <a:pt x="312" y="104"/>
                    </a:lnTo>
                    <a:lnTo>
                      <a:pt x="326" y="259"/>
                    </a:lnTo>
                    <a:lnTo>
                      <a:pt x="323" y="261"/>
                    </a:lnTo>
                    <a:lnTo>
                      <a:pt x="315" y="264"/>
                    </a:lnTo>
                    <a:lnTo>
                      <a:pt x="304" y="267"/>
                    </a:lnTo>
                    <a:lnTo>
                      <a:pt x="291" y="271"/>
                    </a:lnTo>
                    <a:lnTo>
                      <a:pt x="263" y="277"/>
                    </a:lnTo>
                    <a:lnTo>
                      <a:pt x="246" y="283"/>
                    </a:lnTo>
                    <a:lnTo>
                      <a:pt x="250" y="292"/>
                    </a:lnTo>
                    <a:lnTo>
                      <a:pt x="253" y="302"/>
                    </a:lnTo>
                    <a:lnTo>
                      <a:pt x="258" y="314"/>
                    </a:lnTo>
                    <a:lnTo>
                      <a:pt x="265" y="326"/>
                    </a:lnTo>
                    <a:lnTo>
                      <a:pt x="267" y="335"/>
                    </a:lnTo>
                    <a:lnTo>
                      <a:pt x="269" y="353"/>
                    </a:lnTo>
                    <a:lnTo>
                      <a:pt x="271" y="373"/>
                    </a:lnTo>
                    <a:lnTo>
                      <a:pt x="272" y="382"/>
                    </a:lnTo>
                    <a:lnTo>
                      <a:pt x="67" y="382"/>
                    </a:lnTo>
                    <a:lnTo>
                      <a:pt x="52" y="394"/>
                    </a:lnTo>
                    <a:lnTo>
                      <a:pt x="39" y="406"/>
                    </a:lnTo>
                    <a:lnTo>
                      <a:pt x="22" y="406"/>
                    </a:lnTo>
                    <a:lnTo>
                      <a:pt x="10" y="404"/>
                    </a:lnTo>
                    <a:lnTo>
                      <a:pt x="5" y="403"/>
                    </a:lnTo>
                    <a:lnTo>
                      <a:pt x="2" y="401"/>
                    </a:lnTo>
                    <a:lnTo>
                      <a:pt x="1" y="398"/>
                    </a:lnTo>
                    <a:lnTo>
                      <a:pt x="0" y="394"/>
                    </a:lnTo>
                    <a:lnTo>
                      <a:pt x="1" y="385"/>
                    </a:lnTo>
                    <a:lnTo>
                      <a:pt x="2" y="378"/>
                    </a:lnTo>
                    <a:lnTo>
                      <a:pt x="4" y="371"/>
                    </a:lnTo>
                    <a:lnTo>
                      <a:pt x="6" y="365"/>
                    </a:lnTo>
                    <a:lnTo>
                      <a:pt x="11" y="354"/>
                    </a:lnTo>
                    <a:lnTo>
                      <a:pt x="13" y="344"/>
                    </a:lnTo>
                    <a:lnTo>
                      <a:pt x="20" y="341"/>
                    </a:lnTo>
                    <a:lnTo>
                      <a:pt x="26" y="337"/>
                    </a:lnTo>
                    <a:lnTo>
                      <a:pt x="30" y="334"/>
                    </a:lnTo>
                    <a:lnTo>
                      <a:pt x="35" y="330"/>
                    </a:lnTo>
                    <a:lnTo>
                      <a:pt x="38" y="326"/>
                    </a:lnTo>
                    <a:lnTo>
                      <a:pt x="41" y="321"/>
                    </a:lnTo>
                    <a:lnTo>
                      <a:pt x="44" y="317"/>
                    </a:lnTo>
                    <a:lnTo>
                      <a:pt x="46" y="313"/>
                    </a:lnTo>
                    <a:lnTo>
                      <a:pt x="49" y="292"/>
                    </a:lnTo>
                    <a:lnTo>
                      <a:pt x="52" y="271"/>
                    </a:lnTo>
                    <a:lnTo>
                      <a:pt x="56" y="265"/>
                    </a:lnTo>
                    <a:lnTo>
                      <a:pt x="59" y="261"/>
                    </a:lnTo>
                    <a:lnTo>
                      <a:pt x="62" y="257"/>
                    </a:lnTo>
                    <a:lnTo>
                      <a:pt x="66" y="253"/>
                    </a:lnTo>
                    <a:lnTo>
                      <a:pt x="74" y="246"/>
                    </a:lnTo>
                    <a:lnTo>
                      <a:pt x="83" y="242"/>
                    </a:lnTo>
                    <a:lnTo>
                      <a:pt x="92" y="238"/>
                    </a:lnTo>
                    <a:lnTo>
                      <a:pt x="100" y="235"/>
                    </a:lnTo>
                    <a:lnTo>
                      <a:pt x="107" y="231"/>
                    </a:lnTo>
                    <a:lnTo>
                      <a:pt x="113" y="227"/>
                    </a:lnTo>
                    <a:lnTo>
                      <a:pt x="122" y="218"/>
                    </a:lnTo>
                    <a:lnTo>
                      <a:pt x="129" y="207"/>
                    </a:lnTo>
                    <a:lnTo>
                      <a:pt x="136" y="195"/>
                    </a:lnTo>
                    <a:lnTo>
                      <a:pt x="141" y="182"/>
                    </a:lnTo>
                    <a:lnTo>
                      <a:pt x="150" y="156"/>
                    </a:lnTo>
                    <a:lnTo>
                      <a:pt x="158" y="129"/>
                    </a:lnTo>
                    <a:lnTo>
                      <a:pt x="162" y="117"/>
                    </a:lnTo>
                    <a:lnTo>
                      <a:pt x="168" y="105"/>
                    </a:lnTo>
                    <a:lnTo>
                      <a:pt x="172" y="94"/>
                    </a:lnTo>
                    <a:lnTo>
                      <a:pt x="179" y="83"/>
                    </a:lnTo>
                    <a:lnTo>
                      <a:pt x="186" y="73"/>
                    </a:lnTo>
                    <a:lnTo>
                      <a:pt x="195" y="66"/>
                    </a:lnTo>
                    <a:lnTo>
                      <a:pt x="201" y="62"/>
                    </a:lnTo>
                    <a:lnTo>
                      <a:pt x="206" y="59"/>
                    </a:lnTo>
                    <a:lnTo>
                      <a:pt x="213" y="57"/>
                    </a:lnTo>
                    <a:lnTo>
                      <a:pt x="219" y="55"/>
                    </a:lnTo>
                    <a:lnTo>
                      <a:pt x="219" y="44"/>
                    </a:lnTo>
                    <a:lnTo>
                      <a:pt x="220" y="36"/>
                    </a:lnTo>
                    <a:lnTo>
                      <a:pt x="223" y="28"/>
                    </a:lnTo>
                    <a:lnTo>
                      <a:pt x="225" y="21"/>
                    </a:lnTo>
                    <a:lnTo>
                      <a:pt x="228" y="16"/>
                    </a:lnTo>
                    <a:lnTo>
                      <a:pt x="233" y="11"/>
                    </a:lnTo>
                    <a:lnTo>
                      <a:pt x="239" y="8"/>
                    </a:lnTo>
                    <a:lnTo>
                      <a:pt x="246" y="6"/>
                    </a:lnTo>
                    <a:lnTo>
                      <a:pt x="511" y="0"/>
                    </a:lnTo>
                    <a:lnTo>
                      <a:pt x="513" y="13"/>
                    </a:lnTo>
                    <a:lnTo>
                      <a:pt x="515" y="46"/>
                    </a:lnTo>
                    <a:lnTo>
                      <a:pt x="517" y="83"/>
                    </a:lnTo>
                    <a:lnTo>
                      <a:pt x="518" y="11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0" name="Freeform 241">
                <a:extLst>
                  <a:ext uri="{FF2B5EF4-FFF2-40B4-BE49-F238E27FC236}">
                    <a16:creationId xmlns:a16="http://schemas.microsoft.com/office/drawing/2014/main" id="{A8534DD8-7CA2-41D7-95ED-E270356D5FB4}"/>
                  </a:ext>
                </a:extLst>
              </p:cNvPr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auto">
              <a:xfrm>
                <a:off x="3452278" y="2186574"/>
                <a:ext cx="229848" cy="105478"/>
              </a:xfrm>
              <a:custGeom>
                <a:avLst/>
                <a:gdLst>
                  <a:gd name="T0" fmla="*/ 6202783 w 446"/>
                  <a:gd name="T1" fmla="*/ 16889679 h 178"/>
                  <a:gd name="T2" fmla="*/ 7479901 w 446"/>
                  <a:gd name="T3" fmla="*/ 11628821 h 178"/>
                  <a:gd name="T4" fmla="*/ 12405992 w 446"/>
                  <a:gd name="T5" fmla="*/ 10244413 h 178"/>
                  <a:gd name="T6" fmla="*/ 14595034 w 446"/>
                  <a:gd name="T7" fmla="*/ 4983555 h 178"/>
                  <a:gd name="T8" fmla="*/ 13135530 w 446"/>
                  <a:gd name="T9" fmla="*/ 3876449 h 178"/>
                  <a:gd name="T10" fmla="*/ 10946489 w 446"/>
                  <a:gd name="T11" fmla="*/ 0 h 178"/>
                  <a:gd name="T12" fmla="*/ 15507383 w 446"/>
                  <a:gd name="T13" fmla="*/ 2768817 h 178"/>
                  <a:gd name="T14" fmla="*/ 19703509 w 446"/>
                  <a:gd name="T15" fmla="*/ 10797966 h 178"/>
                  <a:gd name="T16" fmla="*/ 22804900 w 446"/>
                  <a:gd name="T17" fmla="*/ 17166456 h 178"/>
                  <a:gd name="T18" fmla="*/ 25359138 w 446"/>
                  <a:gd name="T19" fmla="*/ 18550864 h 178"/>
                  <a:gd name="T20" fmla="*/ 28642914 w 446"/>
                  <a:gd name="T21" fmla="*/ 17443232 h 178"/>
                  <a:gd name="T22" fmla="*/ 33021851 w 446"/>
                  <a:gd name="T23" fmla="*/ 12459677 h 178"/>
                  <a:gd name="T24" fmla="*/ 37400361 w 446"/>
                  <a:gd name="T25" fmla="*/ 6367964 h 178"/>
                  <a:gd name="T26" fmla="*/ 40136983 w 446"/>
                  <a:gd name="T27" fmla="*/ 8583228 h 178"/>
                  <a:gd name="T28" fmla="*/ 65496121 w 446"/>
                  <a:gd name="T29" fmla="*/ 3045594 h 178"/>
                  <a:gd name="T30" fmla="*/ 68597512 w 446"/>
                  <a:gd name="T31" fmla="*/ 6367964 h 178"/>
                  <a:gd name="T32" fmla="*/ 72246057 w 446"/>
                  <a:gd name="T33" fmla="*/ 6091187 h 178"/>
                  <a:gd name="T34" fmla="*/ 75347876 w 446"/>
                  <a:gd name="T35" fmla="*/ 10244413 h 178"/>
                  <a:gd name="T36" fmla="*/ 75712645 w 446"/>
                  <a:gd name="T37" fmla="*/ 11905598 h 178"/>
                  <a:gd name="T38" fmla="*/ 78266882 w 446"/>
                  <a:gd name="T39" fmla="*/ 14951191 h 178"/>
                  <a:gd name="T40" fmla="*/ 80821120 w 446"/>
                  <a:gd name="T41" fmla="*/ 18827641 h 178"/>
                  <a:gd name="T42" fmla="*/ 81368274 w 446"/>
                  <a:gd name="T43" fmla="*/ 22150011 h 178"/>
                  <a:gd name="T44" fmla="*/ 79908770 w 446"/>
                  <a:gd name="T45" fmla="*/ 26580013 h 178"/>
                  <a:gd name="T46" fmla="*/ 75347876 w 446"/>
                  <a:gd name="T47" fmla="*/ 30733238 h 178"/>
                  <a:gd name="T48" fmla="*/ 72428869 w 446"/>
                  <a:gd name="T49" fmla="*/ 33225279 h 178"/>
                  <a:gd name="T50" fmla="*/ 66773240 w 446"/>
                  <a:gd name="T51" fmla="*/ 34055608 h 178"/>
                  <a:gd name="T52" fmla="*/ 54732017 w 446"/>
                  <a:gd name="T53" fmla="*/ 40424098 h 178"/>
                  <a:gd name="T54" fmla="*/ 42690794 w 446"/>
                  <a:gd name="T55" fmla="*/ 47346141 h 178"/>
                  <a:gd name="T56" fmla="*/ 36305627 w 446"/>
                  <a:gd name="T57" fmla="*/ 49284102 h 178"/>
                  <a:gd name="T58" fmla="*/ 32291886 w 446"/>
                  <a:gd name="T59" fmla="*/ 48176470 h 178"/>
                  <a:gd name="T60" fmla="*/ 31379536 w 446"/>
                  <a:gd name="T61" fmla="*/ 45407653 h 178"/>
                  <a:gd name="T62" fmla="*/ 31014767 w 446"/>
                  <a:gd name="T63" fmla="*/ 44577324 h 178"/>
                  <a:gd name="T64" fmla="*/ 28460529 w 446"/>
                  <a:gd name="T65" fmla="*/ 44577324 h 178"/>
                  <a:gd name="T66" fmla="*/ 25359138 w 446"/>
                  <a:gd name="T67" fmla="*/ 44300547 h 178"/>
                  <a:gd name="T68" fmla="*/ 18244006 w 446"/>
                  <a:gd name="T69" fmla="*/ 40700875 h 178"/>
                  <a:gd name="T70" fmla="*/ 15507383 w 446"/>
                  <a:gd name="T71" fmla="*/ 37932058 h 178"/>
                  <a:gd name="T72" fmla="*/ 14777845 w 446"/>
                  <a:gd name="T73" fmla="*/ 34609688 h 178"/>
                  <a:gd name="T74" fmla="*/ 15872152 w 446"/>
                  <a:gd name="T75" fmla="*/ 30733238 h 178"/>
                  <a:gd name="T76" fmla="*/ 4926091 w 446"/>
                  <a:gd name="T77" fmla="*/ 28518500 h 178"/>
                  <a:gd name="T78" fmla="*/ 1641888 w 446"/>
                  <a:gd name="T79" fmla="*/ 29072053 h 178"/>
                  <a:gd name="T80" fmla="*/ 0 w 446"/>
                  <a:gd name="T81" fmla="*/ 22150011 h 178"/>
                  <a:gd name="T82" fmla="*/ 10946489 w 446"/>
                  <a:gd name="T83" fmla="*/ 23811196 h 178"/>
                  <a:gd name="T84" fmla="*/ 15872152 w 446"/>
                  <a:gd name="T85" fmla="*/ 22150011 h 178"/>
                  <a:gd name="T86" fmla="*/ 4196126 w 446"/>
                  <a:gd name="T87" fmla="*/ 18827641 h 178"/>
                  <a:gd name="T88" fmla="*/ 2919007 w 446"/>
                  <a:gd name="T89" fmla="*/ 15228494 h 178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0" t="0" r="r" b="b"/>
                <a:pathLst>
                  <a:path w="446" h="178">
                    <a:moveTo>
                      <a:pt x="27" y="43"/>
                    </a:moveTo>
                    <a:lnTo>
                      <a:pt x="31" y="52"/>
                    </a:lnTo>
                    <a:lnTo>
                      <a:pt x="34" y="61"/>
                    </a:lnTo>
                    <a:lnTo>
                      <a:pt x="37" y="53"/>
                    </a:lnTo>
                    <a:lnTo>
                      <a:pt x="40" y="47"/>
                    </a:lnTo>
                    <a:lnTo>
                      <a:pt x="41" y="42"/>
                    </a:lnTo>
                    <a:lnTo>
                      <a:pt x="41" y="37"/>
                    </a:lnTo>
                    <a:lnTo>
                      <a:pt x="55" y="37"/>
                    </a:lnTo>
                    <a:lnTo>
                      <a:pt x="68" y="37"/>
                    </a:lnTo>
                    <a:lnTo>
                      <a:pt x="77" y="37"/>
                    </a:lnTo>
                    <a:lnTo>
                      <a:pt x="80" y="37"/>
                    </a:lnTo>
                    <a:lnTo>
                      <a:pt x="80" y="18"/>
                    </a:lnTo>
                    <a:lnTo>
                      <a:pt x="78" y="17"/>
                    </a:lnTo>
                    <a:lnTo>
                      <a:pt x="75" y="16"/>
                    </a:lnTo>
                    <a:lnTo>
                      <a:pt x="72" y="14"/>
                    </a:lnTo>
                    <a:lnTo>
                      <a:pt x="70" y="11"/>
                    </a:lnTo>
                    <a:lnTo>
                      <a:pt x="65" y="5"/>
                    </a:lnTo>
                    <a:lnTo>
                      <a:pt x="60" y="0"/>
                    </a:lnTo>
                    <a:lnTo>
                      <a:pt x="69" y="3"/>
                    </a:lnTo>
                    <a:lnTo>
                      <a:pt x="78" y="6"/>
                    </a:lnTo>
                    <a:lnTo>
                      <a:pt x="85" y="10"/>
                    </a:lnTo>
                    <a:lnTo>
                      <a:pt x="90" y="15"/>
                    </a:lnTo>
                    <a:lnTo>
                      <a:pt x="100" y="27"/>
                    </a:lnTo>
                    <a:lnTo>
                      <a:pt x="108" y="39"/>
                    </a:lnTo>
                    <a:lnTo>
                      <a:pt x="114" y="49"/>
                    </a:lnTo>
                    <a:lnTo>
                      <a:pt x="121" y="59"/>
                    </a:lnTo>
                    <a:lnTo>
                      <a:pt x="125" y="62"/>
                    </a:lnTo>
                    <a:lnTo>
                      <a:pt x="130" y="65"/>
                    </a:lnTo>
                    <a:lnTo>
                      <a:pt x="134" y="67"/>
                    </a:lnTo>
                    <a:lnTo>
                      <a:pt x="139" y="67"/>
                    </a:lnTo>
                    <a:lnTo>
                      <a:pt x="146" y="67"/>
                    </a:lnTo>
                    <a:lnTo>
                      <a:pt x="152" y="66"/>
                    </a:lnTo>
                    <a:lnTo>
                      <a:pt x="157" y="63"/>
                    </a:lnTo>
                    <a:lnTo>
                      <a:pt x="163" y="61"/>
                    </a:lnTo>
                    <a:lnTo>
                      <a:pt x="172" y="54"/>
                    </a:lnTo>
                    <a:lnTo>
                      <a:pt x="181" y="45"/>
                    </a:lnTo>
                    <a:lnTo>
                      <a:pt x="190" y="37"/>
                    </a:lnTo>
                    <a:lnTo>
                      <a:pt x="198" y="29"/>
                    </a:lnTo>
                    <a:lnTo>
                      <a:pt x="205" y="23"/>
                    </a:lnTo>
                    <a:lnTo>
                      <a:pt x="213" y="18"/>
                    </a:lnTo>
                    <a:lnTo>
                      <a:pt x="216" y="25"/>
                    </a:lnTo>
                    <a:lnTo>
                      <a:pt x="220" y="31"/>
                    </a:lnTo>
                    <a:lnTo>
                      <a:pt x="293" y="31"/>
                    </a:lnTo>
                    <a:lnTo>
                      <a:pt x="352" y="6"/>
                    </a:lnTo>
                    <a:lnTo>
                      <a:pt x="359" y="11"/>
                    </a:lnTo>
                    <a:lnTo>
                      <a:pt x="367" y="17"/>
                    </a:lnTo>
                    <a:lnTo>
                      <a:pt x="371" y="21"/>
                    </a:lnTo>
                    <a:lnTo>
                      <a:pt x="376" y="23"/>
                    </a:lnTo>
                    <a:lnTo>
                      <a:pt x="381" y="24"/>
                    </a:lnTo>
                    <a:lnTo>
                      <a:pt x="385" y="25"/>
                    </a:lnTo>
                    <a:lnTo>
                      <a:pt x="396" y="22"/>
                    </a:lnTo>
                    <a:lnTo>
                      <a:pt x="413" y="18"/>
                    </a:lnTo>
                    <a:lnTo>
                      <a:pt x="413" y="28"/>
                    </a:lnTo>
                    <a:lnTo>
                      <a:pt x="413" y="37"/>
                    </a:lnTo>
                    <a:lnTo>
                      <a:pt x="413" y="39"/>
                    </a:lnTo>
                    <a:lnTo>
                      <a:pt x="414" y="41"/>
                    </a:lnTo>
                    <a:lnTo>
                      <a:pt x="415" y="43"/>
                    </a:lnTo>
                    <a:lnTo>
                      <a:pt x="417" y="45"/>
                    </a:lnTo>
                    <a:lnTo>
                      <a:pt x="423" y="49"/>
                    </a:lnTo>
                    <a:lnTo>
                      <a:pt x="429" y="54"/>
                    </a:lnTo>
                    <a:lnTo>
                      <a:pt x="435" y="59"/>
                    </a:lnTo>
                    <a:lnTo>
                      <a:pt x="440" y="64"/>
                    </a:lnTo>
                    <a:lnTo>
                      <a:pt x="443" y="68"/>
                    </a:lnTo>
                    <a:lnTo>
                      <a:pt x="444" y="71"/>
                    </a:lnTo>
                    <a:lnTo>
                      <a:pt x="445" y="76"/>
                    </a:lnTo>
                    <a:lnTo>
                      <a:pt x="446" y="80"/>
                    </a:lnTo>
                    <a:lnTo>
                      <a:pt x="445" y="87"/>
                    </a:lnTo>
                    <a:lnTo>
                      <a:pt x="443" y="92"/>
                    </a:lnTo>
                    <a:lnTo>
                      <a:pt x="438" y="96"/>
                    </a:lnTo>
                    <a:lnTo>
                      <a:pt x="434" y="100"/>
                    </a:lnTo>
                    <a:lnTo>
                      <a:pt x="423" y="106"/>
                    </a:lnTo>
                    <a:lnTo>
                      <a:pt x="413" y="111"/>
                    </a:lnTo>
                    <a:lnTo>
                      <a:pt x="407" y="115"/>
                    </a:lnTo>
                    <a:lnTo>
                      <a:pt x="402" y="118"/>
                    </a:lnTo>
                    <a:lnTo>
                      <a:pt x="397" y="120"/>
                    </a:lnTo>
                    <a:lnTo>
                      <a:pt x="392" y="121"/>
                    </a:lnTo>
                    <a:lnTo>
                      <a:pt x="380" y="123"/>
                    </a:lnTo>
                    <a:lnTo>
                      <a:pt x="366" y="123"/>
                    </a:lnTo>
                    <a:lnTo>
                      <a:pt x="344" y="129"/>
                    </a:lnTo>
                    <a:lnTo>
                      <a:pt x="322" y="137"/>
                    </a:lnTo>
                    <a:lnTo>
                      <a:pt x="300" y="146"/>
                    </a:lnTo>
                    <a:lnTo>
                      <a:pt x="279" y="156"/>
                    </a:lnTo>
                    <a:lnTo>
                      <a:pt x="257" y="164"/>
                    </a:lnTo>
                    <a:lnTo>
                      <a:pt x="234" y="171"/>
                    </a:lnTo>
                    <a:lnTo>
                      <a:pt x="223" y="174"/>
                    </a:lnTo>
                    <a:lnTo>
                      <a:pt x="211" y="176"/>
                    </a:lnTo>
                    <a:lnTo>
                      <a:pt x="199" y="178"/>
                    </a:lnTo>
                    <a:lnTo>
                      <a:pt x="187" y="178"/>
                    </a:lnTo>
                    <a:lnTo>
                      <a:pt x="181" y="177"/>
                    </a:lnTo>
                    <a:lnTo>
                      <a:pt x="177" y="174"/>
                    </a:lnTo>
                    <a:lnTo>
                      <a:pt x="175" y="171"/>
                    </a:lnTo>
                    <a:lnTo>
                      <a:pt x="173" y="166"/>
                    </a:lnTo>
                    <a:lnTo>
                      <a:pt x="172" y="164"/>
                    </a:lnTo>
                    <a:lnTo>
                      <a:pt x="172" y="163"/>
                    </a:lnTo>
                    <a:lnTo>
                      <a:pt x="171" y="162"/>
                    </a:lnTo>
                    <a:lnTo>
                      <a:pt x="170" y="161"/>
                    </a:lnTo>
                    <a:lnTo>
                      <a:pt x="166" y="161"/>
                    </a:lnTo>
                    <a:lnTo>
                      <a:pt x="161" y="161"/>
                    </a:lnTo>
                    <a:lnTo>
                      <a:pt x="156" y="161"/>
                    </a:lnTo>
                    <a:lnTo>
                      <a:pt x="150" y="162"/>
                    </a:lnTo>
                    <a:lnTo>
                      <a:pt x="145" y="162"/>
                    </a:lnTo>
                    <a:lnTo>
                      <a:pt x="139" y="160"/>
                    </a:lnTo>
                    <a:lnTo>
                      <a:pt x="125" y="156"/>
                    </a:lnTo>
                    <a:lnTo>
                      <a:pt x="112" y="152"/>
                    </a:lnTo>
                    <a:lnTo>
                      <a:pt x="100" y="147"/>
                    </a:lnTo>
                    <a:lnTo>
                      <a:pt x="91" y="143"/>
                    </a:lnTo>
                    <a:lnTo>
                      <a:pt x="87" y="140"/>
                    </a:lnTo>
                    <a:lnTo>
                      <a:pt x="85" y="137"/>
                    </a:lnTo>
                    <a:lnTo>
                      <a:pt x="82" y="134"/>
                    </a:lnTo>
                    <a:lnTo>
                      <a:pt x="81" y="129"/>
                    </a:lnTo>
                    <a:lnTo>
                      <a:pt x="81" y="125"/>
                    </a:lnTo>
                    <a:lnTo>
                      <a:pt x="81" y="121"/>
                    </a:lnTo>
                    <a:lnTo>
                      <a:pt x="83" y="116"/>
                    </a:lnTo>
                    <a:lnTo>
                      <a:pt x="87" y="111"/>
                    </a:lnTo>
                    <a:lnTo>
                      <a:pt x="63" y="108"/>
                    </a:lnTo>
                    <a:lnTo>
                      <a:pt x="38" y="104"/>
                    </a:lnTo>
                    <a:lnTo>
                      <a:pt x="27" y="103"/>
                    </a:lnTo>
                    <a:lnTo>
                      <a:pt x="18" y="103"/>
                    </a:lnTo>
                    <a:lnTo>
                      <a:pt x="13" y="104"/>
                    </a:lnTo>
                    <a:lnTo>
                      <a:pt x="9" y="105"/>
                    </a:lnTo>
                    <a:lnTo>
                      <a:pt x="4" y="108"/>
                    </a:lnTo>
                    <a:lnTo>
                      <a:pt x="0" y="111"/>
                    </a:lnTo>
                    <a:lnTo>
                      <a:pt x="0" y="80"/>
                    </a:lnTo>
                    <a:lnTo>
                      <a:pt x="30" y="82"/>
                    </a:lnTo>
                    <a:lnTo>
                      <a:pt x="51" y="85"/>
                    </a:lnTo>
                    <a:lnTo>
                      <a:pt x="60" y="86"/>
                    </a:lnTo>
                    <a:lnTo>
                      <a:pt x="68" y="86"/>
                    </a:lnTo>
                    <a:lnTo>
                      <a:pt x="77" y="84"/>
                    </a:lnTo>
                    <a:lnTo>
                      <a:pt x="87" y="80"/>
                    </a:lnTo>
                    <a:lnTo>
                      <a:pt x="64" y="76"/>
                    </a:lnTo>
                    <a:lnTo>
                      <a:pt x="44" y="71"/>
                    </a:lnTo>
                    <a:lnTo>
                      <a:pt x="23" y="68"/>
                    </a:lnTo>
                    <a:lnTo>
                      <a:pt x="0" y="67"/>
                    </a:lnTo>
                    <a:lnTo>
                      <a:pt x="9" y="62"/>
                    </a:lnTo>
                    <a:lnTo>
                      <a:pt x="16" y="55"/>
                    </a:lnTo>
                    <a:lnTo>
                      <a:pt x="22" y="49"/>
                    </a:lnTo>
                    <a:lnTo>
                      <a:pt x="27" y="4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1" name="Freeform 242">
                <a:extLst>
                  <a:ext uri="{FF2B5EF4-FFF2-40B4-BE49-F238E27FC236}">
                    <a16:creationId xmlns:a16="http://schemas.microsoft.com/office/drawing/2014/main" id="{A26D1736-92B4-4F4F-874D-5935D45D2789}"/>
                  </a:ext>
                </a:extLst>
              </p:cNvPr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auto">
              <a:xfrm>
                <a:off x="4407867" y="2481914"/>
                <a:ext cx="18098" cy="65046"/>
              </a:xfrm>
              <a:custGeom>
                <a:avLst/>
                <a:gdLst>
                  <a:gd name="T0" fmla="*/ 0 w 28"/>
                  <a:gd name="T1" fmla="*/ 44741404 h 73"/>
                  <a:gd name="T2" fmla="*/ 521002 w 28"/>
                  <a:gd name="T3" fmla="*/ 28805949 h 73"/>
                  <a:gd name="T4" fmla="*/ 1562495 w 28"/>
                  <a:gd name="T5" fmla="*/ 17161440 h 73"/>
                  <a:gd name="T6" fmla="*/ 1822741 w 28"/>
                  <a:gd name="T7" fmla="*/ 12258284 h 73"/>
                  <a:gd name="T8" fmla="*/ 1562495 w 28"/>
                  <a:gd name="T9" fmla="*/ 7967336 h 73"/>
                  <a:gd name="T10" fmla="*/ 1041493 w 28"/>
                  <a:gd name="T11" fmla="*/ 4290164 h 73"/>
                  <a:gd name="T12" fmla="*/ 0 w 28"/>
                  <a:gd name="T13" fmla="*/ 0 h 73"/>
                  <a:gd name="T14" fmla="*/ 7290962 w 28"/>
                  <a:gd name="T15" fmla="*/ 0 h 73"/>
                  <a:gd name="T16" fmla="*/ 5728467 w 28"/>
                  <a:gd name="T17" fmla="*/ 9806314 h 73"/>
                  <a:gd name="T18" fmla="*/ 4426729 w 28"/>
                  <a:gd name="T19" fmla="*/ 18386642 h 73"/>
                  <a:gd name="T20" fmla="*/ 3124479 w 28"/>
                  <a:gd name="T21" fmla="*/ 26354762 h 73"/>
                  <a:gd name="T22" fmla="*/ 1822741 w 28"/>
                  <a:gd name="T23" fmla="*/ 33709105 h 73"/>
                  <a:gd name="T24" fmla="*/ 0 w 28"/>
                  <a:gd name="T25" fmla="*/ 44741404 h 7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8" h="73">
                    <a:moveTo>
                      <a:pt x="0" y="73"/>
                    </a:moveTo>
                    <a:lnTo>
                      <a:pt x="2" y="47"/>
                    </a:lnTo>
                    <a:lnTo>
                      <a:pt x="6" y="28"/>
                    </a:lnTo>
                    <a:lnTo>
                      <a:pt x="7" y="20"/>
                    </a:lnTo>
                    <a:lnTo>
                      <a:pt x="6" y="13"/>
                    </a:lnTo>
                    <a:lnTo>
                      <a:pt x="4" y="7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22" y="16"/>
                    </a:lnTo>
                    <a:lnTo>
                      <a:pt x="17" y="30"/>
                    </a:lnTo>
                    <a:lnTo>
                      <a:pt x="12" y="43"/>
                    </a:lnTo>
                    <a:lnTo>
                      <a:pt x="7" y="55"/>
                    </a:lnTo>
                    <a:lnTo>
                      <a:pt x="0" y="7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2" name="Freeform 243">
                <a:extLst>
                  <a:ext uri="{FF2B5EF4-FFF2-40B4-BE49-F238E27FC236}">
                    <a16:creationId xmlns:a16="http://schemas.microsoft.com/office/drawing/2014/main" id="{D8A26A00-7419-4EAB-B71E-A587CD270448}"/>
                  </a:ext>
                </a:extLst>
              </p:cNvPr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auto">
              <a:xfrm>
                <a:off x="4272130" y="2103950"/>
                <a:ext cx="282333" cy="444767"/>
              </a:xfrm>
              <a:custGeom>
                <a:avLst/>
                <a:gdLst>
                  <a:gd name="T0" fmla="*/ 82030735 w 531"/>
                  <a:gd name="T1" fmla="*/ 55351668 h 757"/>
                  <a:gd name="T2" fmla="*/ 79485665 w 531"/>
                  <a:gd name="T3" fmla="*/ 60259597 h 757"/>
                  <a:gd name="T4" fmla="*/ 79094081 w 531"/>
                  <a:gd name="T5" fmla="*/ 64622375 h 757"/>
                  <a:gd name="T6" fmla="*/ 74786665 w 531"/>
                  <a:gd name="T7" fmla="*/ 74983385 h 757"/>
                  <a:gd name="T8" fmla="*/ 63627646 w 531"/>
                  <a:gd name="T9" fmla="*/ 83436365 h 757"/>
                  <a:gd name="T10" fmla="*/ 49335960 w 531"/>
                  <a:gd name="T11" fmla="*/ 96524177 h 757"/>
                  <a:gd name="T12" fmla="*/ 46399306 w 531"/>
                  <a:gd name="T13" fmla="*/ 100614379 h 757"/>
                  <a:gd name="T14" fmla="*/ 47965197 w 531"/>
                  <a:gd name="T15" fmla="*/ 103886332 h 757"/>
                  <a:gd name="T16" fmla="*/ 46986460 w 531"/>
                  <a:gd name="T17" fmla="*/ 115610743 h 757"/>
                  <a:gd name="T18" fmla="*/ 46790890 w 531"/>
                  <a:gd name="T19" fmla="*/ 122427747 h 757"/>
                  <a:gd name="T20" fmla="*/ 51293434 w 531"/>
                  <a:gd name="T21" fmla="*/ 127608252 h 757"/>
                  <a:gd name="T22" fmla="*/ 62648466 w 531"/>
                  <a:gd name="T23" fmla="*/ 132243605 h 757"/>
                  <a:gd name="T24" fmla="*/ 64997966 w 531"/>
                  <a:gd name="T25" fmla="*/ 137697208 h 757"/>
                  <a:gd name="T26" fmla="*/ 60690992 w 531"/>
                  <a:gd name="T27" fmla="*/ 144786265 h 757"/>
                  <a:gd name="T28" fmla="*/ 53251351 w 531"/>
                  <a:gd name="T29" fmla="*/ 149149043 h 757"/>
                  <a:gd name="T30" fmla="*/ 51881031 w 531"/>
                  <a:gd name="T31" fmla="*/ 152693572 h 757"/>
                  <a:gd name="T32" fmla="*/ 49335960 w 531"/>
                  <a:gd name="T33" fmla="*/ 172053236 h 757"/>
                  <a:gd name="T34" fmla="*/ 46790890 w 531"/>
                  <a:gd name="T35" fmla="*/ 196593405 h 757"/>
                  <a:gd name="T36" fmla="*/ 33869525 w 531"/>
                  <a:gd name="T37" fmla="*/ 198229381 h 757"/>
                  <a:gd name="T38" fmla="*/ 29758121 w 531"/>
                  <a:gd name="T39" fmla="*/ 201228758 h 757"/>
                  <a:gd name="T40" fmla="*/ 29953691 w 531"/>
                  <a:gd name="T41" fmla="*/ 206409263 h 757"/>
                  <a:gd name="T42" fmla="*/ 20752589 w 531"/>
                  <a:gd name="T43" fmla="*/ 206409263 h 757"/>
                  <a:gd name="T44" fmla="*/ 18598660 w 531"/>
                  <a:gd name="T45" fmla="*/ 205045863 h 757"/>
                  <a:gd name="T46" fmla="*/ 13900102 w 531"/>
                  <a:gd name="T47" fmla="*/ 195775155 h 757"/>
                  <a:gd name="T48" fmla="*/ 8026795 w 531"/>
                  <a:gd name="T49" fmla="*/ 174506939 h 757"/>
                  <a:gd name="T50" fmla="*/ 6656474 w 531"/>
                  <a:gd name="T51" fmla="*/ 162782529 h 757"/>
                  <a:gd name="T52" fmla="*/ 2741083 w 531"/>
                  <a:gd name="T53" fmla="*/ 159783151 h 757"/>
                  <a:gd name="T54" fmla="*/ 3719820 w 531"/>
                  <a:gd name="T55" fmla="*/ 152966670 h 757"/>
                  <a:gd name="T56" fmla="*/ 7048058 w 531"/>
                  <a:gd name="T57" fmla="*/ 146695340 h 757"/>
                  <a:gd name="T58" fmla="*/ 10376295 w 531"/>
                  <a:gd name="T59" fmla="*/ 137424632 h 757"/>
                  <a:gd name="T60" fmla="*/ 11942185 w 531"/>
                  <a:gd name="T61" fmla="*/ 128426501 h 757"/>
                  <a:gd name="T62" fmla="*/ 12529782 w 531"/>
                  <a:gd name="T63" fmla="*/ 120246097 h 757"/>
                  <a:gd name="T64" fmla="*/ 11355032 w 531"/>
                  <a:gd name="T65" fmla="*/ 111248487 h 757"/>
                  <a:gd name="T66" fmla="*/ 8418378 w 531"/>
                  <a:gd name="T67" fmla="*/ 102795507 h 757"/>
                  <a:gd name="T68" fmla="*/ 14487698 w 531"/>
                  <a:gd name="T69" fmla="*/ 75255961 h 757"/>
                  <a:gd name="T70" fmla="*/ 20164993 w 531"/>
                  <a:gd name="T71" fmla="*/ 74983385 h 757"/>
                  <a:gd name="T72" fmla="*/ 22122910 w 531"/>
                  <a:gd name="T73" fmla="*/ 63804126 h 757"/>
                  <a:gd name="T74" fmla="*/ 26821467 w 531"/>
                  <a:gd name="T75" fmla="*/ 52352291 h 757"/>
                  <a:gd name="T76" fmla="*/ 35239845 w 531"/>
                  <a:gd name="T77" fmla="*/ 39536533 h 757"/>
                  <a:gd name="T78" fmla="*/ 38763653 w 531"/>
                  <a:gd name="T79" fmla="*/ 30266348 h 757"/>
                  <a:gd name="T80" fmla="*/ 44636960 w 531"/>
                  <a:gd name="T81" fmla="*/ 16360287 h 757"/>
                  <a:gd name="T82" fmla="*/ 48748364 w 531"/>
                  <a:gd name="T83" fmla="*/ 11724933 h 757"/>
                  <a:gd name="T84" fmla="*/ 60494979 w 531"/>
                  <a:gd name="T85" fmla="*/ 7907307 h 757"/>
                  <a:gd name="T86" fmla="*/ 72046024 w 531"/>
                  <a:gd name="T87" fmla="*/ 3544529 h 757"/>
                  <a:gd name="T88" fmla="*/ 78506485 w 531"/>
                  <a:gd name="T89" fmla="*/ 1363401 h 757"/>
                  <a:gd name="T90" fmla="*/ 84379793 w 531"/>
                  <a:gd name="T91" fmla="*/ 8725556 h 757"/>
                  <a:gd name="T92" fmla="*/ 89469933 w 531"/>
                  <a:gd name="T93" fmla="*/ 11451835 h 757"/>
                  <a:gd name="T94" fmla="*/ 100433824 w 531"/>
                  <a:gd name="T95" fmla="*/ 30266348 h 757"/>
                  <a:gd name="T96" fmla="*/ 103370478 w 531"/>
                  <a:gd name="T97" fmla="*/ 40899933 h 75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31" h="757">
                    <a:moveTo>
                      <a:pt x="531" y="190"/>
                    </a:moveTo>
                    <a:lnTo>
                      <a:pt x="432" y="190"/>
                    </a:lnTo>
                    <a:lnTo>
                      <a:pt x="428" y="194"/>
                    </a:lnTo>
                    <a:lnTo>
                      <a:pt x="419" y="203"/>
                    </a:lnTo>
                    <a:lnTo>
                      <a:pt x="413" y="208"/>
                    </a:lnTo>
                    <a:lnTo>
                      <a:pt x="409" y="213"/>
                    </a:lnTo>
                    <a:lnTo>
                      <a:pt x="407" y="218"/>
                    </a:lnTo>
                    <a:lnTo>
                      <a:pt x="406" y="221"/>
                    </a:lnTo>
                    <a:lnTo>
                      <a:pt x="404" y="226"/>
                    </a:lnTo>
                    <a:lnTo>
                      <a:pt x="403" y="230"/>
                    </a:lnTo>
                    <a:lnTo>
                      <a:pt x="403" y="233"/>
                    </a:lnTo>
                    <a:lnTo>
                      <a:pt x="404" y="237"/>
                    </a:lnTo>
                    <a:lnTo>
                      <a:pt x="407" y="244"/>
                    </a:lnTo>
                    <a:lnTo>
                      <a:pt x="412" y="252"/>
                    </a:lnTo>
                    <a:lnTo>
                      <a:pt x="397" y="264"/>
                    </a:lnTo>
                    <a:lnTo>
                      <a:pt x="382" y="275"/>
                    </a:lnTo>
                    <a:lnTo>
                      <a:pt x="367" y="284"/>
                    </a:lnTo>
                    <a:lnTo>
                      <a:pt x="353" y="291"/>
                    </a:lnTo>
                    <a:lnTo>
                      <a:pt x="339" y="299"/>
                    </a:lnTo>
                    <a:lnTo>
                      <a:pt x="325" y="306"/>
                    </a:lnTo>
                    <a:lnTo>
                      <a:pt x="311" y="315"/>
                    </a:lnTo>
                    <a:lnTo>
                      <a:pt x="299" y="325"/>
                    </a:lnTo>
                    <a:lnTo>
                      <a:pt x="277" y="338"/>
                    </a:lnTo>
                    <a:lnTo>
                      <a:pt x="252" y="354"/>
                    </a:lnTo>
                    <a:lnTo>
                      <a:pt x="248" y="358"/>
                    </a:lnTo>
                    <a:lnTo>
                      <a:pt x="242" y="361"/>
                    </a:lnTo>
                    <a:lnTo>
                      <a:pt x="239" y="365"/>
                    </a:lnTo>
                    <a:lnTo>
                      <a:pt x="237" y="369"/>
                    </a:lnTo>
                    <a:lnTo>
                      <a:pt x="237" y="372"/>
                    </a:lnTo>
                    <a:lnTo>
                      <a:pt x="238" y="375"/>
                    </a:lnTo>
                    <a:lnTo>
                      <a:pt x="241" y="378"/>
                    </a:lnTo>
                    <a:lnTo>
                      <a:pt x="245" y="381"/>
                    </a:lnTo>
                    <a:lnTo>
                      <a:pt x="245" y="391"/>
                    </a:lnTo>
                    <a:lnTo>
                      <a:pt x="245" y="400"/>
                    </a:lnTo>
                    <a:lnTo>
                      <a:pt x="243" y="413"/>
                    </a:lnTo>
                    <a:lnTo>
                      <a:pt x="240" y="424"/>
                    </a:lnTo>
                    <a:lnTo>
                      <a:pt x="238" y="430"/>
                    </a:lnTo>
                    <a:lnTo>
                      <a:pt x="238" y="436"/>
                    </a:lnTo>
                    <a:lnTo>
                      <a:pt x="238" y="443"/>
                    </a:lnTo>
                    <a:lnTo>
                      <a:pt x="239" y="449"/>
                    </a:lnTo>
                    <a:lnTo>
                      <a:pt x="243" y="456"/>
                    </a:lnTo>
                    <a:lnTo>
                      <a:pt x="249" y="461"/>
                    </a:lnTo>
                    <a:lnTo>
                      <a:pt x="255" y="465"/>
                    </a:lnTo>
                    <a:lnTo>
                      <a:pt x="262" y="468"/>
                    </a:lnTo>
                    <a:lnTo>
                      <a:pt x="277" y="473"/>
                    </a:lnTo>
                    <a:lnTo>
                      <a:pt x="293" y="477"/>
                    </a:lnTo>
                    <a:lnTo>
                      <a:pt x="308" y="480"/>
                    </a:lnTo>
                    <a:lnTo>
                      <a:pt x="320" y="485"/>
                    </a:lnTo>
                    <a:lnTo>
                      <a:pt x="326" y="488"/>
                    </a:lnTo>
                    <a:lnTo>
                      <a:pt x="329" y="492"/>
                    </a:lnTo>
                    <a:lnTo>
                      <a:pt x="331" y="499"/>
                    </a:lnTo>
                    <a:lnTo>
                      <a:pt x="332" y="505"/>
                    </a:lnTo>
                    <a:lnTo>
                      <a:pt x="332" y="517"/>
                    </a:lnTo>
                    <a:lnTo>
                      <a:pt x="332" y="529"/>
                    </a:lnTo>
                    <a:lnTo>
                      <a:pt x="321" y="530"/>
                    </a:lnTo>
                    <a:lnTo>
                      <a:pt x="310" y="531"/>
                    </a:lnTo>
                    <a:lnTo>
                      <a:pt x="299" y="534"/>
                    </a:lnTo>
                    <a:lnTo>
                      <a:pt x="289" y="537"/>
                    </a:lnTo>
                    <a:lnTo>
                      <a:pt x="280" y="542"/>
                    </a:lnTo>
                    <a:lnTo>
                      <a:pt x="272" y="547"/>
                    </a:lnTo>
                    <a:lnTo>
                      <a:pt x="270" y="551"/>
                    </a:lnTo>
                    <a:lnTo>
                      <a:pt x="267" y="554"/>
                    </a:lnTo>
                    <a:lnTo>
                      <a:pt x="266" y="557"/>
                    </a:lnTo>
                    <a:lnTo>
                      <a:pt x="265" y="560"/>
                    </a:lnTo>
                    <a:lnTo>
                      <a:pt x="264" y="576"/>
                    </a:lnTo>
                    <a:lnTo>
                      <a:pt x="262" y="593"/>
                    </a:lnTo>
                    <a:lnTo>
                      <a:pt x="258" y="612"/>
                    </a:lnTo>
                    <a:lnTo>
                      <a:pt x="252" y="631"/>
                    </a:lnTo>
                    <a:lnTo>
                      <a:pt x="248" y="651"/>
                    </a:lnTo>
                    <a:lnTo>
                      <a:pt x="243" y="673"/>
                    </a:lnTo>
                    <a:lnTo>
                      <a:pt x="240" y="695"/>
                    </a:lnTo>
                    <a:lnTo>
                      <a:pt x="239" y="721"/>
                    </a:lnTo>
                    <a:lnTo>
                      <a:pt x="224" y="721"/>
                    </a:lnTo>
                    <a:lnTo>
                      <a:pt x="206" y="722"/>
                    </a:lnTo>
                    <a:lnTo>
                      <a:pt x="189" y="724"/>
                    </a:lnTo>
                    <a:lnTo>
                      <a:pt x="173" y="727"/>
                    </a:lnTo>
                    <a:lnTo>
                      <a:pt x="166" y="730"/>
                    </a:lnTo>
                    <a:lnTo>
                      <a:pt x="161" y="732"/>
                    </a:lnTo>
                    <a:lnTo>
                      <a:pt x="155" y="735"/>
                    </a:lnTo>
                    <a:lnTo>
                      <a:pt x="152" y="738"/>
                    </a:lnTo>
                    <a:lnTo>
                      <a:pt x="150" y="742"/>
                    </a:lnTo>
                    <a:lnTo>
                      <a:pt x="149" y="747"/>
                    </a:lnTo>
                    <a:lnTo>
                      <a:pt x="150" y="751"/>
                    </a:lnTo>
                    <a:lnTo>
                      <a:pt x="153" y="757"/>
                    </a:lnTo>
                    <a:lnTo>
                      <a:pt x="142" y="757"/>
                    </a:lnTo>
                    <a:lnTo>
                      <a:pt x="127" y="757"/>
                    </a:lnTo>
                    <a:lnTo>
                      <a:pt x="113" y="757"/>
                    </a:lnTo>
                    <a:lnTo>
                      <a:pt x="106" y="757"/>
                    </a:lnTo>
                    <a:lnTo>
                      <a:pt x="104" y="757"/>
                    </a:lnTo>
                    <a:lnTo>
                      <a:pt x="101" y="756"/>
                    </a:lnTo>
                    <a:lnTo>
                      <a:pt x="98" y="754"/>
                    </a:lnTo>
                    <a:lnTo>
                      <a:pt x="95" y="752"/>
                    </a:lnTo>
                    <a:lnTo>
                      <a:pt x="90" y="746"/>
                    </a:lnTo>
                    <a:lnTo>
                      <a:pt x="84" y="738"/>
                    </a:lnTo>
                    <a:lnTo>
                      <a:pt x="77" y="729"/>
                    </a:lnTo>
                    <a:lnTo>
                      <a:pt x="71" y="718"/>
                    </a:lnTo>
                    <a:lnTo>
                      <a:pt x="65" y="706"/>
                    </a:lnTo>
                    <a:lnTo>
                      <a:pt x="60" y="693"/>
                    </a:lnTo>
                    <a:lnTo>
                      <a:pt x="49" y="667"/>
                    </a:lnTo>
                    <a:lnTo>
                      <a:pt x="41" y="640"/>
                    </a:lnTo>
                    <a:lnTo>
                      <a:pt x="38" y="628"/>
                    </a:lnTo>
                    <a:lnTo>
                      <a:pt x="35" y="616"/>
                    </a:lnTo>
                    <a:lnTo>
                      <a:pt x="34" y="606"/>
                    </a:lnTo>
                    <a:lnTo>
                      <a:pt x="34" y="597"/>
                    </a:lnTo>
                    <a:lnTo>
                      <a:pt x="27" y="596"/>
                    </a:lnTo>
                    <a:lnTo>
                      <a:pt x="22" y="594"/>
                    </a:lnTo>
                    <a:lnTo>
                      <a:pt x="17" y="590"/>
                    </a:lnTo>
                    <a:lnTo>
                      <a:pt x="14" y="586"/>
                    </a:lnTo>
                    <a:lnTo>
                      <a:pt x="8" y="576"/>
                    </a:lnTo>
                    <a:lnTo>
                      <a:pt x="0" y="566"/>
                    </a:lnTo>
                    <a:lnTo>
                      <a:pt x="9" y="563"/>
                    </a:lnTo>
                    <a:lnTo>
                      <a:pt x="19" y="561"/>
                    </a:lnTo>
                    <a:lnTo>
                      <a:pt x="27" y="560"/>
                    </a:lnTo>
                    <a:lnTo>
                      <a:pt x="34" y="560"/>
                    </a:lnTo>
                    <a:lnTo>
                      <a:pt x="34" y="548"/>
                    </a:lnTo>
                    <a:lnTo>
                      <a:pt x="36" y="538"/>
                    </a:lnTo>
                    <a:lnTo>
                      <a:pt x="38" y="528"/>
                    </a:lnTo>
                    <a:lnTo>
                      <a:pt x="42" y="519"/>
                    </a:lnTo>
                    <a:lnTo>
                      <a:pt x="47" y="511"/>
                    </a:lnTo>
                    <a:lnTo>
                      <a:pt x="53" y="504"/>
                    </a:lnTo>
                    <a:lnTo>
                      <a:pt x="59" y="498"/>
                    </a:lnTo>
                    <a:lnTo>
                      <a:pt x="67" y="492"/>
                    </a:lnTo>
                    <a:lnTo>
                      <a:pt x="62" y="480"/>
                    </a:lnTo>
                    <a:lnTo>
                      <a:pt x="61" y="471"/>
                    </a:lnTo>
                    <a:lnTo>
                      <a:pt x="61" y="464"/>
                    </a:lnTo>
                    <a:lnTo>
                      <a:pt x="61" y="457"/>
                    </a:lnTo>
                    <a:lnTo>
                      <a:pt x="63" y="450"/>
                    </a:lnTo>
                    <a:lnTo>
                      <a:pt x="64" y="441"/>
                    </a:lnTo>
                    <a:lnTo>
                      <a:pt x="65" y="428"/>
                    </a:lnTo>
                    <a:lnTo>
                      <a:pt x="67" y="412"/>
                    </a:lnTo>
                    <a:lnTo>
                      <a:pt x="62" y="410"/>
                    </a:lnTo>
                    <a:lnTo>
                      <a:pt x="58" y="408"/>
                    </a:lnTo>
                    <a:lnTo>
                      <a:pt x="54" y="404"/>
                    </a:lnTo>
                    <a:lnTo>
                      <a:pt x="51" y="400"/>
                    </a:lnTo>
                    <a:lnTo>
                      <a:pt x="47" y="390"/>
                    </a:lnTo>
                    <a:lnTo>
                      <a:pt x="43" y="377"/>
                    </a:lnTo>
                    <a:lnTo>
                      <a:pt x="40" y="354"/>
                    </a:lnTo>
                    <a:lnTo>
                      <a:pt x="40" y="338"/>
                    </a:lnTo>
                    <a:lnTo>
                      <a:pt x="60" y="277"/>
                    </a:lnTo>
                    <a:lnTo>
                      <a:pt x="74" y="276"/>
                    </a:lnTo>
                    <a:lnTo>
                      <a:pt x="88" y="275"/>
                    </a:lnTo>
                    <a:lnTo>
                      <a:pt x="94" y="274"/>
                    </a:lnTo>
                    <a:lnTo>
                      <a:pt x="99" y="274"/>
                    </a:lnTo>
                    <a:lnTo>
                      <a:pt x="103" y="275"/>
                    </a:lnTo>
                    <a:lnTo>
                      <a:pt x="106" y="277"/>
                    </a:lnTo>
                    <a:lnTo>
                      <a:pt x="107" y="261"/>
                    </a:lnTo>
                    <a:lnTo>
                      <a:pt x="109" y="247"/>
                    </a:lnTo>
                    <a:lnTo>
                      <a:pt x="113" y="234"/>
                    </a:lnTo>
                    <a:lnTo>
                      <a:pt x="118" y="222"/>
                    </a:lnTo>
                    <a:lnTo>
                      <a:pt x="124" y="211"/>
                    </a:lnTo>
                    <a:lnTo>
                      <a:pt x="130" y="201"/>
                    </a:lnTo>
                    <a:lnTo>
                      <a:pt x="137" y="192"/>
                    </a:lnTo>
                    <a:lnTo>
                      <a:pt x="144" y="183"/>
                    </a:lnTo>
                    <a:lnTo>
                      <a:pt x="160" y="168"/>
                    </a:lnTo>
                    <a:lnTo>
                      <a:pt x="173" y="152"/>
                    </a:lnTo>
                    <a:lnTo>
                      <a:pt x="180" y="145"/>
                    </a:lnTo>
                    <a:lnTo>
                      <a:pt x="185" y="138"/>
                    </a:lnTo>
                    <a:lnTo>
                      <a:pt x="189" y="130"/>
                    </a:lnTo>
                    <a:lnTo>
                      <a:pt x="193" y="123"/>
                    </a:lnTo>
                    <a:lnTo>
                      <a:pt x="198" y="111"/>
                    </a:lnTo>
                    <a:lnTo>
                      <a:pt x="205" y="97"/>
                    </a:lnTo>
                    <a:lnTo>
                      <a:pt x="213" y="83"/>
                    </a:lnTo>
                    <a:lnTo>
                      <a:pt x="220" y="71"/>
                    </a:lnTo>
                    <a:lnTo>
                      <a:pt x="228" y="60"/>
                    </a:lnTo>
                    <a:lnTo>
                      <a:pt x="237" y="51"/>
                    </a:lnTo>
                    <a:lnTo>
                      <a:pt x="241" y="47"/>
                    </a:lnTo>
                    <a:lnTo>
                      <a:pt x="244" y="44"/>
                    </a:lnTo>
                    <a:lnTo>
                      <a:pt x="249" y="43"/>
                    </a:lnTo>
                    <a:lnTo>
                      <a:pt x="252" y="42"/>
                    </a:lnTo>
                    <a:lnTo>
                      <a:pt x="272" y="36"/>
                    </a:lnTo>
                    <a:lnTo>
                      <a:pt x="291" y="32"/>
                    </a:lnTo>
                    <a:lnTo>
                      <a:pt x="309" y="29"/>
                    </a:lnTo>
                    <a:lnTo>
                      <a:pt x="327" y="25"/>
                    </a:lnTo>
                    <a:lnTo>
                      <a:pt x="344" y="22"/>
                    </a:lnTo>
                    <a:lnTo>
                      <a:pt x="361" y="16"/>
                    </a:lnTo>
                    <a:lnTo>
                      <a:pt x="368" y="13"/>
                    </a:lnTo>
                    <a:lnTo>
                      <a:pt x="376" y="9"/>
                    </a:lnTo>
                    <a:lnTo>
                      <a:pt x="384" y="5"/>
                    </a:lnTo>
                    <a:lnTo>
                      <a:pt x="392" y="0"/>
                    </a:lnTo>
                    <a:lnTo>
                      <a:pt x="401" y="5"/>
                    </a:lnTo>
                    <a:lnTo>
                      <a:pt x="409" y="11"/>
                    </a:lnTo>
                    <a:lnTo>
                      <a:pt x="416" y="18"/>
                    </a:lnTo>
                    <a:lnTo>
                      <a:pt x="423" y="25"/>
                    </a:lnTo>
                    <a:lnTo>
                      <a:pt x="431" y="32"/>
                    </a:lnTo>
                    <a:lnTo>
                      <a:pt x="441" y="37"/>
                    </a:lnTo>
                    <a:lnTo>
                      <a:pt x="445" y="39"/>
                    </a:lnTo>
                    <a:lnTo>
                      <a:pt x="452" y="41"/>
                    </a:lnTo>
                    <a:lnTo>
                      <a:pt x="457" y="42"/>
                    </a:lnTo>
                    <a:lnTo>
                      <a:pt x="465" y="42"/>
                    </a:lnTo>
                    <a:lnTo>
                      <a:pt x="487" y="72"/>
                    </a:lnTo>
                    <a:lnTo>
                      <a:pt x="508" y="102"/>
                    </a:lnTo>
                    <a:lnTo>
                      <a:pt x="513" y="111"/>
                    </a:lnTo>
                    <a:lnTo>
                      <a:pt x="518" y="120"/>
                    </a:lnTo>
                    <a:lnTo>
                      <a:pt x="521" y="129"/>
                    </a:lnTo>
                    <a:lnTo>
                      <a:pt x="524" y="139"/>
                    </a:lnTo>
                    <a:lnTo>
                      <a:pt x="528" y="150"/>
                    </a:lnTo>
                    <a:lnTo>
                      <a:pt x="530" y="163"/>
                    </a:lnTo>
                    <a:lnTo>
                      <a:pt x="531" y="176"/>
                    </a:lnTo>
                    <a:lnTo>
                      <a:pt x="531" y="19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3" name="Freeform 244">
                <a:extLst>
                  <a:ext uri="{FF2B5EF4-FFF2-40B4-BE49-F238E27FC236}">
                    <a16:creationId xmlns:a16="http://schemas.microsoft.com/office/drawing/2014/main" id="{EFCF5F31-C64A-4DC6-9932-4F9229CBFADE}"/>
                  </a:ext>
                </a:extLst>
              </p:cNvPr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auto">
              <a:xfrm>
                <a:off x="4438634" y="2457302"/>
                <a:ext cx="32577" cy="65046"/>
              </a:xfrm>
              <a:custGeom>
                <a:avLst/>
                <a:gdLst>
                  <a:gd name="T0" fmla="*/ 0 w 60"/>
                  <a:gd name="T1" fmla="*/ 46461829 h 51"/>
                  <a:gd name="T2" fmla="*/ 1214010 w 60"/>
                  <a:gd name="T3" fmla="*/ 37671935 h 51"/>
                  <a:gd name="T4" fmla="*/ 3034801 w 60"/>
                  <a:gd name="T5" fmla="*/ 23858444 h 51"/>
                  <a:gd name="T6" fmla="*/ 4046401 w 60"/>
                  <a:gd name="T7" fmla="*/ 16324729 h 51"/>
                  <a:gd name="T8" fmla="*/ 5462821 w 60"/>
                  <a:gd name="T9" fmla="*/ 10046074 h 51"/>
                  <a:gd name="T10" fmla="*/ 6676381 w 60"/>
                  <a:gd name="T11" fmla="*/ 5022476 h 51"/>
                  <a:gd name="T12" fmla="*/ 8092802 w 60"/>
                  <a:gd name="T13" fmla="*/ 0 h 51"/>
                  <a:gd name="T14" fmla="*/ 10116002 w 60"/>
                  <a:gd name="T15" fmla="*/ 8789894 h 51"/>
                  <a:gd name="T16" fmla="*/ 12139202 w 60"/>
                  <a:gd name="T17" fmla="*/ 16324729 h 51"/>
                  <a:gd name="T18" fmla="*/ 11936792 w 60"/>
                  <a:gd name="T19" fmla="*/ 25114624 h 51"/>
                  <a:gd name="T20" fmla="*/ 11330012 w 60"/>
                  <a:gd name="T21" fmla="*/ 36415756 h 51"/>
                  <a:gd name="T22" fmla="*/ 10925192 w 60"/>
                  <a:gd name="T23" fmla="*/ 42694412 h 51"/>
                  <a:gd name="T24" fmla="*/ 10520822 w 60"/>
                  <a:gd name="T25" fmla="*/ 47716888 h 51"/>
                  <a:gd name="T26" fmla="*/ 9913592 w 60"/>
                  <a:gd name="T27" fmla="*/ 52740485 h 51"/>
                  <a:gd name="T28" fmla="*/ 9104402 w 60"/>
                  <a:gd name="T29" fmla="*/ 56506782 h 51"/>
                  <a:gd name="T30" fmla="*/ 8295212 w 60"/>
                  <a:gd name="T31" fmla="*/ 60274200 h 51"/>
                  <a:gd name="T32" fmla="*/ 7486021 w 60"/>
                  <a:gd name="T33" fmla="*/ 62785438 h 51"/>
                  <a:gd name="T34" fmla="*/ 6272011 w 60"/>
                  <a:gd name="T35" fmla="*/ 64041618 h 51"/>
                  <a:gd name="T36" fmla="*/ 5462821 w 60"/>
                  <a:gd name="T37" fmla="*/ 64041618 h 51"/>
                  <a:gd name="T38" fmla="*/ 4046401 w 60"/>
                  <a:gd name="T39" fmla="*/ 62785438 h 51"/>
                  <a:gd name="T40" fmla="*/ 3034801 w 60"/>
                  <a:gd name="T41" fmla="*/ 59019141 h 51"/>
                  <a:gd name="T42" fmla="*/ 1416420 w 60"/>
                  <a:gd name="T43" fmla="*/ 53995544 h 51"/>
                  <a:gd name="T44" fmla="*/ 0 w 60"/>
                  <a:gd name="T45" fmla="*/ 46461829 h 51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60" h="51">
                    <a:moveTo>
                      <a:pt x="0" y="37"/>
                    </a:moveTo>
                    <a:lnTo>
                      <a:pt x="6" y="30"/>
                    </a:lnTo>
                    <a:lnTo>
                      <a:pt x="15" y="19"/>
                    </a:lnTo>
                    <a:lnTo>
                      <a:pt x="20" y="13"/>
                    </a:lnTo>
                    <a:lnTo>
                      <a:pt x="27" y="8"/>
                    </a:lnTo>
                    <a:lnTo>
                      <a:pt x="33" y="4"/>
                    </a:lnTo>
                    <a:lnTo>
                      <a:pt x="40" y="0"/>
                    </a:lnTo>
                    <a:lnTo>
                      <a:pt x="50" y="7"/>
                    </a:lnTo>
                    <a:lnTo>
                      <a:pt x="60" y="13"/>
                    </a:lnTo>
                    <a:lnTo>
                      <a:pt x="59" y="20"/>
                    </a:lnTo>
                    <a:lnTo>
                      <a:pt x="56" y="29"/>
                    </a:lnTo>
                    <a:lnTo>
                      <a:pt x="54" y="34"/>
                    </a:lnTo>
                    <a:lnTo>
                      <a:pt x="52" y="38"/>
                    </a:lnTo>
                    <a:lnTo>
                      <a:pt x="49" y="42"/>
                    </a:lnTo>
                    <a:lnTo>
                      <a:pt x="45" y="45"/>
                    </a:lnTo>
                    <a:lnTo>
                      <a:pt x="41" y="48"/>
                    </a:lnTo>
                    <a:lnTo>
                      <a:pt x="37" y="50"/>
                    </a:lnTo>
                    <a:lnTo>
                      <a:pt x="31" y="51"/>
                    </a:lnTo>
                    <a:lnTo>
                      <a:pt x="27" y="51"/>
                    </a:lnTo>
                    <a:lnTo>
                      <a:pt x="20" y="50"/>
                    </a:lnTo>
                    <a:lnTo>
                      <a:pt x="15" y="47"/>
                    </a:lnTo>
                    <a:lnTo>
                      <a:pt x="7" y="43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4" name="Freeform 245">
                <a:extLst>
                  <a:ext uri="{FF2B5EF4-FFF2-40B4-BE49-F238E27FC236}">
                    <a16:creationId xmlns:a16="http://schemas.microsoft.com/office/drawing/2014/main" id="{DB03E9BC-85D6-4487-BFE4-8677A0F7C094}"/>
                  </a:ext>
                </a:extLst>
              </p:cNvPr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auto">
              <a:xfrm>
                <a:off x="3768999" y="2640131"/>
                <a:ext cx="34386" cy="63287"/>
              </a:xfrm>
              <a:custGeom>
                <a:avLst/>
                <a:gdLst>
                  <a:gd name="T0" fmla="*/ 11059391 w 66"/>
                  <a:gd name="T1" fmla="*/ 60274200 h 51"/>
                  <a:gd name="T2" fmla="*/ 7872845 w 66"/>
                  <a:gd name="T3" fmla="*/ 62785438 h 51"/>
                  <a:gd name="T4" fmla="*/ 4123892 w 66"/>
                  <a:gd name="T5" fmla="*/ 64041618 h 51"/>
                  <a:gd name="T6" fmla="*/ 3186545 w 66"/>
                  <a:gd name="T7" fmla="*/ 62785438 h 51"/>
                  <a:gd name="T8" fmla="*/ 2436668 w 66"/>
                  <a:gd name="T9" fmla="*/ 61530379 h 51"/>
                  <a:gd name="T10" fmla="*/ 1874693 w 66"/>
                  <a:gd name="T11" fmla="*/ 60274200 h 51"/>
                  <a:gd name="T12" fmla="*/ 1312285 w 66"/>
                  <a:gd name="T13" fmla="*/ 57762962 h 51"/>
                  <a:gd name="T14" fmla="*/ 562408 w 66"/>
                  <a:gd name="T15" fmla="*/ 53995544 h 51"/>
                  <a:gd name="T16" fmla="*/ 187469 w 66"/>
                  <a:gd name="T17" fmla="*/ 50229247 h 51"/>
                  <a:gd name="T18" fmla="*/ 0 w 66"/>
                  <a:gd name="T19" fmla="*/ 43950591 h 51"/>
                  <a:gd name="T20" fmla="*/ 0 w 66"/>
                  <a:gd name="T21" fmla="*/ 37671935 h 51"/>
                  <a:gd name="T22" fmla="*/ 749877 w 66"/>
                  <a:gd name="T23" fmla="*/ 36415756 h 51"/>
                  <a:gd name="T24" fmla="*/ 1874693 w 66"/>
                  <a:gd name="T25" fmla="*/ 33904518 h 51"/>
                  <a:gd name="T26" fmla="*/ 2624138 w 66"/>
                  <a:gd name="T27" fmla="*/ 30137100 h 51"/>
                  <a:gd name="T28" fmla="*/ 3561484 w 66"/>
                  <a:gd name="T29" fmla="*/ 25114624 h 51"/>
                  <a:gd name="T30" fmla="*/ 4873769 w 66"/>
                  <a:gd name="T31" fmla="*/ 12557312 h 51"/>
                  <a:gd name="T32" fmla="*/ 6186055 w 66"/>
                  <a:gd name="T33" fmla="*/ 0 h 51"/>
                  <a:gd name="T34" fmla="*/ 8622723 w 66"/>
                  <a:gd name="T35" fmla="*/ 1256179 h 51"/>
                  <a:gd name="T36" fmla="*/ 9747539 w 66"/>
                  <a:gd name="T37" fmla="*/ 2511238 h 51"/>
                  <a:gd name="T38" fmla="*/ 10496983 w 66"/>
                  <a:gd name="T39" fmla="*/ 3767418 h 51"/>
                  <a:gd name="T40" fmla="*/ 12371676 w 66"/>
                  <a:gd name="T41" fmla="*/ 0 h 51"/>
                  <a:gd name="T42" fmla="*/ 12184207 w 66"/>
                  <a:gd name="T43" fmla="*/ 16324729 h 51"/>
                  <a:gd name="T44" fmla="*/ 11809268 w 66"/>
                  <a:gd name="T45" fmla="*/ 30137100 h 51"/>
                  <a:gd name="T46" fmla="*/ 11246860 w 66"/>
                  <a:gd name="T47" fmla="*/ 45205650 h 51"/>
                  <a:gd name="T48" fmla="*/ 11059391 w 66"/>
                  <a:gd name="T49" fmla="*/ 60274200 h 5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6" h="51">
                    <a:moveTo>
                      <a:pt x="59" y="48"/>
                    </a:moveTo>
                    <a:lnTo>
                      <a:pt x="42" y="50"/>
                    </a:lnTo>
                    <a:lnTo>
                      <a:pt x="22" y="51"/>
                    </a:lnTo>
                    <a:lnTo>
                      <a:pt x="17" y="50"/>
                    </a:lnTo>
                    <a:lnTo>
                      <a:pt x="13" y="49"/>
                    </a:lnTo>
                    <a:lnTo>
                      <a:pt x="10" y="48"/>
                    </a:lnTo>
                    <a:lnTo>
                      <a:pt x="7" y="46"/>
                    </a:lnTo>
                    <a:lnTo>
                      <a:pt x="3" y="43"/>
                    </a:lnTo>
                    <a:lnTo>
                      <a:pt x="1" y="40"/>
                    </a:lnTo>
                    <a:lnTo>
                      <a:pt x="0" y="35"/>
                    </a:lnTo>
                    <a:lnTo>
                      <a:pt x="0" y="30"/>
                    </a:lnTo>
                    <a:lnTo>
                      <a:pt x="4" y="29"/>
                    </a:lnTo>
                    <a:lnTo>
                      <a:pt x="10" y="27"/>
                    </a:lnTo>
                    <a:lnTo>
                      <a:pt x="14" y="24"/>
                    </a:lnTo>
                    <a:lnTo>
                      <a:pt x="19" y="20"/>
                    </a:lnTo>
                    <a:lnTo>
                      <a:pt x="26" y="10"/>
                    </a:lnTo>
                    <a:lnTo>
                      <a:pt x="33" y="0"/>
                    </a:lnTo>
                    <a:lnTo>
                      <a:pt x="46" y="1"/>
                    </a:lnTo>
                    <a:lnTo>
                      <a:pt x="52" y="2"/>
                    </a:lnTo>
                    <a:lnTo>
                      <a:pt x="56" y="3"/>
                    </a:lnTo>
                    <a:lnTo>
                      <a:pt x="66" y="0"/>
                    </a:lnTo>
                    <a:lnTo>
                      <a:pt x="65" y="13"/>
                    </a:lnTo>
                    <a:lnTo>
                      <a:pt x="63" y="24"/>
                    </a:lnTo>
                    <a:lnTo>
                      <a:pt x="60" y="36"/>
                    </a:lnTo>
                    <a:lnTo>
                      <a:pt x="59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5" name="Freeform 246">
                <a:extLst>
                  <a:ext uri="{FF2B5EF4-FFF2-40B4-BE49-F238E27FC236}">
                    <a16:creationId xmlns:a16="http://schemas.microsoft.com/office/drawing/2014/main" id="{A721A522-C014-496D-8BEE-72B61B2EB2F5}"/>
                  </a:ext>
                </a:extLst>
              </p:cNvPr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auto">
              <a:xfrm>
                <a:off x="4916428" y="3234326"/>
                <a:ext cx="61534" cy="63287"/>
              </a:xfrm>
              <a:custGeom>
                <a:avLst/>
                <a:gdLst>
                  <a:gd name="T0" fmla="*/ 0 w 113"/>
                  <a:gd name="T1" fmla="*/ 26243434 h 74"/>
                  <a:gd name="T2" fmla="*/ 4041972 w 113"/>
                  <a:gd name="T3" fmla="*/ 44136791 h 74"/>
                  <a:gd name="T4" fmla="*/ 7477940 w 113"/>
                  <a:gd name="T5" fmla="*/ 41154951 h 74"/>
                  <a:gd name="T6" fmla="*/ 10307005 w 113"/>
                  <a:gd name="T7" fmla="*/ 38768552 h 74"/>
                  <a:gd name="T8" fmla="*/ 12934669 w 113"/>
                  <a:gd name="T9" fmla="*/ 35190499 h 74"/>
                  <a:gd name="T10" fmla="*/ 14955430 w 113"/>
                  <a:gd name="T11" fmla="*/ 31611673 h 74"/>
                  <a:gd name="T12" fmla="*/ 15763735 w 113"/>
                  <a:gd name="T13" fmla="*/ 29226047 h 74"/>
                  <a:gd name="T14" fmla="*/ 16774340 w 113"/>
                  <a:gd name="T15" fmla="*/ 26839648 h 74"/>
                  <a:gd name="T16" fmla="*/ 17380793 w 113"/>
                  <a:gd name="T17" fmla="*/ 24454022 h 74"/>
                  <a:gd name="T18" fmla="*/ 17784945 w 113"/>
                  <a:gd name="T19" fmla="*/ 22068395 h 74"/>
                  <a:gd name="T20" fmla="*/ 18189097 w 113"/>
                  <a:gd name="T21" fmla="*/ 19086555 h 74"/>
                  <a:gd name="T22" fmla="*/ 18391398 w 113"/>
                  <a:gd name="T23" fmla="*/ 15507730 h 74"/>
                  <a:gd name="T24" fmla="*/ 18795550 w 113"/>
                  <a:gd name="T25" fmla="*/ 11332691 h 74"/>
                  <a:gd name="T26" fmla="*/ 18997402 w 113"/>
                  <a:gd name="T27" fmla="*/ 7753865 h 74"/>
                  <a:gd name="T28" fmla="*/ 20008007 w 113"/>
                  <a:gd name="T29" fmla="*/ 7157651 h 74"/>
                  <a:gd name="T30" fmla="*/ 21422765 w 113"/>
                  <a:gd name="T31" fmla="*/ 5368239 h 74"/>
                  <a:gd name="T32" fmla="*/ 21826917 w 113"/>
                  <a:gd name="T33" fmla="*/ 4175039 h 74"/>
                  <a:gd name="T34" fmla="*/ 22433370 w 113"/>
                  <a:gd name="T35" fmla="*/ 2981840 h 74"/>
                  <a:gd name="T36" fmla="*/ 22635221 w 113"/>
                  <a:gd name="T37" fmla="*/ 1789413 h 74"/>
                  <a:gd name="T38" fmla="*/ 22837522 w 113"/>
                  <a:gd name="T39" fmla="*/ 0 h 74"/>
                  <a:gd name="T40" fmla="*/ 19806156 w 113"/>
                  <a:gd name="T41" fmla="*/ 2385626 h 74"/>
                  <a:gd name="T42" fmla="*/ 16572488 w 113"/>
                  <a:gd name="T43" fmla="*/ 4771253 h 74"/>
                  <a:gd name="T44" fmla="*/ 13136520 w 113"/>
                  <a:gd name="T45" fmla="*/ 7753865 h 74"/>
                  <a:gd name="T46" fmla="*/ 9902853 w 113"/>
                  <a:gd name="T47" fmla="*/ 11332691 h 74"/>
                  <a:gd name="T48" fmla="*/ 4041972 w 113"/>
                  <a:gd name="T49" fmla="*/ 19682769 h 74"/>
                  <a:gd name="T50" fmla="*/ 0 w 113"/>
                  <a:gd name="T51" fmla="*/ 26243434 h 74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13" h="74">
                    <a:moveTo>
                      <a:pt x="0" y="44"/>
                    </a:moveTo>
                    <a:lnTo>
                      <a:pt x="20" y="74"/>
                    </a:lnTo>
                    <a:lnTo>
                      <a:pt x="37" y="69"/>
                    </a:lnTo>
                    <a:lnTo>
                      <a:pt x="51" y="65"/>
                    </a:lnTo>
                    <a:lnTo>
                      <a:pt x="64" y="59"/>
                    </a:lnTo>
                    <a:lnTo>
                      <a:pt x="74" y="53"/>
                    </a:lnTo>
                    <a:lnTo>
                      <a:pt x="78" y="49"/>
                    </a:lnTo>
                    <a:lnTo>
                      <a:pt x="83" y="45"/>
                    </a:lnTo>
                    <a:lnTo>
                      <a:pt x="86" y="41"/>
                    </a:lnTo>
                    <a:lnTo>
                      <a:pt x="88" y="37"/>
                    </a:lnTo>
                    <a:lnTo>
                      <a:pt x="90" y="32"/>
                    </a:lnTo>
                    <a:lnTo>
                      <a:pt x="91" y="26"/>
                    </a:lnTo>
                    <a:lnTo>
                      <a:pt x="93" y="19"/>
                    </a:lnTo>
                    <a:lnTo>
                      <a:pt x="94" y="13"/>
                    </a:lnTo>
                    <a:lnTo>
                      <a:pt x="99" y="12"/>
                    </a:lnTo>
                    <a:lnTo>
                      <a:pt x="106" y="9"/>
                    </a:lnTo>
                    <a:lnTo>
                      <a:pt x="108" y="7"/>
                    </a:lnTo>
                    <a:lnTo>
                      <a:pt x="111" y="5"/>
                    </a:lnTo>
                    <a:lnTo>
                      <a:pt x="112" y="3"/>
                    </a:lnTo>
                    <a:lnTo>
                      <a:pt x="113" y="0"/>
                    </a:lnTo>
                    <a:lnTo>
                      <a:pt x="98" y="4"/>
                    </a:lnTo>
                    <a:lnTo>
                      <a:pt x="82" y="8"/>
                    </a:lnTo>
                    <a:lnTo>
                      <a:pt x="65" y="13"/>
                    </a:lnTo>
                    <a:lnTo>
                      <a:pt x="49" y="19"/>
                    </a:lnTo>
                    <a:lnTo>
                      <a:pt x="20" y="33"/>
                    </a:lnTo>
                    <a:lnTo>
                      <a:pt x="0" y="4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6" name="Freeform 247">
                <a:extLst>
                  <a:ext uri="{FF2B5EF4-FFF2-40B4-BE49-F238E27FC236}">
                    <a16:creationId xmlns:a16="http://schemas.microsoft.com/office/drawing/2014/main" id="{AA0A0D56-04DE-4C71-984A-01E88005E279}"/>
                  </a:ext>
                </a:extLst>
              </p:cNvPr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auto">
              <a:xfrm>
                <a:off x="4444063" y="4123860"/>
                <a:ext cx="392733" cy="276002"/>
              </a:xfrm>
              <a:custGeom>
                <a:avLst/>
                <a:gdLst>
                  <a:gd name="T0" fmla="*/ 18650245 w 746"/>
                  <a:gd name="T1" fmla="*/ 122817672 h 469"/>
                  <a:gd name="T2" fmla="*/ 10276568 w 746"/>
                  <a:gd name="T3" fmla="*/ 119557137 h 469"/>
                  <a:gd name="T4" fmla="*/ 3996419 w 746"/>
                  <a:gd name="T5" fmla="*/ 116568182 h 469"/>
                  <a:gd name="T6" fmla="*/ 951445 w 746"/>
                  <a:gd name="T7" fmla="*/ 112220801 h 469"/>
                  <a:gd name="T8" fmla="*/ 0 w 746"/>
                  <a:gd name="T9" fmla="*/ 98634976 h 469"/>
                  <a:gd name="T10" fmla="*/ 951445 w 746"/>
                  <a:gd name="T11" fmla="*/ 83961785 h 469"/>
                  <a:gd name="T12" fmla="*/ 4377259 w 746"/>
                  <a:gd name="T13" fmla="*/ 74179657 h 469"/>
                  <a:gd name="T14" fmla="*/ 10657407 w 746"/>
                  <a:gd name="T15" fmla="*/ 61952259 h 469"/>
                  <a:gd name="T16" fmla="*/ 23027067 w 746"/>
                  <a:gd name="T17" fmla="*/ 55431188 h 469"/>
                  <a:gd name="T18" fmla="*/ 31590946 w 746"/>
                  <a:gd name="T19" fmla="*/ 51083807 h 469"/>
                  <a:gd name="T20" fmla="*/ 44722285 w 746"/>
                  <a:gd name="T21" fmla="*/ 47007486 h 469"/>
                  <a:gd name="T22" fmla="*/ 49860787 w 746"/>
                  <a:gd name="T23" fmla="*/ 41573260 h 469"/>
                  <a:gd name="T24" fmla="*/ 50812233 w 746"/>
                  <a:gd name="T25" fmla="*/ 36954299 h 469"/>
                  <a:gd name="T26" fmla="*/ 55569895 w 746"/>
                  <a:gd name="T27" fmla="*/ 32606397 h 469"/>
                  <a:gd name="T28" fmla="*/ 63182328 w 746"/>
                  <a:gd name="T29" fmla="*/ 31247971 h 469"/>
                  <a:gd name="T30" fmla="*/ 68320394 w 746"/>
                  <a:gd name="T31" fmla="*/ 27443752 h 469"/>
                  <a:gd name="T32" fmla="*/ 74029501 w 746"/>
                  <a:gd name="T33" fmla="*/ 18205308 h 469"/>
                  <a:gd name="T34" fmla="*/ 80880692 w 746"/>
                  <a:gd name="T35" fmla="*/ 5977909 h 469"/>
                  <a:gd name="T36" fmla="*/ 85638354 w 746"/>
                  <a:gd name="T37" fmla="*/ 1630528 h 469"/>
                  <a:gd name="T38" fmla="*/ 92489544 w 746"/>
                  <a:gd name="T39" fmla="*/ 0 h 469"/>
                  <a:gd name="T40" fmla="*/ 96485963 w 746"/>
                  <a:gd name="T41" fmla="*/ 7880018 h 469"/>
                  <a:gd name="T42" fmla="*/ 101243625 w 746"/>
                  <a:gd name="T43" fmla="*/ 14401089 h 469"/>
                  <a:gd name="T44" fmla="*/ 105240044 w 746"/>
                  <a:gd name="T45" fmla="*/ 29074281 h 469"/>
                  <a:gd name="T46" fmla="*/ 110187908 w 746"/>
                  <a:gd name="T47" fmla="*/ 43203789 h 469"/>
                  <a:gd name="T48" fmla="*/ 116658695 w 746"/>
                  <a:gd name="T49" fmla="*/ 46735905 h 469"/>
                  <a:gd name="T50" fmla="*/ 119513030 w 746"/>
                  <a:gd name="T51" fmla="*/ 52442233 h 469"/>
                  <a:gd name="T52" fmla="*/ 123700087 w 746"/>
                  <a:gd name="T53" fmla="*/ 63311206 h 469"/>
                  <a:gd name="T54" fmla="*/ 133595815 w 746"/>
                  <a:gd name="T55" fmla="*/ 75810186 h 469"/>
                  <a:gd name="T56" fmla="*/ 141018047 w 746"/>
                  <a:gd name="T57" fmla="*/ 85592313 h 469"/>
                  <a:gd name="T58" fmla="*/ 135308939 w 746"/>
                  <a:gd name="T59" fmla="*/ 93743913 h 469"/>
                  <a:gd name="T60" fmla="*/ 131502723 w 746"/>
                  <a:gd name="T61" fmla="*/ 92928649 h 469"/>
                  <a:gd name="T62" fmla="*/ 129218992 w 746"/>
                  <a:gd name="T63" fmla="*/ 87222321 h 469"/>
                  <a:gd name="T64" fmla="*/ 123890289 w 746"/>
                  <a:gd name="T65" fmla="*/ 89668113 h 469"/>
                  <a:gd name="T66" fmla="*/ 121606559 w 746"/>
                  <a:gd name="T67" fmla="*/ 95646022 h 469"/>
                  <a:gd name="T68" fmla="*/ 114946006 w 746"/>
                  <a:gd name="T69" fmla="*/ 96732867 h 469"/>
                  <a:gd name="T70" fmla="*/ 105240044 w 746"/>
                  <a:gd name="T71" fmla="*/ 96732867 h 469"/>
                  <a:gd name="T72" fmla="*/ 99340735 w 746"/>
                  <a:gd name="T73" fmla="*/ 99178138 h 469"/>
                  <a:gd name="T74" fmla="*/ 94392435 w 746"/>
                  <a:gd name="T75" fmla="*/ 105156047 h 469"/>
                  <a:gd name="T76" fmla="*/ 92489544 w 746"/>
                  <a:gd name="T77" fmla="*/ 107058157 h 469"/>
                  <a:gd name="T78" fmla="*/ 81070894 w 746"/>
                  <a:gd name="T79" fmla="*/ 108688164 h 469"/>
                  <a:gd name="T80" fmla="*/ 75361786 w 746"/>
                  <a:gd name="T81" fmla="*/ 106514474 h 469"/>
                  <a:gd name="T82" fmla="*/ 66417504 w 746"/>
                  <a:gd name="T83" fmla="*/ 96189184 h 469"/>
                  <a:gd name="T84" fmla="*/ 60707960 w 746"/>
                  <a:gd name="T85" fmla="*/ 93743913 h 469"/>
                  <a:gd name="T86" fmla="*/ 55379693 w 746"/>
                  <a:gd name="T87" fmla="*/ 96460765 h 469"/>
                  <a:gd name="T88" fmla="*/ 50622031 w 746"/>
                  <a:gd name="T89" fmla="*/ 102438674 h 469"/>
                  <a:gd name="T90" fmla="*/ 43199799 w 746"/>
                  <a:gd name="T91" fmla="*/ 118741872 h 469"/>
                  <a:gd name="T92" fmla="*/ 28545973 w 746"/>
                  <a:gd name="T93" fmla="*/ 119285556 h 469"/>
                  <a:gd name="T94" fmla="*/ 25691637 w 746"/>
                  <a:gd name="T95" fmla="*/ 121730827 h 46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746" h="469">
                    <a:moveTo>
                      <a:pt x="114" y="469"/>
                    </a:moveTo>
                    <a:lnTo>
                      <a:pt x="109" y="463"/>
                    </a:lnTo>
                    <a:lnTo>
                      <a:pt x="103" y="456"/>
                    </a:lnTo>
                    <a:lnTo>
                      <a:pt x="98" y="452"/>
                    </a:lnTo>
                    <a:lnTo>
                      <a:pt x="92" y="449"/>
                    </a:lnTo>
                    <a:lnTo>
                      <a:pt x="79" y="445"/>
                    </a:lnTo>
                    <a:lnTo>
                      <a:pt x="67" y="442"/>
                    </a:lnTo>
                    <a:lnTo>
                      <a:pt x="54" y="440"/>
                    </a:lnTo>
                    <a:lnTo>
                      <a:pt x="39" y="437"/>
                    </a:lnTo>
                    <a:lnTo>
                      <a:pt x="33" y="435"/>
                    </a:lnTo>
                    <a:lnTo>
                      <a:pt x="26" y="433"/>
                    </a:lnTo>
                    <a:lnTo>
                      <a:pt x="21" y="429"/>
                    </a:lnTo>
                    <a:lnTo>
                      <a:pt x="14" y="425"/>
                    </a:lnTo>
                    <a:lnTo>
                      <a:pt x="11" y="422"/>
                    </a:lnTo>
                    <a:lnTo>
                      <a:pt x="8" y="418"/>
                    </a:lnTo>
                    <a:lnTo>
                      <a:pt x="5" y="413"/>
                    </a:lnTo>
                    <a:lnTo>
                      <a:pt x="3" y="408"/>
                    </a:lnTo>
                    <a:lnTo>
                      <a:pt x="1" y="396"/>
                    </a:lnTo>
                    <a:lnTo>
                      <a:pt x="0" y="385"/>
                    </a:lnTo>
                    <a:lnTo>
                      <a:pt x="0" y="363"/>
                    </a:lnTo>
                    <a:lnTo>
                      <a:pt x="1" y="345"/>
                    </a:lnTo>
                    <a:lnTo>
                      <a:pt x="1" y="332"/>
                    </a:lnTo>
                    <a:lnTo>
                      <a:pt x="3" y="320"/>
                    </a:lnTo>
                    <a:lnTo>
                      <a:pt x="5" y="309"/>
                    </a:lnTo>
                    <a:lnTo>
                      <a:pt x="10" y="299"/>
                    </a:lnTo>
                    <a:lnTo>
                      <a:pt x="13" y="289"/>
                    </a:lnTo>
                    <a:lnTo>
                      <a:pt x="19" y="281"/>
                    </a:lnTo>
                    <a:lnTo>
                      <a:pt x="23" y="273"/>
                    </a:lnTo>
                    <a:lnTo>
                      <a:pt x="30" y="265"/>
                    </a:lnTo>
                    <a:lnTo>
                      <a:pt x="41" y="251"/>
                    </a:lnTo>
                    <a:lnTo>
                      <a:pt x="52" y="236"/>
                    </a:lnTo>
                    <a:lnTo>
                      <a:pt x="56" y="228"/>
                    </a:lnTo>
                    <a:lnTo>
                      <a:pt x="60" y="220"/>
                    </a:lnTo>
                    <a:lnTo>
                      <a:pt x="65" y="212"/>
                    </a:lnTo>
                    <a:lnTo>
                      <a:pt x="67" y="204"/>
                    </a:lnTo>
                    <a:lnTo>
                      <a:pt x="121" y="204"/>
                    </a:lnTo>
                    <a:lnTo>
                      <a:pt x="131" y="198"/>
                    </a:lnTo>
                    <a:lnTo>
                      <a:pt x="142" y="194"/>
                    </a:lnTo>
                    <a:lnTo>
                      <a:pt x="154" y="191"/>
                    </a:lnTo>
                    <a:lnTo>
                      <a:pt x="166" y="188"/>
                    </a:lnTo>
                    <a:lnTo>
                      <a:pt x="190" y="184"/>
                    </a:lnTo>
                    <a:lnTo>
                      <a:pt x="213" y="178"/>
                    </a:lnTo>
                    <a:lnTo>
                      <a:pt x="224" y="176"/>
                    </a:lnTo>
                    <a:lnTo>
                      <a:pt x="235" y="173"/>
                    </a:lnTo>
                    <a:lnTo>
                      <a:pt x="244" y="170"/>
                    </a:lnTo>
                    <a:lnTo>
                      <a:pt x="251" y="165"/>
                    </a:lnTo>
                    <a:lnTo>
                      <a:pt x="258" y="160"/>
                    </a:lnTo>
                    <a:lnTo>
                      <a:pt x="262" y="153"/>
                    </a:lnTo>
                    <a:lnTo>
                      <a:pt x="265" y="150"/>
                    </a:lnTo>
                    <a:lnTo>
                      <a:pt x="266" y="145"/>
                    </a:lnTo>
                    <a:lnTo>
                      <a:pt x="267" y="141"/>
                    </a:lnTo>
                    <a:lnTo>
                      <a:pt x="267" y="136"/>
                    </a:lnTo>
                    <a:lnTo>
                      <a:pt x="267" y="126"/>
                    </a:lnTo>
                    <a:lnTo>
                      <a:pt x="267" y="117"/>
                    </a:lnTo>
                    <a:lnTo>
                      <a:pt x="280" y="119"/>
                    </a:lnTo>
                    <a:lnTo>
                      <a:pt x="292" y="120"/>
                    </a:lnTo>
                    <a:lnTo>
                      <a:pt x="303" y="120"/>
                    </a:lnTo>
                    <a:lnTo>
                      <a:pt x="313" y="119"/>
                    </a:lnTo>
                    <a:lnTo>
                      <a:pt x="323" y="117"/>
                    </a:lnTo>
                    <a:lnTo>
                      <a:pt x="332" y="115"/>
                    </a:lnTo>
                    <a:lnTo>
                      <a:pt x="339" y="112"/>
                    </a:lnTo>
                    <a:lnTo>
                      <a:pt x="347" y="109"/>
                    </a:lnTo>
                    <a:lnTo>
                      <a:pt x="354" y="105"/>
                    </a:lnTo>
                    <a:lnTo>
                      <a:pt x="359" y="101"/>
                    </a:lnTo>
                    <a:lnTo>
                      <a:pt x="366" y="96"/>
                    </a:lnTo>
                    <a:lnTo>
                      <a:pt x="370" y="91"/>
                    </a:lnTo>
                    <a:lnTo>
                      <a:pt x="380" y="80"/>
                    </a:lnTo>
                    <a:lnTo>
                      <a:pt x="389" y="67"/>
                    </a:lnTo>
                    <a:lnTo>
                      <a:pt x="397" y="56"/>
                    </a:lnTo>
                    <a:lnTo>
                      <a:pt x="405" y="44"/>
                    </a:lnTo>
                    <a:lnTo>
                      <a:pt x="414" y="32"/>
                    </a:lnTo>
                    <a:lnTo>
                      <a:pt x="425" y="22"/>
                    </a:lnTo>
                    <a:lnTo>
                      <a:pt x="430" y="18"/>
                    </a:lnTo>
                    <a:lnTo>
                      <a:pt x="436" y="13"/>
                    </a:lnTo>
                    <a:lnTo>
                      <a:pt x="442" y="9"/>
                    </a:lnTo>
                    <a:lnTo>
                      <a:pt x="450" y="6"/>
                    </a:lnTo>
                    <a:lnTo>
                      <a:pt x="458" y="3"/>
                    </a:lnTo>
                    <a:lnTo>
                      <a:pt x="467" y="1"/>
                    </a:lnTo>
                    <a:lnTo>
                      <a:pt x="475" y="0"/>
                    </a:lnTo>
                    <a:lnTo>
                      <a:pt x="486" y="0"/>
                    </a:lnTo>
                    <a:lnTo>
                      <a:pt x="486" y="6"/>
                    </a:lnTo>
                    <a:lnTo>
                      <a:pt x="492" y="14"/>
                    </a:lnTo>
                    <a:lnTo>
                      <a:pt x="498" y="22"/>
                    </a:lnTo>
                    <a:lnTo>
                      <a:pt x="507" y="29"/>
                    </a:lnTo>
                    <a:lnTo>
                      <a:pt x="515" y="35"/>
                    </a:lnTo>
                    <a:lnTo>
                      <a:pt x="523" y="41"/>
                    </a:lnTo>
                    <a:lnTo>
                      <a:pt x="530" y="49"/>
                    </a:lnTo>
                    <a:lnTo>
                      <a:pt x="532" y="53"/>
                    </a:lnTo>
                    <a:lnTo>
                      <a:pt x="536" y="57"/>
                    </a:lnTo>
                    <a:lnTo>
                      <a:pt x="538" y="62"/>
                    </a:lnTo>
                    <a:lnTo>
                      <a:pt x="539" y="67"/>
                    </a:lnTo>
                    <a:lnTo>
                      <a:pt x="553" y="107"/>
                    </a:lnTo>
                    <a:lnTo>
                      <a:pt x="564" y="141"/>
                    </a:lnTo>
                    <a:lnTo>
                      <a:pt x="569" y="148"/>
                    </a:lnTo>
                    <a:lnTo>
                      <a:pt x="573" y="154"/>
                    </a:lnTo>
                    <a:lnTo>
                      <a:pt x="579" y="159"/>
                    </a:lnTo>
                    <a:lnTo>
                      <a:pt x="585" y="164"/>
                    </a:lnTo>
                    <a:lnTo>
                      <a:pt x="593" y="168"/>
                    </a:lnTo>
                    <a:lnTo>
                      <a:pt x="602" y="170"/>
                    </a:lnTo>
                    <a:lnTo>
                      <a:pt x="613" y="172"/>
                    </a:lnTo>
                    <a:lnTo>
                      <a:pt x="626" y="172"/>
                    </a:lnTo>
                    <a:lnTo>
                      <a:pt x="626" y="179"/>
                    </a:lnTo>
                    <a:lnTo>
                      <a:pt x="627" y="187"/>
                    </a:lnTo>
                    <a:lnTo>
                      <a:pt x="628" y="193"/>
                    </a:lnTo>
                    <a:lnTo>
                      <a:pt x="630" y="199"/>
                    </a:lnTo>
                    <a:lnTo>
                      <a:pt x="636" y="211"/>
                    </a:lnTo>
                    <a:lnTo>
                      <a:pt x="642" y="222"/>
                    </a:lnTo>
                    <a:lnTo>
                      <a:pt x="650" y="233"/>
                    </a:lnTo>
                    <a:lnTo>
                      <a:pt x="660" y="244"/>
                    </a:lnTo>
                    <a:lnTo>
                      <a:pt x="670" y="254"/>
                    </a:lnTo>
                    <a:lnTo>
                      <a:pt x="681" y="263"/>
                    </a:lnTo>
                    <a:lnTo>
                      <a:pt x="702" y="279"/>
                    </a:lnTo>
                    <a:lnTo>
                      <a:pt x="720" y="294"/>
                    </a:lnTo>
                    <a:lnTo>
                      <a:pt x="729" y="302"/>
                    </a:lnTo>
                    <a:lnTo>
                      <a:pt x="736" y="309"/>
                    </a:lnTo>
                    <a:lnTo>
                      <a:pt x="741" y="315"/>
                    </a:lnTo>
                    <a:lnTo>
                      <a:pt x="746" y="321"/>
                    </a:lnTo>
                    <a:lnTo>
                      <a:pt x="738" y="345"/>
                    </a:lnTo>
                    <a:lnTo>
                      <a:pt x="728" y="345"/>
                    </a:lnTo>
                    <a:lnTo>
                      <a:pt x="711" y="345"/>
                    </a:lnTo>
                    <a:lnTo>
                      <a:pt x="706" y="345"/>
                    </a:lnTo>
                    <a:lnTo>
                      <a:pt x="700" y="344"/>
                    </a:lnTo>
                    <a:lnTo>
                      <a:pt x="695" y="343"/>
                    </a:lnTo>
                    <a:lnTo>
                      <a:pt x="691" y="342"/>
                    </a:lnTo>
                    <a:lnTo>
                      <a:pt x="685" y="339"/>
                    </a:lnTo>
                    <a:lnTo>
                      <a:pt x="682" y="335"/>
                    </a:lnTo>
                    <a:lnTo>
                      <a:pt x="680" y="329"/>
                    </a:lnTo>
                    <a:lnTo>
                      <a:pt x="679" y="321"/>
                    </a:lnTo>
                    <a:lnTo>
                      <a:pt x="666" y="321"/>
                    </a:lnTo>
                    <a:lnTo>
                      <a:pt x="659" y="321"/>
                    </a:lnTo>
                    <a:lnTo>
                      <a:pt x="654" y="325"/>
                    </a:lnTo>
                    <a:lnTo>
                      <a:pt x="651" y="330"/>
                    </a:lnTo>
                    <a:lnTo>
                      <a:pt x="648" y="334"/>
                    </a:lnTo>
                    <a:lnTo>
                      <a:pt x="647" y="338"/>
                    </a:lnTo>
                    <a:lnTo>
                      <a:pt x="642" y="345"/>
                    </a:lnTo>
                    <a:lnTo>
                      <a:pt x="639" y="352"/>
                    </a:lnTo>
                    <a:lnTo>
                      <a:pt x="630" y="354"/>
                    </a:lnTo>
                    <a:lnTo>
                      <a:pt x="621" y="355"/>
                    </a:lnTo>
                    <a:lnTo>
                      <a:pt x="613" y="355"/>
                    </a:lnTo>
                    <a:lnTo>
                      <a:pt x="604" y="356"/>
                    </a:lnTo>
                    <a:lnTo>
                      <a:pt x="586" y="355"/>
                    </a:lnTo>
                    <a:lnTo>
                      <a:pt x="570" y="355"/>
                    </a:lnTo>
                    <a:lnTo>
                      <a:pt x="561" y="355"/>
                    </a:lnTo>
                    <a:lnTo>
                      <a:pt x="553" y="356"/>
                    </a:lnTo>
                    <a:lnTo>
                      <a:pt x="545" y="357"/>
                    </a:lnTo>
                    <a:lnTo>
                      <a:pt x="537" y="359"/>
                    </a:lnTo>
                    <a:lnTo>
                      <a:pt x="529" y="361"/>
                    </a:lnTo>
                    <a:lnTo>
                      <a:pt x="522" y="365"/>
                    </a:lnTo>
                    <a:lnTo>
                      <a:pt x="514" y="370"/>
                    </a:lnTo>
                    <a:lnTo>
                      <a:pt x="506" y="376"/>
                    </a:lnTo>
                    <a:lnTo>
                      <a:pt x="501" y="381"/>
                    </a:lnTo>
                    <a:lnTo>
                      <a:pt x="496" y="387"/>
                    </a:lnTo>
                    <a:lnTo>
                      <a:pt x="493" y="390"/>
                    </a:lnTo>
                    <a:lnTo>
                      <a:pt x="491" y="392"/>
                    </a:lnTo>
                    <a:lnTo>
                      <a:pt x="489" y="394"/>
                    </a:lnTo>
                    <a:lnTo>
                      <a:pt x="486" y="394"/>
                    </a:lnTo>
                    <a:lnTo>
                      <a:pt x="466" y="395"/>
                    </a:lnTo>
                    <a:lnTo>
                      <a:pt x="451" y="397"/>
                    </a:lnTo>
                    <a:lnTo>
                      <a:pt x="439" y="399"/>
                    </a:lnTo>
                    <a:lnTo>
                      <a:pt x="426" y="400"/>
                    </a:lnTo>
                    <a:lnTo>
                      <a:pt x="417" y="400"/>
                    </a:lnTo>
                    <a:lnTo>
                      <a:pt x="410" y="398"/>
                    </a:lnTo>
                    <a:lnTo>
                      <a:pt x="403" y="395"/>
                    </a:lnTo>
                    <a:lnTo>
                      <a:pt x="396" y="392"/>
                    </a:lnTo>
                    <a:lnTo>
                      <a:pt x="384" y="383"/>
                    </a:lnTo>
                    <a:lnTo>
                      <a:pt x="373" y="373"/>
                    </a:lnTo>
                    <a:lnTo>
                      <a:pt x="361" y="363"/>
                    </a:lnTo>
                    <a:lnTo>
                      <a:pt x="349" y="354"/>
                    </a:lnTo>
                    <a:lnTo>
                      <a:pt x="343" y="351"/>
                    </a:lnTo>
                    <a:lnTo>
                      <a:pt x="336" y="347"/>
                    </a:lnTo>
                    <a:lnTo>
                      <a:pt x="328" y="345"/>
                    </a:lnTo>
                    <a:lnTo>
                      <a:pt x="319" y="345"/>
                    </a:lnTo>
                    <a:lnTo>
                      <a:pt x="313" y="345"/>
                    </a:lnTo>
                    <a:lnTo>
                      <a:pt x="305" y="347"/>
                    </a:lnTo>
                    <a:lnTo>
                      <a:pt x="299" y="351"/>
                    </a:lnTo>
                    <a:lnTo>
                      <a:pt x="291" y="355"/>
                    </a:lnTo>
                    <a:lnTo>
                      <a:pt x="284" y="360"/>
                    </a:lnTo>
                    <a:lnTo>
                      <a:pt x="278" y="365"/>
                    </a:lnTo>
                    <a:lnTo>
                      <a:pt x="272" y="371"/>
                    </a:lnTo>
                    <a:lnTo>
                      <a:pt x="266" y="377"/>
                    </a:lnTo>
                    <a:lnTo>
                      <a:pt x="255" y="392"/>
                    </a:lnTo>
                    <a:lnTo>
                      <a:pt x="244" y="408"/>
                    </a:lnTo>
                    <a:lnTo>
                      <a:pt x="235" y="423"/>
                    </a:lnTo>
                    <a:lnTo>
                      <a:pt x="227" y="437"/>
                    </a:lnTo>
                    <a:lnTo>
                      <a:pt x="197" y="437"/>
                    </a:lnTo>
                    <a:lnTo>
                      <a:pt x="176" y="437"/>
                    </a:lnTo>
                    <a:lnTo>
                      <a:pt x="160" y="437"/>
                    </a:lnTo>
                    <a:lnTo>
                      <a:pt x="150" y="439"/>
                    </a:lnTo>
                    <a:lnTo>
                      <a:pt x="146" y="440"/>
                    </a:lnTo>
                    <a:lnTo>
                      <a:pt x="143" y="442"/>
                    </a:lnTo>
                    <a:lnTo>
                      <a:pt x="139" y="445"/>
                    </a:lnTo>
                    <a:lnTo>
                      <a:pt x="135" y="448"/>
                    </a:lnTo>
                    <a:lnTo>
                      <a:pt x="126" y="456"/>
                    </a:lnTo>
                    <a:lnTo>
                      <a:pt x="114" y="46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7" name="Freeform 248">
                <a:extLst>
                  <a:ext uri="{FF2B5EF4-FFF2-40B4-BE49-F238E27FC236}">
                    <a16:creationId xmlns:a16="http://schemas.microsoft.com/office/drawing/2014/main" id="{4587D829-B1BF-4D7D-A0DF-56A0AA8790E1}"/>
                  </a:ext>
                </a:extLst>
              </p:cNvPr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auto">
              <a:xfrm>
                <a:off x="4368050" y="4313721"/>
                <a:ext cx="602673" cy="620565"/>
              </a:xfrm>
              <a:custGeom>
                <a:avLst/>
                <a:gdLst>
                  <a:gd name="T0" fmla="*/ 172045348 w 1145"/>
                  <a:gd name="T1" fmla="*/ 15689475 h 1053"/>
                  <a:gd name="T2" fmla="*/ 189402522 w 1145"/>
                  <a:gd name="T3" fmla="*/ 18166319 h 1053"/>
                  <a:gd name="T4" fmla="*/ 205996719 w 1145"/>
                  <a:gd name="T5" fmla="*/ 22295266 h 1053"/>
                  <a:gd name="T6" fmla="*/ 214770733 w 1145"/>
                  <a:gd name="T7" fmla="*/ 48169128 h 1053"/>
                  <a:gd name="T8" fmla="*/ 216105833 w 1145"/>
                  <a:gd name="T9" fmla="*/ 58078077 h 1053"/>
                  <a:gd name="T10" fmla="*/ 201800566 w 1145"/>
                  <a:gd name="T11" fmla="*/ 74868255 h 1053"/>
                  <a:gd name="T12" fmla="*/ 199320783 w 1145"/>
                  <a:gd name="T13" fmla="*/ 99090538 h 1053"/>
                  <a:gd name="T14" fmla="*/ 191310182 w 1145"/>
                  <a:gd name="T15" fmla="*/ 121110366 h 1053"/>
                  <a:gd name="T16" fmla="*/ 188830399 w 1145"/>
                  <a:gd name="T17" fmla="*/ 131019315 h 1053"/>
                  <a:gd name="T18" fmla="*/ 194361652 w 1145"/>
                  <a:gd name="T19" fmla="*/ 158544756 h 1053"/>
                  <a:gd name="T20" fmla="*/ 195696752 w 1145"/>
                  <a:gd name="T21" fmla="*/ 182767039 h 1053"/>
                  <a:gd name="T22" fmla="*/ 199702489 w 1145"/>
                  <a:gd name="T23" fmla="*/ 201208796 h 1053"/>
                  <a:gd name="T24" fmla="*/ 205805866 w 1145"/>
                  <a:gd name="T25" fmla="*/ 210567393 h 1053"/>
                  <a:gd name="T26" fmla="*/ 208285650 w 1145"/>
                  <a:gd name="T27" fmla="*/ 227082133 h 1053"/>
                  <a:gd name="T28" fmla="*/ 198367389 w 1145"/>
                  <a:gd name="T29" fmla="*/ 232311783 h 1053"/>
                  <a:gd name="T30" fmla="*/ 190165499 w 1145"/>
                  <a:gd name="T31" fmla="*/ 235614941 h 1053"/>
                  <a:gd name="T32" fmla="*/ 183108292 w 1145"/>
                  <a:gd name="T33" fmla="*/ 273049331 h 1053"/>
                  <a:gd name="T34" fmla="*/ 177386185 w 1145"/>
                  <a:gd name="T35" fmla="*/ 282407928 h 1053"/>
                  <a:gd name="T36" fmla="*/ 172045348 w 1145"/>
                  <a:gd name="T37" fmla="*/ 283784069 h 1053"/>
                  <a:gd name="T38" fmla="*/ 160219865 w 1145"/>
                  <a:gd name="T39" fmla="*/ 289839509 h 1053"/>
                  <a:gd name="T40" fmla="*/ 149156921 w 1145"/>
                  <a:gd name="T41" fmla="*/ 285435648 h 1053"/>
                  <a:gd name="T42" fmla="*/ 141718008 w 1145"/>
                  <a:gd name="T43" fmla="*/ 279104770 h 1053"/>
                  <a:gd name="T44" fmla="*/ 134851654 w 1145"/>
                  <a:gd name="T45" fmla="*/ 274425472 h 1053"/>
                  <a:gd name="T46" fmla="*/ 128557424 w 1145"/>
                  <a:gd name="T47" fmla="*/ 271397752 h 1053"/>
                  <a:gd name="T48" fmla="*/ 115968527 w 1145"/>
                  <a:gd name="T49" fmla="*/ 271673190 h 1053"/>
                  <a:gd name="T50" fmla="*/ 113298327 w 1145"/>
                  <a:gd name="T51" fmla="*/ 259286873 h 1053"/>
                  <a:gd name="T52" fmla="*/ 109674297 w 1145"/>
                  <a:gd name="T53" fmla="*/ 243321959 h 1053"/>
                  <a:gd name="T54" fmla="*/ 112535350 w 1145"/>
                  <a:gd name="T55" fmla="*/ 232862659 h 1053"/>
                  <a:gd name="T56" fmla="*/ 112535350 w 1145"/>
                  <a:gd name="T57" fmla="*/ 214420902 h 1053"/>
                  <a:gd name="T58" fmla="*/ 86595016 w 1145"/>
                  <a:gd name="T59" fmla="*/ 207814587 h 1053"/>
                  <a:gd name="T60" fmla="*/ 84496939 w 1145"/>
                  <a:gd name="T61" fmla="*/ 216071957 h 1053"/>
                  <a:gd name="T62" fmla="*/ 75532072 w 1145"/>
                  <a:gd name="T63" fmla="*/ 224880203 h 1053"/>
                  <a:gd name="T64" fmla="*/ 64278712 w 1145"/>
                  <a:gd name="T65" fmla="*/ 219375114 h 1053"/>
                  <a:gd name="T66" fmla="*/ 56648945 w 1145"/>
                  <a:gd name="T67" fmla="*/ 194877918 h 1053"/>
                  <a:gd name="T68" fmla="*/ 572123 w 1145"/>
                  <a:gd name="T69" fmla="*/ 184693531 h 1053"/>
                  <a:gd name="T70" fmla="*/ 8583160 w 1145"/>
                  <a:gd name="T71" fmla="*/ 183592304 h 1053"/>
                  <a:gd name="T72" fmla="*/ 4959130 w 1145"/>
                  <a:gd name="T73" fmla="*/ 173683355 h 1053"/>
                  <a:gd name="T74" fmla="*/ 14305267 w 1145"/>
                  <a:gd name="T75" fmla="*/ 169279494 h 1053"/>
                  <a:gd name="T76" fmla="*/ 27657141 w 1145"/>
                  <a:gd name="T77" fmla="*/ 169004056 h 1053"/>
                  <a:gd name="T78" fmla="*/ 34905201 w 1145"/>
                  <a:gd name="T79" fmla="*/ 170655635 h 1053"/>
                  <a:gd name="T80" fmla="*/ 41962408 w 1145"/>
                  <a:gd name="T81" fmla="*/ 157994404 h 1053"/>
                  <a:gd name="T82" fmla="*/ 49591738 w 1145"/>
                  <a:gd name="T83" fmla="*/ 152764229 h 1053"/>
                  <a:gd name="T84" fmla="*/ 53597475 w 1145"/>
                  <a:gd name="T85" fmla="*/ 121110366 h 1053"/>
                  <a:gd name="T86" fmla="*/ 65995082 w 1145"/>
                  <a:gd name="T87" fmla="*/ 101842820 h 1053"/>
                  <a:gd name="T88" fmla="*/ 70572942 w 1145"/>
                  <a:gd name="T89" fmla="*/ 75969482 h 1053"/>
                  <a:gd name="T90" fmla="*/ 70954649 w 1145"/>
                  <a:gd name="T91" fmla="*/ 49545269 h 1053"/>
                  <a:gd name="T92" fmla="*/ 73052726 w 1145"/>
                  <a:gd name="T93" fmla="*/ 33580880 h 1053"/>
                  <a:gd name="T94" fmla="*/ 83924816 w 1145"/>
                  <a:gd name="T95" fmla="*/ 9634035 h 1053"/>
                  <a:gd name="T96" fmla="*/ 93652223 w 1145"/>
                  <a:gd name="T97" fmla="*/ 8257370 h 1053"/>
                  <a:gd name="T98" fmla="*/ 106431536 w 1145"/>
                  <a:gd name="T99" fmla="*/ 21194563 h 1053"/>
                  <a:gd name="T100" fmla="*/ 121499780 w 1145"/>
                  <a:gd name="T101" fmla="*/ 20093336 h 1053"/>
                  <a:gd name="T102" fmla="*/ 127794447 w 1145"/>
                  <a:gd name="T103" fmla="*/ 12110879 h 1053"/>
                  <a:gd name="T104" fmla="*/ 140001638 w 1145"/>
                  <a:gd name="T105" fmla="*/ 9358597 h 1053"/>
                  <a:gd name="T106" fmla="*/ 151636705 w 1145"/>
                  <a:gd name="T107" fmla="*/ 4679299 h 1053"/>
                  <a:gd name="T108" fmla="*/ 157930935 w 1145"/>
                  <a:gd name="T109" fmla="*/ 2201930 h 1053"/>
                  <a:gd name="T110" fmla="*/ 163843895 w 1145"/>
                  <a:gd name="T111" fmla="*/ 6605791 h 1053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1145" h="1053">
                    <a:moveTo>
                      <a:pt x="894" y="24"/>
                    </a:moveTo>
                    <a:lnTo>
                      <a:pt x="894" y="32"/>
                    </a:lnTo>
                    <a:lnTo>
                      <a:pt x="895" y="38"/>
                    </a:lnTo>
                    <a:lnTo>
                      <a:pt x="896" y="44"/>
                    </a:lnTo>
                    <a:lnTo>
                      <a:pt x="897" y="49"/>
                    </a:lnTo>
                    <a:lnTo>
                      <a:pt x="900" y="53"/>
                    </a:lnTo>
                    <a:lnTo>
                      <a:pt x="902" y="57"/>
                    </a:lnTo>
                    <a:lnTo>
                      <a:pt x="906" y="61"/>
                    </a:lnTo>
                    <a:lnTo>
                      <a:pt x="909" y="64"/>
                    </a:lnTo>
                    <a:lnTo>
                      <a:pt x="918" y="68"/>
                    </a:lnTo>
                    <a:lnTo>
                      <a:pt x="926" y="71"/>
                    </a:lnTo>
                    <a:lnTo>
                      <a:pt x="936" y="72"/>
                    </a:lnTo>
                    <a:lnTo>
                      <a:pt x="947" y="72"/>
                    </a:lnTo>
                    <a:lnTo>
                      <a:pt x="993" y="66"/>
                    </a:lnTo>
                    <a:lnTo>
                      <a:pt x="1033" y="61"/>
                    </a:lnTo>
                    <a:lnTo>
                      <a:pt x="1038" y="61"/>
                    </a:lnTo>
                    <a:lnTo>
                      <a:pt x="1045" y="63"/>
                    </a:lnTo>
                    <a:lnTo>
                      <a:pt x="1051" y="64"/>
                    </a:lnTo>
                    <a:lnTo>
                      <a:pt x="1057" y="67"/>
                    </a:lnTo>
                    <a:lnTo>
                      <a:pt x="1069" y="73"/>
                    </a:lnTo>
                    <a:lnTo>
                      <a:pt x="1080" y="81"/>
                    </a:lnTo>
                    <a:lnTo>
                      <a:pt x="1099" y="98"/>
                    </a:lnTo>
                    <a:lnTo>
                      <a:pt x="1112" y="110"/>
                    </a:lnTo>
                    <a:lnTo>
                      <a:pt x="1113" y="124"/>
                    </a:lnTo>
                    <a:lnTo>
                      <a:pt x="1114" y="138"/>
                    </a:lnTo>
                    <a:lnTo>
                      <a:pt x="1117" y="152"/>
                    </a:lnTo>
                    <a:lnTo>
                      <a:pt x="1122" y="164"/>
                    </a:lnTo>
                    <a:lnTo>
                      <a:pt x="1126" y="175"/>
                    </a:lnTo>
                    <a:lnTo>
                      <a:pt x="1132" y="183"/>
                    </a:lnTo>
                    <a:lnTo>
                      <a:pt x="1135" y="186"/>
                    </a:lnTo>
                    <a:lnTo>
                      <a:pt x="1138" y="188"/>
                    </a:lnTo>
                    <a:lnTo>
                      <a:pt x="1142" y="190"/>
                    </a:lnTo>
                    <a:lnTo>
                      <a:pt x="1145" y="190"/>
                    </a:lnTo>
                    <a:lnTo>
                      <a:pt x="1139" y="202"/>
                    </a:lnTo>
                    <a:lnTo>
                      <a:pt x="1133" y="211"/>
                    </a:lnTo>
                    <a:lnTo>
                      <a:pt x="1125" y="220"/>
                    </a:lnTo>
                    <a:lnTo>
                      <a:pt x="1117" y="227"/>
                    </a:lnTo>
                    <a:lnTo>
                      <a:pt x="1100" y="240"/>
                    </a:lnTo>
                    <a:lnTo>
                      <a:pt x="1082" y="253"/>
                    </a:lnTo>
                    <a:lnTo>
                      <a:pt x="1074" y="259"/>
                    </a:lnTo>
                    <a:lnTo>
                      <a:pt x="1066" y="266"/>
                    </a:lnTo>
                    <a:lnTo>
                      <a:pt x="1058" y="272"/>
                    </a:lnTo>
                    <a:lnTo>
                      <a:pt x="1052" y="280"/>
                    </a:lnTo>
                    <a:lnTo>
                      <a:pt x="1046" y="288"/>
                    </a:lnTo>
                    <a:lnTo>
                      <a:pt x="1043" y="297"/>
                    </a:lnTo>
                    <a:lnTo>
                      <a:pt x="1040" y="308"/>
                    </a:lnTo>
                    <a:lnTo>
                      <a:pt x="1040" y="320"/>
                    </a:lnTo>
                    <a:lnTo>
                      <a:pt x="1041" y="339"/>
                    </a:lnTo>
                    <a:lnTo>
                      <a:pt x="1045" y="360"/>
                    </a:lnTo>
                    <a:lnTo>
                      <a:pt x="1046" y="371"/>
                    </a:lnTo>
                    <a:lnTo>
                      <a:pt x="1047" y="381"/>
                    </a:lnTo>
                    <a:lnTo>
                      <a:pt x="1047" y="391"/>
                    </a:lnTo>
                    <a:lnTo>
                      <a:pt x="1046" y="400"/>
                    </a:lnTo>
                    <a:lnTo>
                      <a:pt x="1034" y="410"/>
                    </a:lnTo>
                    <a:lnTo>
                      <a:pt x="1013" y="430"/>
                    </a:lnTo>
                    <a:lnTo>
                      <a:pt x="1003" y="440"/>
                    </a:lnTo>
                    <a:lnTo>
                      <a:pt x="995" y="450"/>
                    </a:lnTo>
                    <a:lnTo>
                      <a:pt x="991" y="455"/>
                    </a:lnTo>
                    <a:lnTo>
                      <a:pt x="988" y="460"/>
                    </a:lnTo>
                    <a:lnTo>
                      <a:pt x="987" y="464"/>
                    </a:lnTo>
                    <a:lnTo>
                      <a:pt x="986" y="467"/>
                    </a:lnTo>
                    <a:lnTo>
                      <a:pt x="987" y="470"/>
                    </a:lnTo>
                    <a:lnTo>
                      <a:pt x="990" y="476"/>
                    </a:lnTo>
                    <a:lnTo>
                      <a:pt x="995" y="481"/>
                    </a:lnTo>
                    <a:lnTo>
                      <a:pt x="999" y="486"/>
                    </a:lnTo>
                    <a:lnTo>
                      <a:pt x="1009" y="495"/>
                    </a:lnTo>
                    <a:lnTo>
                      <a:pt x="1012" y="499"/>
                    </a:lnTo>
                    <a:lnTo>
                      <a:pt x="1016" y="524"/>
                    </a:lnTo>
                    <a:lnTo>
                      <a:pt x="1019" y="550"/>
                    </a:lnTo>
                    <a:lnTo>
                      <a:pt x="1019" y="576"/>
                    </a:lnTo>
                    <a:lnTo>
                      <a:pt x="1019" y="610"/>
                    </a:lnTo>
                    <a:lnTo>
                      <a:pt x="1020" y="618"/>
                    </a:lnTo>
                    <a:lnTo>
                      <a:pt x="1022" y="625"/>
                    </a:lnTo>
                    <a:lnTo>
                      <a:pt x="1025" y="632"/>
                    </a:lnTo>
                    <a:lnTo>
                      <a:pt x="1026" y="640"/>
                    </a:lnTo>
                    <a:lnTo>
                      <a:pt x="1026" y="650"/>
                    </a:lnTo>
                    <a:lnTo>
                      <a:pt x="1026" y="664"/>
                    </a:lnTo>
                    <a:lnTo>
                      <a:pt x="1027" y="679"/>
                    </a:lnTo>
                    <a:lnTo>
                      <a:pt x="1031" y="696"/>
                    </a:lnTo>
                    <a:lnTo>
                      <a:pt x="1033" y="705"/>
                    </a:lnTo>
                    <a:lnTo>
                      <a:pt x="1035" y="713"/>
                    </a:lnTo>
                    <a:lnTo>
                      <a:pt x="1038" y="720"/>
                    </a:lnTo>
                    <a:lnTo>
                      <a:pt x="1043" y="726"/>
                    </a:lnTo>
                    <a:lnTo>
                      <a:pt x="1047" y="731"/>
                    </a:lnTo>
                    <a:lnTo>
                      <a:pt x="1053" y="735"/>
                    </a:lnTo>
                    <a:lnTo>
                      <a:pt x="1058" y="738"/>
                    </a:lnTo>
                    <a:lnTo>
                      <a:pt x="1066" y="739"/>
                    </a:lnTo>
                    <a:lnTo>
                      <a:pt x="1067" y="745"/>
                    </a:lnTo>
                    <a:lnTo>
                      <a:pt x="1070" y="751"/>
                    </a:lnTo>
                    <a:lnTo>
                      <a:pt x="1074" y="759"/>
                    </a:lnTo>
                    <a:lnTo>
                      <a:pt x="1079" y="765"/>
                    </a:lnTo>
                    <a:lnTo>
                      <a:pt x="1083" y="772"/>
                    </a:lnTo>
                    <a:lnTo>
                      <a:pt x="1088" y="780"/>
                    </a:lnTo>
                    <a:lnTo>
                      <a:pt x="1091" y="790"/>
                    </a:lnTo>
                    <a:lnTo>
                      <a:pt x="1092" y="800"/>
                    </a:lnTo>
                    <a:lnTo>
                      <a:pt x="1092" y="807"/>
                    </a:lnTo>
                    <a:lnTo>
                      <a:pt x="1092" y="816"/>
                    </a:lnTo>
                    <a:lnTo>
                      <a:pt x="1092" y="825"/>
                    </a:lnTo>
                    <a:lnTo>
                      <a:pt x="1092" y="831"/>
                    </a:lnTo>
                    <a:lnTo>
                      <a:pt x="1092" y="837"/>
                    </a:lnTo>
                    <a:lnTo>
                      <a:pt x="1080" y="836"/>
                    </a:lnTo>
                    <a:lnTo>
                      <a:pt x="1069" y="837"/>
                    </a:lnTo>
                    <a:lnTo>
                      <a:pt x="1059" y="840"/>
                    </a:lnTo>
                    <a:lnTo>
                      <a:pt x="1049" y="842"/>
                    </a:lnTo>
                    <a:lnTo>
                      <a:pt x="1040" y="844"/>
                    </a:lnTo>
                    <a:lnTo>
                      <a:pt x="1029" y="844"/>
                    </a:lnTo>
                    <a:lnTo>
                      <a:pt x="1023" y="844"/>
                    </a:lnTo>
                    <a:lnTo>
                      <a:pt x="1018" y="842"/>
                    </a:lnTo>
                    <a:lnTo>
                      <a:pt x="1012" y="840"/>
                    </a:lnTo>
                    <a:lnTo>
                      <a:pt x="1005" y="837"/>
                    </a:lnTo>
                    <a:lnTo>
                      <a:pt x="1001" y="846"/>
                    </a:lnTo>
                    <a:lnTo>
                      <a:pt x="997" y="856"/>
                    </a:lnTo>
                    <a:lnTo>
                      <a:pt x="993" y="869"/>
                    </a:lnTo>
                    <a:lnTo>
                      <a:pt x="990" y="883"/>
                    </a:lnTo>
                    <a:lnTo>
                      <a:pt x="982" y="914"/>
                    </a:lnTo>
                    <a:lnTo>
                      <a:pt x="975" y="947"/>
                    </a:lnTo>
                    <a:lnTo>
                      <a:pt x="970" y="962"/>
                    </a:lnTo>
                    <a:lnTo>
                      <a:pt x="966" y="978"/>
                    </a:lnTo>
                    <a:lnTo>
                      <a:pt x="960" y="992"/>
                    </a:lnTo>
                    <a:lnTo>
                      <a:pt x="955" y="1004"/>
                    </a:lnTo>
                    <a:lnTo>
                      <a:pt x="951" y="1009"/>
                    </a:lnTo>
                    <a:lnTo>
                      <a:pt x="947" y="1014"/>
                    </a:lnTo>
                    <a:lnTo>
                      <a:pt x="944" y="1018"/>
                    </a:lnTo>
                    <a:lnTo>
                      <a:pt x="940" y="1021"/>
                    </a:lnTo>
                    <a:lnTo>
                      <a:pt x="935" y="1024"/>
                    </a:lnTo>
                    <a:lnTo>
                      <a:pt x="930" y="1026"/>
                    </a:lnTo>
                    <a:lnTo>
                      <a:pt x="925" y="1028"/>
                    </a:lnTo>
                    <a:lnTo>
                      <a:pt x="920" y="1028"/>
                    </a:lnTo>
                    <a:lnTo>
                      <a:pt x="918" y="1029"/>
                    </a:lnTo>
                    <a:lnTo>
                      <a:pt x="912" y="1031"/>
                    </a:lnTo>
                    <a:lnTo>
                      <a:pt x="909" y="1032"/>
                    </a:lnTo>
                    <a:lnTo>
                      <a:pt x="906" y="1032"/>
                    </a:lnTo>
                    <a:lnTo>
                      <a:pt x="902" y="1031"/>
                    </a:lnTo>
                    <a:lnTo>
                      <a:pt x="900" y="1028"/>
                    </a:lnTo>
                    <a:lnTo>
                      <a:pt x="888" y="1035"/>
                    </a:lnTo>
                    <a:lnTo>
                      <a:pt x="873" y="1043"/>
                    </a:lnTo>
                    <a:lnTo>
                      <a:pt x="864" y="1047"/>
                    </a:lnTo>
                    <a:lnTo>
                      <a:pt x="856" y="1050"/>
                    </a:lnTo>
                    <a:lnTo>
                      <a:pt x="847" y="1052"/>
                    </a:lnTo>
                    <a:lnTo>
                      <a:pt x="840" y="1053"/>
                    </a:lnTo>
                    <a:lnTo>
                      <a:pt x="828" y="1053"/>
                    </a:lnTo>
                    <a:lnTo>
                      <a:pt x="816" y="1052"/>
                    </a:lnTo>
                    <a:lnTo>
                      <a:pt x="805" y="1049"/>
                    </a:lnTo>
                    <a:lnTo>
                      <a:pt x="795" y="1046"/>
                    </a:lnTo>
                    <a:lnTo>
                      <a:pt x="789" y="1043"/>
                    </a:lnTo>
                    <a:lnTo>
                      <a:pt x="786" y="1040"/>
                    </a:lnTo>
                    <a:lnTo>
                      <a:pt x="782" y="1037"/>
                    </a:lnTo>
                    <a:lnTo>
                      <a:pt x="779" y="1033"/>
                    </a:lnTo>
                    <a:lnTo>
                      <a:pt x="777" y="1027"/>
                    </a:lnTo>
                    <a:lnTo>
                      <a:pt x="775" y="1022"/>
                    </a:lnTo>
                    <a:lnTo>
                      <a:pt x="774" y="1016"/>
                    </a:lnTo>
                    <a:lnTo>
                      <a:pt x="774" y="1010"/>
                    </a:lnTo>
                    <a:lnTo>
                      <a:pt x="761" y="1011"/>
                    </a:lnTo>
                    <a:lnTo>
                      <a:pt x="743" y="1014"/>
                    </a:lnTo>
                    <a:lnTo>
                      <a:pt x="734" y="1014"/>
                    </a:lnTo>
                    <a:lnTo>
                      <a:pt x="727" y="1012"/>
                    </a:lnTo>
                    <a:lnTo>
                      <a:pt x="723" y="1011"/>
                    </a:lnTo>
                    <a:lnTo>
                      <a:pt x="719" y="1009"/>
                    </a:lnTo>
                    <a:lnTo>
                      <a:pt x="717" y="1007"/>
                    </a:lnTo>
                    <a:lnTo>
                      <a:pt x="713" y="1004"/>
                    </a:lnTo>
                    <a:lnTo>
                      <a:pt x="707" y="997"/>
                    </a:lnTo>
                    <a:lnTo>
                      <a:pt x="701" y="993"/>
                    </a:lnTo>
                    <a:lnTo>
                      <a:pt x="697" y="992"/>
                    </a:lnTo>
                    <a:lnTo>
                      <a:pt x="694" y="992"/>
                    </a:lnTo>
                    <a:lnTo>
                      <a:pt x="689" y="993"/>
                    </a:lnTo>
                    <a:lnTo>
                      <a:pt x="686" y="993"/>
                    </a:lnTo>
                    <a:lnTo>
                      <a:pt x="680" y="991"/>
                    </a:lnTo>
                    <a:lnTo>
                      <a:pt x="674" y="986"/>
                    </a:lnTo>
                    <a:lnTo>
                      <a:pt x="662" y="987"/>
                    </a:lnTo>
                    <a:lnTo>
                      <a:pt x="653" y="989"/>
                    </a:lnTo>
                    <a:lnTo>
                      <a:pt x="643" y="991"/>
                    </a:lnTo>
                    <a:lnTo>
                      <a:pt x="627" y="992"/>
                    </a:lnTo>
                    <a:lnTo>
                      <a:pt x="618" y="991"/>
                    </a:lnTo>
                    <a:lnTo>
                      <a:pt x="611" y="988"/>
                    </a:lnTo>
                    <a:lnTo>
                      <a:pt x="608" y="987"/>
                    </a:lnTo>
                    <a:lnTo>
                      <a:pt x="605" y="984"/>
                    </a:lnTo>
                    <a:lnTo>
                      <a:pt x="603" y="982"/>
                    </a:lnTo>
                    <a:lnTo>
                      <a:pt x="600" y="979"/>
                    </a:lnTo>
                    <a:lnTo>
                      <a:pt x="597" y="971"/>
                    </a:lnTo>
                    <a:lnTo>
                      <a:pt x="596" y="963"/>
                    </a:lnTo>
                    <a:lnTo>
                      <a:pt x="595" y="953"/>
                    </a:lnTo>
                    <a:lnTo>
                      <a:pt x="594" y="942"/>
                    </a:lnTo>
                    <a:lnTo>
                      <a:pt x="593" y="933"/>
                    </a:lnTo>
                    <a:lnTo>
                      <a:pt x="590" y="925"/>
                    </a:lnTo>
                    <a:lnTo>
                      <a:pt x="587" y="916"/>
                    </a:lnTo>
                    <a:lnTo>
                      <a:pt x="584" y="908"/>
                    </a:lnTo>
                    <a:lnTo>
                      <a:pt x="581" y="900"/>
                    </a:lnTo>
                    <a:lnTo>
                      <a:pt x="577" y="892"/>
                    </a:lnTo>
                    <a:lnTo>
                      <a:pt x="575" y="884"/>
                    </a:lnTo>
                    <a:lnTo>
                      <a:pt x="574" y="875"/>
                    </a:lnTo>
                    <a:lnTo>
                      <a:pt x="575" y="870"/>
                    </a:lnTo>
                    <a:lnTo>
                      <a:pt x="577" y="866"/>
                    </a:lnTo>
                    <a:lnTo>
                      <a:pt x="581" y="860"/>
                    </a:lnTo>
                    <a:lnTo>
                      <a:pt x="584" y="856"/>
                    </a:lnTo>
                    <a:lnTo>
                      <a:pt x="587" y="851"/>
                    </a:lnTo>
                    <a:lnTo>
                      <a:pt x="590" y="846"/>
                    </a:lnTo>
                    <a:lnTo>
                      <a:pt x="593" y="842"/>
                    </a:lnTo>
                    <a:lnTo>
                      <a:pt x="594" y="837"/>
                    </a:lnTo>
                    <a:lnTo>
                      <a:pt x="593" y="825"/>
                    </a:lnTo>
                    <a:lnTo>
                      <a:pt x="589" y="809"/>
                    </a:lnTo>
                    <a:lnTo>
                      <a:pt x="588" y="798"/>
                    </a:lnTo>
                    <a:lnTo>
                      <a:pt x="588" y="789"/>
                    </a:lnTo>
                    <a:lnTo>
                      <a:pt x="590" y="779"/>
                    </a:lnTo>
                    <a:lnTo>
                      <a:pt x="594" y="770"/>
                    </a:lnTo>
                    <a:lnTo>
                      <a:pt x="571" y="766"/>
                    </a:lnTo>
                    <a:lnTo>
                      <a:pt x="521" y="759"/>
                    </a:lnTo>
                    <a:lnTo>
                      <a:pt x="494" y="756"/>
                    </a:lnTo>
                    <a:lnTo>
                      <a:pt x="471" y="755"/>
                    </a:lnTo>
                    <a:lnTo>
                      <a:pt x="461" y="754"/>
                    </a:lnTo>
                    <a:lnTo>
                      <a:pt x="454" y="755"/>
                    </a:lnTo>
                    <a:lnTo>
                      <a:pt x="450" y="756"/>
                    </a:lnTo>
                    <a:lnTo>
                      <a:pt x="448" y="758"/>
                    </a:lnTo>
                    <a:lnTo>
                      <a:pt x="448" y="762"/>
                    </a:lnTo>
                    <a:lnTo>
                      <a:pt x="448" y="770"/>
                    </a:lnTo>
                    <a:lnTo>
                      <a:pt x="447" y="775"/>
                    </a:lnTo>
                    <a:lnTo>
                      <a:pt x="446" y="780"/>
                    </a:lnTo>
                    <a:lnTo>
                      <a:pt x="443" y="785"/>
                    </a:lnTo>
                    <a:lnTo>
                      <a:pt x="440" y="790"/>
                    </a:lnTo>
                    <a:lnTo>
                      <a:pt x="437" y="796"/>
                    </a:lnTo>
                    <a:lnTo>
                      <a:pt x="431" y="801"/>
                    </a:lnTo>
                    <a:lnTo>
                      <a:pt x="425" y="806"/>
                    </a:lnTo>
                    <a:lnTo>
                      <a:pt x="417" y="811"/>
                    </a:lnTo>
                    <a:lnTo>
                      <a:pt x="407" y="814"/>
                    </a:lnTo>
                    <a:lnTo>
                      <a:pt x="396" y="817"/>
                    </a:lnTo>
                    <a:lnTo>
                      <a:pt x="383" y="819"/>
                    </a:lnTo>
                    <a:lnTo>
                      <a:pt x="369" y="819"/>
                    </a:lnTo>
                    <a:lnTo>
                      <a:pt x="362" y="818"/>
                    </a:lnTo>
                    <a:lnTo>
                      <a:pt x="355" y="816"/>
                    </a:lnTo>
                    <a:lnTo>
                      <a:pt x="349" y="811"/>
                    </a:lnTo>
                    <a:lnTo>
                      <a:pt x="342" y="804"/>
                    </a:lnTo>
                    <a:lnTo>
                      <a:pt x="337" y="797"/>
                    </a:lnTo>
                    <a:lnTo>
                      <a:pt x="330" y="789"/>
                    </a:lnTo>
                    <a:lnTo>
                      <a:pt x="325" y="780"/>
                    </a:lnTo>
                    <a:lnTo>
                      <a:pt x="319" y="771"/>
                    </a:lnTo>
                    <a:lnTo>
                      <a:pt x="309" y="749"/>
                    </a:lnTo>
                    <a:lnTo>
                      <a:pt x="302" y="728"/>
                    </a:lnTo>
                    <a:lnTo>
                      <a:pt x="298" y="718"/>
                    </a:lnTo>
                    <a:lnTo>
                      <a:pt x="297" y="708"/>
                    </a:lnTo>
                    <a:lnTo>
                      <a:pt x="295" y="699"/>
                    </a:lnTo>
                    <a:lnTo>
                      <a:pt x="295" y="689"/>
                    </a:lnTo>
                    <a:lnTo>
                      <a:pt x="3" y="689"/>
                    </a:lnTo>
                    <a:lnTo>
                      <a:pt x="2" y="683"/>
                    </a:lnTo>
                    <a:lnTo>
                      <a:pt x="0" y="680"/>
                    </a:lnTo>
                    <a:lnTo>
                      <a:pt x="0" y="677"/>
                    </a:lnTo>
                    <a:lnTo>
                      <a:pt x="3" y="671"/>
                    </a:lnTo>
                    <a:lnTo>
                      <a:pt x="10" y="669"/>
                    </a:lnTo>
                    <a:lnTo>
                      <a:pt x="16" y="668"/>
                    </a:lnTo>
                    <a:lnTo>
                      <a:pt x="23" y="668"/>
                    </a:lnTo>
                    <a:lnTo>
                      <a:pt x="28" y="668"/>
                    </a:lnTo>
                    <a:lnTo>
                      <a:pt x="34" y="668"/>
                    </a:lnTo>
                    <a:lnTo>
                      <a:pt x="39" y="668"/>
                    </a:lnTo>
                    <a:lnTo>
                      <a:pt x="45" y="667"/>
                    </a:lnTo>
                    <a:lnTo>
                      <a:pt x="49" y="665"/>
                    </a:lnTo>
                    <a:lnTo>
                      <a:pt x="49" y="640"/>
                    </a:lnTo>
                    <a:lnTo>
                      <a:pt x="36" y="640"/>
                    </a:lnTo>
                    <a:lnTo>
                      <a:pt x="27" y="640"/>
                    </a:lnTo>
                    <a:lnTo>
                      <a:pt x="18" y="640"/>
                    </a:lnTo>
                    <a:lnTo>
                      <a:pt x="10" y="640"/>
                    </a:lnTo>
                    <a:lnTo>
                      <a:pt x="26" y="631"/>
                    </a:lnTo>
                    <a:lnTo>
                      <a:pt x="39" y="622"/>
                    </a:lnTo>
                    <a:lnTo>
                      <a:pt x="46" y="619"/>
                    </a:lnTo>
                    <a:lnTo>
                      <a:pt x="52" y="615"/>
                    </a:lnTo>
                    <a:lnTo>
                      <a:pt x="60" y="612"/>
                    </a:lnTo>
                    <a:lnTo>
                      <a:pt x="69" y="610"/>
                    </a:lnTo>
                    <a:lnTo>
                      <a:pt x="72" y="613"/>
                    </a:lnTo>
                    <a:lnTo>
                      <a:pt x="75" y="615"/>
                    </a:lnTo>
                    <a:lnTo>
                      <a:pt x="79" y="616"/>
                    </a:lnTo>
                    <a:lnTo>
                      <a:pt x="82" y="617"/>
                    </a:lnTo>
                    <a:lnTo>
                      <a:pt x="91" y="618"/>
                    </a:lnTo>
                    <a:lnTo>
                      <a:pt x="101" y="616"/>
                    </a:lnTo>
                    <a:lnTo>
                      <a:pt x="122" y="612"/>
                    </a:lnTo>
                    <a:lnTo>
                      <a:pt x="142" y="610"/>
                    </a:lnTo>
                    <a:lnTo>
                      <a:pt x="145" y="614"/>
                    </a:lnTo>
                    <a:lnTo>
                      <a:pt x="148" y="617"/>
                    </a:lnTo>
                    <a:lnTo>
                      <a:pt x="152" y="619"/>
                    </a:lnTo>
                    <a:lnTo>
                      <a:pt x="157" y="620"/>
                    </a:lnTo>
                    <a:lnTo>
                      <a:pt x="166" y="621"/>
                    </a:lnTo>
                    <a:lnTo>
                      <a:pt x="175" y="622"/>
                    </a:lnTo>
                    <a:lnTo>
                      <a:pt x="179" y="621"/>
                    </a:lnTo>
                    <a:lnTo>
                      <a:pt x="183" y="620"/>
                    </a:lnTo>
                    <a:lnTo>
                      <a:pt x="186" y="618"/>
                    </a:lnTo>
                    <a:lnTo>
                      <a:pt x="190" y="616"/>
                    </a:lnTo>
                    <a:lnTo>
                      <a:pt x="195" y="610"/>
                    </a:lnTo>
                    <a:lnTo>
                      <a:pt x="201" y="603"/>
                    </a:lnTo>
                    <a:lnTo>
                      <a:pt x="209" y="588"/>
                    </a:lnTo>
                    <a:lnTo>
                      <a:pt x="215" y="578"/>
                    </a:lnTo>
                    <a:lnTo>
                      <a:pt x="220" y="574"/>
                    </a:lnTo>
                    <a:lnTo>
                      <a:pt x="225" y="571"/>
                    </a:lnTo>
                    <a:lnTo>
                      <a:pt x="230" y="569"/>
                    </a:lnTo>
                    <a:lnTo>
                      <a:pt x="236" y="567"/>
                    </a:lnTo>
                    <a:lnTo>
                      <a:pt x="246" y="564"/>
                    </a:lnTo>
                    <a:lnTo>
                      <a:pt x="256" y="560"/>
                    </a:lnTo>
                    <a:lnTo>
                      <a:pt x="258" y="558"/>
                    </a:lnTo>
                    <a:lnTo>
                      <a:pt x="260" y="555"/>
                    </a:lnTo>
                    <a:lnTo>
                      <a:pt x="262" y="550"/>
                    </a:lnTo>
                    <a:lnTo>
                      <a:pt x="264" y="544"/>
                    </a:lnTo>
                    <a:lnTo>
                      <a:pt x="268" y="528"/>
                    </a:lnTo>
                    <a:lnTo>
                      <a:pt x="270" y="511"/>
                    </a:lnTo>
                    <a:lnTo>
                      <a:pt x="274" y="477"/>
                    </a:lnTo>
                    <a:lnTo>
                      <a:pt x="275" y="449"/>
                    </a:lnTo>
                    <a:lnTo>
                      <a:pt x="281" y="440"/>
                    </a:lnTo>
                    <a:lnTo>
                      <a:pt x="287" y="432"/>
                    </a:lnTo>
                    <a:lnTo>
                      <a:pt x="294" y="425"/>
                    </a:lnTo>
                    <a:lnTo>
                      <a:pt x="302" y="416"/>
                    </a:lnTo>
                    <a:lnTo>
                      <a:pt x="316" y="404"/>
                    </a:lnTo>
                    <a:lnTo>
                      <a:pt x="328" y="394"/>
                    </a:lnTo>
                    <a:lnTo>
                      <a:pt x="338" y="382"/>
                    </a:lnTo>
                    <a:lnTo>
                      <a:pt x="346" y="370"/>
                    </a:lnTo>
                    <a:lnTo>
                      <a:pt x="352" y="357"/>
                    </a:lnTo>
                    <a:lnTo>
                      <a:pt x="357" y="345"/>
                    </a:lnTo>
                    <a:lnTo>
                      <a:pt x="361" y="334"/>
                    </a:lnTo>
                    <a:lnTo>
                      <a:pt x="364" y="323"/>
                    </a:lnTo>
                    <a:lnTo>
                      <a:pt x="366" y="312"/>
                    </a:lnTo>
                    <a:lnTo>
                      <a:pt x="369" y="299"/>
                    </a:lnTo>
                    <a:lnTo>
                      <a:pt x="370" y="276"/>
                    </a:lnTo>
                    <a:lnTo>
                      <a:pt x="370" y="251"/>
                    </a:lnTo>
                    <a:lnTo>
                      <a:pt x="369" y="225"/>
                    </a:lnTo>
                    <a:lnTo>
                      <a:pt x="369" y="197"/>
                    </a:lnTo>
                    <a:lnTo>
                      <a:pt x="369" y="191"/>
                    </a:lnTo>
                    <a:lnTo>
                      <a:pt x="369" y="187"/>
                    </a:lnTo>
                    <a:lnTo>
                      <a:pt x="371" y="183"/>
                    </a:lnTo>
                    <a:lnTo>
                      <a:pt x="372" y="180"/>
                    </a:lnTo>
                    <a:lnTo>
                      <a:pt x="375" y="174"/>
                    </a:lnTo>
                    <a:lnTo>
                      <a:pt x="380" y="167"/>
                    </a:lnTo>
                    <a:lnTo>
                      <a:pt x="383" y="160"/>
                    </a:lnTo>
                    <a:lnTo>
                      <a:pt x="385" y="149"/>
                    </a:lnTo>
                    <a:lnTo>
                      <a:pt x="385" y="140"/>
                    </a:lnTo>
                    <a:lnTo>
                      <a:pt x="385" y="132"/>
                    </a:lnTo>
                    <a:lnTo>
                      <a:pt x="383" y="122"/>
                    </a:lnTo>
                    <a:lnTo>
                      <a:pt x="382" y="110"/>
                    </a:lnTo>
                    <a:lnTo>
                      <a:pt x="397" y="87"/>
                    </a:lnTo>
                    <a:lnTo>
                      <a:pt x="417" y="58"/>
                    </a:lnTo>
                    <a:lnTo>
                      <a:pt x="422" y="51"/>
                    </a:lnTo>
                    <a:lnTo>
                      <a:pt x="428" y="45"/>
                    </a:lnTo>
                    <a:lnTo>
                      <a:pt x="435" y="40"/>
                    </a:lnTo>
                    <a:lnTo>
                      <a:pt x="440" y="35"/>
                    </a:lnTo>
                    <a:lnTo>
                      <a:pt x="447" y="31"/>
                    </a:lnTo>
                    <a:lnTo>
                      <a:pt x="453" y="26"/>
                    </a:lnTo>
                    <a:lnTo>
                      <a:pt x="461" y="24"/>
                    </a:lnTo>
                    <a:lnTo>
                      <a:pt x="467" y="24"/>
                    </a:lnTo>
                    <a:lnTo>
                      <a:pt x="476" y="24"/>
                    </a:lnTo>
                    <a:lnTo>
                      <a:pt x="484" y="26"/>
                    </a:lnTo>
                    <a:lnTo>
                      <a:pt x="491" y="30"/>
                    </a:lnTo>
                    <a:lnTo>
                      <a:pt x="497" y="33"/>
                    </a:lnTo>
                    <a:lnTo>
                      <a:pt x="509" y="42"/>
                    </a:lnTo>
                    <a:lnTo>
                      <a:pt x="521" y="52"/>
                    </a:lnTo>
                    <a:lnTo>
                      <a:pt x="532" y="62"/>
                    </a:lnTo>
                    <a:lnTo>
                      <a:pt x="544" y="71"/>
                    </a:lnTo>
                    <a:lnTo>
                      <a:pt x="551" y="74"/>
                    </a:lnTo>
                    <a:lnTo>
                      <a:pt x="558" y="77"/>
                    </a:lnTo>
                    <a:lnTo>
                      <a:pt x="565" y="79"/>
                    </a:lnTo>
                    <a:lnTo>
                      <a:pt x="574" y="79"/>
                    </a:lnTo>
                    <a:lnTo>
                      <a:pt x="587" y="78"/>
                    </a:lnTo>
                    <a:lnTo>
                      <a:pt x="599" y="76"/>
                    </a:lnTo>
                    <a:lnTo>
                      <a:pt x="614" y="74"/>
                    </a:lnTo>
                    <a:lnTo>
                      <a:pt x="634" y="73"/>
                    </a:lnTo>
                    <a:lnTo>
                      <a:pt x="637" y="73"/>
                    </a:lnTo>
                    <a:lnTo>
                      <a:pt x="639" y="71"/>
                    </a:lnTo>
                    <a:lnTo>
                      <a:pt x="641" y="69"/>
                    </a:lnTo>
                    <a:lnTo>
                      <a:pt x="644" y="66"/>
                    </a:lnTo>
                    <a:lnTo>
                      <a:pt x="649" y="60"/>
                    </a:lnTo>
                    <a:lnTo>
                      <a:pt x="654" y="55"/>
                    </a:lnTo>
                    <a:lnTo>
                      <a:pt x="662" y="49"/>
                    </a:lnTo>
                    <a:lnTo>
                      <a:pt x="670" y="44"/>
                    </a:lnTo>
                    <a:lnTo>
                      <a:pt x="677" y="40"/>
                    </a:lnTo>
                    <a:lnTo>
                      <a:pt x="685" y="38"/>
                    </a:lnTo>
                    <a:lnTo>
                      <a:pt x="693" y="36"/>
                    </a:lnTo>
                    <a:lnTo>
                      <a:pt x="701" y="35"/>
                    </a:lnTo>
                    <a:lnTo>
                      <a:pt x="709" y="34"/>
                    </a:lnTo>
                    <a:lnTo>
                      <a:pt x="718" y="34"/>
                    </a:lnTo>
                    <a:lnTo>
                      <a:pt x="734" y="34"/>
                    </a:lnTo>
                    <a:lnTo>
                      <a:pt x="752" y="35"/>
                    </a:lnTo>
                    <a:lnTo>
                      <a:pt x="761" y="34"/>
                    </a:lnTo>
                    <a:lnTo>
                      <a:pt x="769" y="34"/>
                    </a:lnTo>
                    <a:lnTo>
                      <a:pt x="778" y="33"/>
                    </a:lnTo>
                    <a:lnTo>
                      <a:pt x="787" y="31"/>
                    </a:lnTo>
                    <a:lnTo>
                      <a:pt x="790" y="24"/>
                    </a:lnTo>
                    <a:lnTo>
                      <a:pt x="795" y="17"/>
                    </a:lnTo>
                    <a:lnTo>
                      <a:pt x="796" y="13"/>
                    </a:lnTo>
                    <a:lnTo>
                      <a:pt x="799" y="9"/>
                    </a:lnTo>
                    <a:lnTo>
                      <a:pt x="802" y="4"/>
                    </a:lnTo>
                    <a:lnTo>
                      <a:pt x="807" y="0"/>
                    </a:lnTo>
                    <a:lnTo>
                      <a:pt x="814" y="0"/>
                    </a:lnTo>
                    <a:lnTo>
                      <a:pt x="827" y="0"/>
                    </a:lnTo>
                    <a:lnTo>
                      <a:pt x="828" y="8"/>
                    </a:lnTo>
                    <a:lnTo>
                      <a:pt x="830" y="14"/>
                    </a:lnTo>
                    <a:lnTo>
                      <a:pt x="833" y="18"/>
                    </a:lnTo>
                    <a:lnTo>
                      <a:pt x="839" y="21"/>
                    </a:lnTo>
                    <a:lnTo>
                      <a:pt x="843" y="22"/>
                    </a:lnTo>
                    <a:lnTo>
                      <a:pt x="848" y="23"/>
                    </a:lnTo>
                    <a:lnTo>
                      <a:pt x="854" y="24"/>
                    </a:lnTo>
                    <a:lnTo>
                      <a:pt x="859" y="24"/>
                    </a:lnTo>
                    <a:lnTo>
                      <a:pt x="869" y="24"/>
                    </a:lnTo>
                    <a:lnTo>
                      <a:pt x="879" y="24"/>
                    </a:lnTo>
                    <a:lnTo>
                      <a:pt x="887" y="24"/>
                    </a:lnTo>
                    <a:lnTo>
                      <a:pt x="894" y="2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8" name="Freeform 249">
                <a:extLst>
                  <a:ext uri="{FF2B5EF4-FFF2-40B4-BE49-F238E27FC236}">
                    <a16:creationId xmlns:a16="http://schemas.microsoft.com/office/drawing/2014/main" id="{AC907E88-06D7-4310-BA01-E57ABCFB9854}"/>
                  </a:ext>
                </a:extLst>
              </p:cNvPr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auto">
              <a:xfrm>
                <a:off x="4290228" y="4426232"/>
                <a:ext cx="66963" cy="63287"/>
              </a:xfrm>
              <a:custGeom>
                <a:avLst/>
                <a:gdLst>
                  <a:gd name="T0" fmla="*/ 23709417 w 125"/>
                  <a:gd name="T1" fmla="*/ 0 h 81"/>
                  <a:gd name="T2" fmla="*/ 23906773 w 125"/>
                  <a:gd name="T3" fmla="*/ 12704720 h 81"/>
                  <a:gd name="T4" fmla="*/ 24499731 w 125"/>
                  <a:gd name="T5" fmla="*/ 21644875 h 81"/>
                  <a:gd name="T6" fmla="*/ 24697087 w 125"/>
                  <a:gd name="T7" fmla="*/ 24938869 h 81"/>
                  <a:gd name="T8" fmla="*/ 24697087 w 125"/>
                  <a:gd name="T9" fmla="*/ 27762293 h 81"/>
                  <a:gd name="T10" fmla="*/ 24697087 w 125"/>
                  <a:gd name="T11" fmla="*/ 30585717 h 81"/>
                  <a:gd name="T12" fmla="*/ 24301930 w 125"/>
                  <a:gd name="T13" fmla="*/ 32467313 h 81"/>
                  <a:gd name="T14" fmla="*/ 23511616 w 125"/>
                  <a:gd name="T15" fmla="*/ 33879025 h 81"/>
                  <a:gd name="T16" fmla="*/ 22128789 w 125"/>
                  <a:gd name="T17" fmla="*/ 34820166 h 81"/>
                  <a:gd name="T18" fmla="*/ 20350360 w 125"/>
                  <a:gd name="T19" fmla="*/ 35761307 h 81"/>
                  <a:gd name="T20" fmla="*/ 17979419 w 125"/>
                  <a:gd name="T21" fmla="*/ 36231878 h 81"/>
                  <a:gd name="T22" fmla="*/ 11261751 w 125"/>
                  <a:gd name="T23" fmla="*/ 37173019 h 81"/>
                  <a:gd name="T24" fmla="*/ 1382827 w 125"/>
                  <a:gd name="T25" fmla="*/ 38114160 h 81"/>
                  <a:gd name="T26" fmla="*/ 987670 w 125"/>
                  <a:gd name="T27" fmla="*/ 37173019 h 81"/>
                  <a:gd name="T28" fmla="*/ 592513 w 125"/>
                  <a:gd name="T29" fmla="*/ 33879025 h 81"/>
                  <a:gd name="T30" fmla="*/ 197356 w 125"/>
                  <a:gd name="T31" fmla="*/ 27762293 h 81"/>
                  <a:gd name="T32" fmla="*/ 0 w 125"/>
                  <a:gd name="T33" fmla="*/ 20233164 h 81"/>
                  <a:gd name="T34" fmla="*/ 0 w 125"/>
                  <a:gd name="T35" fmla="*/ 17410426 h 81"/>
                  <a:gd name="T36" fmla="*/ 197356 w 125"/>
                  <a:gd name="T37" fmla="*/ 14587002 h 81"/>
                  <a:gd name="T38" fmla="*/ 395157 w 125"/>
                  <a:gd name="T39" fmla="*/ 11763579 h 81"/>
                  <a:gd name="T40" fmla="*/ 790314 w 125"/>
                  <a:gd name="T41" fmla="*/ 9410726 h 81"/>
                  <a:gd name="T42" fmla="*/ 1580628 w 125"/>
                  <a:gd name="T43" fmla="*/ 7057873 h 81"/>
                  <a:gd name="T44" fmla="*/ 2173141 w 125"/>
                  <a:gd name="T45" fmla="*/ 4705706 h 81"/>
                  <a:gd name="T46" fmla="*/ 2766099 w 125"/>
                  <a:gd name="T47" fmla="*/ 2352853 h 81"/>
                  <a:gd name="T48" fmla="*/ 3951569 w 125"/>
                  <a:gd name="T49" fmla="*/ 0 h 81"/>
                  <a:gd name="T50" fmla="*/ 23709417 w 125"/>
                  <a:gd name="T51" fmla="*/ 0 h 81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25" h="81">
                    <a:moveTo>
                      <a:pt x="120" y="0"/>
                    </a:moveTo>
                    <a:lnTo>
                      <a:pt x="121" y="27"/>
                    </a:lnTo>
                    <a:lnTo>
                      <a:pt x="124" y="46"/>
                    </a:lnTo>
                    <a:lnTo>
                      <a:pt x="125" y="53"/>
                    </a:lnTo>
                    <a:lnTo>
                      <a:pt x="125" y="59"/>
                    </a:lnTo>
                    <a:lnTo>
                      <a:pt x="125" y="65"/>
                    </a:lnTo>
                    <a:lnTo>
                      <a:pt x="123" y="69"/>
                    </a:lnTo>
                    <a:lnTo>
                      <a:pt x="119" y="72"/>
                    </a:lnTo>
                    <a:lnTo>
                      <a:pt x="112" y="74"/>
                    </a:lnTo>
                    <a:lnTo>
                      <a:pt x="103" y="76"/>
                    </a:lnTo>
                    <a:lnTo>
                      <a:pt x="91" y="77"/>
                    </a:lnTo>
                    <a:lnTo>
                      <a:pt x="57" y="79"/>
                    </a:lnTo>
                    <a:lnTo>
                      <a:pt x="7" y="81"/>
                    </a:lnTo>
                    <a:lnTo>
                      <a:pt x="5" y="79"/>
                    </a:lnTo>
                    <a:lnTo>
                      <a:pt x="3" y="72"/>
                    </a:lnTo>
                    <a:lnTo>
                      <a:pt x="1" y="59"/>
                    </a:lnTo>
                    <a:lnTo>
                      <a:pt x="0" y="43"/>
                    </a:lnTo>
                    <a:lnTo>
                      <a:pt x="0" y="37"/>
                    </a:lnTo>
                    <a:lnTo>
                      <a:pt x="1" y="31"/>
                    </a:lnTo>
                    <a:lnTo>
                      <a:pt x="2" y="25"/>
                    </a:lnTo>
                    <a:lnTo>
                      <a:pt x="4" y="20"/>
                    </a:lnTo>
                    <a:lnTo>
                      <a:pt x="8" y="15"/>
                    </a:lnTo>
                    <a:lnTo>
                      <a:pt x="11" y="10"/>
                    </a:lnTo>
                    <a:lnTo>
                      <a:pt x="14" y="5"/>
                    </a:lnTo>
                    <a:lnTo>
                      <a:pt x="20" y="0"/>
                    </a:lnTo>
                    <a:lnTo>
                      <a:pt x="12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39" name="Freeform 250">
                <a:extLst>
                  <a:ext uri="{FF2B5EF4-FFF2-40B4-BE49-F238E27FC236}">
                    <a16:creationId xmlns:a16="http://schemas.microsoft.com/office/drawing/2014/main" id="{F27D29D5-A04A-469D-8905-CD5E60314BFC}"/>
                  </a:ext>
                </a:extLst>
              </p:cNvPr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auto">
              <a:xfrm>
                <a:off x="4270320" y="4426232"/>
                <a:ext cx="182793" cy="226779"/>
              </a:xfrm>
              <a:custGeom>
                <a:avLst/>
                <a:gdLst>
                  <a:gd name="T0" fmla="*/ 48285042 w 355"/>
                  <a:gd name="T1" fmla="*/ 4049927 h 388"/>
                  <a:gd name="T2" fmla="*/ 47363774 w 355"/>
                  <a:gd name="T3" fmla="*/ 9990236 h 388"/>
                  <a:gd name="T4" fmla="*/ 48653807 w 355"/>
                  <a:gd name="T5" fmla="*/ 13770480 h 388"/>
                  <a:gd name="T6" fmla="*/ 52155573 w 355"/>
                  <a:gd name="T7" fmla="*/ 16200228 h 388"/>
                  <a:gd name="T8" fmla="*/ 58789910 w 355"/>
                  <a:gd name="T9" fmla="*/ 14850252 h 388"/>
                  <a:gd name="T10" fmla="*/ 61185810 w 355"/>
                  <a:gd name="T11" fmla="*/ 15390139 h 388"/>
                  <a:gd name="T12" fmla="*/ 62660441 w 355"/>
                  <a:gd name="T13" fmla="*/ 18360293 h 388"/>
                  <a:gd name="T14" fmla="*/ 63581709 w 355"/>
                  <a:gd name="T15" fmla="*/ 22410740 h 388"/>
                  <a:gd name="T16" fmla="*/ 64687575 w 355"/>
                  <a:gd name="T17" fmla="*/ 25380375 h 388"/>
                  <a:gd name="T18" fmla="*/ 63581709 w 355"/>
                  <a:gd name="T19" fmla="*/ 29160618 h 388"/>
                  <a:gd name="T20" fmla="*/ 58974507 w 355"/>
                  <a:gd name="T21" fmla="*/ 36720586 h 388"/>
                  <a:gd name="T22" fmla="*/ 64134642 w 355"/>
                  <a:gd name="T23" fmla="*/ 47251228 h 388"/>
                  <a:gd name="T24" fmla="*/ 65424676 w 355"/>
                  <a:gd name="T25" fmla="*/ 54540993 h 388"/>
                  <a:gd name="T26" fmla="*/ 65055911 w 355"/>
                  <a:gd name="T27" fmla="*/ 59131326 h 388"/>
                  <a:gd name="T28" fmla="*/ 63581709 w 355"/>
                  <a:gd name="T29" fmla="*/ 68581676 h 388"/>
                  <a:gd name="T30" fmla="*/ 61369977 w 355"/>
                  <a:gd name="T31" fmla="*/ 73171489 h 388"/>
                  <a:gd name="T32" fmla="*/ 57499876 w 355"/>
                  <a:gd name="T33" fmla="*/ 75601757 h 388"/>
                  <a:gd name="T34" fmla="*/ 52708506 w 355"/>
                  <a:gd name="T35" fmla="*/ 76141644 h 388"/>
                  <a:gd name="T36" fmla="*/ 49759673 w 355"/>
                  <a:gd name="T37" fmla="*/ 76141644 h 388"/>
                  <a:gd name="T38" fmla="*/ 46442505 w 355"/>
                  <a:gd name="T39" fmla="*/ 71551830 h 388"/>
                  <a:gd name="T40" fmla="*/ 44230773 w 355"/>
                  <a:gd name="T41" fmla="*/ 69931651 h 388"/>
                  <a:gd name="T42" fmla="*/ 40729007 w 355"/>
                  <a:gd name="T43" fmla="*/ 72631603 h 388"/>
                  <a:gd name="T44" fmla="*/ 37780604 w 355"/>
                  <a:gd name="T45" fmla="*/ 75331554 h 388"/>
                  <a:gd name="T46" fmla="*/ 35753040 w 355"/>
                  <a:gd name="T47" fmla="*/ 76951733 h 388"/>
                  <a:gd name="T48" fmla="*/ 34094670 w 355"/>
                  <a:gd name="T49" fmla="*/ 80461774 h 388"/>
                  <a:gd name="T50" fmla="*/ 34463006 w 355"/>
                  <a:gd name="T51" fmla="*/ 86671766 h 388"/>
                  <a:gd name="T52" fmla="*/ 38148940 w 355"/>
                  <a:gd name="T53" fmla="*/ 96662002 h 388"/>
                  <a:gd name="T54" fmla="*/ 35937637 w 355"/>
                  <a:gd name="T55" fmla="*/ 95312026 h 388"/>
                  <a:gd name="T56" fmla="*/ 32620039 w 355"/>
                  <a:gd name="T57" fmla="*/ 95852432 h 388"/>
                  <a:gd name="T58" fmla="*/ 29855804 w 355"/>
                  <a:gd name="T59" fmla="*/ 98552384 h 388"/>
                  <a:gd name="T60" fmla="*/ 26906971 w 355"/>
                  <a:gd name="T61" fmla="*/ 104762376 h 388"/>
                  <a:gd name="T62" fmla="*/ 22668105 w 355"/>
                  <a:gd name="T63" fmla="*/ 99902359 h 388"/>
                  <a:gd name="T64" fmla="*/ 20825138 w 355"/>
                  <a:gd name="T65" fmla="*/ 96662002 h 388"/>
                  <a:gd name="T66" fmla="*/ 17692137 w 355"/>
                  <a:gd name="T67" fmla="*/ 87481855 h 388"/>
                  <a:gd name="T68" fmla="*/ 9214834 w 355"/>
                  <a:gd name="T69" fmla="*/ 75601757 h 388"/>
                  <a:gd name="T70" fmla="*/ 4054699 w 355"/>
                  <a:gd name="T71" fmla="*/ 68581676 h 388"/>
                  <a:gd name="T72" fmla="*/ 921269 w 355"/>
                  <a:gd name="T73" fmla="*/ 60211619 h 388"/>
                  <a:gd name="T74" fmla="*/ 184168 w 355"/>
                  <a:gd name="T75" fmla="*/ 50491066 h 388"/>
                  <a:gd name="T76" fmla="*/ 2027135 w 355"/>
                  <a:gd name="T77" fmla="*/ 43741187 h 388"/>
                  <a:gd name="T78" fmla="*/ 7556035 w 355"/>
                  <a:gd name="T79" fmla="*/ 36180700 h 388"/>
                  <a:gd name="T80" fmla="*/ 9951935 w 355"/>
                  <a:gd name="T81" fmla="*/ 31320683 h 388"/>
                  <a:gd name="T82" fmla="*/ 10320700 w 355"/>
                  <a:gd name="T83" fmla="*/ 24570805 h 388"/>
                  <a:gd name="T84" fmla="*/ 19903869 w 355"/>
                  <a:gd name="T85" fmla="*/ 22410740 h 388"/>
                  <a:gd name="T86" fmla="*/ 28749938 w 355"/>
                  <a:gd name="T87" fmla="*/ 21600651 h 388"/>
                  <a:gd name="T88" fmla="*/ 31698771 w 355"/>
                  <a:gd name="T89" fmla="*/ 19710269 h 388"/>
                  <a:gd name="T90" fmla="*/ 32620039 w 355"/>
                  <a:gd name="T91" fmla="*/ 17010317 h 388"/>
                  <a:gd name="T92" fmla="*/ 32067106 w 355"/>
                  <a:gd name="T93" fmla="*/ 11070009 h 388"/>
                  <a:gd name="T94" fmla="*/ 30777073 w 355"/>
                  <a:gd name="T95" fmla="*/ 3239838 h 38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55" h="388">
                    <a:moveTo>
                      <a:pt x="266" y="7"/>
                    </a:moveTo>
                    <a:lnTo>
                      <a:pt x="265" y="9"/>
                    </a:lnTo>
                    <a:lnTo>
                      <a:pt x="262" y="15"/>
                    </a:lnTo>
                    <a:lnTo>
                      <a:pt x="259" y="23"/>
                    </a:lnTo>
                    <a:lnTo>
                      <a:pt x="257" y="32"/>
                    </a:lnTo>
                    <a:lnTo>
                      <a:pt x="257" y="37"/>
                    </a:lnTo>
                    <a:lnTo>
                      <a:pt x="258" y="42"/>
                    </a:lnTo>
                    <a:lnTo>
                      <a:pt x="261" y="46"/>
                    </a:lnTo>
                    <a:lnTo>
                      <a:pt x="264" y="51"/>
                    </a:lnTo>
                    <a:lnTo>
                      <a:pt x="268" y="54"/>
                    </a:lnTo>
                    <a:lnTo>
                      <a:pt x="275" y="58"/>
                    </a:lnTo>
                    <a:lnTo>
                      <a:pt x="283" y="60"/>
                    </a:lnTo>
                    <a:lnTo>
                      <a:pt x="294" y="63"/>
                    </a:lnTo>
                    <a:lnTo>
                      <a:pt x="301" y="58"/>
                    </a:lnTo>
                    <a:lnTo>
                      <a:pt x="319" y="55"/>
                    </a:lnTo>
                    <a:lnTo>
                      <a:pt x="323" y="55"/>
                    </a:lnTo>
                    <a:lnTo>
                      <a:pt x="328" y="55"/>
                    </a:lnTo>
                    <a:lnTo>
                      <a:pt x="332" y="57"/>
                    </a:lnTo>
                    <a:lnTo>
                      <a:pt x="335" y="59"/>
                    </a:lnTo>
                    <a:lnTo>
                      <a:pt x="337" y="63"/>
                    </a:lnTo>
                    <a:lnTo>
                      <a:pt x="340" y="68"/>
                    </a:lnTo>
                    <a:lnTo>
                      <a:pt x="340" y="74"/>
                    </a:lnTo>
                    <a:lnTo>
                      <a:pt x="340" y="81"/>
                    </a:lnTo>
                    <a:lnTo>
                      <a:pt x="345" y="83"/>
                    </a:lnTo>
                    <a:lnTo>
                      <a:pt x="348" y="87"/>
                    </a:lnTo>
                    <a:lnTo>
                      <a:pt x="350" y="90"/>
                    </a:lnTo>
                    <a:lnTo>
                      <a:pt x="351" y="94"/>
                    </a:lnTo>
                    <a:lnTo>
                      <a:pt x="350" y="99"/>
                    </a:lnTo>
                    <a:lnTo>
                      <a:pt x="347" y="103"/>
                    </a:lnTo>
                    <a:lnTo>
                      <a:pt x="345" y="108"/>
                    </a:lnTo>
                    <a:lnTo>
                      <a:pt x="342" y="113"/>
                    </a:lnTo>
                    <a:lnTo>
                      <a:pt x="328" y="129"/>
                    </a:lnTo>
                    <a:lnTo>
                      <a:pt x="320" y="136"/>
                    </a:lnTo>
                    <a:lnTo>
                      <a:pt x="326" y="143"/>
                    </a:lnTo>
                    <a:lnTo>
                      <a:pt x="341" y="162"/>
                    </a:lnTo>
                    <a:lnTo>
                      <a:pt x="348" y="175"/>
                    </a:lnTo>
                    <a:lnTo>
                      <a:pt x="353" y="188"/>
                    </a:lnTo>
                    <a:lnTo>
                      <a:pt x="355" y="195"/>
                    </a:lnTo>
                    <a:lnTo>
                      <a:pt x="355" y="202"/>
                    </a:lnTo>
                    <a:lnTo>
                      <a:pt x="355" y="209"/>
                    </a:lnTo>
                    <a:lnTo>
                      <a:pt x="353" y="216"/>
                    </a:lnTo>
                    <a:lnTo>
                      <a:pt x="353" y="219"/>
                    </a:lnTo>
                    <a:lnTo>
                      <a:pt x="352" y="228"/>
                    </a:lnTo>
                    <a:lnTo>
                      <a:pt x="350" y="241"/>
                    </a:lnTo>
                    <a:lnTo>
                      <a:pt x="345" y="254"/>
                    </a:lnTo>
                    <a:lnTo>
                      <a:pt x="342" y="260"/>
                    </a:lnTo>
                    <a:lnTo>
                      <a:pt x="339" y="266"/>
                    </a:lnTo>
                    <a:lnTo>
                      <a:pt x="333" y="271"/>
                    </a:lnTo>
                    <a:lnTo>
                      <a:pt x="328" y="276"/>
                    </a:lnTo>
                    <a:lnTo>
                      <a:pt x="321" y="279"/>
                    </a:lnTo>
                    <a:lnTo>
                      <a:pt x="312" y="280"/>
                    </a:lnTo>
                    <a:lnTo>
                      <a:pt x="303" y="280"/>
                    </a:lnTo>
                    <a:lnTo>
                      <a:pt x="294" y="277"/>
                    </a:lnTo>
                    <a:lnTo>
                      <a:pt x="286" y="282"/>
                    </a:lnTo>
                    <a:lnTo>
                      <a:pt x="280" y="285"/>
                    </a:lnTo>
                    <a:lnTo>
                      <a:pt x="275" y="285"/>
                    </a:lnTo>
                    <a:lnTo>
                      <a:pt x="270" y="282"/>
                    </a:lnTo>
                    <a:lnTo>
                      <a:pt x="263" y="276"/>
                    </a:lnTo>
                    <a:lnTo>
                      <a:pt x="255" y="268"/>
                    </a:lnTo>
                    <a:lnTo>
                      <a:pt x="252" y="265"/>
                    </a:lnTo>
                    <a:lnTo>
                      <a:pt x="249" y="261"/>
                    </a:lnTo>
                    <a:lnTo>
                      <a:pt x="244" y="259"/>
                    </a:lnTo>
                    <a:lnTo>
                      <a:pt x="240" y="259"/>
                    </a:lnTo>
                    <a:lnTo>
                      <a:pt x="234" y="260"/>
                    </a:lnTo>
                    <a:lnTo>
                      <a:pt x="229" y="263"/>
                    </a:lnTo>
                    <a:lnTo>
                      <a:pt x="221" y="269"/>
                    </a:lnTo>
                    <a:lnTo>
                      <a:pt x="213" y="277"/>
                    </a:lnTo>
                    <a:lnTo>
                      <a:pt x="211" y="278"/>
                    </a:lnTo>
                    <a:lnTo>
                      <a:pt x="205" y="279"/>
                    </a:lnTo>
                    <a:lnTo>
                      <a:pt x="201" y="280"/>
                    </a:lnTo>
                    <a:lnTo>
                      <a:pt x="197" y="282"/>
                    </a:lnTo>
                    <a:lnTo>
                      <a:pt x="194" y="285"/>
                    </a:lnTo>
                    <a:lnTo>
                      <a:pt x="190" y="288"/>
                    </a:lnTo>
                    <a:lnTo>
                      <a:pt x="187" y="292"/>
                    </a:lnTo>
                    <a:lnTo>
                      <a:pt x="185" y="298"/>
                    </a:lnTo>
                    <a:lnTo>
                      <a:pt x="185" y="304"/>
                    </a:lnTo>
                    <a:lnTo>
                      <a:pt x="185" y="312"/>
                    </a:lnTo>
                    <a:lnTo>
                      <a:pt x="187" y="321"/>
                    </a:lnTo>
                    <a:lnTo>
                      <a:pt x="191" y="331"/>
                    </a:lnTo>
                    <a:lnTo>
                      <a:pt x="198" y="344"/>
                    </a:lnTo>
                    <a:lnTo>
                      <a:pt x="207" y="358"/>
                    </a:lnTo>
                    <a:lnTo>
                      <a:pt x="206" y="357"/>
                    </a:lnTo>
                    <a:lnTo>
                      <a:pt x="201" y="355"/>
                    </a:lnTo>
                    <a:lnTo>
                      <a:pt x="195" y="353"/>
                    </a:lnTo>
                    <a:lnTo>
                      <a:pt x="187" y="353"/>
                    </a:lnTo>
                    <a:lnTo>
                      <a:pt x="183" y="353"/>
                    </a:lnTo>
                    <a:lnTo>
                      <a:pt x="177" y="355"/>
                    </a:lnTo>
                    <a:lnTo>
                      <a:pt x="173" y="357"/>
                    </a:lnTo>
                    <a:lnTo>
                      <a:pt x="167" y="361"/>
                    </a:lnTo>
                    <a:lnTo>
                      <a:pt x="162" y="365"/>
                    </a:lnTo>
                    <a:lnTo>
                      <a:pt x="157" y="371"/>
                    </a:lnTo>
                    <a:lnTo>
                      <a:pt x="152" y="379"/>
                    </a:lnTo>
                    <a:lnTo>
                      <a:pt x="146" y="388"/>
                    </a:lnTo>
                    <a:lnTo>
                      <a:pt x="137" y="380"/>
                    </a:lnTo>
                    <a:lnTo>
                      <a:pt x="128" y="373"/>
                    </a:lnTo>
                    <a:lnTo>
                      <a:pt x="123" y="370"/>
                    </a:lnTo>
                    <a:lnTo>
                      <a:pt x="120" y="366"/>
                    </a:lnTo>
                    <a:lnTo>
                      <a:pt x="117" y="362"/>
                    </a:lnTo>
                    <a:lnTo>
                      <a:pt x="113" y="358"/>
                    </a:lnTo>
                    <a:lnTo>
                      <a:pt x="109" y="346"/>
                    </a:lnTo>
                    <a:lnTo>
                      <a:pt x="102" y="334"/>
                    </a:lnTo>
                    <a:lnTo>
                      <a:pt x="96" y="324"/>
                    </a:lnTo>
                    <a:lnTo>
                      <a:pt x="87" y="315"/>
                    </a:lnTo>
                    <a:lnTo>
                      <a:pt x="70" y="297"/>
                    </a:lnTo>
                    <a:lnTo>
                      <a:pt x="50" y="280"/>
                    </a:lnTo>
                    <a:lnTo>
                      <a:pt x="40" y="271"/>
                    </a:lnTo>
                    <a:lnTo>
                      <a:pt x="31" y="263"/>
                    </a:lnTo>
                    <a:lnTo>
                      <a:pt x="22" y="254"/>
                    </a:lnTo>
                    <a:lnTo>
                      <a:pt x="16" y="245"/>
                    </a:lnTo>
                    <a:lnTo>
                      <a:pt x="9" y="235"/>
                    </a:lnTo>
                    <a:lnTo>
                      <a:pt x="5" y="223"/>
                    </a:lnTo>
                    <a:lnTo>
                      <a:pt x="1" y="211"/>
                    </a:lnTo>
                    <a:lnTo>
                      <a:pt x="0" y="198"/>
                    </a:lnTo>
                    <a:lnTo>
                      <a:pt x="1" y="187"/>
                    </a:lnTo>
                    <a:lnTo>
                      <a:pt x="4" y="178"/>
                    </a:lnTo>
                    <a:lnTo>
                      <a:pt x="7" y="169"/>
                    </a:lnTo>
                    <a:lnTo>
                      <a:pt x="11" y="162"/>
                    </a:lnTo>
                    <a:lnTo>
                      <a:pt x="22" y="150"/>
                    </a:lnTo>
                    <a:lnTo>
                      <a:pt x="34" y="139"/>
                    </a:lnTo>
                    <a:lnTo>
                      <a:pt x="41" y="134"/>
                    </a:lnTo>
                    <a:lnTo>
                      <a:pt x="45" y="129"/>
                    </a:lnTo>
                    <a:lnTo>
                      <a:pt x="50" y="123"/>
                    </a:lnTo>
                    <a:lnTo>
                      <a:pt x="54" y="116"/>
                    </a:lnTo>
                    <a:lnTo>
                      <a:pt x="56" y="109"/>
                    </a:lnTo>
                    <a:lnTo>
                      <a:pt x="57" y="101"/>
                    </a:lnTo>
                    <a:lnTo>
                      <a:pt x="56" y="91"/>
                    </a:lnTo>
                    <a:lnTo>
                      <a:pt x="54" y="81"/>
                    </a:lnTo>
                    <a:lnTo>
                      <a:pt x="84" y="83"/>
                    </a:lnTo>
                    <a:lnTo>
                      <a:pt x="108" y="83"/>
                    </a:lnTo>
                    <a:lnTo>
                      <a:pt x="129" y="83"/>
                    </a:lnTo>
                    <a:lnTo>
                      <a:pt x="144" y="82"/>
                    </a:lnTo>
                    <a:lnTo>
                      <a:pt x="156" y="80"/>
                    </a:lnTo>
                    <a:lnTo>
                      <a:pt x="165" y="77"/>
                    </a:lnTo>
                    <a:lnTo>
                      <a:pt x="168" y="75"/>
                    </a:lnTo>
                    <a:lnTo>
                      <a:pt x="172" y="73"/>
                    </a:lnTo>
                    <a:lnTo>
                      <a:pt x="174" y="71"/>
                    </a:lnTo>
                    <a:lnTo>
                      <a:pt x="175" y="69"/>
                    </a:lnTo>
                    <a:lnTo>
                      <a:pt x="177" y="63"/>
                    </a:lnTo>
                    <a:lnTo>
                      <a:pt x="176" y="56"/>
                    </a:lnTo>
                    <a:lnTo>
                      <a:pt x="175" y="49"/>
                    </a:lnTo>
                    <a:lnTo>
                      <a:pt x="174" y="41"/>
                    </a:lnTo>
                    <a:lnTo>
                      <a:pt x="172" y="32"/>
                    </a:lnTo>
                    <a:lnTo>
                      <a:pt x="169" y="22"/>
                    </a:lnTo>
                    <a:lnTo>
                      <a:pt x="167" y="12"/>
                    </a:lnTo>
                    <a:lnTo>
                      <a:pt x="167" y="0"/>
                    </a:lnTo>
                    <a:lnTo>
                      <a:pt x="266" y="7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0" name="Freeform 251">
                <a:extLst>
                  <a:ext uri="{FF2B5EF4-FFF2-40B4-BE49-F238E27FC236}">
                    <a16:creationId xmlns:a16="http://schemas.microsoft.com/office/drawing/2014/main" id="{140C0003-77DF-4445-B4C4-99A9BAAC0858}"/>
                  </a:ext>
                </a:extLst>
              </p:cNvPr>
              <p:cNvSpPr>
                <a:spLocks/>
              </p:cNvSpPr>
              <p:nvPr>
                <p:custDataLst>
                  <p:tags r:id="rId178"/>
                </p:custDataLst>
              </p:nvPr>
            </p:nvSpPr>
            <p:spPr bwMode="auto">
              <a:xfrm>
                <a:off x="4912809" y="4881547"/>
                <a:ext cx="314910" cy="585404"/>
              </a:xfrm>
              <a:custGeom>
                <a:avLst/>
                <a:gdLst>
                  <a:gd name="T0" fmla="*/ 0 w 599"/>
                  <a:gd name="T1" fmla="*/ 71215819 h 993"/>
                  <a:gd name="T2" fmla="*/ 34382282 w 599"/>
                  <a:gd name="T3" fmla="*/ 61592046 h 993"/>
                  <a:gd name="T4" fmla="*/ 43449764 w 599"/>
                  <a:gd name="T5" fmla="*/ 65991515 h 993"/>
                  <a:gd name="T6" fmla="*/ 48739345 w 599"/>
                  <a:gd name="T7" fmla="*/ 70941049 h 993"/>
                  <a:gd name="T8" fmla="*/ 47606236 w 599"/>
                  <a:gd name="T9" fmla="*/ 81389657 h 993"/>
                  <a:gd name="T10" fmla="*/ 44205605 w 599"/>
                  <a:gd name="T11" fmla="*/ 89913301 h 993"/>
                  <a:gd name="T12" fmla="*/ 47228098 w 599"/>
                  <a:gd name="T13" fmla="*/ 98162175 h 993"/>
                  <a:gd name="T14" fmla="*/ 55540174 w 599"/>
                  <a:gd name="T15" fmla="*/ 100361910 h 993"/>
                  <a:gd name="T16" fmla="*/ 60263419 w 599"/>
                  <a:gd name="T17" fmla="*/ 93487936 h 993"/>
                  <a:gd name="T18" fmla="*/ 63852685 w 599"/>
                  <a:gd name="T19" fmla="*/ 87163502 h 993"/>
                  <a:gd name="T20" fmla="*/ 62719141 w 599"/>
                  <a:gd name="T21" fmla="*/ 71765884 h 993"/>
                  <a:gd name="T22" fmla="*/ 59318509 w 599"/>
                  <a:gd name="T23" fmla="*/ 56092971 h 993"/>
                  <a:gd name="T24" fmla="*/ 51195502 w 599"/>
                  <a:gd name="T25" fmla="*/ 43169334 h 993"/>
                  <a:gd name="T26" fmla="*/ 47983939 w 599"/>
                  <a:gd name="T27" fmla="*/ 34370395 h 993"/>
                  <a:gd name="T28" fmla="*/ 51006433 w 599"/>
                  <a:gd name="T29" fmla="*/ 17047812 h 993"/>
                  <a:gd name="T30" fmla="*/ 60452053 w 599"/>
                  <a:gd name="T31" fmla="*/ 15122848 h 993"/>
                  <a:gd name="T32" fmla="*/ 78965589 w 599"/>
                  <a:gd name="T33" fmla="*/ 16497748 h 993"/>
                  <a:gd name="T34" fmla="*/ 98423601 w 599"/>
                  <a:gd name="T35" fmla="*/ 9898544 h 993"/>
                  <a:gd name="T36" fmla="*/ 112781099 w 599"/>
                  <a:gd name="T37" fmla="*/ 824835 h 993"/>
                  <a:gd name="T38" fmla="*/ 112781099 w 599"/>
                  <a:gd name="T39" fmla="*/ 8248874 h 993"/>
                  <a:gd name="T40" fmla="*/ 112781099 w 599"/>
                  <a:gd name="T41" fmla="*/ 34645690 h 993"/>
                  <a:gd name="T42" fmla="*/ 111836624 w 599"/>
                  <a:gd name="T43" fmla="*/ 62691651 h 993"/>
                  <a:gd name="T44" fmla="*/ 110514011 w 599"/>
                  <a:gd name="T45" fmla="*/ 75890059 h 993"/>
                  <a:gd name="T46" fmla="*/ 103902251 w 599"/>
                  <a:gd name="T47" fmla="*/ 92663101 h 993"/>
                  <a:gd name="T48" fmla="*/ 88411209 w 599"/>
                  <a:gd name="T49" fmla="*/ 110535748 h 993"/>
                  <a:gd name="T50" fmla="*/ 70653514 w 599"/>
                  <a:gd name="T51" fmla="*/ 117134952 h 993"/>
                  <a:gd name="T52" fmla="*/ 66686110 w 599"/>
                  <a:gd name="T53" fmla="*/ 127583561 h 993"/>
                  <a:gd name="T54" fmla="*/ 55351540 w 599"/>
                  <a:gd name="T55" fmla="*/ 139407069 h 993"/>
                  <a:gd name="T56" fmla="*/ 45905920 w 599"/>
                  <a:gd name="T57" fmla="*/ 150955282 h 993"/>
                  <a:gd name="T58" fmla="*/ 43261129 w 599"/>
                  <a:gd name="T59" fmla="*/ 160029515 h 993"/>
                  <a:gd name="T60" fmla="*/ 44772376 w 599"/>
                  <a:gd name="T61" fmla="*/ 170202829 h 993"/>
                  <a:gd name="T62" fmla="*/ 50439661 w 599"/>
                  <a:gd name="T63" fmla="*/ 179826603 h 993"/>
                  <a:gd name="T64" fmla="*/ 47983939 w 599"/>
                  <a:gd name="T65" fmla="*/ 190825276 h 993"/>
                  <a:gd name="T66" fmla="*/ 50061958 w 599"/>
                  <a:gd name="T67" fmla="*/ 200449050 h 993"/>
                  <a:gd name="T68" fmla="*/ 50439661 w 599"/>
                  <a:gd name="T69" fmla="*/ 217222092 h 993"/>
                  <a:gd name="T70" fmla="*/ 48361642 w 599"/>
                  <a:gd name="T71" fmla="*/ 223821296 h 993"/>
                  <a:gd name="T72" fmla="*/ 36460301 w 599"/>
                  <a:gd name="T73" fmla="*/ 240044273 h 993"/>
                  <a:gd name="T74" fmla="*/ 27770087 w 599"/>
                  <a:gd name="T75" fmla="*/ 243893678 h 993"/>
                  <a:gd name="T76" fmla="*/ 19268942 w 599"/>
                  <a:gd name="T77" fmla="*/ 245818118 h 993"/>
                  <a:gd name="T78" fmla="*/ 16435517 w 599"/>
                  <a:gd name="T79" fmla="*/ 251042422 h 993"/>
                  <a:gd name="T80" fmla="*/ 17946764 w 599"/>
                  <a:gd name="T81" fmla="*/ 258191691 h 993"/>
                  <a:gd name="T82" fmla="*/ 17190924 w 599"/>
                  <a:gd name="T83" fmla="*/ 272764998 h 993"/>
                  <a:gd name="T84" fmla="*/ 13979361 w 599"/>
                  <a:gd name="T85" fmla="*/ 222721166 h 993"/>
                  <a:gd name="T86" fmla="*/ 10956867 w 599"/>
                  <a:gd name="T87" fmla="*/ 210348118 h 993"/>
                  <a:gd name="T88" fmla="*/ 7745304 w 599"/>
                  <a:gd name="T89" fmla="*/ 197974545 h 993"/>
                  <a:gd name="T90" fmla="*/ 20402486 w 599"/>
                  <a:gd name="T91" fmla="*/ 183126467 h 993"/>
                  <a:gd name="T92" fmla="*/ 20591555 w 599"/>
                  <a:gd name="T93" fmla="*/ 168828454 h 993"/>
                  <a:gd name="T94" fmla="*/ 28148225 w 599"/>
                  <a:gd name="T95" fmla="*/ 157004946 h 993"/>
                  <a:gd name="T96" fmla="*/ 32871035 w 599"/>
                  <a:gd name="T97" fmla="*/ 144631373 h 993"/>
                  <a:gd name="T98" fmla="*/ 31737491 w 599"/>
                  <a:gd name="T99" fmla="*/ 121259127 h 993"/>
                  <a:gd name="T100" fmla="*/ 28714562 w 599"/>
                  <a:gd name="T101" fmla="*/ 100087140 h 993"/>
                  <a:gd name="T102" fmla="*/ 15301973 w 599"/>
                  <a:gd name="T103" fmla="*/ 93762706 h 993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99" h="993">
                    <a:moveTo>
                      <a:pt x="15" y="309"/>
                    </a:moveTo>
                    <a:lnTo>
                      <a:pt x="9" y="291"/>
                    </a:lnTo>
                    <a:lnTo>
                      <a:pt x="3" y="273"/>
                    </a:lnTo>
                    <a:lnTo>
                      <a:pt x="1" y="266"/>
                    </a:lnTo>
                    <a:lnTo>
                      <a:pt x="0" y="259"/>
                    </a:lnTo>
                    <a:lnTo>
                      <a:pt x="0" y="253"/>
                    </a:lnTo>
                    <a:lnTo>
                      <a:pt x="2" y="248"/>
                    </a:lnTo>
                    <a:lnTo>
                      <a:pt x="174" y="216"/>
                    </a:lnTo>
                    <a:lnTo>
                      <a:pt x="177" y="220"/>
                    </a:lnTo>
                    <a:lnTo>
                      <a:pt x="182" y="224"/>
                    </a:lnTo>
                    <a:lnTo>
                      <a:pt x="187" y="227"/>
                    </a:lnTo>
                    <a:lnTo>
                      <a:pt x="193" y="229"/>
                    </a:lnTo>
                    <a:lnTo>
                      <a:pt x="207" y="234"/>
                    </a:lnTo>
                    <a:lnTo>
                      <a:pt x="222" y="238"/>
                    </a:lnTo>
                    <a:lnTo>
                      <a:pt x="230" y="240"/>
                    </a:lnTo>
                    <a:lnTo>
                      <a:pt x="237" y="242"/>
                    </a:lnTo>
                    <a:lnTo>
                      <a:pt x="243" y="245"/>
                    </a:lnTo>
                    <a:lnTo>
                      <a:pt x="249" y="249"/>
                    </a:lnTo>
                    <a:lnTo>
                      <a:pt x="253" y="253"/>
                    </a:lnTo>
                    <a:lnTo>
                      <a:pt x="258" y="258"/>
                    </a:lnTo>
                    <a:lnTo>
                      <a:pt x="260" y="264"/>
                    </a:lnTo>
                    <a:lnTo>
                      <a:pt x="261" y="272"/>
                    </a:lnTo>
                    <a:lnTo>
                      <a:pt x="260" y="280"/>
                    </a:lnTo>
                    <a:lnTo>
                      <a:pt x="256" y="289"/>
                    </a:lnTo>
                    <a:lnTo>
                      <a:pt x="252" y="296"/>
                    </a:lnTo>
                    <a:lnTo>
                      <a:pt x="248" y="302"/>
                    </a:lnTo>
                    <a:lnTo>
                      <a:pt x="242" y="308"/>
                    </a:lnTo>
                    <a:lnTo>
                      <a:pt x="238" y="314"/>
                    </a:lnTo>
                    <a:lnTo>
                      <a:pt x="236" y="321"/>
                    </a:lnTo>
                    <a:lnTo>
                      <a:pt x="234" y="327"/>
                    </a:lnTo>
                    <a:lnTo>
                      <a:pt x="234" y="333"/>
                    </a:lnTo>
                    <a:lnTo>
                      <a:pt x="236" y="338"/>
                    </a:lnTo>
                    <a:lnTo>
                      <a:pt x="238" y="344"/>
                    </a:lnTo>
                    <a:lnTo>
                      <a:pt x="241" y="349"/>
                    </a:lnTo>
                    <a:lnTo>
                      <a:pt x="250" y="357"/>
                    </a:lnTo>
                    <a:lnTo>
                      <a:pt x="259" y="365"/>
                    </a:lnTo>
                    <a:lnTo>
                      <a:pt x="278" y="378"/>
                    </a:lnTo>
                    <a:lnTo>
                      <a:pt x="294" y="389"/>
                    </a:lnTo>
                    <a:lnTo>
                      <a:pt x="294" y="376"/>
                    </a:lnTo>
                    <a:lnTo>
                      <a:pt x="294" y="365"/>
                    </a:lnTo>
                    <a:lnTo>
                      <a:pt x="294" y="356"/>
                    </a:lnTo>
                    <a:lnTo>
                      <a:pt x="294" y="346"/>
                    </a:lnTo>
                    <a:lnTo>
                      <a:pt x="305" y="346"/>
                    </a:lnTo>
                    <a:lnTo>
                      <a:pt x="315" y="343"/>
                    </a:lnTo>
                    <a:lnTo>
                      <a:pt x="319" y="340"/>
                    </a:lnTo>
                    <a:lnTo>
                      <a:pt x="323" y="338"/>
                    </a:lnTo>
                    <a:lnTo>
                      <a:pt x="327" y="335"/>
                    </a:lnTo>
                    <a:lnTo>
                      <a:pt x="329" y="332"/>
                    </a:lnTo>
                    <a:lnTo>
                      <a:pt x="334" y="326"/>
                    </a:lnTo>
                    <a:lnTo>
                      <a:pt x="338" y="317"/>
                    </a:lnTo>
                    <a:lnTo>
                      <a:pt x="340" y="308"/>
                    </a:lnTo>
                    <a:lnTo>
                      <a:pt x="340" y="297"/>
                    </a:lnTo>
                    <a:lnTo>
                      <a:pt x="339" y="283"/>
                    </a:lnTo>
                    <a:lnTo>
                      <a:pt x="337" y="272"/>
                    </a:lnTo>
                    <a:lnTo>
                      <a:pt x="332" y="261"/>
                    </a:lnTo>
                    <a:lnTo>
                      <a:pt x="327" y="251"/>
                    </a:lnTo>
                    <a:lnTo>
                      <a:pt x="322" y="240"/>
                    </a:lnTo>
                    <a:lnTo>
                      <a:pt x="318" y="229"/>
                    </a:lnTo>
                    <a:lnTo>
                      <a:pt x="315" y="217"/>
                    </a:lnTo>
                    <a:lnTo>
                      <a:pt x="314" y="204"/>
                    </a:lnTo>
                    <a:lnTo>
                      <a:pt x="309" y="202"/>
                    </a:lnTo>
                    <a:lnTo>
                      <a:pt x="301" y="194"/>
                    </a:lnTo>
                    <a:lnTo>
                      <a:pt x="292" y="184"/>
                    </a:lnTo>
                    <a:lnTo>
                      <a:pt x="282" y="171"/>
                    </a:lnTo>
                    <a:lnTo>
                      <a:pt x="271" y="157"/>
                    </a:lnTo>
                    <a:lnTo>
                      <a:pt x="262" y="144"/>
                    </a:lnTo>
                    <a:lnTo>
                      <a:pt x="259" y="139"/>
                    </a:lnTo>
                    <a:lnTo>
                      <a:pt x="256" y="133"/>
                    </a:lnTo>
                    <a:lnTo>
                      <a:pt x="254" y="128"/>
                    </a:lnTo>
                    <a:lnTo>
                      <a:pt x="254" y="125"/>
                    </a:lnTo>
                    <a:lnTo>
                      <a:pt x="255" y="110"/>
                    </a:lnTo>
                    <a:lnTo>
                      <a:pt x="259" y="90"/>
                    </a:lnTo>
                    <a:lnTo>
                      <a:pt x="262" y="80"/>
                    </a:lnTo>
                    <a:lnTo>
                      <a:pt x="265" y="71"/>
                    </a:lnTo>
                    <a:lnTo>
                      <a:pt x="270" y="62"/>
                    </a:lnTo>
                    <a:lnTo>
                      <a:pt x="274" y="56"/>
                    </a:lnTo>
                    <a:lnTo>
                      <a:pt x="286" y="57"/>
                    </a:lnTo>
                    <a:lnTo>
                      <a:pt x="298" y="58"/>
                    </a:lnTo>
                    <a:lnTo>
                      <a:pt x="309" y="57"/>
                    </a:lnTo>
                    <a:lnTo>
                      <a:pt x="320" y="55"/>
                    </a:lnTo>
                    <a:lnTo>
                      <a:pt x="343" y="52"/>
                    </a:lnTo>
                    <a:lnTo>
                      <a:pt x="367" y="50"/>
                    </a:lnTo>
                    <a:lnTo>
                      <a:pt x="378" y="52"/>
                    </a:lnTo>
                    <a:lnTo>
                      <a:pt x="398" y="56"/>
                    </a:lnTo>
                    <a:lnTo>
                      <a:pt x="418" y="60"/>
                    </a:lnTo>
                    <a:lnTo>
                      <a:pt x="433" y="62"/>
                    </a:lnTo>
                    <a:lnTo>
                      <a:pt x="445" y="60"/>
                    </a:lnTo>
                    <a:lnTo>
                      <a:pt x="466" y="54"/>
                    </a:lnTo>
                    <a:lnTo>
                      <a:pt x="493" y="46"/>
                    </a:lnTo>
                    <a:lnTo>
                      <a:pt x="521" y="36"/>
                    </a:lnTo>
                    <a:lnTo>
                      <a:pt x="550" y="26"/>
                    </a:lnTo>
                    <a:lnTo>
                      <a:pt x="574" y="16"/>
                    </a:lnTo>
                    <a:lnTo>
                      <a:pt x="584" y="12"/>
                    </a:lnTo>
                    <a:lnTo>
                      <a:pt x="591" y="7"/>
                    </a:lnTo>
                    <a:lnTo>
                      <a:pt x="597" y="3"/>
                    </a:lnTo>
                    <a:lnTo>
                      <a:pt x="599" y="0"/>
                    </a:lnTo>
                    <a:lnTo>
                      <a:pt x="598" y="12"/>
                    </a:lnTo>
                    <a:lnTo>
                      <a:pt x="597" y="20"/>
                    </a:lnTo>
                    <a:lnTo>
                      <a:pt x="597" y="25"/>
                    </a:lnTo>
                    <a:lnTo>
                      <a:pt x="597" y="30"/>
                    </a:lnTo>
                    <a:lnTo>
                      <a:pt x="598" y="36"/>
                    </a:lnTo>
                    <a:lnTo>
                      <a:pt x="599" y="44"/>
                    </a:lnTo>
                    <a:lnTo>
                      <a:pt x="599" y="76"/>
                    </a:lnTo>
                    <a:lnTo>
                      <a:pt x="598" y="102"/>
                    </a:lnTo>
                    <a:lnTo>
                      <a:pt x="597" y="126"/>
                    </a:lnTo>
                    <a:lnTo>
                      <a:pt x="596" y="146"/>
                    </a:lnTo>
                    <a:lnTo>
                      <a:pt x="595" y="165"/>
                    </a:lnTo>
                    <a:lnTo>
                      <a:pt x="594" y="185"/>
                    </a:lnTo>
                    <a:lnTo>
                      <a:pt x="592" y="205"/>
                    </a:lnTo>
                    <a:lnTo>
                      <a:pt x="592" y="228"/>
                    </a:lnTo>
                    <a:lnTo>
                      <a:pt x="592" y="239"/>
                    </a:lnTo>
                    <a:lnTo>
                      <a:pt x="591" y="249"/>
                    </a:lnTo>
                    <a:lnTo>
                      <a:pt x="589" y="258"/>
                    </a:lnTo>
                    <a:lnTo>
                      <a:pt x="587" y="267"/>
                    </a:lnTo>
                    <a:lnTo>
                      <a:pt x="585" y="276"/>
                    </a:lnTo>
                    <a:lnTo>
                      <a:pt x="581" y="285"/>
                    </a:lnTo>
                    <a:lnTo>
                      <a:pt x="577" y="295"/>
                    </a:lnTo>
                    <a:lnTo>
                      <a:pt x="573" y="304"/>
                    </a:lnTo>
                    <a:lnTo>
                      <a:pt x="562" y="321"/>
                    </a:lnTo>
                    <a:lnTo>
                      <a:pt x="550" y="337"/>
                    </a:lnTo>
                    <a:lnTo>
                      <a:pt x="535" y="353"/>
                    </a:lnTo>
                    <a:lnTo>
                      <a:pt x="520" y="367"/>
                    </a:lnTo>
                    <a:lnTo>
                      <a:pt x="503" y="379"/>
                    </a:lnTo>
                    <a:lnTo>
                      <a:pt x="487" y="391"/>
                    </a:lnTo>
                    <a:lnTo>
                      <a:pt x="468" y="402"/>
                    </a:lnTo>
                    <a:lnTo>
                      <a:pt x="450" y="410"/>
                    </a:lnTo>
                    <a:lnTo>
                      <a:pt x="431" y="417"/>
                    </a:lnTo>
                    <a:lnTo>
                      <a:pt x="411" y="422"/>
                    </a:lnTo>
                    <a:lnTo>
                      <a:pt x="393" y="425"/>
                    </a:lnTo>
                    <a:lnTo>
                      <a:pt x="374" y="426"/>
                    </a:lnTo>
                    <a:lnTo>
                      <a:pt x="372" y="433"/>
                    </a:lnTo>
                    <a:lnTo>
                      <a:pt x="368" y="440"/>
                    </a:lnTo>
                    <a:lnTo>
                      <a:pt x="365" y="446"/>
                    </a:lnTo>
                    <a:lnTo>
                      <a:pt x="362" y="452"/>
                    </a:lnTo>
                    <a:lnTo>
                      <a:pt x="353" y="464"/>
                    </a:lnTo>
                    <a:lnTo>
                      <a:pt x="342" y="474"/>
                    </a:lnTo>
                    <a:lnTo>
                      <a:pt x="331" y="483"/>
                    </a:lnTo>
                    <a:lnTo>
                      <a:pt x="318" y="491"/>
                    </a:lnTo>
                    <a:lnTo>
                      <a:pt x="306" y="499"/>
                    </a:lnTo>
                    <a:lnTo>
                      <a:pt x="293" y="507"/>
                    </a:lnTo>
                    <a:lnTo>
                      <a:pt x="281" y="516"/>
                    </a:lnTo>
                    <a:lnTo>
                      <a:pt x="269" y="525"/>
                    </a:lnTo>
                    <a:lnTo>
                      <a:pt x="258" y="534"/>
                    </a:lnTo>
                    <a:lnTo>
                      <a:pt x="248" y="544"/>
                    </a:lnTo>
                    <a:lnTo>
                      <a:pt x="243" y="549"/>
                    </a:lnTo>
                    <a:lnTo>
                      <a:pt x="239" y="555"/>
                    </a:lnTo>
                    <a:lnTo>
                      <a:pt x="236" y="561"/>
                    </a:lnTo>
                    <a:lnTo>
                      <a:pt x="232" y="568"/>
                    </a:lnTo>
                    <a:lnTo>
                      <a:pt x="230" y="575"/>
                    </a:lnTo>
                    <a:lnTo>
                      <a:pt x="229" y="582"/>
                    </a:lnTo>
                    <a:lnTo>
                      <a:pt x="228" y="590"/>
                    </a:lnTo>
                    <a:lnTo>
                      <a:pt x="227" y="598"/>
                    </a:lnTo>
                    <a:lnTo>
                      <a:pt x="228" y="604"/>
                    </a:lnTo>
                    <a:lnTo>
                      <a:pt x="231" y="611"/>
                    </a:lnTo>
                    <a:lnTo>
                      <a:pt x="237" y="619"/>
                    </a:lnTo>
                    <a:lnTo>
                      <a:pt x="242" y="629"/>
                    </a:lnTo>
                    <a:lnTo>
                      <a:pt x="249" y="637"/>
                    </a:lnTo>
                    <a:lnTo>
                      <a:pt x="255" y="645"/>
                    </a:lnTo>
                    <a:lnTo>
                      <a:pt x="262" y="650"/>
                    </a:lnTo>
                    <a:lnTo>
                      <a:pt x="267" y="654"/>
                    </a:lnTo>
                    <a:lnTo>
                      <a:pt x="262" y="663"/>
                    </a:lnTo>
                    <a:lnTo>
                      <a:pt x="258" y="671"/>
                    </a:lnTo>
                    <a:lnTo>
                      <a:pt x="255" y="680"/>
                    </a:lnTo>
                    <a:lnTo>
                      <a:pt x="254" y="685"/>
                    </a:lnTo>
                    <a:lnTo>
                      <a:pt x="254" y="694"/>
                    </a:lnTo>
                    <a:lnTo>
                      <a:pt x="256" y="701"/>
                    </a:lnTo>
                    <a:lnTo>
                      <a:pt x="258" y="709"/>
                    </a:lnTo>
                    <a:lnTo>
                      <a:pt x="261" y="715"/>
                    </a:lnTo>
                    <a:lnTo>
                      <a:pt x="263" y="722"/>
                    </a:lnTo>
                    <a:lnTo>
                      <a:pt x="265" y="729"/>
                    </a:lnTo>
                    <a:lnTo>
                      <a:pt x="266" y="738"/>
                    </a:lnTo>
                    <a:lnTo>
                      <a:pt x="267" y="747"/>
                    </a:lnTo>
                    <a:lnTo>
                      <a:pt x="267" y="766"/>
                    </a:lnTo>
                    <a:lnTo>
                      <a:pt x="267" y="780"/>
                    </a:lnTo>
                    <a:lnTo>
                      <a:pt x="267" y="790"/>
                    </a:lnTo>
                    <a:lnTo>
                      <a:pt x="267" y="796"/>
                    </a:lnTo>
                    <a:lnTo>
                      <a:pt x="266" y="799"/>
                    </a:lnTo>
                    <a:lnTo>
                      <a:pt x="264" y="803"/>
                    </a:lnTo>
                    <a:lnTo>
                      <a:pt x="261" y="808"/>
                    </a:lnTo>
                    <a:lnTo>
                      <a:pt x="256" y="814"/>
                    </a:lnTo>
                    <a:lnTo>
                      <a:pt x="244" y="827"/>
                    </a:lnTo>
                    <a:lnTo>
                      <a:pt x="230" y="841"/>
                    </a:lnTo>
                    <a:lnTo>
                      <a:pt x="215" y="856"/>
                    </a:lnTo>
                    <a:lnTo>
                      <a:pt x="200" y="868"/>
                    </a:lnTo>
                    <a:lnTo>
                      <a:pt x="193" y="873"/>
                    </a:lnTo>
                    <a:lnTo>
                      <a:pt x="186" y="877"/>
                    </a:lnTo>
                    <a:lnTo>
                      <a:pt x="180" y="880"/>
                    </a:lnTo>
                    <a:lnTo>
                      <a:pt x="174" y="882"/>
                    </a:lnTo>
                    <a:lnTo>
                      <a:pt x="161" y="885"/>
                    </a:lnTo>
                    <a:lnTo>
                      <a:pt x="147" y="887"/>
                    </a:lnTo>
                    <a:lnTo>
                      <a:pt x="132" y="889"/>
                    </a:lnTo>
                    <a:lnTo>
                      <a:pt x="118" y="890"/>
                    </a:lnTo>
                    <a:lnTo>
                      <a:pt x="113" y="891"/>
                    </a:lnTo>
                    <a:lnTo>
                      <a:pt x="106" y="892"/>
                    </a:lnTo>
                    <a:lnTo>
                      <a:pt x="102" y="894"/>
                    </a:lnTo>
                    <a:lnTo>
                      <a:pt x="96" y="896"/>
                    </a:lnTo>
                    <a:lnTo>
                      <a:pt x="93" y="900"/>
                    </a:lnTo>
                    <a:lnTo>
                      <a:pt x="91" y="904"/>
                    </a:lnTo>
                    <a:lnTo>
                      <a:pt x="88" y="908"/>
                    </a:lnTo>
                    <a:lnTo>
                      <a:pt x="87" y="913"/>
                    </a:lnTo>
                    <a:lnTo>
                      <a:pt x="88" y="920"/>
                    </a:lnTo>
                    <a:lnTo>
                      <a:pt x="90" y="925"/>
                    </a:lnTo>
                    <a:lnTo>
                      <a:pt x="91" y="931"/>
                    </a:lnTo>
                    <a:lnTo>
                      <a:pt x="93" y="935"/>
                    </a:lnTo>
                    <a:lnTo>
                      <a:pt x="95" y="939"/>
                    </a:lnTo>
                    <a:lnTo>
                      <a:pt x="99" y="941"/>
                    </a:lnTo>
                    <a:lnTo>
                      <a:pt x="103" y="943"/>
                    </a:lnTo>
                    <a:lnTo>
                      <a:pt x="108" y="943"/>
                    </a:lnTo>
                    <a:lnTo>
                      <a:pt x="94" y="993"/>
                    </a:lnTo>
                    <a:lnTo>
                      <a:pt x="91" y="992"/>
                    </a:lnTo>
                    <a:lnTo>
                      <a:pt x="82" y="990"/>
                    </a:lnTo>
                    <a:lnTo>
                      <a:pt x="75" y="988"/>
                    </a:lnTo>
                    <a:lnTo>
                      <a:pt x="74" y="987"/>
                    </a:lnTo>
                    <a:lnTo>
                      <a:pt x="74" y="820"/>
                    </a:lnTo>
                    <a:lnTo>
                      <a:pt x="74" y="810"/>
                    </a:lnTo>
                    <a:lnTo>
                      <a:pt x="73" y="801"/>
                    </a:lnTo>
                    <a:lnTo>
                      <a:pt x="71" y="793"/>
                    </a:lnTo>
                    <a:lnTo>
                      <a:pt x="70" y="785"/>
                    </a:lnTo>
                    <a:lnTo>
                      <a:pt x="64" y="774"/>
                    </a:lnTo>
                    <a:lnTo>
                      <a:pt x="58" y="765"/>
                    </a:lnTo>
                    <a:lnTo>
                      <a:pt x="52" y="755"/>
                    </a:lnTo>
                    <a:lnTo>
                      <a:pt x="47" y="744"/>
                    </a:lnTo>
                    <a:lnTo>
                      <a:pt x="45" y="738"/>
                    </a:lnTo>
                    <a:lnTo>
                      <a:pt x="42" y="729"/>
                    </a:lnTo>
                    <a:lnTo>
                      <a:pt x="41" y="720"/>
                    </a:lnTo>
                    <a:lnTo>
                      <a:pt x="41" y="709"/>
                    </a:lnTo>
                    <a:lnTo>
                      <a:pt x="51" y="704"/>
                    </a:lnTo>
                    <a:lnTo>
                      <a:pt x="72" y="690"/>
                    </a:lnTo>
                    <a:lnTo>
                      <a:pt x="95" y="675"/>
                    </a:lnTo>
                    <a:lnTo>
                      <a:pt x="108" y="666"/>
                    </a:lnTo>
                    <a:lnTo>
                      <a:pt x="107" y="653"/>
                    </a:lnTo>
                    <a:lnTo>
                      <a:pt x="106" y="636"/>
                    </a:lnTo>
                    <a:lnTo>
                      <a:pt x="106" y="627"/>
                    </a:lnTo>
                    <a:lnTo>
                      <a:pt x="108" y="617"/>
                    </a:lnTo>
                    <a:lnTo>
                      <a:pt x="109" y="614"/>
                    </a:lnTo>
                    <a:lnTo>
                      <a:pt x="110" y="610"/>
                    </a:lnTo>
                    <a:lnTo>
                      <a:pt x="113" y="607"/>
                    </a:lnTo>
                    <a:lnTo>
                      <a:pt x="115" y="604"/>
                    </a:lnTo>
                    <a:lnTo>
                      <a:pt x="129" y="591"/>
                    </a:lnTo>
                    <a:lnTo>
                      <a:pt x="149" y="571"/>
                    </a:lnTo>
                    <a:lnTo>
                      <a:pt x="159" y="558"/>
                    </a:lnTo>
                    <a:lnTo>
                      <a:pt x="166" y="546"/>
                    </a:lnTo>
                    <a:lnTo>
                      <a:pt x="170" y="539"/>
                    </a:lnTo>
                    <a:lnTo>
                      <a:pt x="172" y="532"/>
                    </a:lnTo>
                    <a:lnTo>
                      <a:pt x="174" y="526"/>
                    </a:lnTo>
                    <a:lnTo>
                      <a:pt x="174" y="519"/>
                    </a:lnTo>
                    <a:lnTo>
                      <a:pt x="174" y="498"/>
                    </a:lnTo>
                    <a:lnTo>
                      <a:pt x="172" y="479"/>
                    </a:lnTo>
                    <a:lnTo>
                      <a:pt x="170" y="460"/>
                    </a:lnTo>
                    <a:lnTo>
                      <a:pt x="168" y="441"/>
                    </a:lnTo>
                    <a:lnTo>
                      <a:pt x="165" y="423"/>
                    </a:lnTo>
                    <a:lnTo>
                      <a:pt x="163" y="404"/>
                    </a:lnTo>
                    <a:lnTo>
                      <a:pt x="161" y="384"/>
                    </a:lnTo>
                    <a:lnTo>
                      <a:pt x="161" y="364"/>
                    </a:lnTo>
                    <a:lnTo>
                      <a:pt x="152" y="364"/>
                    </a:lnTo>
                    <a:lnTo>
                      <a:pt x="142" y="363"/>
                    </a:lnTo>
                    <a:lnTo>
                      <a:pt x="132" y="361"/>
                    </a:lnTo>
                    <a:lnTo>
                      <a:pt x="122" y="358"/>
                    </a:lnTo>
                    <a:lnTo>
                      <a:pt x="102" y="350"/>
                    </a:lnTo>
                    <a:lnTo>
                      <a:pt x="81" y="341"/>
                    </a:lnTo>
                    <a:lnTo>
                      <a:pt x="42" y="323"/>
                    </a:lnTo>
                    <a:lnTo>
                      <a:pt x="15" y="309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1" name="Freeform 252">
                <a:extLst>
                  <a:ext uri="{FF2B5EF4-FFF2-40B4-BE49-F238E27FC236}">
                    <a16:creationId xmlns:a16="http://schemas.microsoft.com/office/drawing/2014/main" id="{BAB644A0-D9FE-4F78-BBB2-C308A8E33A6D}"/>
                  </a:ext>
                </a:extLst>
              </p:cNvPr>
              <p:cNvSpPr>
                <a:spLocks/>
              </p:cNvSpPr>
              <p:nvPr>
                <p:custDataLst>
                  <p:tags r:id="rId179"/>
                </p:custDataLst>
              </p:nvPr>
            </p:nvSpPr>
            <p:spPr bwMode="auto">
              <a:xfrm>
                <a:off x="4594279" y="5150516"/>
                <a:ext cx="285952" cy="323467"/>
              </a:xfrm>
              <a:custGeom>
                <a:avLst/>
                <a:gdLst>
                  <a:gd name="T0" fmla="*/ 5727234 w 545"/>
                  <a:gd name="T1" fmla="*/ 117242278 h 549"/>
                  <a:gd name="T2" fmla="*/ 8781788 w 545"/>
                  <a:gd name="T3" fmla="*/ 124364492 h 549"/>
                  <a:gd name="T4" fmla="*/ 8781788 w 545"/>
                  <a:gd name="T5" fmla="*/ 140252870 h 549"/>
                  <a:gd name="T6" fmla="*/ 9163225 w 545"/>
                  <a:gd name="T7" fmla="*/ 144361961 h 549"/>
                  <a:gd name="T8" fmla="*/ 10499783 w 545"/>
                  <a:gd name="T9" fmla="*/ 147100831 h 549"/>
                  <a:gd name="T10" fmla="*/ 12981526 w 545"/>
                  <a:gd name="T11" fmla="*/ 149292241 h 549"/>
                  <a:gd name="T12" fmla="*/ 19090634 w 545"/>
                  <a:gd name="T13" fmla="*/ 150388208 h 549"/>
                  <a:gd name="T14" fmla="*/ 21572377 w 545"/>
                  <a:gd name="T15" fmla="*/ 149566495 h 549"/>
                  <a:gd name="T16" fmla="*/ 24817431 w 545"/>
                  <a:gd name="T17" fmla="*/ 146005388 h 549"/>
                  <a:gd name="T18" fmla="*/ 27299611 w 545"/>
                  <a:gd name="T19" fmla="*/ 138883174 h 549"/>
                  <a:gd name="T20" fmla="*/ 29399481 w 545"/>
                  <a:gd name="T21" fmla="*/ 130664993 h 549"/>
                  <a:gd name="T22" fmla="*/ 32263097 w 545"/>
                  <a:gd name="T23" fmla="*/ 124364492 h 549"/>
                  <a:gd name="T24" fmla="*/ 34935778 w 545"/>
                  <a:gd name="T25" fmla="*/ 121899352 h 549"/>
                  <a:gd name="T26" fmla="*/ 38371768 w 545"/>
                  <a:gd name="T27" fmla="*/ 121625622 h 549"/>
                  <a:gd name="T28" fmla="*/ 42381007 w 545"/>
                  <a:gd name="T29" fmla="*/ 122721065 h 549"/>
                  <a:gd name="T30" fmla="*/ 48108241 w 545"/>
                  <a:gd name="T31" fmla="*/ 126282172 h 549"/>
                  <a:gd name="T32" fmla="*/ 51926106 w 545"/>
                  <a:gd name="T33" fmla="*/ 128199853 h 549"/>
                  <a:gd name="T34" fmla="*/ 56698655 w 545"/>
                  <a:gd name="T35" fmla="*/ 128473583 h 549"/>
                  <a:gd name="T36" fmla="*/ 60898830 w 545"/>
                  <a:gd name="T37" fmla="*/ 127103886 h 549"/>
                  <a:gd name="T38" fmla="*/ 63380573 w 545"/>
                  <a:gd name="T39" fmla="*/ 124090762 h 549"/>
                  <a:gd name="T40" fmla="*/ 68534997 w 545"/>
                  <a:gd name="T41" fmla="*/ 106285227 h 549"/>
                  <a:gd name="T42" fmla="*/ 72925672 w 545"/>
                  <a:gd name="T43" fmla="*/ 99437266 h 549"/>
                  <a:gd name="T44" fmla="*/ 85334388 w 545"/>
                  <a:gd name="T45" fmla="*/ 86014552 h 549"/>
                  <a:gd name="T46" fmla="*/ 100606720 w 545"/>
                  <a:gd name="T47" fmla="*/ 72317584 h 549"/>
                  <a:gd name="T48" fmla="*/ 100797657 w 545"/>
                  <a:gd name="T49" fmla="*/ 63551943 h 549"/>
                  <a:gd name="T50" fmla="*/ 96025108 w 545"/>
                  <a:gd name="T51" fmla="*/ 59717106 h 549"/>
                  <a:gd name="T52" fmla="*/ 92588680 w 545"/>
                  <a:gd name="T53" fmla="*/ 54512049 h 549"/>
                  <a:gd name="T54" fmla="*/ 87816131 w 545"/>
                  <a:gd name="T55" fmla="*/ 43007014 h 549"/>
                  <a:gd name="T56" fmla="*/ 83998266 w 545"/>
                  <a:gd name="T57" fmla="*/ 36159054 h 549"/>
                  <a:gd name="T58" fmla="*/ 71970987 w 545"/>
                  <a:gd name="T59" fmla="*/ 20818659 h 549"/>
                  <a:gd name="T60" fmla="*/ 68534997 w 545"/>
                  <a:gd name="T61" fmla="*/ 14518158 h 549"/>
                  <a:gd name="T62" fmla="*/ 66434690 w 545"/>
                  <a:gd name="T63" fmla="*/ 6574231 h 549"/>
                  <a:gd name="T64" fmla="*/ 60898830 w 545"/>
                  <a:gd name="T65" fmla="*/ 0 h 549"/>
                  <a:gd name="T66" fmla="*/ 46580745 w 545"/>
                  <a:gd name="T67" fmla="*/ 547983 h 549"/>
                  <a:gd name="T68" fmla="*/ 33599219 w 545"/>
                  <a:gd name="T69" fmla="*/ 3561107 h 549"/>
                  <a:gd name="T70" fmla="*/ 18135950 w 545"/>
                  <a:gd name="T71" fmla="*/ 6026247 h 549"/>
                  <a:gd name="T72" fmla="*/ 13554337 w 545"/>
                  <a:gd name="T73" fmla="*/ 7395944 h 549"/>
                  <a:gd name="T74" fmla="*/ 12790589 w 545"/>
                  <a:gd name="T75" fmla="*/ 10409591 h 549"/>
                  <a:gd name="T76" fmla="*/ 13936211 w 545"/>
                  <a:gd name="T77" fmla="*/ 15340395 h 549"/>
                  <a:gd name="T78" fmla="*/ 16036080 w 545"/>
                  <a:gd name="T79" fmla="*/ 20270675 h 549"/>
                  <a:gd name="T80" fmla="*/ 16417954 w 545"/>
                  <a:gd name="T81" fmla="*/ 29310570 h 549"/>
                  <a:gd name="T82" fmla="*/ 14127148 w 545"/>
                  <a:gd name="T83" fmla="*/ 46842375 h 549"/>
                  <a:gd name="T84" fmla="*/ 11835905 w 545"/>
                  <a:gd name="T85" fmla="*/ 64921640 h 549"/>
                  <a:gd name="T86" fmla="*/ 8972725 w 545"/>
                  <a:gd name="T87" fmla="*/ 72043854 h 549"/>
                  <a:gd name="T88" fmla="*/ 4963486 w 545"/>
                  <a:gd name="T89" fmla="*/ 75878691 h 549"/>
                  <a:gd name="T90" fmla="*/ 954685 w 545"/>
                  <a:gd name="T91" fmla="*/ 84096872 h 549"/>
                  <a:gd name="T92" fmla="*/ 190937 w 545"/>
                  <a:gd name="T93" fmla="*/ 92862512 h 549"/>
                  <a:gd name="T94" fmla="*/ 1527058 w 545"/>
                  <a:gd name="T95" fmla="*/ 100532710 h 549"/>
                  <a:gd name="T96" fmla="*/ 1527058 w 545"/>
                  <a:gd name="T97" fmla="*/ 107106940 h 549"/>
                  <a:gd name="T98" fmla="*/ 0 w 545"/>
                  <a:gd name="T99" fmla="*/ 111764014 h 549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0" t="0" r="r" b="b"/>
                <a:pathLst>
                  <a:path w="545" h="549">
                    <a:moveTo>
                      <a:pt x="13" y="420"/>
                    </a:moveTo>
                    <a:lnTo>
                      <a:pt x="21" y="424"/>
                    </a:lnTo>
                    <a:lnTo>
                      <a:pt x="30" y="428"/>
                    </a:lnTo>
                    <a:lnTo>
                      <a:pt x="40" y="431"/>
                    </a:lnTo>
                    <a:lnTo>
                      <a:pt x="46" y="432"/>
                    </a:lnTo>
                    <a:lnTo>
                      <a:pt x="46" y="454"/>
                    </a:lnTo>
                    <a:lnTo>
                      <a:pt x="46" y="472"/>
                    </a:lnTo>
                    <a:lnTo>
                      <a:pt x="46" y="491"/>
                    </a:lnTo>
                    <a:lnTo>
                      <a:pt x="46" y="512"/>
                    </a:lnTo>
                    <a:lnTo>
                      <a:pt x="47" y="518"/>
                    </a:lnTo>
                    <a:lnTo>
                      <a:pt x="47" y="523"/>
                    </a:lnTo>
                    <a:lnTo>
                      <a:pt x="48" y="527"/>
                    </a:lnTo>
                    <a:lnTo>
                      <a:pt x="51" y="531"/>
                    </a:lnTo>
                    <a:lnTo>
                      <a:pt x="53" y="534"/>
                    </a:lnTo>
                    <a:lnTo>
                      <a:pt x="55" y="537"/>
                    </a:lnTo>
                    <a:lnTo>
                      <a:pt x="57" y="540"/>
                    </a:lnTo>
                    <a:lnTo>
                      <a:pt x="61" y="542"/>
                    </a:lnTo>
                    <a:lnTo>
                      <a:pt x="68" y="545"/>
                    </a:lnTo>
                    <a:lnTo>
                      <a:pt x="77" y="547"/>
                    </a:lnTo>
                    <a:lnTo>
                      <a:pt x="88" y="548"/>
                    </a:lnTo>
                    <a:lnTo>
                      <a:pt x="100" y="549"/>
                    </a:lnTo>
                    <a:lnTo>
                      <a:pt x="104" y="548"/>
                    </a:lnTo>
                    <a:lnTo>
                      <a:pt x="109" y="548"/>
                    </a:lnTo>
                    <a:lnTo>
                      <a:pt x="113" y="546"/>
                    </a:lnTo>
                    <a:lnTo>
                      <a:pt x="117" y="544"/>
                    </a:lnTo>
                    <a:lnTo>
                      <a:pt x="123" y="539"/>
                    </a:lnTo>
                    <a:lnTo>
                      <a:pt x="130" y="533"/>
                    </a:lnTo>
                    <a:lnTo>
                      <a:pt x="134" y="525"/>
                    </a:lnTo>
                    <a:lnTo>
                      <a:pt x="138" y="516"/>
                    </a:lnTo>
                    <a:lnTo>
                      <a:pt x="143" y="507"/>
                    </a:lnTo>
                    <a:lnTo>
                      <a:pt x="146" y="496"/>
                    </a:lnTo>
                    <a:lnTo>
                      <a:pt x="151" y="487"/>
                    </a:lnTo>
                    <a:lnTo>
                      <a:pt x="154" y="477"/>
                    </a:lnTo>
                    <a:lnTo>
                      <a:pt x="158" y="469"/>
                    </a:lnTo>
                    <a:lnTo>
                      <a:pt x="164" y="461"/>
                    </a:lnTo>
                    <a:lnTo>
                      <a:pt x="169" y="454"/>
                    </a:lnTo>
                    <a:lnTo>
                      <a:pt x="176" y="448"/>
                    </a:lnTo>
                    <a:lnTo>
                      <a:pt x="179" y="446"/>
                    </a:lnTo>
                    <a:lnTo>
                      <a:pt x="183" y="445"/>
                    </a:lnTo>
                    <a:lnTo>
                      <a:pt x="188" y="444"/>
                    </a:lnTo>
                    <a:lnTo>
                      <a:pt x="193" y="444"/>
                    </a:lnTo>
                    <a:lnTo>
                      <a:pt x="201" y="444"/>
                    </a:lnTo>
                    <a:lnTo>
                      <a:pt x="209" y="445"/>
                    </a:lnTo>
                    <a:lnTo>
                      <a:pt x="215" y="446"/>
                    </a:lnTo>
                    <a:lnTo>
                      <a:pt x="222" y="448"/>
                    </a:lnTo>
                    <a:lnTo>
                      <a:pt x="232" y="453"/>
                    </a:lnTo>
                    <a:lnTo>
                      <a:pt x="242" y="457"/>
                    </a:lnTo>
                    <a:lnTo>
                      <a:pt x="252" y="461"/>
                    </a:lnTo>
                    <a:lnTo>
                      <a:pt x="261" y="465"/>
                    </a:lnTo>
                    <a:lnTo>
                      <a:pt x="267" y="467"/>
                    </a:lnTo>
                    <a:lnTo>
                      <a:pt x="272" y="468"/>
                    </a:lnTo>
                    <a:lnTo>
                      <a:pt x="279" y="469"/>
                    </a:lnTo>
                    <a:lnTo>
                      <a:pt x="286" y="469"/>
                    </a:lnTo>
                    <a:lnTo>
                      <a:pt x="297" y="469"/>
                    </a:lnTo>
                    <a:lnTo>
                      <a:pt x="305" y="468"/>
                    </a:lnTo>
                    <a:lnTo>
                      <a:pt x="313" y="466"/>
                    </a:lnTo>
                    <a:lnTo>
                      <a:pt x="319" y="464"/>
                    </a:lnTo>
                    <a:lnTo>
                      <a:pt x="324" y="461"/>
                    </a:lnTo>
                    <a:lnTo>
                      <a:pt x="328" y="457"/>
                    </a:lnTo>
                    <a:lnTo>
                      <a:pt x="332" y="453"/>
                    </a:lnTo>
                    <a:lnTo>
                      <a:pt x="335" y="447"/>
                    </a:lnTo>
                    <a:lnTo>
                      <a:pt x="345" y="422"/>
                    </a:lnTo>
                    <a:lnTo>
                      <a:pt x="359" y="388"/>
                    </a:lnTo>
                    <a:lnTo>
                      <a:pt x="365" y="380"/>
                    </a:lnTo>
                    <a:lnTo>
                      <a:pt x="373" y="372"/>
                    </a:lnTo>
                    <a:lnTo>
                      <a:pt x="382" y="363"/>
                    </a:lnTo>
                    <a:lnTo>
                      <a:pt x="393" y="353"/>
                    </a:lnTo>
                    <a:lnTo>
                      <a:pt x="418" y="333"/>
                    </a:lnTo>
                    <a:lnTo>
                      <a:pt x="447" y="314"/>
                    </a:lnTo>
                    <a:lnTo>
                      <a:pt x="476" y="296"/>
                    </a:lnTo>
                    <a:lnTo>
                      <a:pt x="503" y="278"/>
                    </a:lnTo>
                    <a:lnTo>
                      <a:pt x="527" y="264"/>
                    </a:lnTo>
                    <a:lnTo>
                      <a:pt x="545" y="253"/>
                    </a:lnTo>
                    <a:lnTo>
                      <a:pt x="538" y="235"/>
                    </a:lnTo>
                    <a:lnTo>
                      <a:pt x="528" y="232"/>
                    </a:lnTo>
                    <a:lnTo>
                      <a:pt x="518" y="229"/>
                    </a:lnTo>
                    <a:lnTo>
                      <a:pt x="511" y="223"/>
                    </a:lnTo>
                    <a:lnTo>
                      <a:pt x="503" y="218"/>
                    </a:lnTo>
                    <a:lnTo>
                      <a:pt x="496" y="212"/>
                    </a:lnTo>
                    <a:lnTo>
                      <a:pt x="491" y="206"/>
                    </a:lnTo>
                    <a:lnTo>
                      <a:pt x="485" y="199"/>
                    </a:lnTo>
                    <a:lnTo>
                      <a:pt x="480" y="191"/>
                    </a:lnTo>
                    <a:lnTo>
                      <a:pt x="470" y="175"/>
                    </a:lnTo>
                    <a:lnTo>
                      <a:pt x="460" y="157"/>
                    </a:lnTo>
                    <a:lnTo>
                      <a:pt x="454" y="149"/>
                    </a:lnTo>
                    <a:lnTo>
                      <a:pt x="447" y="141"/>
                    </a:lnTo>
                    <a:lnTo>
                      <a:pt x="440" y="132"/>
                    </a:lnTo>
                    <a:lnTo>
                      <a:pt x="432" y="124"/>
                    </a:lnTo>
                    <a:lnTo>
                      <a:pt x="404" y="101"/>
                    </a:lnTo>
                    <a:lnTo>
                      <a:pt x="377" y="76"/>
                    </a:lnTo>
                    <a:lnTo>
                      <a:pt x="370" y="69"/>
                    </a:lnTo>
                    <a:lnTo>
                      <a:pt x="365" y="62"/>
                    </a:lnTo>
                    <a:lnTo>
                      <a:pt x="359" y="53"/>
                    </a:lnTo>
                    <a:lnTo>
                      <a:pt x="355" y="44"/>
                    </a:lnTo>
                    <a:lnTo>
                      <a:pt x="350" y="35"/>
                    </a:lnTo>
                    <a:lnTo>
                      <a:pt x="348" y="24"/>
                    </a:lnTo>
                    <a:lnTo>
                      <a:pt x="346" y="13"/>
                    </a:lnTo>
                    <a:lnTo>
                      <a:pt x="346" y="0"/>
                    </a:lnTo>
                    <a:lnTo>
                      <a:pt x="319" y="0"/>
                    </a:lnTo>
                    <a:lnTo>
                      <a:pt x="293" y="0"/>
                    </a:lnTo>
                    <a:lnTo>
                      <a:pt x="268" y="1"/>
                    </a:lnTo>
                    <a:lnTo>
                      <a:pt x="244" y="2"/>
                    </a:lnTo>
                    <a:lnTo>
                      <a:pt x="221" y="6"/>
                    </a:lnTo>
                    <a:lnTo>
                      <a:pt x="198" y="9"/>
                    </a:lnTo>
                    <a:lnTo>
                      <a:pt x="176" y="13"/>
                    </a:lnTo>
                    <a:lnTo>
                      <a:pt x="153" y="19"/>
                    </a:lnTo>
                    <a:lnTo>
                      <a:pt x="123" y="21"/>
                    </a:lnTo>
                    <a:lnTo>
                      <a:pt x="95" y="22"/>
                    </a:lnTo>
                    <a:lnTo>
                      <a:pt x="84" y="23"/>
                    </a:lnTo>
                    <a:lnTo>
                      <a:pt x="75" y="25"/>
                    </a:lnTo>
                    <a:lnTo>
                      <a:pt x="71" y="27"/>
                    </a:lnTo>
                    <a:lnTo>
                      <a:pt x="68" y="30"/>
                    </a:lnTo>
                    <a:lnTo>
                      <a:pt x="67" y="33"/>
                    </a:lnTo>
                    <a:lnTo>
                      <a:pt x="67" y="38"/>
                    </a:lnTo>
                    <a:lnTo>
                      <a:pt x="67" y="44"/>
                    </a:lnTo>
                    <a:lnTo>
                      <a:pt x="69" y="50"/>
                    </a:lnTo>
                    <a:lnTo>
                      <a:pt x="73" y="56"/>
                    </a:lnTo>
                    <a:lnTo>
                      <a:pt x="77" y="63"/>
                    </a:lnTo>
                    <a:lnTo>
                      <a:pt x="80" y="68"/>
                    </a:lnTo>
                    <a:lnTo>
                      <a:pt x="84" y="74"/>
                    </a:lnTo>
                    <a:lnTo>
                      <a:pt x="86" y="80"/>
                    </a:lnTo>
                    <a:lnTo>
                      <a:pt x="87" y="87"/>
                    </a:lnTo>
                    <a:lnTo>
                      <a:pt x="86" y="107"/>
                    </a:lnTo>
                    <a:lnTo>
                      <a:pt x="82" y="129"/>
                    </a:lnTo>
                    <a:lnTo>
                      <a:pt x="78" y="150"/>
                    </a:lnTo>
                    <a:lnTo>
                      <a:pt x="74" y="171"/>
                    </a:lnTo>
                    <a:lnTo>
                      <a:pt x="68" y="193"/>
                    </a:lnTo>
                    <a:lnTo>
                      <a:pt x="64" y="214"/>
                    </a:lnTo>
                    <a:lnTo>
                      <a:pt x="62" y="237"/>
                    </a:lnTo>
                    <a:lnTo>
                      <a:pt x="61" y="259"/>
                    </a:lnTo>
                    <a:lnTo>
                      <a:pt x="54" y="261"/>
                    </a:lnTo>
                    <a:lnTo>
                      <a:pt x="47" y="263"/>
                    </a:lnTo>
                    <a:lnTo>
                      <a:pt x="42" y="266"/>
                    </a:lnTo>
                    <a:lnTo>
                      <a:pt x="36" y="269"/>
                    </a:lnTo>
                    <a:lnTo>
                      <a:pt x="26" y="277"/>
                    </a:lnTo>
                    <a:lnTo>
                      <a:pt x="18" y="287"/>
                    </a:lnTo>
                    <a:lnTo>
                      <a:pt x="10" y="297"/>
                    </a:lnTo>
                    <a:lnTo>
                      <a:pt x="5" y="307"/>
                    </a:lnTo>
                    <a:lnTo>
                      <a:pt x="1" y="317"/>
                    </a:lnTo>
                    <a:lnTo>
                      <a:pt x="0" y="327"/>
                    </a:lnTo>
                    <a:lnTo>
                      <a:pt x="1" y="339"/>
                    </a:lnTo>
                    <a:lnTo>
                      <a:pt x="3" y="349"/>
                    </a:lnTo>
                    <a:lnTo>
                      <a:pt x="6" y="358"/>
                    </a:lnTo>
                    <a:lnTo>
                      <a:pt x="8" y="367"/>
                    </a:lnTo>
                    <a:lnTo>
                      <a:pt x="9" y="376"/>
                    </a:lnTo>
                    <a:lnTo>
                      <a:pt x="9" y="386"/>
                    </a:lnTo>
                    <a:lnTo>
                      <a:pt x="8" y="391"/>
                    </a:lnTo>
                    <a:lnTo>
                      <a:pt x="6" y="397"/>
                    </a:lnTo>
                    <a:lnTo>
                      <a:pt x="3" y="402"/>
                    </a:lnTo>
                    <a:lnTo>
                      <a:pt x="0" y="408"/>
                    </a:lnTo>
                    <a:lnTo>
                      <a:pt x="13" y="42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2" name="Freeform 253">
                <a:extLst>
                  <a:ext uri="{FF2B5EF4-FFF2-40B4-BE49-F238E27FC236}">
                    <a16:creationId xmlns:a16="http://schemas.microsoft.com/office/drawing/2014/main" id="{7927E0BF-A771-4A95-A7D9-0882B2CF0C3F}"/>
                  </a:ext>
                </a:extLst>
              </p:cNvPr>
              <p:cNvSpPr>
                <a:spLocks/>
              </p:cNvSpPr>
              <p:nvPr>
                <p:custDataLst>
                  <p:tags r:id="rId180"/>
                </p:custDataLst>
              </p:nvPr>
            </p:nvSpPr>
            <p:spPr bwMode="auto">
              <a:xfrm>
                <a:off x="5283822" y="4927254"/>
                <a:ext cx="238897" cy="490474"/>
              </a:xfrm>
              <a:custGeom>
                <a:avLst/>
                <a:gdLst>
                  <a:gd name="T0" fmla="*/ 21242815 w 452"/>
                  <a:gd name="T1" fmla="*/ 71337991 h 832"/>
                  <a:gd name="T2" fmla="*/ 26174082 w 452"/>
                  <a:gd name="T3" fmla="*/ 67784998 h 832"/>
                  <a:gd name="T4" fmla="*/ 31295230 w 452"/>
                  <a:gd name="T5" fmla="*/ 65598622 h 832"/>
                  <a:gd name="T6" fmla="*/ 36416379 w 452"/>
                  <a:gd name="T7" fmla="*/ 63411722 h 832"/>
                  <a:gd name="T8" fmla="*/ 40778436 w 452"/>
                  <a:gd name="T9" fmla="*/ 59311874 h 832"/>
                  <a:gd name="T10" fmla="*/ 44002943 w 452"/>
                  <a:gd name="T11" fmla="*/ 54665169 h 832"/>
                  <a:gd name="T12" fmla="*/ 44002943 w 452"/>
                  <a:gd name="T13" fmla="*/ 48925277 h 832"/>
                  <a:gd name="T14" fmla="*/ 50262076 w 452"/>
                  <a:gd name="T15" fmla="*/ 48652372 h 832"/>
                  <a:gd name="T16" fmla="*/ 53486148 w 452"/>
                  <a:gd name="T17" fmla="*/ 47285756 h 832"/>
                  <a:gd name="T18" fmla="*/ 56521210 w 452"/>
                  <a:gd name="T19" fmla="*/ 44279096 h 832"/>
                  <a:gd name="T20" fmla="*/ 60693820 w 452"/>
                  <a:gd name="T21" fmla="*/ 36352304 h 832"/>
                  <a:gd name="T22" fmla="*/ 66383743 w 452"/>
                  <a:gd name="T23" fmla="*/ 20499242 h 832"/>
                  <a:gd name="T24" fmla="*/ 71694338 w 452"/>
                  <a:gd name="T25" fmla="*/ 0 h 832"/>
                  <a:gd name="T26" fmla="*/ 73022204 w 452"/>
                  <a:gd name="T27" fmla="*/ 5193037 h 832"/>
                  <a:gd name="T28" fmla="*/ 77194815 w 452"/>
                  <a:gd name="T29" fmla="*/ 12846401 h 832"/>
                  <a:gd name="T30" fmla="*/ 84971261 w 452"/>
                  <a:gd name="T31" fmla="*/ 23232998 h 832"/>
                  <a:gd name="T32" fmla="*/ 83453948 w 452"/>
                  <a:gd name="T33" fmla="*/ 28152607 h 832"/>
                  <a:gd name="T34" fmla="*/ 84212604 w 452"/>
                  <a:gd name="T35" fmla="*/ 37718920 h 832"/>
                  <a:gd name="T36" fmla="*/ 85729917 w 452"/>
                  <a:gd name="T37" fmla="*/ 50565321 h 832"/>
                  <a:gd name="T38" fmla="*/ 84971261 w 452"/>
                  <a:gd name="T39" fmla="*/ 56305213 h 832"/>
                  <a:gd name="T40" fmla="*/ 81177979 w 452"/>
                  <a:gd name="T41" fmla="*/ 63958578 h 832"/>
                  <a:gd name="T42" fmla="*/ 77574143 w 452"/>
                  <a:gd name="T43" fmla="*/ 71337991 h 832"/>
                  <a:gd name="T44" fmla="*/ 76815486 w 452"/>
                  <a:gd name="T45" fmla="*/ 77351311 h 832"/>
                  <a:gd name="T46" fmla="*/ 74539517 w 452"/>
                  <a:gd name="T47" fmla="*/ 84184392 h 832"/>
                  <a:gd name="T48" fmla="*/ 72642876 w 452"/>
                  <a:gd name="T49" fmla="*/ 86917625 h 832"/>
                  <a:gd name="T50" fmla="*/ 71504891 w 452"/>
                  <a:gd name="T51" fmla="*/ 90744568 h 832"/>
                  <a:gd name="T52" fmla="*/ 69797697 w 452"/>
                  <a:gd name="T53" fmla="*/ 99491121 h 832"/>
                  <a:gd name="T54" fmla="*/ 64107774 w 452"/>
                  <a:gd name="T55" fmla="*/ 116710275 h 832"/>
                  <a:gd name="T56" fmla="*/ 60883266 w 452"/>
                  <a:gd name="T57" fmla="*/ 128463488 h 832"/>
                  <a:gd name="T58" fmla="*/ 60314492 w 452"/>
                  <a:gd name="T59" fmla="*/ 136663185 h 832"/>
                  <a:gd name="T60" fmla="*/ 58797179 w 452"/>
                  <a:gd name="T61" fmla="*/ 145136310 h 832"/>
                  <a:gd name="T62" fmla="*/ 53296702 w 452"/>
                  <a:gd name="T63" fmla="*/ 164542887 h 832"/>
                  <a:gd name="T64" fmla="*/ 49313538 w 452"/>
                  <a:gd name="T65" fmla="*/ 174109200 h 832"/>
                  <a:gd name="T66" fmla="*/ 45899584 w 452"/>
                  <a:gd name="T67" fmla="*/ 179028809 h 832"/>
                  <a:gd name="T68" fmla="*/ 44002943 w 452"/>
                  <a:gd name="T69" fmla="*/ 180395425 h 832"/>
                  <a:gd name="T70" fmla="*/ 43244287 w 452"/>
                  <a:gd name="T71" fmla="*/ 195155298 h 832"/>
                  <a:gd name="T72" fmla="*/ 40778436 w 452"/>
                  <a:gd name="T73" fmla="*/ 207454843 h 832"/>
                  <a:gd name="T74" fmla="*/ 36226497 w 452"/>
                  <a:gd name="T75" fmla="*/ 217294584 h 832"/>
                  <a:gd name="T76" fmla="*/ 29777918 w 452"/>
                  <a:gd name="T77" fmla="*/ 223854760 h 832"/>
                  <a:gd name="T78" fmla="*/ 20863487 w 452"/>
                  <a:gd name="T79" fmla="*/ 227134325 h 832"/>
                  <a:gd name="T80" fmla="*/ 15173564 w 452"/>
                  <a:gd name="T81" fmla="*/ 226041137 h 832"/>
                  <a:gd name="T82" fmla="*/ 13845697 w 452"/>
                  <a:gd name="T83" fmla="*/ 223307905 h 832"/>
                  <a:gd name="T84" fmla="*/ 9483205 w 452"/>
                  <a:gd name="T85" fmla="*/ 221394433 h 832"/>
                  <a:gd name="T86" fmla="*/ 4931267 w 452"/>
                  <a:gd name="T87" fmla="*/ 218114868 h 832"/>
                  <a:gd name="T88" fmla="*/ 2275969 w 452"/>
                  <a:gd name="T89" fmla="*/ 212374975 h 832"/>
                  <a:gd name="T90" fmla="*/ 569210 w 452"/>
                  <a:gd name="T91" fmla="*/ 205541372 h 832"/>
                  <a:gd name="T92" fmla="*/ 0 w 452"/>
                  <a:gd name="T93" fmla="*/ 193515254 h 832"/>
                  <a:gd name="T94" fmla="*/ 758656 w 452"/>
                  <a:gd name="T95" fmla="*/ 189688833 h 832"/>
                  <a:gd name="T96" fmla="*/ 3603836 w 452"/>
                  <a:gd name="T97" fmla="*/ 185315557 h 832"/>
                  <a:gd name="T98" fmla="*/ 2086523 w 452"/>
                  <a:gd name="T99" fmla="*/ 183675513 h 832"/>
                  <a:gd name="T100" fmla="*/ 0 w 452"/>
                  <a:gd name="T101" fmla="*/ 178209048 h 832"/>
                  <a:gd name="T102" fmla="*/ 948538 w 452"/>
                  <a:gd name="T103" fmla="*/ 171648873 h 832"/>
                  <a:gd name="T104" fmla="*/ 1517313 w 452"/>
                  <a:gd name="T105" fmla="*/ 166729263 h 832"/>
                  <a:gd name="T106" fmla="*/ 948538 w 452"/>
                  <a:gd name="T107" fmla="*/ 161536227 h 832"/>
                  <a:gd name="T108" fmla="*/ 3413954 w 452"/>
                  <a:gd name="T109" fmla="*/ 160442515 h 832"/>
                  <a:gd name="T110" fmla="*/ 8155774 w 452"/>
                  <a:gd name="T111" fmla="*/ 155249479 h 832"/>
                  <a:gd name="T112" fmla="*/ 11949056 w 452"/>
                  <a:gd name="T113" fmla="*/ 147049782 h 832"/>
                  <a:gd name="T114" fmla="*/ 14414907 w 452"/>
                  <a:gd name="T115" fmla="*/ 138303229 h 832"/>
                  <a:gd name="T116" fmla="*/ 16311548 w 452"/>
                  <a:gd name="T117" fmla="*/ 126277111 h 832"/>
                  <a:gd name="T118" fmla="*/ 15742338 w 452"/>
                  <a:gd name="T119" fmla="*/ 119716935 h 832"/>
                  <a:gd name="T120" fmla="*/ 13276923 w 452"/>
                  <a:gd name="T121" fmla="*/ 111517238 h 832"/>
                  <a:gd name="T122" fmla="*/ 10621190 w 452"/>
                  <a:gd name="T123" fmla="*/ 104410730 h 832"/>
                  <a:gd name="T124" fmla="*/ 10052415 w 452"/>
                  <a:gd name="T125" fmla="*/ 99217693 h 8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52" h="832">
                    <a:moveTo>
                      <a:pt x="93" y="264"/>
                    </a:moveTo>
                    <a:lnTo>
                      <a:pt x="103" y="263"/>
                    </a:lnTo>
                    <a:lnTo>
                      <a:pt x="112" y="261"/>
                    </a:lnTo>
                    <a:lnTo>
                      <a:pt x="120" y="257"/>
                    </a:lnTo>
                    <a:lnTo>
                      <a:pt x="129" y="252"/>
                    </a:lnTo>
                    <a:lnTo>
                      <a:pt x="138" y="248"/>
                    </a:lnTo>
                    <a:lnTo>
                      <a:pt x="147" y="244"/>
                    </a:lnTo>
                    <a:lnTo>
                      <a:pt x="157" y="241"/>
                    </a:lnTo>
                    <a:lnTo>
                      <a:pt x="165" y="240"/>
                    </a:lnTo>
                    <a:lnTo>
                      <a:pt x="175" y="239"/>
                    </a:lnTo>
                    <a:lnTo>
                      <a:pt x="184" y="236"/>
                    </a:lnTo>
                    <a:lnTo>
                      <a:pt x="192" y="232"/>
                    </a:lnTo>
                    <a:lnTo>
                      <a:pt x="199" y="227"/>
                    </a:lnTo>
                    <a:lnTo>
                      <a:pt x="206" y="222"/>
                    </a:lnTo>
                    <a:lnTo>
                      <a:pt x="215" y="217"/>
                    </a:lnTo>
                    <a:lnTo>
                      <a:pt x="222" y="213"/>
                    </a:lnTo>
                    <a:lnTo>
                      <a:pt x="232" y="209"/>
                    </a:lnTo>
                    <a:lnTo>
                      <a:pt x="232" y="200"/>
                    </a:lnTo>
                    <a:lnTo>
                      <a:pt x="232" y="191"/>
                    </a:lnTo>
                    <a:lnTo>
                      <a:pt x="232" y="184"/>
                    </a:lnTo>
                    <a:lnTo>
                      <a:pt x="232" y="179"/>
                    </a:lnTo>
                    <a:lnTo>
                      <a:pt x="248" y="179"/>
                    </a:lnTo>
                    <a:lnTo>
                      <a:pt x="259" y="179"/>
                    </a:lnTo>
                    <a:lnTo>
                      <a:pt x="265" y="178"/>
                    </a:lnTo>
                    <a:lnTo>
                      <a:pt x="271" y="177"/>
                    </a:lnTo>
                    <a:lnTo>
                      <a:pt x="276" y="175"/>
                    </a:lnTo>
                    <a:lnTo>
                      <a:pt x="282" y="173"/>
                    </a:lnTo>
                    <a:lnTo>
                      <a:pt x="287" y="170"/>
                    </a:lnTo>
                    <a:lnTo>
                      <a:pt x="293" y="166"/>
                    </a:lnTo>
                    <a:lnTo>
                      <a:pt x="298" y="162"/>
                    </a:lnTo>
                    <a:lnTo>
                      <a:pt x="303" y="157"/>
                    </a:lnTo>
                    <a:lnTo>
                      <a:pt x="311" y="145"/>
                    </a:lnTo>
                    <a:lnTo>
                      <a:pt x="320" y="133"/>
                    </a:lnTo>
                    <a:lnTo>
                      <a:pt x="329" y="120"/>
                    </a:lnTo>
                    <a:lnTo>
                      <a:pt x="336" y="106"/>
                    </a:lnTo>
                    <a:lnTo>
                      <a:pt x="350" y="75"/>
                    </a:lnTo>
                    <a:lnTo>
                      <a:pt x="361" y="46"/>
                    </a:lnTo>
                    <a:lnTo>
                      <a:pt x="371" y="20"/>
                    </a:lnTo>
                    <a:lnTo>
                      <a:pt x="378" y="0"/>
                    </a:lnTo>
                    <a:lnTo>
                      <a:pt x="379" y="7"/>
                    </a:lnTo>
                    <a:lnTo>
                      <a:pt x="383" y="13"/>
                    </a:lnTo>
                    <a:lnTo>
                      <a:pt x="385" y="19"/>
                    </a:lnTo>
                    <a:lnTo>
                      <a:pt x="389" y="25"/>
                    </a:lnTo>
                    <a:lnTo>
                      <a:pt x="397" y="36"/>
                    </a:lnTo>
                    <a:lnTo>
                      <a:pt x="407" y="47"/>
                    </a:lnTo>
                    <a:lnTo>
                      <a:pt x="430" y="65"/>
                    </a:lnTo>
                    <a:lnTo>
                      <a:pt x="452" y="80"/>
                    </a:lnTo>
                    <a:lnTo>
                      <a:pt x="448" y="85"/>
                    </a:lnTo>
                    <a:lnTo>
                      <a:pt x="444" y="91"/>
                    </a:lnTo>
                    <a:lnTo>
                      <a:pt x="442" y="96"/>
                    </a:lnTo>
                    <a:lnTo>
                      <a:pt x="440" y="103"/>
                    </a:lnTo>
                    <a:lnTo>
                      <a:pt x="440" y="114"/>
                    </a:lnTo>
                    <a:lnTo>
                      <a:pt x="442" y="125"/>
                    </a:lnTo>
                    <a:lnTo>
                      <a:pt x="444" y="138"/>
                    </a:lnTo>
                    <a:lnTo>
                      <a:pt x="448" y="151"/>
                    </a:lnTo>
                    <a:lnTo>
                      <a:pt x="451" y="168"/>
                    </a:lnTo>
                    <a:lnTo>
                      <a:pt x="452" y="185"/>
                    </a:lnTo>
                    <a:lnTo>
                      <a:pt x="451" y="192"/>
                    </a:lnTo>
                    <a:lnTo>
                      <a:pt x="450" y="199"/>
                    </a:lnTo>
                    <a:lnTo>
                      <a:pt x="448" y="206"/>
                    </a:lnTo>
                    <a:lnTo>
                      <a:pt x="444" y="213"/>
                    </a:lnTo>
                    <a:lnTo>
                      <a:pt x="437" y="224"/>
                    </a:lnTo>
                    <a:lnTo>
                      <a:pt x="428" y="234"/>
                    </a:lnTo>
                    <a:lnTo>
                      <a:pt x="420" y="244"/>
                    </a:lnTo>
                    <a:lnTo>
                      <a:pt x="412" y="255"/>
                    </a:lnTo>
                    <a:lnTo>
                      <a:pt x="409" y="261"/>
                    </a:lnTo>
                    <a:lnTo>
                      <a:pt x="407" y="269"/>
                    </a:lnTo>
                    <a:lnTo>
                      <a:pt x="406" y="276"/>
                    </a:lnTo>
                    <a:lnTo>
                      <a:pt x="405" y="283"/>
                    </a:lnTo>
                    <a:lnTo>
                      <a:pt x="402" y="289"/>
                    </a:lnTo>
                    <a:lnTo>
                      <a:pt x="397" y="302"/>
                    </a:lnTo>
                    <a:lnTo>
                      <a:pt x="393" y="308"/>
                    </a:lnTo>
                    <a:lnTo>
                      <a:pt x="388" y="314"/>
                    </a:lnTo>
                    <a:lnTo>
                      <a:pt x="386" y="316"/>
                    </a:lnTo>
                    <a:lnTo>
                      <a:pt x="383" y="318"/>
                    </a:lnTo>
                    <a:lnTo>
                      <a:pt x="381" y="319"/>
                    </a:lnTo>
                    <a:lnTo>
                      <a:pt x="378" y="320"/>
                    </a:lnTo>
                    <a:lnTo>
                      <a:pt x="377" y="332"/>
                    </a:lnTo>
                    <a:lnTo>
                      <a:pt x="376" y="343"/>
                    </a:lnTo>
                    <a:lnTo>
                      <a:pt x="373" y="354"/>
                    </a:lnTo>
                    <a:lnTo>
                      <a:pt x="368" y="364"/>
                    </a:lnTo>
                    <a:lnTo>
                      <a:pt x="360" y="386"/>
                    </a:lnTo>
                    <a:lnTo>
                      <a:pt x="349" y="406"/>
                    </a:lnTo>
                    <a:lnTo>
                      <a:pt x="338" y="427"/>
                    </a:lnTo>
                    <a:lnTo>
                      <a:pt x="328" y="449"/>
                    </a:lnTo>
                    <a:lnTo>
                      <a:pt x="325" y="459"/>
                    </a:lnTo>
                    <a:lnTo>
                      <a:pt x="321" y="470"/>
                    </a:lnTo>
                    <a:lnTo>
                      <a:pt x="319" y="481"/>
                    </a:lnTo>
                    <a:lnTo>
                      <a:pt x="319" y="493"/>
                    </a:lnTo>
                    <a:lnTo>
                      <a:pt x="318" y="500"/>
                    </a:lnTo>
                    <a:lnTo>
                      <a:pt x="316" y="509"/>
                    </a:lnTo>
                    <a:lnTo>
                      <a:pt x="314" y="520"/>
                    </a:lnTo>
                    <a:lnTo>
                      <a:pt x="310" y="531"/>
                    </a:lnTo>
                    <a:lnTo>
                      <a:pt x="300" y="559"/>
                    </a:lnTo>
                    <a:lnTo>
                      <a:pt x="288" y="587"/>
                    </a:lnTo>
                    <a:lnTo>
                      <a:pt x="281" y="602"/>
                    </a:lnTo>
                    <a:lnTo>
                      <a:pt x="274" y="615"/>
                    </a:lnTo>
                    <a:lnTo>
                      <a:pt x="266" y="627"/>
                    </a:lnTo>
                    <a:lnTo>
                      <a:pt x="260" y="637"/>
                    </a:lnTo>
                    <a:lnTo>
                      <a:pt x="252" y="646"/>
                    </a:lnTo>
                    <a:lnTo>
                      <a:pt x="245" y="653"/>
                    </a:lnTo>
                    <a:lnTo>
                      <a:pt x="242" y="655"/>
                    </a:lnTo>
                    <a:lnTo>
                      <a:pt x="239" y="658"/>
                    </a:lnTo>
                    <a:lnTo>
                      <a:pt x="236" y="659"/>
                    </a:lnTo>
                    <a:lnTo>
                      <a:pt x="232" y="660"/>
                    </a:lnTo>
                    <a:lnTo>
                      <a:pt x="231" y="678"/>
                    </a:lnTo>
                    <a:lnTo>
                      <a:pt x="230" y="696"/>
                    </a:lnTo>
                    <a:lnTo>
                      <a:pt x="228" y="714"/>
                    </a:lnTo>
                    <a:lnTo>
                      <a:pt x="225" y="730"/>
                    </a:lnTo>
                    <a:lnTo>
                      <a:pt x="220" y="745"/>
                    </a:lnTo>
                    <a:lnTo>
                      <a:pt x="215" y="759"/>
                    </a:lnTo>
                    <a:lnTo>
                      <a:pt x="207" y="773"/>
                    </a:lnTo>
                    <a:lnTo>
                      <a:pt x="199" y="785"/>
                    </a:lnTo>
                    <a:lnTo>
                      <a:pt x="191" y="795"/>
                    </a:lnTo>
                    <a:lnTo>
                      <a:pt x="181" y="805"/>
                    </a:lnTo>
                    <a:lnTo>
                      <a:pt x="169" y="812"/>
                    </a:lnTo>
                    <a:lnTo>
                      <a:pt x="157" y="819"/>
                    </a:lnTo>
                    <a:lnTo>
                      <a:pt x="142" y="825"/>
                    </a:lnTo>
                    <a:lnTo>
                      <a:pt x="127" y="829"/>
                    </a:lnTo>
                    <a:lnTo>
                      <a:pt x="110" y="831"/>
                    </a:lnTo>
                    <a:lnTo>
                      <a:pt x="93" y="832"/>
                    </a:lnTo>
                    <a:lnTo>
                      <a:pt x="86" y="831"/>
                    </a:lnTo>
                    <a:lnTo>
                      <a:pt x="80" y="827"/>
                    </a:lnTo>
                    <a:lnTo>
                      <a:pt x="77" y="825"/>
                    </a:lnTo>
                    <a:lnTo>
                      <a:pt x="75" y="821"/>
                    </a:lnTo>
                    <a:lnTo>
                      <a:pt x="73" y="817"/>
                    </a:lnTo>
                    <a:lnTo>
                      <a:pt x="73" y="813"/>
                    </a:lnTo>
                    <a:lnTo>
                      <a:pt x="61" y="812"/>
                    </a:lnTo>
                    <a:lnTo>
                      <a:pt x="50" y="810"/>
                    </a:lnTo>
                    <a:lnTo>
                      <a:pt x="41" y="807"/>
                    </a:lnTo>
                    <a:lnTo>
                      <a:pt x="34" y="803"/>
                    </a:lnTo>
                    <a:lnTo>
                      <a:pt x="26" y="798"/>
                    </a:lnTo>
                    <a:lnTo>
                      <a:pt x="20" y="791"/>
                    </a:lnTo>
                    <a:lnTo>
                      <a:pt x="15" y="785"/>
                    </a:lnTo>
                    <a:lnTo>
                      <a:pt x="12" y="777"/>
                    </a:lnTo>
                    <a:lnTo>
                      <a:pt x="8" y="769"/>
                    </a:lnTo>
                    <a:lnTo>
                      <a:pt x="5" y="760"/>
                    </a:lnTo>
                    <a:lnTo>
                      <a:pt x="3" y="752"/>
                    </a:lnTo>
                    <a:lnTo>
                      <a:pt x="2" y="743"/>
                    </a:lnTo>
                    <a:lnTo>
                      <a:pt x="0" y="726"/>
                    </a:lnTo>
                    <a:lnTo>
                      <a:pt x="0" y="708"/>
                    </a:lnTo>
                    <a:lnTo>
                      <a:pt x="1" y="702"/>
                    </a:lnTo>
                    <a:lnTo>
                      <a:pt x="2" y="697"/>
                    </a:lnTo>
                    <a:lnTo>
                      <a:pt x="4" y="694"/>
                    </a:lnTo>
                    <a:lnTo>
                      <a:pt x="7" y="691"/>
                    </a:lnTo>
                    <a:lnTo>
                      <a:pt x="14" y="685"/>
                    </a:lnTo>
                    <a:lnTo>
                      <a:pt x="19" y="678"/>
                    </a:lnTo>
                    <a:lnTo>
                      <a:pt x="17" y="677"/>
                    </a:lnTo>
                    <a:lnTo>
                      <a:pt x="14" y="675"/>
                    </a:lnTo>
                    <a:lnTo>
                      <a:pt x="11" y="672"/>
                    </a:lnTo>
                    <a:lnTo>
                      <a:pt x="7" y="668"/>
                    </a:lnTo>
                    <a:lnTo>
                      <a:pt x="2" y="660"/>
                    </a:lnTo>
                    <a:lnTo>
                      <a:pt x="0" y="652"/>
                    </a:lnTo>
                    <a:lnTo>
                      <a:pt x="1" y="642"/>
                    </a:lnTo>
                    <a:lnTo>
                      <a:pt x="3" y="635"/>
                    </a:lnTo>
                    <a:lnTo>
                      <a:pt x="5" y="628"/>
                    </a:lnTo>
                    <a:lnTo>
                      <a:pt x="7" y="622"/>
                    </a:lnTo>
                    <a:lnTo>
                      <a:pt x="8" y="616"/>
                    </a:lnTo>
                    <a:lnTo>
                      <a:pt x="8" y="610"/>
                    </a:lnTo>
                    <a:lnTo>
                      <a:pt x="5" y="602"/>
                    </a:lnTo>
                    <a:lnTo>
                      <a:pt x="0" y="591"/>
                    </a:lnTo>
                    <a:lnTo>
                      <a:pt x="5" y="591"/>
                    </a:lnTo>
                    <a:lnTo>
                      <a:pt x="9" y="590"/>
                    </a:lnTo>
                    <a:lnTo>
                      <a:pt x="14" y="589"/>
                    </a:lnTo>
                    <a:lnTo>
                      <a:pt x="18" y="587"/>
                    </a:lnTo>
                    <a:lnTo>
                      <a:pt x="27" y="582"/>
                    </a:lnTo>
                    <a:lnTo>
                      <a:pt x="36" y="575"/>
                    </a:lnTo>
                    <a:lnTo>
                      <a:pt x="43" y="568"/>
                    </a:lnTo>
                    <a:lnTo>
                      <a:pt x="50" y="559"/>
                    </a:lnTo>
                    <a:lnTo>
                      <a:pt x="57" y="549"/>
                    </a:lnTo>
                    <a:lnTo>
                      <a:pt x="63" y="538"/>
                    </a:lnTo>
                    <a:lnTo>
                      <a:pt x="68" y="527"/>
                    </a:lnTo>
                    <a:lnTo>
                      <a:pt x="73" y="516"/>
                    </a:lnTo>
                    <a:lnTo>
                      <a:pt x="76" y="506"/>
                    </a:lnTo>
                    <a:lnTo>
                      <a:pt x="80" y="496"/>
                    </a:lnTo>
                    <a:lnTo>
                      <a:pt x="84" y="476"/>
                    </a:lnTo>
                    <a:lnTo>
                      <a:pt x="86" y="462"/>
                    </a:lnTo>
                    <a:lnTo>
                      <a:pt x="85" y="453"/>
                    </a:lnTo>
                    <a:lnTo>
                      <a:pt x="84" y="445"/>
                    </a:lnTo>
                    <a:lnTo>
                      <a:pt x="83" y="438"/>
                    </a:lnTo>
                    <a:lnTo>
                      <a:pt x="81" y="430"/>
                    </a:lnTo>
                    <a:lnTo>
                      <a:pt x="75" y="419"/>
                    </a:lnTo>
                    <a:lnTo>
                      <a:pt x="70" y="408"/>
                    </a:lnTo>
                    <a:lnTo>
                      <a:pt x="63" y="398"/>
                    </a:lnTo>
                    <a:lnTo>
                      <a:pt x="58" y="388"/>
                    </a:lnTo>
                    <a:lnTo>
                      <a:pt x="56" y="382"/>
                    </a:lnTo>
                    <a:lnTo>
                      <a:pt x="54" y="376"/>
                    </a:lnTo>
                    <a:lnTo>
                      <a:pt x="53" y="370"/>
                    </a:lnTo>
                    <a:lnTo>
                      <a:pt x="53" y="363"/>
                    </a:lnTo>
                    <a:lnTo>
                      <a:pt x="93" y="26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3" name="Freeform 254">
                <a:extLst>
                  <a:ext uri="{FF2B5EF4-FFF2-40B4-BE49-F238E27FC236}">
                    <a16:creationId xmlns:a16="http://schemas.microsoft.com/office/drawing/2014/main" id="{A52349A0-0B2A-4FAE-9211-D5C7C2AAF076}"/>
                  </a:ext>
                </a:extLst>
              </p:cNvPr>
              <p:cNvSpPr>
                <a:spLocks/>
              </p:cNvSpPr>
              <p:nvPr>
                <p:custDataLst>
                  <p:tags r:id="rId181"/>
                </p:custDataLst>
              </p:nvPr>
            </p:nvSpPr>
            <p:spPr bwMode="auto">
              <a:xfrm>
                <a:off x="4894710" y="4587965"/>
                <a:ext cx="43436" cy="75593"/>
              </a:xfrm>
              <a:custGeom>
                <a:avLst/>
                <a:gdLst>
                  <a:gd name="T0" fmla="*/ 16664990 w 80"/>
                  <a:gd name="T1" fmla="*/ 559858 h 126"/>
                  <a:gd name="T2" fmla="*/ 16664990 w 80"/>
                  <a:gd name="T3" fmla="*/ 28281842 h 126"/>
                  <a:gd name="T4" fmla="*/ 16248285 w 80"/>
                  <a:gd name="T5" fmla="*/ 29121629 h 126"/>
                  <a:gd name="T6" fmla="*/ 15623456 w 80"/>
                  <a:gd name="T7" fmla="*/ 29961946 h 126"/>
                  <a:gd name="T8" fmla="*/ 14581923 w 80"/>
                  <a:gd name="T9" fmla="*/ 30521804 h 126"/>
                  <a:gd name="T10" fmla="*/ 13957094 w 80"/>
                  <a:gd name="T11" fmla="*/ 31081662 h 126"/>
                  <a:gd name="T12" fmla="*/ 12082152 w 80"/>
                  <a:gd name="T13" fmla="*/ 31921979 h 126"/>
                  <a:gd name="T14" fmla="*/ 9999085 w 80"/>
                  <a:gd name="T15" fmla="*/ 32481837 h 126"/>
                  <a:gd name="T16" fmla="*/ 7499314 w 80"/>
                  <a:gd name="T17" fmla="*/ 32761767 h 126"/>
                  <a:gd name="T18" fmla="*/ 5207667 w 80"/>
                  <a:gd name="T19" fmla="*/ 33322154 h 126"/>
                  <a:gd name="T20" fmla="*/ 2707895 w 80"/>
                  <a:gd name="T21" fmla="*/ 34441871 h 126"/>
                  <a:gd name="T22" fmla="*/ 0 w 80"/>
                  <a:gd name="T23" fmla="*/ 35282188 h 126"/>
                  <a:gd name="T24" fmla="*/ 1458238 w 80"/>
                  <a:gd name="T25" fmla="*/ 11200871 h 126"/>
                  <a:gd name="T26" fmla="*/ 4790962 w 80"/>
                  <a:gd name="T27" fmla="*/ 7560204 h 126"/>
                  <a:gd name="T28" fmla="*/ 8540847 w 80"/>
                  <a:gd name="T29" fmla="*/ 3360208 h 126"/>
                  <a:gd name="T30" fmla="*/ 10623914 w 80"/>
                  <a:gd name="T31" fmla="*/ 1400175 h 126"/>
                  <a:gd name="T32" fmla="*/ 12498856 w 80"/>
                  <a:gd name="T33" fmla="*/ 279929 h 126"/>
                  <a:gd name="T34" fmla="*/ 13540390 w 80"/>
                  <a:gd name="T35" fmla="*/ 0 h 126"/>
                  <a:gd name="T36" fmla="*/ 14581923 w 80"/>
                  <a:gd name="T37" fmla="*/ 0 h 126"/>
                  <a:gd name="T38" fmla="*/ 15623456 w 80"/>
                  <a:gd name="T39" fmla="*/ 279929 h 126"/>
                  <a:gd name="T40" fmla="*/ 16664990 w 80"/>
                  <a:gd name="T41" fmla="*/ 559858 h 12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0" t="0" r="r" b="b"/>
                <a:pathLst>
                  <a:path w="80" h="126">
                    <a:moveTo>
                      <a:pt x="80" y="2"/>
                    </a:moveTo>
                    <a:lnTo>
                      <a:pt x="80" y="101"/>
                    </a:lnTo>
                    <a:lnTo>
                      <a:pt x="78" y="104"/>
                    </a:lnTo>
                    <a:lnTo>
                      <a:pt x="75" y="107"/>
                    </a:lnTo>
                    <a:lnTo>
                      <a:pt x="70" y="109"/>
                    </a:lnTo>
                    <a:lnTo>
                      <a:pt x="67" y="111"/>
                    </a:lnTo>
                    <a:lnTo>
                      <a:pt x="58" y="114"/>
                    </a:lnTo>
                    <a:lnTo>
                      <a:pt x="48" y="116"/>
                    </a:lnTo>
                    <a:lnTo>
                      <a:pt x="36" y="117"/>
                    </a:lnTo>
                    <a:lnTo>
                      <a:pt x="25" y="119"/>
                    </a:lnTo>
                    <a:lnTo>
                      <a:pt x="13" y="123"/>
                    </a:lnTo>
                    <a:lnTo>
                      <a:pt x="0" y="126"/>
                    </a:lnTo>
                    <a:lnTo>
                      <a:pt x="7" y="40"/>
                    </a:lnTo>
                    <a:lnTo>
                      <a:pt x="23" y="27"/>
                    </a:lnTo>
                    <a:lnTo>
                      <a:pt x="41" y="12"/>
                    </a:lnTo>
                    <a:lnTo>
                      <a:pt x="51" y="5"/>
                    </a:lnTo>
                    <a:lnTo>
                      <a:pt x="60" y="1"/>
                    </a:lnTo>
                    <a:lnTo>
                      <a:pt x="65" y="0"/>
                    </a:lnTo>
                    <a:lnTo>
                      <a:pt x="70" y="0"/>
                    </a:lnTo>
                    <a:lnTo>
                      <a:pt x="75" y="1"/>
                    </a:lnTo>
                    <a:lnTo>
                      <a:pt x="80" y="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4" name="Freeform 255">
                <a:extLst>
                  <a:ext uri="{FF2B5EF4-FFF2-40B4-BE49-F238E27FC236}">
                    <a16:creationId xmlns:a16="http://schemas.microsoft.com/office/drawing/2014/main" id="{DA1F8374-794F-4BE8-881D-7F9E5290BAB7}"/>
                  </a:ext>
                </a:extLst>
              </p:cNvPr>
              <p:cNvSpPr>
                <a:spLocks/>
              </p:cNvSpPr>
              <p:nvPr>
                <p:custDataLst>
                  <p:tags r:id="rId182"/>
                </p:custDataLst>
              </p:nvPr>
            </p:nvSpPr>
            <p:spPr bwMode="auto">
              <a:xfrm>
                <a:off x="4880232" y="4544016"/>
                <a:ext cx="66963" cy="68560"/>
              </a:xfrm>
              <a:custGeom>
                <a:avLst/>
                <a:gdLst>
                  <a:gd name="T0" fmla="*/ 22687667 w 124"/>
                  <a:gd name="T1" fmla="*/ 0 h 117"/>
                  <a:gd name="T2" fmla="*/ 23289888 w 124"/>
                  <a:gd name="T3" fmla="*/ 3987637 h 117"/>
                  <a:gd name="T4" fmla="*/ 24494777 w 124"/>
                  <a:gd name="T5" fmla="*/ 9304487 h 117"/>
                  <a:gd name="T6" fmla="*/ 24896257 w 124"/>
                  <a:gd name="T7" fmla="*/ 11962912 h 117"/>
                  <a:gd name="T8" fmla="*/ 24896257 w 124"/>
                  <a:gd name="T9" fmla="*/ 14355288 h 117"/>
                  <a:gd name="T10" fmla="*/ 24896257 w 124"/>
                  <a:gd name="T11" fmla="*/ 15684500 h 117"/>
                  <a:gd name="T12" fmla="*/ 24695517 w 124"/>
                  <a:gd name="T13" fmla="*/ 17013712 h 117"/>
                  <a:gd name="T14" fmla="*/ 24494777 w 124"/>
                  <a:gd name="T15" fmla="*/ 18342925 h 117"/>
                  <a:gd name="T16" fmla="*/ 23892556 w 124"/>
                  <a:gd name="T17" fmla="*/ 19406604 h 117"/>
                  <a:gd name="T18" fmla="*/ 22888407 w 124"/>
                  <a:gd name="T19" fmla="*/ 19140555 h 117"/>
                  <a:gd name="T20" fmla="*/ 21683967 w 124"/>
                  <a:gd name="T21" fmla="*/ 18874507 h 117"/>
                  <a:gd name="T22" fmla="*/ 20679818 w 124"/>
                  <a:gd name="T23" fmla="*/ 19140555 h 117"/>
                  <a:gd name="T24" fmla="*/ 19274637 w 124"/>
                  <a:gd name="T25" fmla="*/ 19406604 h 117"/>
                  <a:gd name="T26" fmla="*/ 16664567 w 124"/>
                  <a:gd name="T27" fmla="*/ 20735816 h 117"/>
                  <a:gd name="T28" fmla="*/ 14255238 w 124"/>
                  <a:gd name="T29" fmla="*/ 22596611 h 117"/>
                  <a:gd name="T30" fmla="*/ 9235838 w 124"/>
                  <a:gd name="T31" fmla="*/ 27381878 h 117"/>
                  <a:gd name="T32" fmla="*/ 5220140 w 124"/>
                  <a:gd name="T33" fmla="*/ 31103467 h 117"/>
                  <a:gd name="T34" fmla="*/ 4617919 w 124"/>
                  <a:gd name="T35" fmla="*/ 29774254 h 117"/>
                  <a:gd name="T36" fmla="*/ 2610070 w 124"/>
                  <a:gd name="T37" fmla="*/ 26849781 h 117"/>
                  <a:gd name="T38" fmla="*/ 802961 w 124"/>
                  <a:gd name="T39" fmla="*/ 23659774 h 117"/>
                  <a:gd name="T40" fmla="*/ 0 w 124"/>
                  <a:gd name="T41" fmla="*/ 21001350 h 117"/>
                  <a:gd name="T42" fmla="*/ 200740 w 124"/>
                  <a:gd name="T43" fmla="*/ 20203719 h 117"/>
                  <a:gd name="T44" fmla="*/ 401480 w 124"/>
                  <a:gd name="T45" fmla="*/ 19140555 h 117"/>
                  <a:gd name="T46" fmla="*/ 1003701 w 124"/>
                  <a:gd name="T47" fmla="*/ 17811343 h 117"/>
                  <a:gd name="T48" fmla="*/ 1807109 w 124"/>
                  <a:gd name="T49" fmla="*/ 16482131 h 117"/>
                  <a:gd name="T50" fmla="*/ 3413030 w 124"/>
                  <a:gd name="T51" fmla="*/ 13823706 h 117"/>
                  <a:gd name="T52" fmla="*/ 5420880 w 124"/>
                  <a:gd name="T53" fmla="*/ 11165281 h 117"/>
                  <a:gd name="T54" fmla="*/ 9637319 w 124"/>
                  <a:gd name="T55" fmla="*/ 5848431 h 117"/>
                  <a:gd name="T56" fmla="*/ 12046648 w 124"/>
                  <a:gd name="T57" fmla="*/ 3190007 h 117"/>
                  <a:gd name="T58" fmla="*/ 14656718 w 124"/>
                  <a:gd name="T59" fmla="*/ 3190007 h 117"/>
                  <a:gd name="T60" fmla="*/ 17266788 w 124"/>
                  <a:gd name="T61" fmla="*/ 3190007 h 117"/>
                  <a:gd name="T62" fmla="*/ 20077598 w 124"/>
                  <a:gd name="T63" fmla="*/ 1595261 h 117"/>
                  <a:gd name="T64" fmla="*/ 22687667 w 124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24" h="117">
                    <a:moveTo>
                      <a:pt x="113" y="0"/>
                    </a:moveTo>
                    <a:lnTo>
                      <a:pt x="116" y="15"/>
                    </a:lnTo>
                    <a:lnTo>
                      <a:pt x="122" y="35"/>
                    </a:lnTo>
                    <a:lnTo>
                      <a:pt x="124" y="45"/>
                    </a:lnTo>
                    <a:lnTo>
                      <a:pt x="124" y="54"/>
                    </a:lnTo>
                    <a:lnTo>
                      <a:pt x="124" y="59"/>
                    </a:lnTo>
                    <a:lnTo>
                      <a:pt x="123" y="64"/>
                    </a:lnTo>
                    <a:lnTo>
                      <a:pt x="122" y="69"/>
                    </a:lnTo>
                    <a:lnTo>
                      <a:pt x="119" y="73"/>
                    </a:lnTo>
                    <a:lnTo>
                      <a:pt x="114" y="72"/>
                    </a:lnTo>
                    <a:lnTo>
                      <a:pt x="108" y="71"/>
                    </a:lnTo>
                    <a:lnTo>
                      <a:pt x="103" y="72"/>
                    </a:lnTo>
                    <a:lnTo>
                      <a:pt x="96" y="73"/>
                    </a:lnTo>
                    <a:lnTo>
                      <a:pt x="83" y="78"/>
                    </a:lnTo>
                    <a:lnTo>
                      <a:pt x="71" y="85"/>
                    </a:lnTo>
                    <a:lnTo>
                      <a:pt x="46" y="103"/>
                    </a:lnTo>
                    <a:lnTo>
                      <a:pt x="26" y="117"/>
                    </a:lnTo>
                    <a:lnTo>
                      <a:pt x="23" y="112"/>
                    </a:lnTo>
                    <a:lnTo>
                      <a:pt x="13" y="101"/>
                    </a:lnTo>
                    <a:lnTo>
                      <a:pt x="4" y="89"/>
                    </a:lnTo>
                    <a:lnTo>
                      <a:pt x="0" y="79"/>
                    </a:lnTo>
                    <a:lnTo>
                      <a:pt x="1" y="76"/>
                    </a:lnTo>
                    <a:lnTo>
                      <a:pt x="2" y="72"/>
                    </a:lnTo>
                    <a:lnTo>
                      <a:pt x="5" y="67"/>
                    </a:lnTo>
                    <a:lnTo>
                      <a:pt x="9" y="62"/>
                    </a:lnTo>
                    <a:lnTo>
                      <a:pt x="17" y="52"/>
                    </a:lnTo>
                    <a:lnTo>
                      <a:pt x="27" y="42"/>
                    </a:lnTo>
                    <a:lnTo>
                      <a:pt x="48" y="22"/>
                    </a:lnTo>
                    <a:lnTo>
                      <a:pt x="60" y="12"/>
                    </a:lnTo>
                    <a:lnTo>
                      <a:pt x="73" y="12"/>
                    </a:lnTo>
                    <a:lnTo>
                      <a:pt x="86" y="12"/>
                    </a:lnTo>
                    <a:lnTo>
                      <a:pt x="100" y="6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5" name="Freeform 256">
                <a:extLst>
                  <a:ext uri="{FF2B5EF4-FFF2-40B4-BE49-F238E27FC236}">
                    <a16:creationId xmlns:a16="http://schemas.microsoft.com/office/drawing/2014/main" id="{DD992B37-C131-4D11-B753-CA333EE62341}"/>
                  </a:ext>
                </a:extLst>
              </p:cNvPr>
              <p:cNvSpPr>
                <a:spLocks/>
              </p:cNvSpPr>
              <p:nvPr>
                <p:custDataLst>
                  <p:tags r:id="rId183"/>
                </p:custDataLst>
              </p:nvPr>
            </p:nvSpPr>
            <p:spPr bwMode="auto">
              <a:xfrm>
                <a:off x="5253056" y="3083141"/>
                <a:ext cx="608102" cy="530908"/>
              </a:xfrm>
              <a:custGeom>
                <a:avLst/>
                <a:gdLst>
                  <a:gd name="T0" fmla="*/ 175864703 w 1156"/>
                  <a:gd name="T1" fmla="*/ 52772568 h 900"/>
                  <a:gd name="T2" fmla="*/ 162788786 w 1156"/>
                  <a:gd name="T3" fmla="*/ 44760254 h 900"/>
                  <a:gd name="T4" fmla="*/ 146491015 w 1156"/>
                  <a:gd name="T5" fmla="*/ 30668927 h 900"/>
                  <a:gd name="T6" fmla="*/ 116927523 w 1156"/>
                  <a:gd name="T7" fmla="*/ 28734576 h 900"/>
                  <a:gd name="T8" fmla="*/ 104419708 w 1156"/>
                  <a:gd name="T9" fmla="*/ 42549417 h 900"/>
                  <a:gd name="T10" fmla="*/ 95512918 w 1156"/>
                  <a:gd name="T11" fmla="*/ 49456837 h 900"/>
                  <a:gd name="T12" fmla="*/ 80730955 w 1156"/>
                  <a:gd name="T13" fmla="*/ 54430433 h 900"/>
                  <a:gd name="T14" fmla="*/ 72582069 w 1156"/>
                  <a:gd name="T15" fmla="*/ 54982879 h 900"/>
                  <a:gd name="T16" fmla="*/ 67275868 w 1156"/>
                  <a:gd name="T17" fmla="*/ 47799498 h 900"/>
                  <a:gd name="T18" fmla="*/ 49272485 w 1156"/>
                  <a:gd name="T19" fmla="*/ 37576347 h 900"/>
                  <a:gd name="T20" fmla="*/ 43208380 w 1156"/>
                  <a:gd name="T21" fmla="*/ 23761506 h 900"/>
                  <a:gd name="T22" fmla="*/ 41692136 w 1156"/>
                  <a:gd name="T23" fmla="*/ 6354974 h 900"/>
                  <a:gd name="T24" fmla="*/ 35627596 w 1156"/>
                  <a:gd name="T25" fmla="*/ 276486 h 900"/>
                  <a:gd name="T26" fmla="*/ 29374124 w 1156"/>
                  <a:gd name="T27" fmla="*/ 5802002 h 900"/>
                  <a:gd name="T28" fmla="*/ 25773099 w 1156"/>
                  <a:gd name="T29" fmla="*/ 18511950 h 900"/>
                  <a:gd name="T30" fmla="*/ 14971331 w 1156"/>
                  <a:gd name="T31" fmla="*/ 14920260 h 900"/>
                  <a:gd name="T32" fmla="*/ 757904 w 1156"/>
                  <a:gd name="T33" fmla="*/ 4420623 h 900"/>
                  <a:gd name="T34" fmla="*/ 947707 w 1156"/>
                  <a:gd name="T35" fmla="*/ 19893329 h 900"/>
                  <a:gd name="T36" fmla="*/ 8528056 w 1156"/>
                  <a:gd name="T37" fmla="*/ 40339105 h 900"/>
                  <a:gd name="T38" fmla="*/ 13834256 w 1156"/>
                  <a:gd name="T39" fmla="*/ 56640744 h 900"/>
                  <a:gd name="T40" fmla="*/ 25583732 w 1156"/>
                  <a:gd name="T41" fmla="*/ 78467899 h 900"/>
                  <a:gd name="T42" fmla="*/ 23120216 w 1156"/>
                  <a:gd name="T43" fmla="*/ 87309671 h 900"/>
                  <a:gd name="T44" fmla="*/ 25204562 w 1156"/>
                  <a:gd name="T45" fmla="*/ 102229405 h 900"/>
                  <a:gd name="T46" fmla="*/ 35627596 w 1156"/>
                  <a:gd name="T47" fmla="*/ 118254558 h 900"/>
                  <a:gd name="T48" fmla="*/ 49083118 w 1156"/>
                  <a:gd name="T49" fmla="*/ 125990911 h 900"/>
                  <a:gd name="T50" fmla="*/ 49083118 w 1156"/>
                  <a:gd name="T51" fmla="*/ 144779347 h 900"/>
                  <a:gd name="T52" fmla="*/ 63485912 w 1156"/>
                  <a:gd name="T53" fmla="*/ 160528014 h 900"/>
                  <a:gd name="T54" fmla="*/ 80162418 w 1156"/>
                  <a:gd name="T55" fmla="*/ 183460588 h 900"/>
                  <a:gd name="T56" fmla="*/ 89259011 w 1156"/>
                  <a:gd name="T57" fmla="*/ 198933294 h 900"/>
                  <a:gd name="T58" fmla="*/ 95512918 w 1156"/>
                  <a:gd name="T59" fmla="*/ 202524984 h 900"/>
                  <a:gd name="T60" fmla="*/ 102714097 w 1156"/>
                  <a:gd name="T61" fmla="*/ 208603473 h 900"/>
                  <a:gd name="T62" fmla="*/ 113326934 w 1156"/>
                  <a:gd name="T63" fmla="*/ 217445244 h 900"/>
                  <a:gd name="T64" fmla="*/ 129814073 w 1156"/>
                  <a:gd name="T65" fmla="*/ 219655556 h 900"/>
                  <a:gd name="T66" fmla="*/ 138720863 w 1156"/>
                  <a:gd name="T67" fmla="*/ 215510893 h 900"/>
                  <a:gd name="T68" fmla="*/ 147628089 w 1156"/>
                  <a:gd name="T69" fmla="*/ 211090270 h 900"/>
                  <a:gd name="T70" fmla="*/ 151797215 w 1156"/>
                  <a:gd name="T71" fmla="*/ 219932042 h 900"/>
                  <a:gd name="T72" fmla="*/ 154071363 w 1156"/>
                  <a:gd name="T73" fmla="*/ 236786127 h 900"/>
                  <a:gd name="T74" fmla="*/ 165631472 w 1156"/>
                  <a:gd name="T75" fmla="*/ 241482711 h 900"/>
                  <a:gd name="T76" fmla="*/ 191594373 w 1156"/>
                  <a:gd name="T77" fmla="*/ 246456306 h 900"/>
                  <a:gd name="T78" fmla="*/ 206755071 w 1156"/>
                  <a:gd name="T79" fmla="*/ 242864615 h 900"/>
                  <a:gd name="T80" fmla="*/ 208270880 w 1156"/>
                  <a:gd name="T81" fmla="*/ 229602221 h 900"/>
                  <a:gd name="T82" fmla="*/ 219073084 w 1156"/>
                  <a:gd name="T83" fmla="*/ 212748135 h 900"/>
                  <a:gd name="T84" fmla="*/ 214524787 w 1156"/>
                  <a:gd name="T85" fmla="*/ 207222094 h 900"/>
                  <a:gd name="T86" fmla="*/ 207702343 w 1156"/>
                  <a:gd name="T87" fmla="*/ 195617564 h 900"/>
                  <a:gd name="T88" fmla="*/ 195384330 w 1156"/>
                  <a:gd name="T89" fmla="*/ 177658586 h 900"/>
                  <a:gd name="T90" fmla="*/ 192920815 w 1156"/>
                  <a:gd name="T91" fmla="*/ 166606502 h 900"/>
                  <a:gd name="T92" fmla="*/ 197847846 w 1156"/>
                  <a:gd name="T93" fmla="*/ 154449526 h 900"/>
                  <a:gd name="T94" fmla="*/ 198606185 w 1156"/>
                  <a:gd name="T95" fmla="*/ 145331794 h 900"/>
                  <a:gd name="T96" fmla="*/ 195194963 w 1156"/>
                  <a:gd name="T97" fmla="*/ 141463617 h 900"/>
                  <a:gd name="T98" fmla="*/ 186287737 w 1156"/>
                  <a:gd name="T99" fmla="*/ 140082238 h 900"/>
                  <a:gd name="T100" fmla="*/ 180792169 w 1156"/>
                  <a:gd name="T101" fmla="*/ 125161978 h 900"/>
                  <a:gd name="T102" fmla="*/ 177570314 w 1156"/>
                  <a:gd name="T103" fmla="*/ 103058337 h 900"/>
                  <a:gd name="T104" fmla="*/ 175106799 w 1156"/>
                  <a:gd name="T105" fmla="*/ 98637714 h 900"/>
                  <a:gd name="T106" fmla="*/ 178138851 w 1156"/>
                  <a:gd name="T107" fmla="*/ 92282740 h 900"/>
                  <a:gd name="T108" fmla="*/ 181929244 w 1156"/>
                  <a:gd name="T109" fmla="*/ 80954697 h 90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156" h="900">
                    <a:moveTo>
                      <a:pt x="963" y="271"/>
                    </a:moveTo>
                    <a:lnTo>
                      <a:pt x="954" y="252"/>
                    </a:lnTo>
                    <a:lnTo>
                      <a:pt x="948" y="234"/>
                    </a:lnTo>
                    <a:lnTo>
                      <a:pt x="941" y="213"/>
                    </a:lnTo>
                    <a:lnTo>
                      <a:pt x="937" y="191"/>
                    </a:lnTo>
                    <a:lnTo>
                      <a:pt x="928" y="191"/>
                    </a:lnTo>
                    <a:lnTo>
                      <a:pt x="920" y="190"/>
                    </a:lnTo>
                    <a:lnTo>
                      <a:pt x="913" y="189"/>
                    </a:lnTo>
                    <a:lnTo>
                      <a:pt x="906" y="187"/>
                    </a:lnTo>
                    <a:lnTo>
                      <a:pt x="893" y="183"/>
                    </a:lnTo>
                    <a:lnTo>
                      <a:pt x="881" y="177"/>
                    </a:lnTo>
                    <a:lnTo>
                      <a:pt x="859" y="162"/>
                    </a:lnTo>
                    <a:lnTo>
                      <a:pt x="839" y="145"/>
                    </a:lnTo>
                    <a:lnTo>
                      <a:pt x="828" y="137"/>
                    </a:lnTo>
                    <a:lnTo>
                      <a:pt x="816" y="129"/>
                    </a:lnTo>
                    <a:lnTo>
                      <a:pt x="803" y="122"/>
                    </a:lnTo>
                    <a:lnTo>
                      <a:pt x="789" y="116"/>
                    </a:lnTo>
                    <a:lnTo>
                      <a:pt x="773" y="111"/>
                    </a:lnTo>
                    <a:lnTo>
                      <a:pt x="755" y="106"/>
                    </a:lnTo>
                    <a:lnTo>
                      <a:pt x="745" y="105"/>
                    </a:lnTo>
                    <a:lnTo>
                      <a:pt x="734" y="104"/>
                    </a:lnTo>
                    <a:lnTo>
                      <a:pt x="723" y="104"/>
                    </a:lnTo>
                    <a:lnTo>
                      <a:pt x="711" y="104"/>
                    </a:lnTo>
                    <a:lnTo>
                      <a:pt x="617" y="104"/>
                    </a:lnTo>
                    <a:lnTo>
                      <a:pt x="609" y="113"/>
                    </a:lnTo>
                    <a:lnTo>
                      <a:pt x="587" y="129"/>
                    </a:lnTo>
                    <a:lnTo>
                      <a:pt x="576" y="138"/>
                    </a:lnTo>
                    <a:lnTo>
                      <a:pt x="565" y="146"/>
                    </a:lnTo>
                    <a:lnTo>
                      <a:pt x="556" y="152"/>
                    </a:lnTo>
                    <a:lnTo>
                      <a:pt x="551" y="154"/>
                    </a:lnTo>
                    <a:lnTo>
                      <a:pt x="542" y="155"/>
                    </a:lnTo>
                    <a:lnTo>
                      <a:pt x="532" y="157"/>
                    </a:lnTo>
                    <a:lnTo>
                      <a:pt x="522" y="159"/>
                    </a:lnTo>
                    <a:lnTo>
                      <a:pt x="512" y="160"/>
                    </a:lnTo>
                    <a:lnTo>
                      <a:pt x="518" y="173"/>
                    </a:lnTo>
                    <a:lnTo>
                      <a:pt x="504" y="179"/>
                    </a:lnTo>
                    <a:lnTo>
                      <a:pt x="490" y="184"/>
                    </a:lnTo>
                    <a:lnTo>
                      <a:pt x="478" y="188"/>
                    </a:lnTo>
                    <a:lnTo>
                      <a:pt x="465" y="192"/>
                    </a:lnTo>
                    <a:lnTo>
                      <a:pt x="453" y="194"/>
                    </a:lnTo>
                    <a:lnTo>
                      <a:pt x="439" y="196"/>
                    </a:lnTo>
                    <a:lnTo>
                      <a:pt x="426" y="197"/>
                    </a:lnTo>
                    <a:lnTo>
                      <a:pt x="412" y="197"/>
                    </a:lnTo>
                    <a:lnTo>
                      <a:pt x="405" y="198"/>
                    </a:lnTo>
                    <a:lnTo>
                      <a:pt x="398" y="199"/>
                    </a:lnTo>
                    <a:lnTo>
                      <a:pt x="393" y="200"/>
                    </a:lnTo>
                    <a:lnTo>
                      <a:pt x="389" y="200"/>
                    </a:lnTo>
                    <a:lnTo>
                      <a:pt x="383" y="199"/>
                    </a:lnTo>
                    <a:lnTo>
                      <a:pt x="379" y="197"/>
                    </a:lnTo>
                    <a:lnTo>
                      <a:pt x="371" y="194"/>
                    </a:lnTo>
                    <a:lnTo>
                      <a:pt x="367" y="190"/>
                    </a:lnTo>
                    <a:lnTo>
                      <a:pt x="363" y="184"/>
                    </a:lnTo>
                    <a:lnTo>
                      <a:pt x="358" y="179"/>
                    </a:lnTo>
                    <a:lnTo>
                      <a:pt x="355" y="173"/>
                    </a:lnTo>
                    <a:lnTo>
                      <a:pt x="351" y="168"/>
                    </a:lnTo>
                    <a:lnTo>
                      <a:pt x="345" y="163"/>
                    </a:lnTo>
                    <a:lnTo>
                      <a:pt x="338" y="160"/>
                    </a:lnTo>
                    <a:lnTo>
                      <a:pt x="316" y="153"/>
                    </a:lnTo>
                    <a:lnTo>
                      <a:pt x="280" y="142"/>
                    </a:lnTo>
                    <a:lnTo>
                      <a:pt x="260" y="136"/>
                    </a:lnTo>
                    <a:lnTo>
                      <a:pt x="244" y="128"/>
                    </a:lnTo>
                    <a:lnTo>
                      <a:pt x="237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5" y="111"/>
                    </a:lnTo>
                    <a:lnTo>
                      <a:pt x="228" y="86"/>
                    </a:lnTo>
                    <a:lnTo>
                      <a:pt x="228" y="65"/>
                    </a:lnTo>
                    <a:lnTo>
                      <a:pt x="228" y="56"/>
                    </a:lnTo>
                    <a:lnTo>
                      <a:pt x="226" y="46"/>
                    </a:lnTo>
                    <a:lnTo>
                      <a:pt x="224" y="37"/>
                    </a:lnTo>
                    <a:lnTo>
                      <a:pt x="222" y="30"/>
                    </a:lnTo>
                    <a:lnTo>
                      <a:pt x="220" y="23"/>
                    </a:lnTo>
                    <a:lnTo>
                      <a:pt x="217" y="17"/>
                    </a:lnTo>
                    <a:lnTo>
                      <a:pt x="212" y="12"/>
                    </a:lnTo>
                    <a:lnTo>
                      <a:pt x="207" y="8"/>
                    </a:lnTo>
                    <a:lnTo>
                      <a:pt x="201" y="5"/>
                    </a:lnTo>
                    <a:lnTo>
                      <a:pt x="195" y="2"/>
                    </a:lnTo>
                    <a:lnTo>
                      <a:pt x="188" y="1"/>
                    </a:lnTo>
                    <a:lnTo>
                      <a:pt x="179" y="0"/>
                    </a:lnTo>
                    <a:lnTo>
                      <a:pt x="174" y="1"/>
                    </a:lnTo>
                    <a:lnTo>
                      <a:pt x="168" y="3"/>
                    </a:lnTo>
                    <a:lnTo>
                      <a:pt x="164" y="7"/>
                    </a:lnTo>
                    <a:lnTo>
                      <a:pt x="161" y="11"/>
                    </a:lnTo>
                    <a:lnTo>
                      <a:pt x="155" y="21"/>
                    </a:lnTo>
                    <a:lnTo>
                      <a:pt x="151" y="34"/>
                    </a:lnTo>
                    <a:lnTo>
                      <a:pt x="147" y="46"/>
                    </a:lnTo>
                    <a:lnTo>
                      <a:pt x="144" y="57"/>
                    </a:lnTo>
                    <a:lnTo>
                      <a:pt x="142" y="62"/>
                    </a:lnTo>
                    <a:lnTo>
                      <a:pt x="139" y="65"/>
                    </a:lnTo>
                    <a:lnTo>
                      <a:pt x="136" y="67"/>
                    </a:lnTo>
                    <a:lnTo>
                      <a:pt x="133" y="68"/>
                    </a:lnTo>
                    <a:lnTo>
                      <a:pt x="125" y="68"/>
                    </a:lnTo>
                    <a:lnTo>
                      <a:pt x="118" y="66"/>
                    </a:lnTo>
                    <a:lnTo>
                      <a:pt x="109" y="64"/>
                    </a:lnTo>
                    <a:lnTo>
                      <a:pt x="100" y="62"/>
                    </a:lnTo>
                    <a:lnTo>
                      <a:pt x="79" y="54"/>
                    </a:lnTo>
                    <a:lnTo>
                      <a:pt x="58" y="46"/>
                    </a:lnTo>
                    <a:lnTo>
                      <a:pt x="39" y="38"/>
                    </a:lnTo>
                    <a:lnTo>
                      <a:pt x="21" y="29"/>
                    </a:lnTo>
                    <a:lnTo>
                      <a:pt x="15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25"/>
                    </a:lnTo>
                    <a:lnTo>
                      <a:pt x="0" y="37"/>
                    </a:lnTo>
                    <a:lnTo>
                      <a:pt x="0" y="49"/>
                    </a:lnTo>
                    <a:lnTo>
                      <a:pt x="1" y="62"/>
                    </a:lnTo>
                    <a:lnTo>
                      <a:pt x="5" y="72"/>
                    </a:lnTo>
                    <a:lnTo>
                      <a:pt x="7" y="81"/>
                    </a:lnTo>
                    <a:lnTo>
                      <a:pt x="15" y="96"/>
                    </a:lnTo>
                    <a:lnTo>
                      <a:pt x="24" y="111"/>
                    </a:lnTo>
                    <a:lnTo>
                      <a:pt x="33" y="124"/>
                    </a:lnTo>
                    <a:lnTo>
                      <a:pt x="42" y="138"/>
                    </a:lnTo>
                    <a:lnTo>
                      <a:pt x="45" y="146"/>
                    </a:lnTo>
                    <a:lnTo>
                      <a:pt x="49" y="156"/>
                    </a:lnTo>
                    <a:lnTo>
                      <a:pt x="52" y="167"/>
                    </a:lnTo>
                    <a:lnTo>
                      <a:pt x="53" y="179"/>
                    </a:lnTo>
                    <a:lnTo>
                      <a:pt x="60" y="179"/>
                    </a:lnTo>
                    <a:lnTo>
                      <a:pt x="64" y="190"/>
                    </a:lnTo>
                    <a:lnTo>
                      <a:pt x="73" y="205"/>
                    </a:lnTo>
                    <a:lnTo>
                      <a:pt x="83" y="223"/>
                    </a:lnTo>
                    <a:lnTo>
                      <a:pt x="96" y="241"/>
                    </a:lnTo>
                    <a:lnTo>
                      <a:pt x="109" y="258"/>
                    </a:lnTo>
                    <a:lnTo>
                      <a:pt x="122" y="273"/>
                    </a:lnTo>
                    <a:lnTo>
                      <a:pt x="129" y="280"/>
                    </a:lnTo>
                    <a:lnTo>
                      <a:pt x="135" y="284"/>
                    </a:lnTo>
                    <a:lnTo>
                      <a:pt x="141" y="288"/>
                    </a:lnTo>
                    <a:lnTo>
                      <a:pt x="146" y="290"/>
                    </a:lnTo>
                    <a:lnTo>
                      <a:pt x="139" y="296"/>
                    </a:lnTo>
                    <a:lnTo>
                      <a:pt x="130" y="304"/>
                    </a:lnTo>
                    <a:lnTo>
                      <a:pt x="127" y="310"/>
                    </a:lnTo>
                    <a:lnTo>
                      <a:pt x="122" y="316"/>
                    </a:lnTo>
                    <a:lnTo>
                      <a:pt x="120" y="324"/>
                    </a:lnTo>
                    <a:lnTo>
                      <a:pt x="120" y="332"/>
                    </a:lnTo>
                    <a:lnTo>
                      <a:pt x="120" y="341"/>
                    </a:lnTo>
                    <a:lnTo>
                      <a:pt x="123" y="350"/>
                    </a:lnTo>
                    <a:lnTo>
                      <a:pt x="128" y="360"/>
                    </a:lnTo>
                    <a:lnTo>
                      <a:pt x="133" y="370"/>
                    </a:lnTo>
                    <a:lnTo>
                      <a:pt x="140" y="380"/>
                    </a:lnTo>
                    <a:lnTo>
                      <a:pt x="147" y="391"/>
                    </a:lnTo>
                    <a:lnTo>
                      <a:pt x="157" y="401"/>
                    </a:lnTo>
                    <a:lnTo>
                      <a:pt x="167" y="410"/>
                    </a:lnTo>
                    <a:lnTo>
                      <a:pt x="177" y="420"/>
                    </a:lnTo>
                    <a:lnTo>
                      <a:pt x="188" y="428"/>
                    </a:lnTo>
                    <a:lnTo>
                      <a:pt x="200" y="436"/>
                    </a:lnTo>
                    <a:lnTo>
                      <a:pt x="212" y="442"/>
                    </a:lnTo>
                    <a:lnTo>
                      <a:pt x="224" y="449"/>
                    </a:lnTo>
                    <a:lnTo>
                      <a:pt x="236" y="453"/>
                    </a:lnTo>
                    <a:lnTo>
                      <a:pt x="247" y="455"/>
                    </a:lnTo>
                    <a:lnTo>
                      <a:pt x="259" y="456"/>
                    </a:lnTo>
                    <a:lnTo>
                      <a:pt x="260" y="469"/>
                    </a:lnTo>
                    <a:lnTo>
                      <a:pt x="264" y="483"/>
                    </a:lnTo>
                    <a:lnTo>
                      <a:pt x="265" y="490"/>
                    </a:lnTo>
                    <a:lnTo>
                      <a:pt x="265" y="500"/>
                    </a:lnTo>
                    <a:lnTo>
                      <a:pt x="263" y="511"/>
                    </a:lnTo>
                    <a:lnTo>
                      <a:pt x="259" y="524"/>
                    </a:lnTo>
                    <a:lnTo>
                      <a:pt x="305" y="573"/>
                    </a:lnTo>
                    <a:lnTo>
                      <a:pt x="312" y="574"/>
                    </a:lnTo>
                    <a:lnTo>
                      <a:pt x="319" y="576"/>
                    </a:lnTo>
                    <a:lnTo>
                      <a:pt x="324" y="578"/>
                    </a:lnTo>
                    <a:lnTo>
                      <a:pt x="330" y="580"/>
                    </a:lnTo>
                    <a:lnTo>
                      <a:pt x="335" y="581"/>
                    </a:lnTo>
                    <a:lnTo>
                      <a:pt x="342" y="581"/>
                    </a:lnTo>
                    <a:lnTo>
                      <a:pt x="349" y="578"/>
                    </a:lnTo>
                    <a:lnTo>
                      <a:pt x="358" y="573"/>
                    </a:lnTo>
                    <a:lnTo>
                      <a:pt x="372" y="593"/>
                    </a:lnTo>
                    <a:lnTo>
                      <a:pt x="404" y="639"/>
                    </a:lnTo>
                    <a:lnTo>
                      <a:pt x="423" y="664"/>
                    </a:lnTo>
                    <a:lnTo>
                      <a:pt x="439" y="687"/>
                    </a:lnTo>
                    <a:lnTo>
                      <a:pt x="447" y="697"/>
                    </a:lnTo>
                    <a:lnTo>
                      <a:pt x="455" y="705"/>
                    </a:lnTo>
                    <a:lnTo>
                      <a:pt x="460" y="711"/>
                    </a:lnTo>
                    <a:lnTo>
                      <a:pt x="465" y="714"/>
                    </a:lnTo>
                    <a:lnTo>
                      <a:pt x="471" y="720"/>
                    </a:lnTo>
                    <a:lnTo>
                      <a:pt x="479" y="727"/>
                    </a:lnTo>
                    <a:lnTo>
                      <a:pt x="483" y="729"/>
                    </a:lnTo>
                    <a:lnTo>
                      <a:pt x="488" y="731"/>
                    </a:lnTo>
                    <a:lnTo>
                      <a:pt x="493" y="733"/>
                    </a:lnTo>
                    <a:lnTo>
                      <a:pt x="498" y="733"/>
                    </a:lnTo>
                    <a:lnTo>
                      <a:pt x="504" y="733"/>
                    </a:lnTo>
                    <a:lnTo>
                      <a:pt x="512" y="733"/>
                    </a:lnTo>
                    <a:lnTo>
                      <a:pt x="522" y="733"/>
                    </a:lnTo>
                    <a:lnTo>
                      <a:pt x="532" y="733"/>
                    </a:lnTo>
                    <a:lnTo>
                      <a:pt x="533" y="741"/>
                    </a:lnTo>
                    <a:lnTo>
                      <a:pt x="537" y="748"/>
                    </a:lnTo>
                    <a:lnTo>
                      <a:pt x="542" y="755"/>
                    </a:lnTo>
                    <a:lnTo>
                      <a:pt x="547" y="761"/>
                    </a:lnTo>
                    <a:lnTo>
                      <a:pt x="554" y="766"/>
                    </a:lnTo>
                    <a:lnTo>
                      <a:pt x="561" y="771"/>
                    </a:lnTo>
                    <a:lnTo>
                      <a:pt x="570" y="776"/>
                    </a:lnTo>
                    <a:lnTo>
                      <a:pt x="579" y="781"/>
                    </a:lnTo>
                    <a:lnTo>
                      <a:pt x="598" y="787"/>
                    </a:lnTo>
                    <a:lnTo>
                      <a:pt x="616" y="791"/>
                    </a:lnTo>
                    <a:lnTo>
                      <a:pt x="635" y="794"/>
                    </a:lnTo>
                    <a:lnTo>
                      <a:pt x="651" y="795"/>
                    </a:lnTo>
                    <a:lnTo>
                      <a:pt x="663" y="795"/>
                    </a:lnTo>
                    <a:lnTo>
                      <a:pt x="671" y="795"/>
                    </a:lnTo>
                    <a:lnTo>
                      <a:pt x="685" y="795"/>
                    </a:lnTo>
                    <a:lnTo>
                      <a:pt x="700" y="793"/>
                    </a:lnTo>
                    <a:lnTo>
                      <a:pt x="706" y="792"/>
                    </a:lnTo>
                    <a:lnTo>
                      <a:pt x="713" y="790"/>
                    </a:lnTo>
                    <a:lnTo>
                      <a:pt x="718" y="787"/>
                    </a:lnTo>
                    <a:lnTo>
                      <a:pt x="724" y="783"/>
                    </a:lnTo>
                    <a:lnTo>
                      <a:pt x="732" y="780"/>
                    </a:lnTo>
                    <a:lnTo>
                      <a:pt x="742" y="773"/>
                    </a:lnTo>
                    <a:lnTo>
                      <a:pt x="749" y="769"/>
                    </a:lnTo>
                    <a:lnTo>
                      <a:pt x="756" y="766"/>
                    </a:lnTo>
                    <a:lnTo>
                      <a:pt x="763" y="764"/>
                    </a:lnTo>
                    <a:lnTo>
                      <a:pt x="771" y="764"/>
                    </a:lnTo>
                    <a:lnTo>
                      <a:pt x="779" y="764"/>
                    </a:lnTo>
                    <a:lnTo>
                      <a:pt x="785" y="767"/>
                    </a:lnTo>
                    <a:lnTo>
                      <a:pt x="790" y="771"/>
                    </a:lnTo>
                    <a:lnTo>
                      <a:pt x="794" y="775"/>
                    </a:lnTo>
                    <a:lnTo>
                      <a:pt x="796" y="782"/>
                    </a:lnTo>
                    <a:lnTo>
                      <a:pt x="798" y="789"/>
                    </a:lnTo>
                    <a:lnTo>
                      <a:pt x="801" y="796"/>
                    </a:lnTo>
                    <a:lnTo>
                      <a:pt x="802" y="804"/>
                    </a:lnTo>
                    <a:lnTo>
                      <a:pt x="803" y="820"/>
                    </a:lnTo>
                    <a:lnTo>
                      <a:pt x="805" y="837"/>
                    </a:lnTo>
                    <a:lnTo>
                      <a:pt x="807" y="845"/>
                    </a:lnTo>
                    <a:lnTo>
                      <a:pt x="809" y="851"/>
                    </a:lnTo>
                    <a:lnTo>
                      <a:pt x="813" y="857"/>
                    </a:lnTo>
                    <a:lnTo>
                      <a:pt x="817" y="862"/>
                    </a:lnTo>
                    <a:lnTo>
                      <a:pt x="822" y="865"/>
                    </a:lnTo>
                    <a:lnTo>
                      <a:pt x="828" y="867"/>
                    </a:lnTo>
                    <a:lnTo>
                      <a:pt x="838" y="869"/>
                    </a:lnTo>
                    <a:lnTo>
                      <a:pt x="849" y="871"/>
                    </a:lnTo>
                    <a:lnTo>
                      <a:pt x="874" y="874"/>
                    </a:lnTo>
                    <a:lnTo>
                      <a:pt x="897" y="875"/>
                    </a:lnTo>
                    <a:lnTo>
                      <a:pt x="925" y="876"/>
                    </a:lnTo>
                    <a:lnTo>
                      <a:pt x="948" y="878"/>
                    </a:lnTo>
                    <a:lnTo>
                      <a:pt x="970" y="882"/>
                    </a:lnTo>
                    <a:lnTo>
                      <a:pt x="991" y="887"/>
                    </a:lnTo>
                    <a:lnTo>
                      <a:pt x="1011" y="892"/>
                    </a:lnTo>
                    <a:lnTo>
                      <a:pt x="1035" y="896"/>
                    </a:lnTo>
                    <a:lnTo>
                      <a:pt x="1047" y="898"/>
                    </a:lnTo>
                    <a:lnTo>
                      <a:pt x="1060" y="899"/>
                    </a:lnTo>
                    <a:lnTo>
                      <a:pt x="1074" y="900"/>
                    </a:lnTo>
                    <a:lnTo>
                      <a:pt x="1089" y="900"/>
                    </a:lnTo>
                    <a:lnTo>
                      <a:pt x="1091" y="879"/>
                    </a:lnTo>
                    <a:lnTo>
                      <a:pt x="1093" y="865"/>
                    </a:lnTo>
                    <a:lnTo>
                      <a:pt x="1095" y="854"/>
                    </a:lnTo>
                    <a:lnTo>
                      <a:pt x="1096" y="844"/>
                    </a:lnTo>
                    <a:lnTo>
                      <a:pt x="1096" y="840"/>
                    </a:lnTo>
                    <a:lnTo>
                      <a:pt x="1097" y="836"/>
                    </a:lnTo>
                    <a:lnTo>
                      <a:pt x="1099" y="831"/>
                    </a:lnTo>
                    <a:lnTo>
                      <a:pt x="1102" y="827"/>
                    </a:lnTo>
                    <a:lnTo>
                      <a:pt x="1108" y="820"/>
                    </a:lnTo>
                    <a:lnTo>
                      <a:pt x="1116" y="814"/>
                    </a:lnTo>
                    <a:lnTo>
                      <a:pt x="1136" y="802"/>
                    </a:lnTo>
                    <a:lnTo>
                      <a:pt x="1156" y="789"/>
                    </a:lnTo>
                    <a:lnTo>
                      <a:pt x="1156" y="770"/>
                    </a:lnTo>
                    <a:lnTo>
                      <a:pt x="1151" y="769"/>
                    </a:lnTo>
                    <a:lnTo>
                      <a:pt x="1147" y="768"/>
                    </a:lnTo>
                    <a:lnTo>
                      <a:pt x="1143" y="766"/>
                    </a:lnTo>
                    <a:lnTo>
                      <a:pt x="1140" y="764"/>
                    </a:lnTo>
                    <a:lnTo>
                      <a:pt x="1136" y="758"/>
                    </a:lnTo>
                    <a:lnTo>
                      <a:pt x="1132" y="750"/>
                    </a:lnTo>
                    <a:lnTo>
                      <a:pt x="1130" y="734"/>
                    </a:lnTo>
                    <a:lnTo>
                      <a:pt x="1129" y="720"/>
                    </a:lnTo>
                    <a:lnTo>
                      <a:pt x="1121" y="719"/>
                    </a:lnTo>
                    <a:lnTo>
                      <a:pt x="1114" y="717"/>
                    </a:lnTo>
                    <a:lnTo>
                      <a:pt x="1105" y="713"/>
                    </a:lnTo>
                    <a:lnTo>
                      <a:pt x="1096" y="708"/>
                    </a:lnTo>
                    <a:lnTo>
                      <a:pt x="1087" y="701"/>
                    </a:lnTo>
                    <a:lnTo>
                      <a:pt x="1077" y="694"/>
                    </a:lnTo>
                    <a:lnTo>
                      <a:pt x="1069" y="686"/>
                    </a:lnTo>
                    <a:lnTo>
                      <a:pt x="1061" y="678"/>
                    </a:lnTo>
                    <a:lnTo>
                      <a:pt x="1044" y="660"/>
                    </a:lnTo>
                    <a:lnTo>
                      <a:pt x="1031" y="643"/>
                    </a:lnTo>
                    <a:lnTo>
                      <a:pt x="1026" y="635"/>
                    </a:lnTo>
                    <a:lnTo>
                      <a:pt x="1021" y="628"/>
                    </a:lnTo>
                    <a:lnTo>
                      <a:pt x="1018" y="622"/>
                    </a:lnTo>
                    <a:lnTo>
                      <a:pt x="1016" y="616"/>
                    </a:lnTo>
                    <a:lnTo>
                      <a:pt x="1017" y="609"/>
                    </a:lnTo>
                    <a:lnTo>
                      <a:pt x="1018" y="603"/>
                    </a:lnTo>
                    <a:lnTo>
                      <a:pt x="1019" y="598"/>
                    </a:lnTo>
                    <a:lnTo>
                      <a:pt x="1021" y="593"/>
                    </a:lnTo>
                    <a:lnTo>
                      <a:pt x="1027" y="584"/>
                    </a:lnTo>
                    <a:lnTo>
                      <a:pt x="1033" y="576"/>
                    </a:lnTo>
                    <a:lnTo>
                      <a:pt x="1039" y="568"/>
                    </a:lnTo>
                    <a:lnTo>
                      <a:pt x="1044" y="559"/>
                    </a:lnTo>
                    <a:lnTo>
                      <a:pt x="1047" y="553"/>
                    </a:lnTo>
                    <a:lnTo>
                      <a:pt x="1048" y="548"/>
                    </a:lnTo>
                    <a:lnTo>
                      <a:pt x="1049" y="542"/>
                    </a:lnTo>
                    <a:lnTo>
                      <a:pt x="1050" y="536"/>
                    </a:lnTo>
                    <a:lnTo>
                      <a:pt x="1049" y="531"/>
                    </a:lnTo>
                    <a:lnTo>
                      <a:pt x="1048" y="526"/>
                    </a:lnTo>
                    <a:lnTo>
                      <a:pt x="1047" y="522"/>
                    </a:lnTo>
                    <a:lnTo>
                      <a:pt x="1044" y="519"/>
                    </a:lnTo>
                    <a:lnTo>
                      <a:pt x="1041" y="517"/>
                    </a:lnTo>
                    <a:lnTo>
                      <a:pt x="1038" y="515"/>
                    </a:lnTo>
                    <a:lnTo>
                      <a:pt x="1035" y="513"/>
                    </a:lnTo>
                    <a:lnTo>
                      <a:pt x="1030" y="512"/>
                    </a:lnTo>
                    <a:lnTo>
                      <a:pt x="1013" y="511"/>
                    </a:lnTo>
                    <a:lnTo>
                      <a:pt x="996" y="512"/>
                    </a:lnTo>
                    <a:lnTo>
                      <a:pt x="993" y="511"/>
                    </a:lnTo>
                    <a:lnTo>
                      <a:pt x="990" y="510"/>
                    </a:lnTo>
                    <a:lnTo>
                      <a:pt x="986" y="509"/>
                    </a:lnTo>
                    <a:lnTo>
                      <a:pt x="983" y="507"/>
                    </a:lnTo>
                    <a:lnTo>
                      <a:pt x="976" y="501"/>
                    </a:lnTo>
                    <a:lnTo>
                      <a:pt x="971" y="493"/>
                    </a:lnTo>
                    <a:lnTo>
                      <a:pt x="966" y="485"/>
                    </a:lnTo>
                    <a:lnTo>
                      <a:pt x="962" y="475"/>
                    </a:lnTo>
                    <a:lnTo>
                      <a:pt x="958" y="464"/>
                    </a:lnTo>
                    <a:lnTo>
                      <a:pt x="954" y="453"/>
                    </a:lnTo>
                    <a:lnTo>
                      <a:pt x="950" y="429"/>
                    </a:lnTo>
                    <a:lnTo>
                      <a:pt x="946" y="407"/>
                    </a:lnTo>
                    <a:lnTo>
                      <a:pt x="943" y="389"/>
                    </a:lnTo>
                    <a:lnTo>
                      <a:pt x="943" y="375"/>
                    </a:lnTo>
                    <a:lnTo>
                      <a:pt x="940" y="375"/>
                    </a:lnTo>
                    <a:lnTo>
                      <a:pt x="937" y="373"/>
                    </a:lnTo>
                    <a:lnTo>
                      <a:pt x="934" y="371"/>
                    </a:lnTo>
                    <a:lnTo>
                      <a:pt x="931" y="369"/>
                    </a:lnTo>
                    <a:lnTo>
                      <a:pt x="928" y="366"/>
                    </a:lnTo>
                    <a:lnTo>
                      <a:pt x="926" y="363"/>
                    </a:lnTo>
                    <a:lnTo>
                      <a:pt x="924" y="360"/>
                    </a:lnTo>
                    <a:lnTo>
                      <a:pt x="924" y="357"/>
                    </a:lnTo>
                    <a:lnTo>
                      <a:pt x="924" y="354"/>
                    </a:lnTo>
                    <a:lnTo>
                      <a:pt x="925" y="351"/>
                    </a:lnTo>
                    <a:lnTo>
                      <a:pt x="926" y="348"/>
                    </a:lnTo>
                    <a:lnTo>
                      <a:pt x="928" y="345"/>
                    </a:lnTo>
                    <a:lnTo>
                      <a:pt x="934" y="339"/>
                    </a:lnTo>
                    <a:lnTo>
                      <a:pt x="940" y="334"/>
                    </a:lnTo>
                    <a:lnTo>
                      <a:pt x="946" y="328"/>
                    </a:lnTo>
                    <a:lnTo>
                      <a:pt x="951" y="323"/>
                    </a:lnTo>
                    <a:lnTo>
                      <a:pt x="955" y="318"/>
                    </a:lnTo>
                    <a:lnTo>
                      <a:pt x="957" y="314"/>
                    </a:lnTo>
                    <a:lnTo>
                      <a:pt x="958" y="301"/>
                    </a:lnTo>
                    <a:lnTo>
                      <a:pt x="960" y="293"/>
                    </a:lnTo>
                    <a:lnTo>
                      <a:pt x="962" y="285"/>
                    </a:lnTo>
                    <a:lnTo>
                      <a:pt x="963" y="27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6" name="Freeform 257">
                <a:extLst>
                  <a:ext uri="{FF2B5EF4-FFF2-40B4-BE49-F238E27FC236}">
                    <a16:creationId xmlns:a16="http://schemas.microsoft.com/office/drawing/2014/main" id="{037E3E0A-545A-4102-8FF1-9F7EB437BD3F}"/>
                  </a:ext>
                </a:extLst>
              </p:cNvPr>
              <p:cNvSpPr>
                <a:spLocks/>
              </p:cNvSpPr>
              <p:nvPr>
                <p:custDataLst>
                  <p:tags r:id="rId184"/>
                </p:custDataLst>
              </p:nvPr>
            </p:nvSpPr>
            <p:spPr bwMode="auto">
              <a:xfrm>
                <a:off x="5282013" y="3821489"/>
                <a:ext cx="298621" cy="256664"/>
              </a:xfrm>
              <a:custGeom>
                <a:avLst/>
                <a:gdLst>
                  <a:gd name="T0" fmla="*/ 4890979 w 571"/>
                  <a:gd name="T1" fmla="*/ 50593876 h 443"/>
                  <a:gd name="T2" fmla="*/ 6959789 w 571"/>
                  <a:gd name="T3" fmla="*/ 47132366 h 443"/>
                  <a:gd name="T4" fmla="*/ 7712281 w 571"/>
                  <a:gd name="T5" fmla="*/ 43670340 h 443"/>
                  <a:gd name="T6" fmla="*/ 7336252 w 571"/>
                  <a:gd name="T7" fmla="*/ 34350375 h 443"/>
                  <a:gd name="T8" fmla="*/ 8276541 w 571"/>
                  <a:gd name="T9" fmla="*/ 31953945 h 443"/>
                  <a:gd name="T10" fmla="*/ 10345785 w 571"/>
                  <a:gd name="T11" fmla="*/ 29823786 h 443"/>
                  <a:gd name="T12" fmla="*/ 12791057 w 571"/>
                  <a:gd name="T13" fmla="*/ 28492436 h 443"/>
                  <a:gd name="T14" fmla="*/ 15048532 w 571"/>
                  <a:gd name="T15" fmla="*/ 27693626 h 443"/>
                  <a:gd name="T16" fmla="*/ 19374818 w 571"/>
                  <a:gd name="T17" fmla="*/ 28226166 h 443"/>
                  <a:gd name="T18" fmla="*/ 23325074 w 571"/>
                  <a:gd name="T19" fmla="*/ 29024976 h 443"/>
                  <a:gd name="T20" fmla="*/ 29721036 w 571"/>
                  <a:gd name="T21" fmla="*/ 31953945 h 443"/>
                  <a:gd name="T22" fmla="*/ 34611581 w 571"/>
                  <a:gd name="T23" fmla="*/ 35948511 h 443"/>
                  <a:gd name="T24" fmla="*/ 38750069 w 571"/>
                  <a:gd name="T25" fmla="*/ 41007641 h 443"/>
                  <a:gd name="T26" fmla="*/ 47779101 w 571"/>
                  <a:gd name="T27" fmla="*/ 24497870 h 443"/>
                  <a:gd name="T28" fmla="*/ 53610370 w 571"/>
                  <a:gd name="T29" fmla="*/ 13047745 h 443"/>
                  <a:gd name="T30" fmla="*/ 101201240 w 571"/>
                  <a:gd name="T31" fmla="*/ 11450125 h 443"/>
                  <a:gd name="T32" fmla="*/ 104775467 w 571"/>
                  <a:gd name="T33" fmla="*/ 20770090 h 443"/>
                  <a:gd name="T34" fmla="*/ 105716190 w 571"/>
                  <a:gd name="T35" fmla="*/ 26096006 h 443"/>
                  <a:gd name="T36" fmla="*/ 106092219 w 571"/>
                  <a:gd name="T37" fmla="*/ 32752755 h 443"/>
                  <a:gd name="T38" fmla="*/ 106844711 w 571"/>
                  <a:gd name="T39" fmla="*/ 40208831 h 443"/>
                  <a:gd name="T40" fmla="*/ 107408971 w 571"/>
                  <a:gd name="T41" fmla="*/ 47398636 h 443"/>
                  <a:gd name="T42" fmla="*/ 106092219 w 571"/>
                  <a:gd name="T43" fmla="*/ 47931176 h 443"/>
                  <a:gd name="T44" fmla="*/ 105716190 w 571"/>
                  <a:gd name="T45" fmla="*/ 47664906 h 443"/>
                  <a:gd name="T46" fmla="*/ 104963698 w 571"/>
                  <a:gd name="T47" fmla="*/ 48996256 h 443"/>
                  <a:gd name="T48" fmla="*/ 103082686 w 571"/>
                  <a:gd name="T49" fmla="*/ 55120981 h 443"/>
                  <a:gd name="T50" fmla="*/ 100449182 w 571"/>
                  <a:gd name="T51" fmla="*/ 59913841 h 443"/>
                  <a:gd name="T52" fmla="*/ 96874955 w 571"/>
                  <a:gd name="T53" fmla="*/ 63641621 h 443"/>
                  <a:gd name="T54" fmla="*/ 92924699 w 571"/>
                  <a:gd name="T55" fmla="*/ 66304837 h 443"/>
                  <a:gd name="T56" fmla="*/ 76183385 w 571"/>
                  <a:gd name="T57" fmla="*/ 75358532 h 443"/>
                  <a:gd name="T58" fmla="*/ 65272907 w 571"/>
                  <a:gd name="T59" fmla="*/ 81749011 h 443"/>
                  <a:gd name="T60" fmla="*/ 55491382 w 571"/>
                  <a:gd name="T61" fmla="*/ 87341197 h 443"/>
                  <a:gd name="T62" fmla="*/ 46086320 w 571"/>
                  <a:gd name="T63" fmla="*/ 91867786 h 443"/>
                  <a:gd name="T64" fmla="*/ 34988044 w 571"/>
                  <a:gd name="T65" fmla="*/ 96661162 h 443"/>
                  <a:gd name="T66" fmla="*/ 31413817 w 571"/>
                  <a:gd name="T67" fmla="*/ 98791322 h 443"/>
                  <a:gd name="T68" fmla="*/ 28027821 w 571"/>
                  <a:gd name="T69" fmla="*/ 101454022 h 443"/>
                  <a:gd name="T70" fmla="*/ 22384784 w 571"/>
                  <a:gd name="T71" fmla="*/ 107312477 h 443"/>
                  <a:gd name="T72" fmla="*/ 17306008 w 571"/>
                  <a:gd name="T73" fmla="*/ 113437203 h 443"/>
                  <a:gd name="T74" fmla="*/ 12603260 w 571"/>
                  <a:gd name="T75" fmla="*/ 117963792 h 443"/>
                  <a:gd name="T76" fmla="*/ 9405495 w 571"/>
                  <a:gd name="T77" fmla="*/ 100655212 h 443"/>
                  <a:gd name="T78" fmla="*/ 6207731 w 571"/>
                  <a:gd name="T79" fmla="*/ 83346631 h 443"/>
                  <a:gd name="T80" fmla="*/ 3009533 w 571"/>
                  <a:gd name="T81" fmla="*/ 66837377 h 443"/>
                  <a:gd name="T82" fmla="*/ 0 w 571"/>
                  <a:gd name="T83" fmla="*/ 52191496 h 44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571" h="443">
                    <a:moveTo>
                      <a:pt x="0" y="196"/>
                    </a:moveTo>
                    <a:lnTo>
                      <a:pt x="26" y="190"/>
                    </a:lnTo>
                    <a:lnTo>
                      <a:pt x="33" y="184"/>
                    </a:lnTo>
                    <a:lnTo>
                      <a:pt x="37" y="177"/>
                    </a:lnTo>
                    <a:lnTo>
                      <a:pt x="39" y="171"/>
                    </a:lnTo>
                    <a:lnTo>
                      <a:pt x="41" y="164"/>
                    </a:lnTo>
                    <a:lnTo>
                      <a:pt x="41" y="149"/>
                    </a:lnTo>
                    <a:lnTo>
                      <a:pt x="39" y="129"/>
                    </a:lnTo>
                    <a:lnTo>
                      <a:pt x="41" y="124"/>
                    </a:lnTo>
                    <a:lnTo>
                      <a:pt x="44" y="120"/>
                    </a:lnTo>
                    <a:lnTo>
                      <a:pt x="49" y="116"/>
                    </a:lnTo>
                    <a:lnTo>
                      <a:pt x="55" y="112"/>
                    </a:lnTo>
                    <a:lnTo>
                      <a:pt x="61" y="109"/>
                    </a:lnTo>
                    <a:lnTo>
                      <a:pt x="68" y="107"/>
                    </a:lnTo>
                    <a:lnTo>
                      <a:pt x="75" y="105"/>
                    </a:lnTo>
                    <a:lnTo>
                      <a:pt x="80" y="104"/>
                    </a:lnTo>
                    <a:lnTo>
                      <a:pt x="92" y="105"/>
                    </a:lnTo>
                    <a:lnTo>
                      <a:pt x="103" y="106"/>
                    </a:lnTo>
                    <a:lnTo>
                      <a:pt x="114" y="107"/>
                    </a:lnTo>
                    <a:lnTo>
                      <a:pt x="124" y="109"/>
                    </a:lnTo>
                    <a:lnTo>
                      <a:pt x="142" y="113"/>
                    </a:lnTo>
                    <a:lnTo>
                      <a:pt x="158" y="120"/>
                    </a:lnTo>
                    <a:lnTo>
                      <a:pt x="172" y="127"/>
                    </a:lnTo>
                    <a:lnTo>
                      <a:pt x="184" y="135"/>
                    </a:lnTo>
                    <a:lnTo>
                      <a:pt x="195" y="145"/>
                    </a:lnTo>
                    <a:lnTo>
                      <a:pt x="206" y="154"/>
                    </a:lnTo>
                    <a:lnTo>
                      <a:pt x="227" y="127"/>
                    </a:lnTo>
                    <a:lnTo>
                      <a:pt x="254" y="92"/>
                    </a:lnTo>
                    <a:lnTo>
                      <a:pt x="276" y="62"/>
                    </a:lnTo>
                    <a:lnTo>
                      <a:pt x="285" y="49"/>
                    </a:lnTo>
                    <a:lnTo>
                      <a:pt x="538" y="0"/>
                    </a:lnTo>
                    <a:lnTo>
                      <a:pt x="538" y="43"/>
                    </a:lnTo>
                    <a:lnTo>
                      <a:pt x="548" y="60"/>
                    </a:lnTo>
                    <a:lnTo>
                      <a:pt x="557" y="78"/>
                    </a:lnTo>
                    <a:lnTo>
                      <a:pt x="560" y="87"/>
                    </a:lnTo>
                    <a:lnTo>
                      <a:pt x="562" y="98"/>
                    </a:lnTo>
                    <a:lnTo>
                      <a:pt x="564" y="110"/>
                    </a:lnTo>
                    <a:lnTo>
                      <a:pt x="564" y="123"/>
                    </a:lnTo>
                    <a:lnTo>
                      <a:pt x="565" y="136"/>
                    </a:lnTo>
                    <a:lnTo>
                      <a:pt x="568" y="151"/>
                    </a:lnTo>
                    <a:lnTo>
                      <a:pt x="570" y="164"/>
                    </a:lnTo>
                    <a:lnTo>
                      <a:pt x="571" y="178"/>
                    </a:lnTo>
                    <a:lnTo>
                      <a:pt x="568" y="180"/>
                    </a:lnTo>
                    <a:lnTo>
                      <a:pt x="564" y="180"/>
                    </a:lnTo>
                    <a:lnTo>
                      <a:pt x="563" y="179"/>
                    </a:lnTo>
                    <a:lnTo>
                      <a:pt x="562" y="179"/>
                    </a:lnTo>
                    <a:lnTo>
                      <a:pt x="561" y="179"/>
                    </a:lnTo>
                    <a:lnTo>
                      <a:pt x="558" y="184"/>
                    </a:lnTo>
                    <a:lnTo>
                      <a:pt x="553" y="196"/>
                    </a:lnTo>
                    <a:lnTo>
                      <a:pt x="548" y="207"/>
                    </a:lnTo>
                    <a:lnTo>
                      <a:pt x="541" y="217"/>
                    </a:lnTo>
                    <a:lnTo>
                      <a:pt x="534" y="225"/>
                    </a:lnTo>
                    <a:lnTo>
                      <a:pt x="525" y="232"/>
                    </a:lnTo>
                    <a:lnTo>
                      <a:pt x="515" y="239"/>
                    </a:lnTo>
                    <a:lnTo>
                      <a:pt x="505" y="244"/>
                    </a:lnTo>
                    <a:lnTo>
                      <a:pt x="494" y="249"/>
                    </a:lnTo>
                    <a:lnTo>
                      <a:pt x="449" y="267"/>
                    </a:lnTo>
                    <a:lnTo>
                      <a:pt x="405" y="283"/>
                    </a:lnTo>
                    <a:lnTo>
                      <a:pt x="374" y="296"/>
                    </a:lnTo>
                    <a:lnTo>
                      <a:pt x="347" y="307"/>
                    </a:lnTo>
                    <a:lnTo>
                      <a:pt x="321" y="318"/>
                    </a:lnTo>
                    <a:lnTo>
                      <a:pt x="295" y="328"/>
                    </a:lnTo>
                    <a:lnTo>
                      <a:pt x="270" y="337"/>
                    </a:lnTo>
                    <a:lnTo>
                      <a:pt x="245" y="345"/>
                    </a:lnTo>
                    <a:lnTo>
                      <a:pt x="216" y="354"/>
                    </a:lnTo>
                    <a:lnTo>
                      <a:pt x="186" y="363"/>
                    </a:lnTo>
                    <a:lnTo>
                      <a:pt x="177" y="366"/>
                    </a:lnTo>
                    <a:lnTo>
                      <a:pt x="167" y="371"/>
                    </a:lnTo>
                    <a:lnTo>
                      <a:pt x="158" y="376"/>
                    </a:lnTo>
                    <a:lnTo>
                      <a:pt x="149" y="381"/>
                    </a:lnTo>
                    <a:lnTo>
                      <a:pt x="134" y="392"/>
                    </a:lnTo>
                    <a:lnTo>
                      <a:pt x="119" y="403"/>
                    </a:lnTo>
                    <a:lnTo>
                      <a:pt x="105" y="414"/>
                    </a:lnTo>
                    <a:lnTo>
                      <a:pt x="92" y="426"/>
                    </a:lnTo>
                    <a:lnTo>
                      <a:pt x="79" y="435"/>
                    </a:lnTo>
                    <a:lnTo>
                      <a:pt x="67" y="443"/>
                    </a:lnTo>
                    <a:lnTo>
                      <a:pt x="58" y="410"/>
                    </a:lnTo>
                    <a:lnTo>
                      <a:pt x="50" y="378"/>
                    </a:lnTo>
                    <a:lnTo>
                      <a:pt x="42" y="345"/>
                    </a:lnTo>
                    <a:lnTo>
                      <a:pt x="33" y="313"/>
                    </a:lnTo>
                    <a:lnTo>
                      <a:pt x="24" y="282"/>
                    </a:lnTo>
                    <a:lnTo>
                      <a:pt x="16" y="251"/>
                    </a:lnTo>
                    <a:lnTo>
                      <a:pt x="8" y="223"/>
                    </a:lnTo>
                    <a:lnTo>
                      <a:pt x="0" y="19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7" name="Freeform 258">
                <a:extLst>
                  <a:ext uri="{FF2B5EF4-FFF2-40B4-BE49-F238E27FC236}">
                    <a16:creationId xmlns:a16="http://schemas.microsoft.com/office/drawing/2014/main" id="{016E8410-8CB3-42DC-85FE-17FB69943DEC}"/>
                  </a:ext>
                </a:extLst>
              </p:cNvPr>
              <p:cNvSpPr>
                <a:spLocks/>
              </p:cNvSpPr>
              <p:nvPr>
                <p:custDataLst>
                  <p:tags r:id="rId185"/>
                </p:custDataLst>
              </p:nvPr>
            </p:nvSpPr>
            <p:spPr bwMode="auto">
              <a:xfrm>
                <a:off x="5517290" y="3568341"/>
                <a:ext cx="146595" cy="135364"/>
              </a:xfrm>
              <a:custGeom>
                <a:avLst/>
                <a:gdLst>
                  <a:gd name="T0" fmla="*/ 0 w 286"/>
                  <a:gd name="T1" fmla="*/ 31081662 h 228"/>
                  <a:gd name="T2" fmla="*/ 711666 w 286"/>
                  <a:gd name="T3" fmla="*/ 30521804 h 228"/>
                  <a:gd name="T4" fmla="*/ 1245732 w 286"/>
                  <a:gd name="T5" fmla="*/ 30521804 h 228"/>
                  <a:gd name="T6" fmla="*/ 1779798 w 286"/>
                  <a:gd name="T7" fmla="*/ 30801733 h 228"/>
                  <a:gd name="T8" fmla="*/ 1957399 w 286"/>
                  <a:gd name="T9" fmla="*/ 31081662 h 228"/>
                  <a:gd name="T10" fmla="*/ 2135421 w 286"/>
                  <a:gd name="T11" fmla="*/ 32761767 h 228"/>
                  <a:gd name="T12" fmla="*/ 2313443 w 286"/>
                  <a:gd name="T13" fmla="*/ 34441871 h 228"/>
                  <a:gd name="T14" fmla="*/ 2491465 w 286"/>
                  <a:gd name="T15" fmla="*/ 35842046 h 228"/>
                  <a:gd name="T16" fmla="*/ 2847509 w 286"/>
                  <a:gd name="T17" fmla="*/ 36682363 h 228"/>
                  <a:gd name="T18" fmla="*/ 3381153 w 286"/>
                  <a:gd name="T19" fmla="*/ 37522150 h 228"/>
                  <a:gd name="T20" fmla="*/ 4270841 w 286"/>
                  <a:gd name="T21" fmla="*/ 38082538 h 228"/>
                  <a:gd name="T22" fmla="*/ 5160951 w 286"/>
                  <a:gd name="T23" fmla="*/ 38362467 h 228"/>
                  <a:gd name="T24" fmla="*/ 6584706 w 286"/>
                  <a:gd name="T25" fmla="*/ 38642396 h 228"/>
                  <a:gd name="T26" fmla="*/ 8542104 w 286"/>
                  <a:gd name="T27" fmla="*/ 38642396 h 228"/>
                  <a:gd name="T28" fmla="*/ 10677525 w 286"/>
                  <a:gd name="T29" fmla="*/ 38082538 h 228"/>
                  <a:gd name="T30" fmla="*/ 17440253 w 286"/>
                  <a:gd name="T31" fmla="*/ 36402433 h 228"/>
                  <a:gd name="T32" fmla="*/ 22956826 w 286"/>
                  <a:gd name="T33" fmla="*/ 34161942 h 228"/>
                  <a:gd name="T34" fmla="*/ 25448291 w 286"/>
                  <a:gd name="T35" fmla="*/ 33042225 h 228"/>
                  <a:gd name="T36" fmla="*/ 27761734 w 286"/>
                  <a:gd name="T37" fmla="*/ 31921979 h 228"/>
                  <a:gd name="T38" fmla="*/ 29719132 w 286"/>
                  <a:gd name="T39" fmla="*/ 30521804 h 228"/>
                  <a:gd name="T40" fmla="*/ 31676953 w 286"/>
                  <a:gd name="T41" fmla="*/ 28841700 h 228"/>
                  <a:gd name="T42" fmla="*/ 33456329 w 286"/>
                  <a:gd name="T43" fmla="*/ 26881667 h 228"/>
                  <a:gd name="T44" fmla="*/ 35236128 w 286"/>
                  <a:gd name="T45" fmla="*/ 24361775 h 228"/>
                  <a:gd name="T46" fmla="*/ 37015504 w 286"/>
                  <a:gd name="T47" fmla="*/ 21841354 h 228"/>
                  <a:gd name="T48" fmla="*/ 38973325 w 286"/>
                  <a:gd name="T49" fmla="*/ 18201217 h 228"/>
                  <a:gd name="T50" fmla="*/ 40752701 w 286"/>
                  <a:gd name="T51" fmla="*/ 14561079 h 228"/>
                  <a:gd name="T52" fmla="*/ 42888544 w 286"/>
                  <a:gd name="T53" fmla="*/ 10360554 h 228"/>
                  <a:gd name="T54" fmla="*/ 45023965 w 286"/>
                  <a:gd name="T55" fmla="*/ 5600171 h 228"/>
                  <a:gd name="T56" fmla="*/ 47337407 w 286"/>
                  <a:gd name="T57" fmla="*/ 0 h 228"/>
                  <a:gd name="T58" fmla="*/ 48049073 w 286"/>
                  <a:gd name="T59" fmla="*/ 1960033 h 228"/>
                  <a:gd name="T60" fmla="*/ 48761162 w 286"/>
                  <a:gd name="T61" fmla="*/ 3640137 h 228"/>
                  <a:gd name="T62" fmla="*/ 49116784 w 286"/>
                  <a:gd name="T63" fmla="*/ 5600171 h 228"/>
                  <a:gd name="T64" fmla="*/ 49650850 w 286"/>
                  <a:gd name="T65" fmla="*/ 7560204 h 228"/>
                  <a:gd name="T66" fmla="*/ 50184916 w 286"/>
                  <a:gd name="T67" fmla="*/ 11760729 h 228"/>
                  <a:gd name="T68" fmla="*/ 50896582 w 286"/>
                  <a:gd name="T69" fmla="*/ 17360900 h 228"/>
                  <a:gd name="T70" fmla="*/ 43778232 w 286"/>
                  <a:gd name="T71" fmla="*/ 55443437 h 228"/>
                  <a:gd name="T72" fmla="*/ 40219057 w 286"/>
                  <a:gd name="T73" fmla="*/ 63843958 h 228"/>
                  <a:gd name="T74" fmla="*/ 9431793 w 286"/>
                  <a:gd name="T75" fmla="*/ 58803646 h 228"/>
                  <a:gd name="T76" fmla="*/ 0 w 286"/>
                  <a:gd name="T77" fmla="*/ 31081662 h 228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86" h="228">
                    <a:moveTo>
                      <a:pt x="0" y="111"/>
                    </a:moveTo>
                    <a:lnTo>
                      <a:pt x="4" y="109"/>
                    </a:lnTo>
                    <a:lnTo>
                      <a:pt x="7" y="109"/>
                    </a:lnTo>
                    <a:lnTo>
                      <a:pt x="10" y="110"/>
                    </a:lnTo>
                    <a:lnTo>
                      <a:pt x="11" y="111"/>
                    </a:lnTo>
                    <a:lnTo>
                      <a:pt x="12" y="117"/>
                    </a:lnTo>
                    <a:lnTo>
                      <a:pt x="13" y="123"/>
                    </a:lnTo>
                    <a:lnTo>
                      <a:pt x="14" y="128"/>
                    </a:lnTo>
                    <a:lnTo>
                      <a:pt x="16" y="131"/>
                    </a:lnTo>
                    <a:lnTo>
                      <a:pt x="19" y="134"/>
                    </a:lnTo>
                    <a:lnTo>
                      <a:pt x="24" y="136"/>
                    </a:lnTo>
                    <a:lnTo>
                      <a:pt x="29" y="137"/>
                    </a:lnTo>
                    <a:lnTo>
                      <a:pt x="37" y="138"/>
                    </a:lnTo>
                    <a:lnTo>
                      <a:pt x="48" y="138"/>
                    </a:lnTo>
                    <a:lnTo>
                      <a:pt x="60" y="136"/>
                    </a:lnTo>
                    <a:lnTo>
                      <a:pt x="98" y="130"/>
                    </a:lnTo>
                    <a:lnTo>
                      <a:pt x="129" y="122"/>
                    </a:lnTo>
                    <a:lnTo>
                      <a:pt x="143" y="118"/>
                    </a:lnTo>
                    <a:lnTo>
                      <a:pt x="156" y="114"/>
                    </a:lnTo>
                    <a:lnTo>
                      <a:pt x="167" y="109"/>
                    </a:lnTo>
                    <a:lnTo>
                      <a:pt x="178" y="103"/>
                    </a:lnTo>
                    <a:lnTo>
                      <a:pt x="188" y="96"/>
                    </a:lnTo>
                    <a:lnTo>
                      <a:pt x="198" y="87"/>
                    </a:lnTo>
                    <a:lnTo>
                      <a:pt x="208" y="78"/>
                    </a:lnTo>
                    <a:lnTo>
                      <a:pt x="219" y="65"/>
                    </a:lnTo>
                    <a:lnTo>
                      <a:pt x="229" y="52"/>
                    </a:lnTo>
                    <a:lnTo>
                      <a:pt x="241" y="37"/>
                    </a:lnTo>
                    <a:lnTo>
                      <a:pt x="253" y="20"/>
                    </a:lnTo>
                    <a:lnTo>
                      <a:pt x="266" y="0"/>
                    </a:lnTo>
                    <a:lnTo>
                      <a:pt x="270" y="7"/>
                    </a:lnTo>
                    <a:lnTo>
                      <a:pt x="274" y="13"/>
                    </a:lnTo>
                    <a:lnTo>
                      <a:pt x="276" y="20"/>
                    </a:lnTo>
                    <a:lnTo>
                      <a:pt x="279" y="27"/>
                    </a:lnTo>
                    <a:lnTo>
                      <a:pt x="282" y="42"/>
                    </a:lnTo>
                    <a:lnTo>
                      <a:pt x="286" y="62"/>
                    </a:lnTo>
                    <a:lnTo>
                      <a:pt x="246" y="198"/>
                    </a:lnTo>
                    <a:lnTo>
                      <a:pt x="226" y="228"/>
                    </a:lnTo>
                    <a:lnTo>
                      <a:pt x="53" y="210"/>
                    </a:lnTo>
                    <a:lnTo>
                      <a:pt x="0" y="11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8" name="Freeform 259">
                <a:extLst>
                  <a:ext uri="{FF2B5EF4-FFF2-40B4-BE49-F238E27FC236}">
                    <a16:creationId xmlns:a16="http://schemas.microsoft.com/office/drawing/2014/main" id="{9EDAE68A-B458-4AC7-B607-22C3BC8FCAE4}"/>
                  </a:ext>
                </a:extLst>
              </p:cNvPr>
              <p:cNvSpPr>
                <a:spLocks/>
              </p:cNvSpPr>
              <p:nvPr>
                <p:custDataLst>
                  <p:tags r:id="rId186"/>
                </p:custDataLst>
              </p:nvPr>
            </p:nvSpPr>
            <p:spPr bwMode="auto">
              <a:xfrm>
                <a:off x="5140847" y="3176314"/>
                <a:ext cx="267854" cy="297097"/>
              </a:xfrm>
              <a:custGeom>
                <a:avLst/>
                <a:gdLst>
                  <a:gd name="T0" fmla="*/ 85990391 w 524"/>
                  <a:gd name="T1" fmla="*/ 100754218 h 505"/>
                  <a:gd name="T2" fmla="*/ 87069406 w 524"/>
                  <a:gd name="T3" fmla="*/ 94218798 h 505"/>
                  <a:gd name="T4" fmla="*/ 86889571 w 524"/>
                  <a:gd name="T5" fmla="*/ 89589629 h 505"/>
                  <a:gd name="T6" fmla="*/ 85990391 w 524"/>
                  <a:gd name="T7" fmla="*/ 82237020 h 505"/>
                  <a:gd name="T8" fmla="*/ 81852469 w 524"/>
                  <a:gd name="T9" fmla="*/ 81420354 h 505"/>
                  <a:gd name="T10" fmla="*/ 77535136 w 524"/>
                  <a:gd name="T11" fmla="*/ 78425040 h 505"/>
                  <a:gd name="T12" fmla="*/ 73217378 w 524"/>
                  <a:gd name="T13" fmla="*/ 74612538 h 505"/>
                  <a:gd name="T14" fmla="*/ 69439977 w 524"/>
                  <a:gd name="T15" fmla="*/ 69710973 h 505"/>
                  <a:gd name="T16" fmla="*/ 65841987 w 524"/>
                  <a:gd name="T17" fmla="*/ 64537012 h 505"/>
                  <a:gd name="T18" fmla="*/ 63323436 w 524"/>
                  <a:gd name="T19" fmla="*/ 58818780 h 505"/>
                  <a:gd name="T20" fmla="*/ 61524229 w 524"/>
                  <a:gd name="T21" fmla="*/ 53372423 h 505"/>
                  <a:gd name="T22" fmla="*/ 60984721 w 524"/>
                  <a:gd name="T23" fmla="*/ 48470858 h 505"/>
                  <a:gd name="T24" fmla="*/ 61344393 w 524"/>
                  <a:gd name="T25" fmla="*/ 44114085 h 505"/>
                  <a:gd name="T26" fmla="*/ 62783504 w 524"/>
                  <a:gd name="T27" fmla="*/ 40846375 h 505"/>
                  <a:gd name="T28" fmla="*/ 65662151 w 524"/>
                  <a:gd name="T29" fmla="*/ 37033873 h 505"/>
                  <a:gd name="T30" fmla="*/ 63683108 w 524"/>
                  <a:gd name="T31" fmla="*/ 35400018 h 505"/>
                  <a:gd name="T32" fmla="*/ 61344393 w 524"/>
                  <a:gd name="T33" fmla="*/ 32404704 h 505"/>
                  <a:gd name="T34" fmla="*/ 56666964 w 524"/>
                  <a:gd name="T35" fmla="*/ 23690637 h 505"/>
                  <a:gd name="T36" fmla="*/ 52529466 w 524"/>
                  <a:gd name="T37" fmla="*/ 13887507 h 505"/>
                  <a:gd name="T38" fmla="*/ 50190751 w 524"/>
                  <a:gd name="T39" fmla="*/ 6807816 h 505"/>
                  <a:gd name="T40" fmla="*/ 46773021 w 524"/>
                  <a:gd name="T41" fmla="*/ 6535420 h 505"/>
                  <a:gd name="T42" fmla="*/ 42995196 w 524"/>
                  <a:gd name="T43" fmla="*/ 5173961 h 505"/>
                  <a:gd name="T44" fmla="*/ 39397206 w 524"/>
                  <a:gd name="T45" fmla="*/ 2995314 h 505"/>
                  <a:gd name="T46" fmla="*/ 35439544 w 524"/>
                  <a:gd name="T47" fmla="*/ 1633855 h 505"/>
                  <a:gd name="T48" fmla="*/ 30582279 w 524"/>
                  <a:gd name="T49" fmla="*/ 816667 h 505"/>
                  <a:gd name="T50" fmla="*/ 26804453 w 524"/>
                  <a:gd name="T51" fmla="*/ 2178647 h 505"/>
                  <a:gd name="T52" fmla="*/ 20508076 w 524"/>
                  <a:gd name="T53" fmla="*/ 11164589 h 505"/>
                  <a:gd name="T54" fmla="*/ 17629854 w 524"/>
                  <a:gd name="T55" fmla="*/ 15521362 h 505"/>
                  <a:gd name="T56" fmla="*/ 16730250 w 524"/>
                  <a:gd name="T57" fmla="*/ 17427613 h 505"/>
                  <a:gd name="T58" fmla="*/ 16910086 w 524"/>
                  <a:gd name="T59" fmla="*/ 25596888 h 505"/>
                  <a:gd name="T60" fmla="*/ 17089922 w 524"/>
                  <a:gd name="T61" fmla="*/ 38122935 h 505"/>
                  <a:gd name="T62" fmla="*/ 16910086 w 524"/>
                  <a:gd name="T63" fmla="*/ 44658355 h 505"/>
                  <a:gd name="T64" fmla="*/ 15470975 w 524"/>
                  <a:gd name="T65" fmla="*/ 49015650 h 505"/>
                  <a:gd name="T66" fmla="*/ 12052821 w 524"/>
                  <a:gd name="T67" fmla="*/ 53644819 h 505"/>
                  <a:gd name="T68" fmla="*/ 7195980 w 524"/>
                  <a:gd name="T69" fmla="*/ 58273988 h 505"/>
                  <a:gd name="T70" fmla="*/ 2338715 w 524"/>
                  <a:gd name="T71" fmla="*/ 62086490 h 505"/>
                  <a:gd name="T72" fmla="*/ 359672 w 524"/>
                  <a:gd name="T73" fmla="*/ 66988055 h 505"/>
                  <a:gd name="T74" fmla="*/ 359672 w 524"/>
                  <a:gd name="T75" fmla="*/ 71889620 h 505"/>
                  <a:gd name="T76" fmla="*/ 0 w 524"/>
                  <a:gd name="T77" fmla="*/ 75701600 h 505"/>
                  <a:gd name="T78" fmla="*/ 0 w 524"/>
                  <a:gd name="T79" fmla="*/ 78696914 h 505"/>
                  <a:gd name="T80" fmla="*/ 1259275 w 524"/>
                  <a:gd name="T81" fmla="*/ 81964624 h 505"/>
                  <a:gd name="T82" fmla="*/ 4677429 w 524"/>
                  <a:gd name="T83" fmla="*/ 85504730 h 505"/>
                  <a:gd name="T84" fmla="*/ 11153642 w 524"/>
                  <a:gd name="T85" fmla="*/ 90133899 h 505"/>
                  <a:gd name="T86" fmla="*/ 21587516 w 524"/>
                  <a:gd name="T87" fmla="*/ 96669319 h 505"/>
                  <a:gd name="T88" fmla="*/ 32381062 w 524"/>
                  <a:gd name="T89" fmla="*/ 101843280 h 505"/>
                  <a:gd name="T90" fmla="*/ 38497602 w 524"/>
                  <a:gd name="T91" fmla="*/ 104838594 h 505"/>
                  <a:gd name="T92" fmla="*/ 42635100 w 524"/>
                  <a:gd name="T93" fmla="*/ 108923493 h 505"/>
                  <a:gd name="T94" fmla="*/ 45333910 w 524"/>
                  <a:gd name="T95" fmla="*/ 113825058 h 505"/>
                  <a:gd name="T96" fmla="*/ 47132693 w 524"/>
                  <a:gd name="T97" fmla="*/ 118454227 h 505"/>
                  <a:gd name="T98" fmla="*/ 47852461 w 524"/>
                  <a:gd name="T99" fmla="*/ 122810999 h 505"/>
                  <a:gd name="T100" fmla="*/ 48571804 w 524"/>
                  <a:gd name="T101" fmla="*/ 127712564 h 505"/>
                  <a:gd name="T102" fmla="*/ 49831080 w 524"/>
                  <a:gd name="T103" fmla="*/ 130980274 h 505"/>
                  <a:gd name="T104" fmla="*/ 51630287 w 524"/>
                  <a:gd name="T105" fmla="*/ 133158922 h 505"/>
                  <a:gd name="T106" fmla="*/ 55227853 w 524"/>
                  <a:gd name="T107" fmla="*/ 135337047 h 505"/>
                  <a:gd name="T108" fmla="*/ 59005678 w 524"/>
                  <a:gd name="T109" fmla="*/ 136970902 h 505"/>
                  <a:gd name="T110" fmla="*/ 60264954 w 524"/>
                  <a:gd name="T111" fmla="*/ 136154235 h 505"/>
                  <a:gd name="T112" fmla="*/ 62243997 w 524"/>
                  <a:gd name="T113" fmla="*/ 135881839 h 505"/>
                  <a:gd name="T114" fmla="*/ 65841987 w 524"/>
                  <a:gd name="T115" fmla="*/ 136970902 h 505"/>
                  <a:gd name="T116" fmla="*/ 68900045 w 524"/>
                  <a:gd name="T117" fmla="*/ 137515694 h 505"/>
                  <a:gd name="T118" fmla="*/ 78614575 w 524"/>
                  <a:gd name="T119" fmla="*/ 137515694 h 505"/>
                  <a:gd name="T120" fmla="*/ 83651677 w 524"/>
                  <a:gd name="T121" fmla="*/ 122266207 h 505"/>
                  <a:gd name="T122" fmla="*/ 88508518 w 524"/>
                  <a:gd name="T123" fmla="*/ 118998497 h 50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524" h="505">
                    <a:moveTo>
                      <a:pt x="524" y="419"/>
                    </a:moveTo>
                    <a:lnTo>
                      <a:pt x="478" y="370"/>
                    </a:lnTo>
                    <a:lnTo>
                      <a:pt x="482" y="357"/>
                    </a:lnTo>
                    <a:lnTo>
                      <a:pt x="484" y="346"/>
                    </a:lnTo>
                    <a:lnTo>
                      <a:pt x="484" y="336"/>
                    </a:lnTo>
                    <a:lnTo>
                      <a:pt x="483" y="329"/>
                    </a:lnTo>
                    <a:lnTo>
                      <a:pt x="479" y="315"/>
                    </a:lnTo>
                    <a:lnTo>
                      <a:pt x="478" y="302"/>
                    </a:lnTo>
                    <a:lnTo>
                      <a:pt x="466" y="301"/>
                    </a:lnTo>
                    <a:lnTo>
                      <a:pt x="455" y="299"/>
                    </a:lnTo>
                    <a:lnTo>
                      <a:pt x="443" y="295"/>
                    </a:lnTo>
                    <a:lnTo>
                      <a:pt x="431" y="288"/>
                    </a:lnTo>
                    <a:lnTo>
                      <a:pt x="419" y="282"/>
                    </a:lnTo>
                    <a:lnTo>
                      <a:pt x="407" y="274"/>
                    </a:lnTo>
                    <a:lnTo>
                      <a:pt x="396" y="266"/>
                    </a:lnTo>
                    <a:lnTo>
                      <a:pt x="386" y="256"/>
                    </a:lnTo>
                    <a:lnTo>
                      <a:pt x="376" y="247"/>
                    </a:lnTo>
                    <a:lnTo>
                      <a:pt x="366" y="237"/>
                    </a:lnTo>
                    <a:lnTo>
                      <a:pt x="359" y="226"/>
                    </a:lnTo>
                    <a:lnTo>
                      <a:pt x="352" y="216"/>
                    </a:lnTo>
                    <a:lnTo>
                      <a:pt x="347" y="206"/>
                    </a:lnTo>
                    <a:lnTo>
                      <a:pt x="342" y="196"/>
                    </a:lnTo>
                    <a:lnTo>
                      <a:pt x="339" y="187"/>
                    </a:lnTo>
                    <a:lnTo>
                      <a:pt x="339" y="178"/>
                    </a:lnTo>
                    <a:lnTo>
                      <a:pt x="339" y="170"/>
                    </a:lnTo>
                    <a:lnTo>
                      <a:pt x="341" y="162"/>
                    </a:lnTo>
                    <a:lnTo>
                      <a:pt x="346" y="156"/>
                    </a:lnTo>
                    <a:lnTo>
                      <a:pt x="349" y="150"/>
                    </a:lnTo>
                    <a:lnTo>
                      <a:pt x="358" y="142"/>
                    </a:lnTo>
                    <a:lnTo>
                      <a:pt x="365" y="136"/>
                    </a:lnTo>
                    <a:lnTo>
                      <a:pt x="360" y="134"/>
                    </a:lnTo>
                    <a:lnTo>
                      <a:pt x="354" y="130"/>
                    </a:lnTo>
                    <a:lnTo>
                      <a:pt x="348" y="126"/>
                    </a:lnTo>
                    <a:lnTo>
                      <a:pt x="341" y="119"/>
                    </a:lnTo>
                    <a:lnTo>
                      <a:pt x="328" y="104"/>
                    </a:lnTo>
                    <a:lnTo>
                      <a:pt x="315" y="87"/>
                    </a:lnTo>
                    <a:lnTo>
                      <a:pt x="302" y="69"/>
                    </a:lnTo>
                    <a:lnTo>
                      <a:pt x="292" y="51"/>
                    </a:lnTo>
                    <a:lnTo>
                      <a:pt x="283" y="36"/>
                    </a:lnTo>
                    <a:lnTo>
                      <a:pt x="279" y="25"/>
                    </a:lnTo>
                    <a:lnTo>
                      <a:pt x="272" y="25"/>
                    </a:lnTo>
                    <a:lnTo>
                      <a:pt x="260" y="24"/>
                    </a:lnTo>
                    <a:lnTo>
                      <a:pt x="249" y="22"/>
                    </a:lnTo>
                    <a:lnTo>
                      <a:pt x="239" y="19"/>
                    </a:lnTo>
                    <a:lnTo>
                      <a:pt x="229" y="16"/>
                    </a:lnTo>
                    <a:lnTo>
                      <a:pt x="219" y="11"/>
                    </a:lnTo>
                    <a:lnTo>
                      <a:pt x="208" y="9"/>
                    </a:lnTo>
                    <a:lnTo>
                      <a:pt x="197" y="6"/>
                    </a:lnTo>
                    <a:lnTo>
                      <a:pt x="185" y="6"/>
                    </a:lnTo>
                    <a:lnTo>
                      <a:pt x="170" y="3"/>
                    </a:lnTo>
                    <a:lnTo>
                      <a:pt x="159" y="0"/>
                    </a:lnTo>
                    <a:lnTo>
                      <a:pt x="149" y="8"/>
                    </a:lnTo>
                    <a:lnTo>
                      <a:pt x="126" y="29"/>
                    </a:lnTo>
                    <a:lnTo>
                      <a:pt x="114" y="41"/>
                    </a:lnTo>
                    <a:lnTo>
                      <a:pt x="103" y="52"/>
                    </a:lnTo>
                    <a:lnTo>
                      <a:pt x="98" y="57"/>
                    </a:lnTo>
                    <a:lnTo>
                      <a:pt x="95" y="61"/>
                    </a:lnTo>
                    <a:lnTo>
                      <a:pt x="93" y="64"/>
                    </a:lnTo>
                    <a:lnTo>
                      <a:pt x="93" y="68"/>
                    </a:lnTo>
                    <a:lnTo>
                      <a:pt x="94" y="94"/>
                    </a:lnTo>
                    <a:lnTo>
                      <a:pt x="95" y="125"/>
                    </a:lnTo>
                    <a:lnTo>
                      <a:pt x="95" y="140"/>
                    </a:lnTo>
                    <a:lnTo>
                      <a:pt x="95" y="153"/>
                    </a:lnTo>
                    <a:lnTo>
                      <a:pt x="94" y="164"/>
                    </a:lnTo>
                    <a:lnTo>
                      <a:pt x="93" y="172"/>
                    </a:lnTo>
                    <a:lnTo>
                      <a:pt x="86" y="180"/>
                    </a:lnTo>
                    <a:lnTo>
                      <a:pt x="78" y="188"/>
                    </a:lnTo>
                    <a:lnTo>
                      <a:pt x="67" y="197"/>
                    </a:lnTo>
                    <a:lnTo>
                      <a:pt x="53" y="206"/>
                    </a:lnTo>
                    <a:lnTo>
                      <a:pt x="40" y="214"/>
                    </a:lnTo>
                    <a:lnTo>
                      <a:pt x="26" y="222"/>
                    </a:lnTo>
                    <a:lnTo>
                      <a:pt x="13" y="228"/>
                    </a:lnTo>
                    <a:lnTo>
                      <a:pt x="0" y="235"/>
                    </a:lnTo>
                    <a:lnTo>
                      <a:pt x="2" y="246"/>
                    </a:lnTo>
                    <a:lnTo>
                      <a:pt x="3" y="256"/>
                    </a:lnTo>
                    <a:lnTo>
                      <a:pt x="2" y="264"/>
                    </a:lnTo>
                    <a:lnTo>
                      <a:pt x="1" y="272"/>
                    </a:lnTo>
                    <a:lnTo>
                      <a:pt x="0" y="278"/>
                    </a:lnTo>
                    <a:lnTo>
                      <a:pt x="0" y="284"/>
                    </a:lnTo>
                    <a:lnTo>
                      <a:pt x="0" y="289"/>
                    </a:lnTo>
                    <a:lnTo>
                      <a:pt x="2" y="295"/>
                    </a:lnTo>
                    <a:lnTo>
                      <a:pt x="7" y="301"/>
                    </a:lnTo>
                    <a:lnTo>
                      <a:pt x="15" y="307"/>
                    </a:lnTo>
                    <a:lnTo>
                      <a:pt x="26" y="314"/>
                    </a:lnTo>
                    <a:lnTo>
                      <a:pt x="41" y="321"/>
                    </a:lnTo>
                    <a:lnTo>
                      <a:pt x="62" y="331"/>
                    </a:lnTo>
                    <a:lnTo>
                      <a:pt x="89" y="341"/>
                    </a:lnTo>
                    <a:lnTo>
                      <a:pt x="120" y="355"/>
                    </a:lnTo>
                    <a:lnTo>
                      <a:pt x="159" y="370"/>
                    </a:lnTo>
                    <a:lnTo>
                      <a:pt x="180" y="374"/>
                    </a:lnTo>
                    <a:lnTo>
                      <a:pt x="198" y="379"/>
                    </a:lnTo>
                    <a:lnTo>
                      <a:pt x="214" y="385"/>
                    </a:lnTo>
                    <a:lnTo>
                      <a:pt x="226" y="393"/>
                    </a:lnTo>
                    <a:lnTo>
                      <a:pt x="237" y="400"/>
                    </a:lnTo>
                    <a:lnTo>
                      <a:pt x="246" y="410"/>
                    </a:lnTo>
                    <a:lnTo>
                      <a:pt x="252" y="418"/>
                    </a:lnTo>
                    <a:lnTo>
                      <a:pt x="258" y="427"/>
                    </a:lnTo>
                    <a:lnTo>
                      <a:pt x="262" y="435"/>
                    </a:lnTo>
                    <a:lnTo>
                      <a:pt x="265" y="443"/>
                    </a:lnTo>
                    <a:lnTo>
                      <a:pt x="266" y="451"/>
                    </a:lnTo>
                    <a:lnTo>
                      <a:pt x="269" y="458"/>
                    </a:lnTo>
                    <a:lnTo>
                      <a:pt x="270" y="469"/>
                    </a:lnTo>
                    <a:lnTo>
                      <a:pt x="272" y="475"/>
                    </a:lnTo>
                    <a:lnTo>
                      <a:pt x="277" y="481"/>
                    </a:lnTo>
                    <a:lnTo>
                      <a:pt x="282" y="485"/>
                    </a:lnTo>
                    <a:lnTo>
                      <a:pt x="287" y="489"/>
                    </a:lnTo>
                    <a:lnTo>
                      <a:pt x="294" y="492"/>
                    </a:lnTo>
                    <a:lnTo>
                      <a:pt x="307" y="497"/>
                    </a:lnTo>
                    <a:lnTo>
                      <a:pt x="325" y="505"/>
                    </a:lnTo>
                    <a:lnTo>
                      <a:pt x="328" y="503"/>
                    </a:lnTo>
                    <a:lnTo>
                      <a:pt x="331" y="501"/>
                    </a:lnTo>
                    <a:lnTo>
                      <a:pt x="335" y="500"/>
                    </a:lnTo>
                    <a:lnTo>
                      <a:pt x="338" y="500"/>
                    </a:lnTo>
                    <a:lnTo>
                      <a:pt x="346" y="499"/>
                    </a:lnTo>
                    <a:lnTo>
                      <a:pt x="353" y="500"/>
                    </a:lnTo>
                    <a:lnTo>
                      <a:pt x="366" y="503"/>
                    </a:lnTo>
                    <a:lnTo>
                      <a:pt x="372" y="505"/>
                    </a:lnTo>
                    <a:lnTo>
                      <a:pt x="383" y="505"/>
                    </a:lnTo>
                    <a:lnTo>
                      <a:pt x="407" y="505"/>
                    </a:lnTo>
                    <a:lnTo>
                      <a:pt x="437" y="505"/>
                    </a:lnTo>
                    <a:lnTo>
                      <a:pt x="458" y="505"/>
                    </a:lnTo>
                    <a:lnTo>
                      <a:pt x="465" y="449"/>
                    </a:lnTo>
                    <a:lnTo>
                      <a:pt x="478" y="443"/>
                    </a:lnTo>
                    <a:lnTo>
                      <a:pt x="492" y="437"/>
                    </a:lnTo>
                    <a:lnTo>
                      <a:pt x="524" y="4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49" name="Freeform 260">
                <a:extLst>
                  <a:ext uri="{FF2B5EF4-FFF2-40B4-BE49-F238E27FC236}">
                    <a16:creationId xmlns:a16="http://schemas.microsoft.com/office/drawing/2014/main" id="{79E4B663-BB06-446D-9796-991987E96FC1}"/>
                  </a:ext>
                </a:extLst>
              </p:cNvPr>
              <p:cNvSpPr>
                <a:spLocks/>
              </p:cNvSpPr>
              <p:nvPr>
                <p:custDataLst>
                  <p:tags r:id="rId187"/>
                </p:custDataLst>
              </p:nvPr>
            </p:nvSpPr>
            <p:spPr bwMode="auto">
              <a:xfrm>
                <a:off x="5743518" y="3132364"/>
                <a:ext cx="399972" cy="326983"/>
              </a:xfrm>
              <a:custGeom>
                <a:avLst/>
                <a:gdLst>
                  <a:gd name="T0" fmla="*/ 11692921 w 764"/>
                  <a:gd name="T1" fmla="*/ 53702844 h 555"/>
                  <a:gd name="T2" fmla="*/ 17539599 w 764"/>
                  <a:gd name="T3" fmla="*/ 52059227 h 555"/>
                  <a:gd name="T4" fmla="*/ 24140617 w 764"/>
                  <a:gd name="T5" fmla="*/ 49867039 h 555"/>
                  <a:gd name="T6" fmla="*/ 33004655 w 764"/>
                  <a:gd name="T7" fmla="*/ 41373096 h 555"/>
                  <a:gd name="T8" fmla="*/ 36587878 w 764"/>
                  <a:gd name="T9" fmla="*/ 34523295 h 555"/>
                  <a:gd name="T10" fmla="*/ 37530695 w 764"/>
                  <a:gd name="T11" fmla="*/ 24111449 h 555"/>
                  <a:gd name="T12" fmla="*/ 39228285 w 764"/>
                  <a:gd name="T13" fmla="*/ 18905788 h 555"/>
                  <a:gd name="T14" fmla="*/ 45263440 w 764"/>
                  <a:gd name="T15" fmla="*/ 16439839 h 555"/>
                  <a:gd name="T16" fmla="*/ 55447681 w 764"/>
                  <a:gd name="T17" fmla="*/ 16987885 h 555"/>
                  <a:gd name="T18" fmla="*/ 62048264 w 764"/>
                  <a:gd name="T19" fmla="*/ 19453835 h 555"/>
                  <a:gd name="T20" fmla="*/ 68271895 w 764"/>
                  <a:gd name="T21" fmla="*/ 24659496 h 555"/>
                  <a:gd name="T22" fmla="*/ 72798369 w 764"/>
                  <a:gd name="T23" fmla="*/ 25481305 h 555"/>
                  <a:gd name="T24" fmla="*/ 79022000 w 764"/>
                  <a:gd name="T25" fmla="*/ 23015355 h 555"/>
                  <a:gd name="T26" fmla="*/ 86754745 w 764"/>
                  <a:gd name="T27" fmla="*/ 16713600 h 555"/>
                  <a:gd name="T28" fmla="*/ 90337969 w 764"/>
                  <a:gd name="T29" fmla="*/ 9041990 h 555"/>
                  <a:gd name="T30" fmla="*/ 95807259 w 764"/>
                  <a:gd name="T31" fmla="*/ 1096094 h 555"/>
                  <a:gd name="T32" fmla="*/ 99956346 w 764"/>
                  <a:gd name="T33" fmla="*/ 5205661 h 555"/>
                  <a:gd name="T34" fmla="*/ 103728481 w 764"/>
                  <a:gd name="T35" fmla="*/ 12329748 h 555"/>
                  <a:gd name="T36" fmla="*/ 105803024 w 764"/>
                  <a:gd name="T37" fmla="*/ 23837687 h 555"/>
                  <a:gd name="T38" fmla="*/ 107500181 w 764"/>
                  <a:gd name="T39" fmla="*/ 27673493 h 555"/>
                  <a:gd name="T40" fmla="*/ 111083404 w 764"/>
                  <a:gd name="T41" fmla="*/ 28495301 h 555"/>
                  <a:gd name="T42" fmla="*/ 117307469 w 764"/>
                  <a:gd name="T43" fmla="*/ 20001359 h 555"/>
                  <a:gd name="T44" fmla="*/ 140127448 w 764"/>
                  <a:gd name="T45" fmla="*/ 18083456 h 555"/>
                  <a:gd name="T46" fmla="*/ 143145242 w 764"/>
                  <a:gd name="T47" fmla="*/ 23837687 h 555"/>
                  <a:gd name="T48" fmla="*/ 128057140 w 764"/>
                  <a:gd name="T49" fmla="*/ 27399731 h 555"/>
                  <a:gd name="T50" fmla="*/ 114101198 w 764"/>
                  <a:gd name="T51" fmla="*/ 30687489 h 555"/>
                  <a:gd name="T52" fmla="*/ 108254521 w 764"/>
                  <a:gd name="T53" fmla="*/ 35619388 h 555"/>
                  <a:gd name="T54" fmla="*/ 107688657 w 764"/>
                  <a:gd name="T55" fmla="*/ 40277002 h 555"/>
                  <a:gd name="T56" fmla="*/ 109763201 w 764"/>
                  <a:gd name="T57" fmla="*/ 44935140 h 555"/>
                  <a:gd name="T58" fmla="*/ 113346858 w 764"/>
                  <a:gd name="T59" fmla="*/ 49318992 h 555"/>
                  <a:gd name="T60" fmla="*/ 113912722 w 764"/>
                  <a:gd name="T61" fmla="*/ 53429083 h 555"/>
                  <a:gd name="T62" fmla="*/ 112026655 w 764"/>
                  <a:gd name="T63" fmla="*/ 58360982 h 555"/>
                  <a:gd name="T64" fmla="*/ 108254521 w 764"/>
                  <a:gd name="T65" fmla="*/ 64936499 h 555"/>
                  <a:gd name="T66" fmla="*/ 106557364 w 764"/>
                  <a:gd name="T67" fmla="*/ 69868398 h 555"/>
                  <a:gd name="T68" fmla="*/ 102219366 w 764"/>
                  <a:gd name="T69" fmla="*/ 73704726 h 555"/>
                  <a:gd name="T70" fmla="*/ 97881803 w 764"/>
                  <a:gd name="T71" fmla="*/ 84938381 h 555"/>
                  <a:gd name="T72" fmla="*/ 95807259 w 764"/>
                  <a:gd name="T73" fmla="*/ 99460316 h 555"/>
                  <a:gd name="T74" fmla="*/ 93732716 w 764"/>
                  <a:gd name="T75" fmla="*/ 116447679 h 555"/>
                  <a:gd name="T76" fmla="*/ 89960581 w 764"/>
                  <a:gd name="T77" fmla="*/ 112885635 h 555"/>
                  <a:gd name="T78" fmla="*/ 86754745 w 764"/>
                  <a:gd name="T79" fmla="*/ 111515779 h 555"/>
                  <a:gd name="T80" fmla="*/ 82794134 w 764"/>
                  <a:gd name="T81" fmla="*/ 114529776 h 555"/>
                  <a:gd name="T82" fmla="*/ 77513320 w 764"/>
                  <a:gd name="T83" fmla="*/ 120557769 h 555"/>
                  <a:gd name="T84" fmla="*/ 74118573 w 764"/>
                  <a:gd name="T85" fmla="*/ 121653863 h 555"/>
                  <a:gd name="T86" fmla="*/ 70723826 w 764"/>
                  <a:gd name="T87" fmla="*/ 126859524 h 555"/>
                  <a:gd name="T88" fmla="*/ 68837759 w 764"/>
                  <a:gd name="T89" fmla="*/ 140011081 h 555"/>
                  <a:gd name="T90" fmla="*/ 66008875 w 764"/>
                  <a:gd name="T91" fmla="*/ 143847409 h 555"/>
                  <a:gd name="T92" fmla="*/ 50921207 w 764"/>
                  <a:gd name="T93" fmla="*/ 149601117 h 555"/>
                  <a:gd name="T94" fmla="*/ 36587878 w 764"/>
                  <a:gd name="T95" fmla="*/ 151793305 h 555"/>
                  <a:gd name="T96" fmla="*/ 21311299 w 764"/>
                  <a:gd name="T97" fmla="*/ 148505023 h 555"/>
                  <a:gd name="T98" fmla="*/ 17916552 w 764"/>
                  <a:gd name="T99" fmla="*/ 141929507 h 555"/>
                  <a:gd name="T100" fmla="*/ 21688686 w 764"/>
                  <a:gd name="T101" fmla="*/ 133709326 h 555"/>
                  <a:gd name="T102" fmla="*/ 23574753 w 764"/>
                  <a:gd name="T103" fmla="*/ 126585762 h 555"/>
                  <a:gd name="T104" fmla="*/ 23197366 w 764"/>
                  <a:gd name="T105" fmla="*/ 121105816 h 555"/>
                  <a:gd name="T106" fmla="*/ 20934346 w 764"/>
                  <a:gd name="T107" fmla="*/ 118639866 h 555"/>
                  <a:gd name="T108" fmla="*/ 13013125 w 764"/>
                  <a:gd name="T109" fmla="*/ 118091819 h 555"/>
                  <a:gd name="T110" fmla="*/ 9806854 w 764"/>
                  <a:gd name="T111" fmla="*/ 115351585 h 555"/>
                  <a:gd name="T112" fmla="*/ 6412107 w 764"/>
                  <a:gd name="T113" fmla="*/ 105214024 h 555"/>
                  <a:gd name="T114" fmla="*/ 3583224 w 764"/>
                  <a:gd name="T115" fmla="*/ 84664619 h 555"/>
                  <a:gd name="T116" fmla="*/ 1886067 w 764"/>
                  <a:gd name="T117" fmla="*/ 79732720 h 555"/>
                  <a:gd name="T118" fmla="*/ 0 w 764"/>
                  <a:gd name="T119" fmla="*/ 76718723 h 555"/>
                  <a:gd name="T120" fmla="*/ 377387 w 764"/>
                  <a:gd name="T121" fmla="*/ 73430441 h 555"/>
                  <a:gd name="T122" fmla="*/ 4149087 w 764"/>
                  <a:gd name="T123" fmla="*/ 67950495 h 555"/>
                  <a:gd name="T124" fmla="*/ 6412107 w 764"/>
                  <a:gd name="T125" fmla="*/ 60552646 h 55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764" h="555">
                    <a:moveTo>
                      <a:pt x="39" y="191"/>
                    </a:moveTo>
                    <a:lnTo>
                      <a:pt x="48" y="194"/>
                    </a:lnTo>
                    <a:lnTo>
                      <a:pt x="56" y="196"/>
                    </a:lnTo>
                    <a:lnTo>
                      <a:pt x="62" y="196"/>
                    </a:lnTo>
                    <a:lnTo>
                      <a:pt x="68" y="195"/>
                    </a:lnTo>
                    <a:lnTo>
                      <a:pt x="77" y="192"/>
                    </a:lnTo>
                    <a:lnTo>
                      <a:pt x="85" y="191"/>
                    </a:lnTo>
                    <a:lnTo>
                      <a:pt x="93" y="190"/>
                    </a:lnTo>
                    <a:lnTo>
                      <a:pt x="101" y="190"/>
                    </a:lnTo>
                    <a:lnTo>
                      <a:pt x="107" y="188"/>
                    </a:lnTo>
                    <a:lnTo>
                      <a:pt x="114" y="186"/>
                    </a:lnTo>
                    <a:lnTo>
                      <a:pt x="128" y="182"/>
                    </a:lnTo>
                    <a:lnTo>
                      <a:pt x="140" y="175"/>
                    </a:lnTo>
                    <a:lnTo>
                      <a:pt x="152" y="168"/>
                    </a:lnTo>
                    <a:lnTo>
                      <a:pt x="164" y="160"/>
                    </a:lnTo>
                    <a:lnTo>
                      <a:pt x="175" y="151"/>
                    </a:lnTo>
                    <a:lnTo>
                      <a:pt x="185" y="142"/>
                    </a:lnTo>
                    <a:lnTo>
                      <a:pt x="189" y="136"/>
                    </a:lnTo>
                    <a:lnTo>
                      <a:pt x="192" y="131"/>
                    </a:lnTo>
                    <a:lnTo>
                      <a:pt x="194" y="126"/>
                    </a:lnTo>
                    <a:lnTo>
                      <a:pt x="195" y="120"/>
                    </a:lnTo>
                    <a:lnTo>
                      <a:pt x="197" y="109"/>
                    </a:lnTo>
                    <a:lnTo>
                      <a:pt x="198" y="98"/>
                    </a:lnTo>
                    <a:lnTo>
                      <a:pt x="199" y="88"/>
                    </a:lnTo>
                    <a:lnTo>
                      <a:pt x="202" y="78"/>
                    </a:lnTo>
                    <a:lnTo>
                      <a:pt x="204" y="74"/>
                    </a:lnTo>
                    <a:lnTo>
                      <a:pt x="206" y="71"/>
                    </a:lnTo>
                    <a:lnTo>
                      <a:pt x="208" y="69"/>
                    </a:lnTo>
                    <a:lnTo>
                      <a:pt x="212" y="68"/>
                    </a:lnTo>
                    <a:lnTo>
                      <a:pt x="221" y="64"/>
                    </a:lnTo>
                    <a:lnTo>
                      <a:pt x="231" y="62"/>
                    </a:lnTo>
                    <a:lnTo>
                      <a:pt x="240" y="60"/>
                    </a:lnTo>
                    <a:lnTo>
                      <a:pt x="249" y="60"/>
                    </a:lnTo>
                    <a:lnTo>
                      <a:pt x="266" y="61"/>
                    </a:lnTo>
                    <a:lnTo>
                      <a:pt x="285" y="61"/>
                    </a:lnTo>
                    <a:lnTo>
                      <a:pt x="294" y="62"/>
                    </a:lnTo>
                    <a:lnTo>
                      <a:pt x="303" y="63"/>
                    </a:lnTo>
                    <a:lnTo>
                      <a:pt x="310" y="64"/>
                    </a:lnTo>
                    <a:lnTo>
                      <a:pt x="317" y="66"/>
                    </a:lnTo>
                    <a:lnTo>
                      <a:pt x="329" y="71"/>
                    </a:lnTo>
                    <a:lnTo>
                      <a:pt x="339" y="77"/>
                    </a:lnTo>
                    <a:lnTo>
                      <a:pt x="348" y="82"/>
                    </a:lnTo>
                    <a:lnTo>
                      <a:pt x="357" y="88"/>
                    </a:lnTo>
                    <a:lnTo>
                      <a:pt x="362" y="90"/>
                    </a:lnTo>
                    <a:lnTo>
                      <a:pt x="366" y="91"/>
                    </a:lnTo>
                    <a:lnTo>
                      <a:pt x="372" y="92"/>
                    </a:lnTo>
                    <a:lnTo>
                      <a:pt x="378" y="93"/>
                    </a:lnTo>
                    <a:lnTo>
                      <a:pt x="386" y="93"/>
                    </a:lnTo>
                    <a:lnTo>
                      <a:pt x="394" y="92"/>
                    </a:lnTo>
                    <a:lnTo>
                      <a:pt x="402" y="90"/>
                    </a:lnTo>
                    <a:lnTo>
                      <a:pt x="407" y="89"/>
                    </a:lnTo>
                    <a:lnTo>
                      <a:pt x="419" y="84"/>
                    </a:lnTo>
                    <a:lnTo>
                      <a:pt x="429" y="78"/>
                    </a:lnTo>
                    <a:lnTo>
                      <a:pt x="439" y="72"/>
                    </a:lnTo>
                    <a:lnTo>
                      <a:pt x="449" y="66"/>
                    </a:lnTo>
                    <a:lnTo>
                      <a:pt x="460" y="61"/>
                    </a:lnTo>
                    <a:lnTo>
                      <a:pt x="471" y="55"/>
                    </a:lnTo>
                    <a:lnTo>
                      <a:pt x="472" y="48"/>
                    </a:lnTo>
                    <a:lnTo>
                      <a:pt x="475" y="41"/>
                    </a:lnTo>
                    <a:lnTo>
                      <a:pt x="479" y="33"/>
                    </a:lnTo>
                    <a:lnTo>
                      <a:pt x="485" y="25"/>
                    </a:lnTo>
                    <a:lnTo>
                      <a:pt x="496" y="11"/>
                    </a:lnTo>
                    <a:lnTo>
                      <a:pt x="505" y="0"/>
                    </a:lnTo>
                    <a:lnTo>
                      <a:pt x="508" y="4"/>
                    </a:lnTo>
                    <a:lnTo>
                      <a:pt x="512" y="8"/>
                    </a:lnTo>
                    <a:lnTo>
                      <a:pt x="518" y="12"/>
                    </a:lnTo>
                    <a:lnTo>
                      <a:pt x="525" y="15"/>
                    </a:lnTo>
                    <a:lnTo>
                      <a:pt x="530" y="19"/>
                    </a:lnTo>
                    <a:lnTo>
                      <a:pt x="537" y="22"/>
                    </a:lnTo>
                    <a:lnTo>
                      <a:pt x="541" y="26"/>
                    </a:lnTo>
                    <a:lnTo>
                      <a:pt x="544" y="31"/>
                    </a:lnTo>
                    <a:lnTo>
                      <a:pt x="550" y="45"/>
                    </a:lnTo>
                    <a:lnTo>
                      <a:pt x="554" y="58"/>
                    </a:lnTo>
                    <a:lnTo>
                      <a:pt x="556" y="70"/>
                    </a:lnTo>
                    <a:lnTo>
                      <a:pt x="559" y="81"/>
                    </a:lnTo>
                    <a:lnTo>
                      <a:pt x="561" y="87"/>
                    </a:lnTo>
                    <a:lnTo>
                      <a:pt x="562" y="91"/>
                    </a:lnTo>
                    <a:lnTo>
                      <a:pt x="564" y="95"/>
                    </a:lnTo>
                    <a:lnTo>
                      <a:pt x="566" y="99"/>
                    </a:lnTo>
                    <a:lnTo>
                      <a:pt x="570" y="101"/>
                    </a:lnTo>
                    <a:lnTo>
                      <a:pt x="574" y="103"/>
                    </a:lnTo>
                    <a:lnTo>
                      <a:pt x="578" y="104"/>
                    </a:lnTo>
                    <a:lnTo>
                      <a:pt x="584" y="105"/>
                    </a:lnTo>
                    <a:lnTo>
                      <a:pt x="589" y="104"/>
                    </a:lnTo>
                    <a:lnTo>
                      <a:pt x="596" y="100"/>
                    </a:lnTo>
                    <a:lnTo>
                      <a:pt x="602" y="95"/>
                    </a:lnTo>
                    <a:lnTo>
                      <a:pt x="610" y="88"/>
                    </a:lnTo>
                    <a:lnTo>
                      <a:pt x="622" y="73"/>
                    </a:lnTo>
                    <a:lnTo>
                      <a:pt x="631" y="61"/>
                    </a:lnTo>
                    <a:lnTo>
                      <a:pt x="723" y="61"/>
                    </a:lnTo>
                    <a:lnTo>
                      <a:pt x="736" y="61"/>
                    </a:lnTo>
                    <a:lnTo>
                      <a:pt x="743" y="66"/>
                    </a:lnTo>
                    <a:lnTo>
                      <a:pt x="748" y="70"/>
                    </a:lnTo>
                    <a:lnTo>
                      <a:pt x="752" y="75"/>
                    </a:lnTo>
                    <a:lnTo>
                      <a:pt x="755" y="79"/>
                    </a:lnTo>
                    <a:lnTo>
                      <a:pt x="759" y="87"/>
                    </a:lnTo>
                    <a:lnTo>
                      <a:pt x="764" y="93"/>
                    </a:lnTo>
                    <a:lnTo>
                      <a:pt x="740" y="95"/>
                    </a:lnTo>
                    <a:lnTo>
                      <a:pt x="711" y="97"/>
                    </a:lnTo>
                    <a:lnTo>
                      <a:pt x="679" y="100"/>
                    </a:lnTo>
                    <a:lnTo>
                      <a:pt x="647" y="103"/>
                    </a:lnTo>
                    <a:lnTo>
                      <a:pt x="632" y="106"/>
                    </a:lnTo>
                    <a:lnTo>
                      <a:pt x="618" y="109"/>
                    </a:lnTo>
                    <a:lnTo>
                      <a:pt x="605" y="112"/>
                    </a:lnTo>
                    <a:lnTo>
                      <a:pt x="594" y="117"/>
                    </a:lnTo>
                    <a:lnTo>
                      <a:pt x="584" y="122"/>
                    </a:lnTo>
                    <a:lnTo>
                      <a:pt x="577" y="127"/>
                    </a:lnTo>
                    <a:lnTo>
                      <a:pt x="574" y="130"/>
                    </a:lnTo>
                    <a:lnTo>
                      <a:pt x="572" y="134"/>
                    </a:lnTo>
                    <a:lnTo>
                      <a:pt x="571" y="137"/>
                    </a:lnTo>
                    <a:lnTo>
                      <a:pt x="571" y="142"/>
                    </a:lnTo>
                    <a:lnTo>
                      <a:pt x="571" y="147"/>
                    </a:lnTo>
                    <a:lnTo>
                      <a:pt x="572" y="152"/>
                    </a:lnTo>
                    <a:lnTo>
                      <a:pt x="574" y="156"/>
                    </a:lnTo>
                    <a:lnTo>
                      <a:pt x="576" y="159"/>
                    </a:lnTo>
                    <a:lnTo>
                      <a:pt x="582" y="164"/>
                    </a:lnTo>
                    <a:lnTo>
                      <a:pt x="587" y="169"/>
                    </a:lnTo>
                    <a:lnTo>
                      <a:pt x="594" y="173"/>
                    </a:lnTo>
                    <a:lnTo>
                      <a:pt x="599" y="177"/>
                    </a:lnTo>
                    <a:lnTo>
                      <a:pt x="601" y="180"/>
                    </a:lnTo>
                    <a:lnTo>
                      <a:pt x="602" y="183"/>
                    </a:lnTo>
                    <a:lnTo>
                      <a:pt x="604" y="186"/>
                    </a:lnTo>
                    <a:lnTo>
                      <a:pt x="604" y="191"/>
                    </a:lnTo>
                    <a:lnTo>
                      <a:pt x="604" y="195"/>
                    </a:lnTo>
                    <a:lnTo>
                      <a:pt x="602" y="200"/>
                    </a:lnTo>
                    <a:lnTo>
                      <a:pt x="601" y="204"/>
                    </a:lnTo>
                    <a:lnTo>
                      <a:pt x="599" y="207"/>
                    </a:lnTo>
                    <a:lnTo>
                      <a:pt x="594" y="213"/>
                    </a:lnTo>
                    <a:lnTo>
                      <a:pt x="587" y="220"/>
                    </a:lnTo>
                    <a:lnTo>
                      <a:pt x="582" y="226"/>
                    </a:lnTo>
                    <a:lnTo>
                      <a:pt x="576" y="233"/>
                    </a:lnTo>
                    <a:lnTo>
                      <a:pt x="574" y="237"/>
                    </a:lnTo>
                    <a:lnTo>
                      <a:pt x="572" y="242"/>
                    </a:lnTo>
                    <a:lnTo>
                      <a:pt x="571" y="247"/>
                    </a:lnTo>
                    <a:lnTo>
                      <a:pt x="571" y="252"/>
                    </a:lnTo>
                    <a:lnTo>
                      <a:pt x="565" y="255"/>
                    </a:lnTo>
                    <a:lnTo>
                      <a:pt x="560" y="256"/>
                    </a:lnTo>
                    <a:lnTo>
                      <a:pt x="555" y="259"/>
                    </a:lnTo>
                    <a:lnTo>
                      <a:pt x="551" y="262"/>
                    </a:lnTo>
                    <a:lnTo>
                      <a:pt x="542" y="269"/>
                    </a:lnTo>
                    <a:lnTo>
                      <a:pt x="535" y="277"/>
                    </a:lnTo>
                    <a:lnTo>
                      <a:pt x="529" y="287"/>
                    </a:lnTo>
                    <a:lnTo>
                      <a:pt x="523" y="298"/>
                    </a:lnTo>
                    <a:lnTo>
                      <a:pt x="519" y="310"/>
                    </a:lnTo>
                    <a:lnTo>
                      <a:pt x="515" y="323"/>
                    </a:lnTo>
                    <a:lnTo>
                      <a:pt x="512" y="336"/>
                    </a:lnTo>
                    <a:lnTo>
                      <a:pt x="509" y="349"/>
                    </a:lnTo>
                    <a:lnTo>
                      <a:pt x="508" y="363"/>
                    </a:lnTo>
                    <a:lnTo>
                      <a:pt x="506" y="377"/>
                    </a:lnTo>
                    <a:lnTo>
                      <a:pt x="505" y="402"/>
                    </a:lnTo>
                    <a:lnTo>
                      <a:pt x="505" y="425"/>
                    </a:lnTo>
                    <a:lnTo>
                      <a:pt x="497" y="425"/>
                    </a:lnTo>
                    <a:lnTo>
                      <a:pt x="492" y="423"/>
                    </a:lnTo>
                    <a:lnTo>
                      <a:pt x="486" y="420"/>
                    </a:lnTo>
                    <a:lnTo>
                      <a:pt x="482" y="415"/>
                    </a:lnTo>
                    <a:lnTo>
                      <a:pt x="477" y="412"/>
                    </a:lnTo>
                    <a:lnTo>
                      <a:pt x="473" y="409"/>
                    </a:lnTo>
                    <a:lnTo>
                      <a:pt x="470" y="407"/>
                    </a:lnTo>
                    <a:lnTo>
                      <a:pt x="464" y="406"/>
                    </a:lnTo>
                    <a:lnTo>
                      <a:pt x="460" y="407"/>
                    </a:lnTo>
                    <a:lnTo>
                      <a:pt x="455" y="408"/>
                    </a:lnTo>
                    <a:lnTo>
                      <a:pt x="451" y="410"/>
                    </a:lnTo>
                    <a:lnTo>
                      <a:pt x="447" y="412"/>
                    </a:lnTo>
                    <a:lnTo>
                      <a:pt x="439" y="418"/>
                    </a:lnTo>
                    <a:lnTo>
                      <a:pt x="431" y="425"/>
                    </a:lnTo>
                    <a:lnTo>
                      <a:pt x="423" y="432"/>
                    </a:lnTo>
                    <a:lnTo>
                      <a:pt x="416" y="438"/>
                    </a:lnTo>
                    <a:lnTo>
                      <a:pt x="411" y="440"/>
                    </a:lnTo>
                    <a:lnTo>
                      <a:pt x="407" y="442"/>
                    </a:lnTo>
                    <a:lnTo>
                      <a:pt x="403" y="443"/>
                    </a:lnTo>
                    <a:lnTo>
                      <a:pt x="398" y="444"/>
                    </a:lnTo>
                    <a:lnTo>
                      <a:pt x="393" y="444"/>
                    </a:lnTo>
                    <a:lnTo>
                      <a:pt x="388" y="446"/>
                    </a:lnTo>
                    <a:lnTo>
                      <a:pt x="385" y="449"/>
                    </a:lnTo>
                    <a:lnTo>
                      <a:pt x="382" y="453"/>
                    </a:lnTo>
                    <a:lnTo>
                      <a:pt x="375" y="463"/>
                    </a:lnTo>
                    <a:lnTo>
                      <a:pt x="372" y="476"/>
                    </a:lnTo>
                    <a:lnTo>
                      <a:pt x="369" y="489"/>
                    </a:lnTo>
                    <a:lnTo>
                      <a:pt x="366" y="501"/>
                    </a:lnTo>
                    <a:lnTo>
                      <a:pt x="365" y="511"/>
                    </a:lnTo>
                    <a:lnTo>
                      <a:pt x="365" y="517"/>
                    </a:lnTo>
                    <a:lnTo>
                      <a:pt x="362" y="520"/>
                    </a:lnTo>
                    <a:lnTo>
                      <a:pt x="358" y="522"/>
                    </a:lnTo>
                    <a:lnTo>
                      <a:pt x="350" y="525"/>
                    </a:lnTo>
                    <a:lnTo>
                      <a:pt x="342" y="528"/>
                    </a:lnTo>
                    <a:lnTo>
                      <a:pt x="320" y="535"/>
                    </a:lnTo>
                    <a:lnTo>
                      <a:pt x="296" y="541"/>
                    </a:lnTo>
                    <a:lnTo>
                      <a:pt x="270" y="546"/>
                    </a:lnTo>
                    <a:lnTo>
                      <a:pt x="246" y="551"/>
                    </a:lnTo>
                    <a:lnTo>
                      <a:pt x="226" y="554"/>
                    </a:lnTo>
                    <a:lnTo>
                      <a:pt x="212" y="555"/>
                    </a:lnTo>
                    <a:lnTo>
                      <a:pt x="194" y="554"/>
                    </a:lnTo>
                    <a:lnTo>
                      <a:pt x="176" y="553"/>
                    </a:lnTo>
                    <a:lnTo>
                      <a:pt x="159" y="550"/>
                    </a:lnTo>
                    <a:lnTo>
                      <a:pt x="142" y="548"/>
                    </a:lnTo>
                    <a:lnTo>
                      <a:pt x="113" y="542"/>
                    </a:lnTo>
                    <a:lnTo>
                      <a:pt x="92" y="536"/>
                    </a:lnTo>
                    <a:lnTo>
                      <a:pt x="93" y="529"/>
                    </a:lnTo>
                    <a:lnTo>
                      <a:pt x="94" y="523"/>
                    </a:lnTo>
                    <a:lnTo>
                      <a:pt x="95" y="518"/>
                    </a:lnTo>
                    <a:lnTo>
                      <a:pt x="97" y="513"/>
                    </a:lnTo>
                    <a:lnTo>
                      <a:pt x="103" y="504"/>
                    </a:lnTo>
                    <a:lnTo>
                      <a:pt x="109" y="496"/>
                    </a:lnTo>
                    <a:lnTo>
                      <a:pt x="115" y="488"/>
                    </a:lnTo>
                    <a:lnTo>
                      <a:pt x="120" y="479"/>
                    </a:lnTo>
                    <a:lnTo>
                      <a:pt x="123" y="473"/>
                    </a:lnTo>
                    <a:lnTo>
                      <a:pt x="124" y="468"/>
                    </a:lnTo>
                    <a:lnTo>
                      <a:pt x="125" y="462"/>
                    </a:lnTo>
                    <a:lnTo>
                      <a:pt x="126" y="456"/>
                    </a:lnTo>
                    <a:lnTo>
                      <a:pt x="125" y="451"/>
                    </a:lnTo>
                    <a:lnTo>
                      <a:pt x="124" y="446"/>
                    </a:lnTo>
                    <a:lnTo>
                      <a:pt x="123" y="442"/>
                    </a:lnTo>
                    <a:lnTo>
                      <a:pt x="120" y="439"/>
                    </a:lnTo>
                    <a:lnTo>
                      <a:pt x="117" y="437"/>
                    </a:lnTo>
                    <a:lnTo>
                      <a:pt x="114" y="435"/>
                    </a:lnTo>
                    <a:lnTo>
                      <a:pt x="111" y="433"/>
                    </a:lnTo>
                    <a:lnTo>
                      <a:pt x="106" y="432"/>
                    </a:lnTo>
                    <a:lnTo>
                      <a:pt x="89" y="431"/>
                    </a:lnTo>
                    <a:lnTo>
                      <a:pt x="72" y="432"/>
                    </a:lnTo>
                    <a:lnTo>
                      <a:pt x="69" y="431"/>
                    </a:lnTo>
                    <a:lnTo>
                      <a:pt x="66" y="430"/>
                    </a:lnTo>
                    <a:lnTo>
                      <a:pt x="62" y="429"/>
                    </a:lnTo>
                    <a:lnTo>
                      <a:pt x="59" y="427"/>
                    </a:lnTo>
                    <a:lnTo>
                      <a:pt x="52" y="421"/>
                    </a:lnTo>
                    <a:lnTo>
                      <a:pt x="47" y="413"/>
                    </a:lnTo>
                    <a:lnTo>
                      <a:pt x="42" y="405"/>
                    </a:lnTo>
                    <a:lnTo>
                      <a:pt x="38" y="395"/>
                    </a:lnTo>
                    <a:lnTo>
                      <a:pt x="34" y="384"/>
                    </a:lnTo>
                    <a:lnTo>
                      <a:pt x="30" y="373"/>
                    </a:lnTo>
                    <a:lnTo>
                      <a:pt x="26" y="349"/>
                    </a:lnTo>
                    <a:lnTo>
                      <a:pt x="22" y="327"/>
                    </a:lnTo>
                    <a:lnTo>
                      <a:pt x="19" y="309"/>
                    </a:lnTo>
                    <a:lnTo>
                      <a:pt x="19" y="295"/>
                    </a:lnTo>
                    <a:lnTo>
                      <a:pt x="16" y="295"/>
                    </a:lnTo>
                    <a:lnTo>
                      <a:pt x="13" y="293"/>
                    </a:lnTo>
                    <a:lnTo>
                      <a:pt x="10" y="291"/>
                    </a:lnTo>
                    <a:lnTo>
                      <a:pt x="7" y="289"/>
                    </a:lnTo>
                    <a:lnTo>
                      <a:pt x="4" y="286"/>
                    </a:lnTo>
                    <a:lnTo>
                      <a:pt x="2" y="283"/>
                    </a:lnTo>
                    <a:lnTo>
                      <a:pt x="0" y="280"/>
                    </a:lnTo>
                    <a:lnTo>
                      <a:pt x="0" y="277"/>
                    </a:lnTo>
                    <a:lnTo>
                      <a:pt x="0" y="274"/>
                    </a:lnTo>
                    <a:lnTo>
                      <a:pt x="1" y="271"/>
                    </a:lnTo>
                    <a:lnTo>
                      <a:pt x="2" y="268"/>
                    </a:lnTo>
                    <a:lnTo>
                      <a:pt x="4" y="265"/>
                    </a:lnTo>
                    <a:lnTo>
                      <a:pt x="10" y="259"/>
                    </a:lnTo>
                    <a:lnTo>
                      <a:pt x="16" y="254"/>
                    </a:lnTo>
                    <a:lnTo>
                      <a:pt x="22" y="248"/>
                    </a:lnTo>
                    <a:lnTo>
                      <a:pt x="27" y="243"/>
                    </a:lnTo>
                    <a:lnTo>
                      <a:pt x="31" y="238"/>
                    </a:lnTo>
                    <a:lnTo>
                      <a:pt x="33" y="234"/>
                    </a:lnTo>
                    <a:lnTo>
                      <a:pt x="34" y="221"/>
                    </a:lnTo>
                    <a:lnTo>
                      <a:pt x="36" y="213"/>
                    </a:lnTo>
                    <a:lnTo>
                      <a:pt x="38" y="205"/>
                    </a:lnTo>
                    <a:lnTo>
                      <a:pt x="39" y="1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0" name="Freeform 261">
                <a:extLst>
                  <a:ext uri="{FF2B5EF4-FFF2-40B4-BE49-F238E27FC236}">
                    <a16:creationId xmlns:a16="http://schemas.microsoft.com/office/drawing/2014/main" id="{5A0421E1-F2D9-4F2F-82B6-FA2DEE742D0E}"/>
                  </a:ext>
                </a:extLst>
              </p:cNvPr>
              <p:cNvSpPr>
                <a:spLocks/>
              </p:cNvSpPr>
              <p:nvPr>
                <p:custDataLst>
                  <p:tags r:id="rId188"/>
                </p:custDataLst>
              </p:nvPr>
            </p:nvSpPr>
            <p:spPr bwMode="auto">
              <a:xfrm>
                <a:off x="5781525" y="3186861"/>
                <a:ext cx="441598" cy="478169"/>
              </a:xfrm>
              <a:custGeom>
                <a:avLst/>
                <a:gdLst>
                  <a:gd name="T0" fmla="*/ 150389759 w 831"/>
                  <a:gd name="T1" fmla="*/ 22343635 h 812"/>
                  <a:gd name="T2" fmla="*/ 136489964 w 831"/>
                  <a:gd name="T3" fmla="*/ 7902017 h 812"/>
                  <a:gd name="T4" fmla="*/ 108497048 w 831"/>
                  <a:gd name="T5" fmla="*/ 2724834 h 812"/>
                  <a:gd name="T6" fmla="*/ 96334562 w 831"/>
                  <a:gd name="T7" fmla="*/ 7902017 h 812"/>
                  <a:gd name="T8" fmla="*/ 93824822 w 831"/>
                  <a:gd name="T9" fmla="*/ 13351684 h 812"/>
                  <a:gd name="T10" fmla="*/ 95948347 w 831"/>
                  <a:gd name="T11" fmla="*/ 19346318 h 812"/>
                  <a:gd name="T12" fmla="*/ 99809621 w 831"/>
                  <a:gd name="T13" fmla="*/ 24523502 h 812"/>
                  <a:gd name="T14" fmla="*/ 99616294 w 831"/>
                  <a:gd name="T15" fmla="*/ 30245653 h 812"/>
                  <a:gd name="T16" fmla="*/ 94790141 w 831"/>
                  <a:gd name="T17" fmla="*/ 38147670 h 812"/>
                  <a:gd name="T18" fmla="*/ 92666616 w 831"/>
                  <a:gd name="T19" fmla="*/ 44142304 h 812"/>
                  <a:gd name="T20" fmla="*/ 86874705 w 831"/>
                  <a:gd name="T21" fmla="*/ 50136938 h 812"/>
                  <a:gd name="T22" fmla="*/ 82434328 w 831"/>
                  <a:gd name="T23" fmla="*/ 66213456 h 812"/>
                  <a:gd name="T24" fmla="*/ 81083234 w 831"/>
                  <a:gd name="T25" fmla="*/ 90464475 h 812"/>
                  <a:gd name="T26" fmla="*/ 75677539 w 831"/>
                  <a:gd name="T27" fmla="*/ 86922191 h 812"/>
                  <a:gd name="T28" fmla="*/ 71430489 w 831"/>
                  <a:gd name="T29" fmla="*/ 85832258 h 812"/>
                  <a:gd name="T30" fmla="*/ 65252802 w 831"/>
                  <a:gd name="T31" fmla="*/ 92371858 h 812"/>
                  <a:gd name="T32" fmla="*/ 60426210 w 831"/>
                  <a:gd name="T33" fmla="*/ 95641658 h 812"/>
                  <a:gd name="T34" fmla="*/ 55985833 w 831"/>
                  <a:gd name="T35" fmla="*/ 100818842 h 812"/>
                  <a:gd name="T36" fmla="*/ 54055196 w 831"/>
                  <a:gd name="T37" fmla="*/ 115532421 h 812"/>
                  <a:gd name="T38" fmla="*/ 45367770 w 831"/>
                  <a:gd name="T39" fmla="*/ 120437122 h 812"/>
                  <a:gd name="T40" fmla="*/ 24517858 w 831"/>
                  <a:gd name="T41" fmla="*/ 125886789 h 812"/>
                  <a:gd name="T42" fmla="*/ 5019480 w 831"/>
                  <a:gd name="T43" fmla="*/ 122344505 h 812"/>
                  <a:gd name="T44" fmla="*/ 9845633 w 831"/>
                  <a:gd name="T45" fmla="*/ 137603573 h 812"/>
                  <a:gd name="T46" fmla="*/ 18533499 w 831"/>
                  <a:gd name="T47" fmla="*/ 147140491 h 812"/>
                  <a:gd name="T48" fmla="*/ 23745867 w 831"/>
                  <a:gd name="T49" fmla="*/ 157222375 h 812"/>
                  <a:gd name="T50" fmla="*/ 27413813 w 831"/>
                  <a:gd name="T51" fmla="*/ 162399559 h 812"/>
                  <a:gd name="T52" fmla="*/ 19112602 w 831"/>
                  <a:gd name="T53" fmla="*/ 176296210 h 812"/>
                  <a:gd name="T54" fmla="*/ 16795750 w 831"/>
                  <a:gd name="T55" fmla="*/ 182835811 h 812"/>
                  <a:gd name="T56" fmla="*/ 21042800 w 831"/>
                  <a:gd name="T57" fmla="*/ 196187495 h 812"/>
                  <a:gd name="T58" fmla="*/ 42858030 w 831"/>
                  <a:gd name="T59" fmla="*/ 193462662 h 812"/>
                  <a:gd name="T60" fmla="*/ 58302685 w 831"/>
                  <a:gd name="T61" fmla="*/ 192100245 h 812"/>
                  <a:gd name="T62" fmla="*/ 63707941 w 831"/>
                  <a:gd name="T63" fmla="*/ 196459979 h 812"/>
                  <a:gd name="T64" fmla="*/ 69306964 w 831"/>
                  <a:gd name="T65" fmla="*/ 205996896 h 812"/>
                  <a:gd name="T66" fmla="*/ 78766382 w 831"/>
                  <a:gd name="T67" fmla="*/ 213898913 h 812"/>
                  <a:gd name="T68" fmla="*/ 86681817 w 831"/>
                  <a:gd name="T69" fmla="*/ 218803614 h 812"/>
                  <a:gd name="T70" fmla="*/ 88805342 w 831"/>
                  <a:gd name="T71" fmla="*/ 215533814 h 812"/>
                  <a:gd name="T72" fmla="*/ 94017710 w 831"/>
                  <a:gd name="T73" fmla="*/ 210901596 h 812"/>
                  <a:gd name="T74" fmla="*/ 106952626 w 831"/>
                  <a:gd name="T75" fmla="*/ 208176763 h 812"/>
                  <a:gd name="T76" fmla="*/ 115253837 w 831"/>
                  <a:gd name="T77" fmla="*/ 204361996 h 812"/>
                  <a:gd name="T78" fmla="*/ 119307999 w 831"/>
                  <a:gd name="T79" fmla="*/ 198094879 h 812"/>
                  <a:gd name="T80" fmla="*/ 112744097 w 831"/>
                  <a:gd name="T81" fmla="*/ 190737828 h 812"/>
                  <a:gd name="T82" fmla="*/ 104635774 w 831"/>
                  <a:gd name="T83" fmla="*/ 174661310 h 812"/>
                  <a:gd name="T84" fmla="*/ 101546931 w 831"/>
                  <a:gd name="T85" fmla="*/ 170029093 h 812"/>
                  <a:gd name="T86" fmla="*/ 101546931 w 831"/>
                  <a:gd name="T87" fmla="*/ 157494858 h 812"/>
                  <a:gd name="T88" fmla="*/ 112357882 w 831"/>
                  <a:gd name="T89" fmla="*/ 153407608 h 812"/>
                  <a:gd name="T90" fmla="*/ 120080429 w 831"/>
                  <a:gd name="T91" fmla="*/ 144688141 h 812"/>
                  <a:gd name="T92" fmla="*/ 132822018 w 831"/>
                  <a:gd name="T93" fmla="*/ 113625038 h 812"/>
                  <a:gd name="T94" fmla="*/ 140930341 w 831"/>
                  <a:gd name="T95" fmla="*/ 100273875 h 812"/>
                  <a:gd name="T96" fmla="*/ 139965023 w 831"/>
                  <a:gd name="T97" fmla="*/ 89919508 h 812"/>
                  <a:gd name="T98" fmla="*/ 140737014 w 831"/>
                  <a:gd name="T99" fmla="*/ 83107424 h 812"/>
                  <a:gd name="T100" fmla="*/ 144984503 w 831"/>
                  <a:gd name="T101" fmla="*/ 78747690 h 812"/>
                  <a:gd name="T102" fmla="*/ 129346959 w 831"/>
                  <a:gd name="T103" fmla="*/ 56404055 h 812"/>
                  <a:gd name="T104" fmla="*/ 146335597 w 831"/>
                  <a:gd name="T105" fmla="*/ 38147670 h 812"/>
                  <a:gd name="T106" fmla="*/ 155409239 w 831"/>
                  <a:gd name="T107" fmla="*/ 33515453 h 81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831" h="812">
                    <a:moveTo>
                      <a:pt x="831" y="98"/>
                    </a:moveTo>
                    <a:lnTo>
                      <a:pt x="817" y="95"/>
                    </a:lnTo>
                    <a:lnTo>
                      <a:pt x="803" y="91"/>
                    </a:lnTo>
                    <a:lnTo>
                      <a:pt x="791" y="87"/>
                    </a:lnTo>
                    <a:lnTo>
                      <a:pt x="779" y="82"/>
                    </a:lnTo>
                    <a:lnTo>
                      <a:pt x="769" y="77"/>
                    </a:lnTo>
                    <a:lnTo>
                      <a:pt x="758" y="71"/>
                    </a:lnTo>
                    <a:lnTo>
                      <a:pt x="749" y="65"/>
                    </a:lnTo>
                    <a:lnTo>
                      <a:pt x="740" y="58"/>
                    </a:lnTo>
                    <a:lnTo>
                      <a:pt x="707" y="29"/>
                    </a:lnTo>
                    <a:lnTo>
                      <a:pt x="679" y="0"/>
                    </a:lnTo>
                    <a:lnTo>
                      <a:pt x="655" y="2"/>
                    </a:lnTo>
                    <a:lnTo>
                      <a:pt x="626" y="4"/>
                    </a:lnTo>
                    <a:lnTo>
                      <a:pt x="594" y="7"/>
                    </a:lnTo>
                    <a:lnTo>
                      <a:pt x="562" y="10"/>
                    </a:lnTo>
                    <a:lnTo>
                      <a:pt x="547" y="13"/>
                    </a:lnTo>
                    <a:lnTo>
                      <a:pt x="533" y="16"/>
                    </a:lnTo>
                    <a:lnTo>
                      <a:pt x="520" y="19"/>
                    </a:lnTo>
                    <a:lnTo>
                      <a:pt x="509" y="24"/>
                    </a:lnTo>
                    <a:lnTo>
                      <a:pt x="499" y="29"/>
                    </a:lnTo>
                    <a:lnTo>
                      <a:pt x="492" y="34"/>
                    </a:lnTo>
                    <a:lnTo>
                      <a:pt x="489" y="37"/>
                    </a:lnTo>
                    <a:lnTo>
                      <a:pt x="487" y="41"/>
                    </a:lnTo>
                    <a:lnTo>
                      <a:pt x="486" y="44"/>
                    </a:lnTo>
                    <a:lnTo>
                      <a:pt x="486" y="49"/>
                    </a:lnTo>
                    <a:lnTo>
                      <a:pt x="486" y="54"/>
                    </a:lnTo>
                    <a:lnTo>
                      <a:pt x="487" y="59"/>
                    </a:lnTo>
                    <a:lnTo>
                      <a:pt x="489" y="63"/>
                    </a:lnTo>
                    <a:lnTo>
                      <a:pt x="491" y="66"/>
                    </a:lnTo>
                    <a:lnTo>
                      <a:pt x="497" y="71"/>
                    </a:lnTo>
                    <a:lnTo>
                      <a:pt x="502" y="76"/>
                    </a:lnTo>
                    <a:lnTo>
                      <a:pt x="509" y="80"/>
                    </a:lnTo>
                    <a:lnTo>
                      <a:pt x="514" y="84"/>
                    </a:lnTo>
                    <a:lnTo>
                      <a:pt x="516" y="87"/>
                    </a:lnTo>
                    <a:lnTo>
                      <a:pt x="517" y="90"/>
                    </a:lnTo>
                    <a:lnTo>
                      <a:pt x="519" y="93"/>
                    </a:lnTo>
                    <a:lnTo>
                      <a:pt x="519" y="98"/>
                    </a:lnTo>
                    <a:lnTo>
                      <a:pt x="519" y="102"/>
                    </a:lnTo>
                    <a:lnTo>
                      <a:pt x="517" y="107"/>
                    </a:lnTo>
                    <a:lnTo>
                      <a:pt x="516" y="111"/>
                    </a:lnTo>
                    <a:lnTo>
                      <a:pt x="514" y="114"/>
                    </a:lnTo>
                    <a:lnTo>
                      <a:pt x="509" y="120"/>
                    </a:lnTo>
                    <a:lnTo>
                      <a:pt x="502" y="127"/>
                    </a:lnTo>
                    <a:lnTo>
                      <a:pt x="497" y="133"/>
                    </a:lnTo>
                    <a:lnTo>
                      <a:pt x="491" y="140"/>
                    </a:lnTo>
                    <a:lnTo>
                      <a:pt x="489" y="144"/>
                    </a:lnTo>
                    <a:lnTo>
                      <a:pt x="487" y="149"/>
                    </a:lnTo>
                    <a:lnTo>
                      <a:pt x="486" y="154"/>
                    </a:lnTo>
                    <a:lnTo>
                      <a:pt x="486" y="159"/>
                    </a:lnTo>
                    <a:lnTo>
                      <a:pt x="480" y="162"/>
                    </a:lnTo>
                    <a:lnTo>
                      <a:pt x="475" y="163"/>
                    </a:lnTo>
                    <a:lnTo>
                      <a:pt x="470" y="166"/>
                    </a:lnTo>
                    <a:lnTo>
                      <a:pt x="466" y="169"/>
                    </a:lnTo>
                    <a:lnTo>
                      <a:pt x="457" y="176"/>
                    </a:lnTo>
                    <a:lnTo>
                      <a:pt x="450" y="184"/>
                    </a:lnTo>
                    <a:lnTo>
                      <a:pt x="444" y="194"/>
                    </a:lnTo>
                    <a:lnTo>
                      <a:pt x="438" y="205"/>
                    </a:lnTo>
                    <a:lnTo>
                      <a:pt x="434" y="217"/>
                    </a:lnTo>
                    <a:lnTo>
                      <a:pt x="430" y="230"/>
                    </a:lnTo>
                    <a:lnTo>
                      <a:pt x="427" y="243"/>
                    </a:lnTo>
                    <a:lnTo>
                      <a:pt x="424" y="256"/>
                    </a:lnTo>
                    <a:lnTo>
                      <a:pt x="423" y="270"/>
                    </a:lnTo>
                    <a:lnTo>
                      <a:pt x="421" y="284"/>
                    </a:lnTo>
                    <a:lnTo>
                      <a:pt x="420" y="309"/>
                    </a:lnTo>
                    <a:lnTo>
                      <a:pt x="420" y="332"/>
                    </a:lnTo>
                    <a:lnTo>
                      <a:pt x="412" y="332"/>
                    </a:lnTo>
                    <a:lnTo>
                      <a:pt x="407" y="330"/>
                    </a:lnTo>
                    <a:lnTo>
                      <a:pt x="401" y="327"/>
                    </a:lnTo>
                    <a:lnTo>
                      <a:pt x="397" y="322"/>
                    </a:lnTo>
                    <a:lnTo>
                      <a:pt x="392" y="319"/>
                    </a:lnTo>
                    <a:lnTo>
                      <a:pt x="388" y="316"/>
                    </a:lnTo>
                    <a:lnTo>
                      <a:pt x="385" y="314"/>
                    </a:lnTo>
                    <a:lnTo>
                      <a:pt x="379" y="313"/>
                    </a:lnTo>
                    <a:lnTo>
                      <a:pt x="375" y="314"/>
                    </a:lnTo>
                    <a:lnTo>
                      <a:pt x="370" y="315"/>
                    </a:lnTo>
                    <a:lnTo>
                      <a:pt x="366" y="317"/>
                    </a:lnTo>
                    <a:lnTo>
                      <a:pt x="362" y="319"/>
                    </a:lnTo>
                    <a:lnTo>
                      <a:pt x="354" y="325"/>
                    </a:lnTo>
                    <a:lnTo>
                      <a:pt x="346" y="332"/>
                    </a:lnTo>
                    <a:lnTo>
                      <a:pt x="338" y="339"/>
                    </a:lnTo>
                    <a:lnTo>
                      <a:pt x="331" y="345"/>
                    </a:lnTo>
                    <a:lnTo>
                      <a:pt x="326" y="347"/>
                    </a:lnTo>
                    <a:lnTo>
                      <a:pt x="322" y="349"/>
                    </a:lnTo>
                    <a:lnTo>
                      <a:pt x="318" y="350"/>
                    </a:lnTo>
                    <a:lnTo>
                      <a:pt x="313" y="351"/>
                    </a:lnTo>
                    <a:lnTo>
                      <a:pt x="308" y="351"/>
                    </a:lnTo>
                    <a:lnTo>
                      <a:pt x="303" y="353"/>
                    </a:lnTo>
                    <a:lnTo>
                      <a:pt x="300" y="356"/>
                    </a:lnTo>
                    <a:lnTo>
                      <a:pt x="297" y="360"/>
                    </a:lnTo>
                    <a:lnTo>
                      <a:pt x="290" y="370"/>
                    </a:lnTo>
                    <a:lnTo>
                      <a:pt x="287" y="383"/>
                    </a:lnTo>
                    <a:lnTo>
                      <a:pt x="284" y="396"/>
                    </a:lnTo>
                    <a:lnTo>
                      <a:pt x="281" y="408"/>
                    </a:lnTo>
                    <a:lnTo>
                      <a:pt x="280" y="418"/>
                    </a:lnTo>
                    <a:lnTo>
                      <a:pt x="280" y="424"/>
                    </a:lnTo>
                    <a:lnTo>
                      <a:pt x="277" y="427"/>
                    </a:lnTo>
                    <a:lnTo>
                      <a:pt x="273" y="429"/>
                    </a:lnTo>
                    <a:lnTo>
                      <a:pt x="265" y="432"/>
                    </a:lnTo>
                    <a:lnTo>
                      <a:pt x="257" y="435"/>
                    </a:lnTo>
                    <a:lnTo>
                      <a:pt x="235" y="442"/>
                    </a:lnTo>
                    <a:lnTo>
                      <a:pt x="211" y="448"/>
                    </a:lnTo>
                    <a:lnTo>
                      <a:pt x="185" y="453"/>
                    </a:lnTo>
                    <a:lnTo>
                      <a:pt x="161" y="458"/>
                    </a:lnTo>
                    <a:lnTo>
                      <a:pt x="141" y="461"/>
                    </a:lnTo>
                    <a:lnTo>
                      <a:pt x="127" y="462"/>
                    </a:lnTo>
                    <a:lnTo>
                      <a:pt x="109" y="461"/>
                    </a:lnTo>
                    <a:lnTo>
                      <a:pt x="91" y="460"/>
                    </a:lnTo>
                    <a:lnTo>
                      <a:pt x="74" y="457"/>
                    </a:lnTo>
                    <a:lnTo>
                      <a:pt x="56" y="455"/>
                    </a:lnTo>
                    <a:lnTo>
                      <a:pt x="26" y="449"/>
                    </a:lnTo>
                    <a:lnTo>
                      <a:pt x="0" y="443"/>
                    </a:lnTo>
                    <a:lnTo>
                      <a:pt x="8" y="455"/>
                    </a:lnTo>
                    <a:lnTo>
                      <a:pt x="19" y="470"/>
                    </a:lnTo>
                    <a:lnTo>
                      <a:pt x="34" y="487"/>
                    </a:lnTo>
                    <a:lnTo>
                      <a:pt x="51" y="505"/>
                    </a:lnTo>
                    <a:lnTo>
                      <a:pt x="60" y="513"/>
                    </a:lnTo>
                    <a:lnTo>
                      <a:pt x="68" y="521"/>
                    </a:lnTo>
                    <a:lnTo>
                      <a:pt x="77" y="528"/>
                    </a:lnTo>
                    <a:lnTo>
                      <a:pt x="87" y="535"/>
                    </a:lnTo>
                    <a:lnTo>
                      <a:pt x="96" y="540"/>
                    </a:lnTo>
                    <a:lnTo>
                      <a:pt x="105" y="544"/>
                    </a:lnTo>
                    <a:lnTo>
                      <a:pt x="112" y="546"/>
                    </a:lnTo>
                    <a:lnTo>
                      <a:pt x="120" y="547"/>
                    </a:lnTo>
                    <a:lnTo>
                      <a:pt x="121" y="561"/>
                    </a:lnTo>
                    <a:lnTo>
                      <a:pt x="123" y="577"/>
                    </a:lnTo>
                    <a:lnTo>
                      <a:pt x="127" y="585"/>
                    </a:lnTo>
                    <a:lnTo>
                      <a:pt x="131" y="591"/>
                    </a:lnTo>
                    <a:lnTo>
                      <a:pt x="134" y="593"/>
                    </a:lnTo>
                    <a:lnTo>
                      <a:pt x="138" y="595"/>
                    </a:lnTo>
                    <a:lnTo>
                      <a:pt x="142" y="596"/>
                    </a:lnTo>
                    <a:lnTo>
                      <a:pt x="147" y="597"/>
                    </a:lnTo>
                    <a:lnTo>
                      <a:pt x="147" y="616"/>
                    </a:lnTo>
                    <a:lnTo>
                      <a:pt x="127" y="629"/>
                    </a:lnTo>
                    <a:lnTo>
                      <a:pt x="107" y="641"/>
                    </a:lnTo>
                    <a:lnTo>
                      <a:pt x="99" y="647"/>
                    </a:lnTo>
                    <a:lnTo>
                      <a:pt x="93" y="654"/>
                    </a:lnTo>
                    <a:lnTo>
                      <a:pt x="90" y="658"/>
                    </a:lnTo>
                    <a:lnTo>
                      <a:pt x="88" y="663"/>
                    </a:lnTo>
                    <a:lnTo>
                      <a:pt x="87" y="667"/>
                    </a:lnTo>
                    <a:lnTo>
                      <a:pt x="87" y="671"/>
                    </a:lnTo>
                    <a:lnTo>
                      <a:pt x="87" y="680"/>
                    </a:lnTo>
                    <a:lnTo>
                      <a:pt x="87" y="689"/>
                    </a:lnTo>
                    <a:lnTo>
                      <a:pt x="87" y="701"/>
                    </a:lnTo>
                    <a:lnTo>
                      <a:pt x="87" y="721"/>
                    </a:lnTo>
                    <a:lnTo>
                      <a:pt x="109" y="720"/>
                    </a:lnTo>
                    <a:lnTo>
                      <a:pt x="132" y="719"/>
                    </a:lnTo>
                    <a:lnTo>
                      <a:pt x="154" y="717"/>
                    </a:lnTo>
                    <a:lnTo>
                      <a:pt x="177" y="714"/>
                    </a:lnTo>
                    <a:lnTo>
                      <a:pt x="199" y="711"/>
                    </a:lnTo>
                    <a:lnTo>
                      <a:pt x="222" y="710"/>
                    </a:lnTo>
                    <a:lnTo>
                      <a:pt x="244" y="708"/>
                    </a:lnTo>
                    <a:lnTo>
                      <a:pt x="266" y="708"/>
                    </a:lnTo>
                    <a:lnTo>
                      <a:pt x="284" y="707"/>
                    </a:lnTo>
                    <a:lnTo>
                      <a:pt x="297" y="705"/>
                    </a:lnTo>
                    <a:lnTo>
                      <a:pt x="302" y="705"/>
                    </a:lnTo>
                    <a:lnTo>
                      <a:pt x="310" y="705"/>
                    </a:lnTo>
                    <a:lnTo>
                      <a:pt x="318" y="706"/>
                    </a:lnTo>
                    <a:lnTo>
                      <a:pt x="326" y="708"/>
                    </a:lnTo>
                    <a:lnTo>
                      <a:pt x="328" y="714"/>
                    </a:lnTo>
                    <a:lnTo>
                      <a:pt x="330" y="721"/>
                    </a:lnTo>
                    <a:lnTo>
                      <a:pt x="333" y="728"/>
                    </a:lnTo>
                    <a:lnTo>
                      <a:pt x="338" y="735"/>
                    </a:lnTo>
                    <a:lnTo>
                      <a:pt x="345" y="742"/>
                    </a:lnTo>
                    <a:lnTo>
                      <a:pt x="352" y="749"/>
                    </a:lnTo>
                    <a:lnTo>
                      <a:pt x="359" y="756"/>
                    </a:lnTo>
                    <a:lnTo>
                      <a:pt x="368" y="762"/>
                    </a:lnTo>
                    <a:lnTo>
                      <a:pt x="378" y="769"/>
                    </a:lnTo>
                    <a:lnTo>
                      <a:pt x="388" y="776"/>
                    </a:lnTo>
                    <a:lnTo>
                      <a:pt x="398" y="781"/>
                    </a:lnTo>
                    <a:lnTo>
                      <a:pt x="408" y="785"/>
                    </a:lnTo>
                    <a:lnTo>
                      <a:pt x="418" y="789"/>
                    </a:lnTo>
                    <a:lnTo>
                      <a:pt x="427" y="792"/>
                    </a:lnTo>
                    <a:lnTo>
                      <a:pt x="437" y="794"/>
                    </a:lnTo>
                    <a:lnTo>
                      <a:pt x="446" y="794"/>
                    </a:lnTo>
                    <a:lnTo>
                      <a:pt x="449" y="803"/>
                    </a:lnTo>
                    <a:lnTo>
                      <a:pt x="453" y="812"/>
                    </a:lnTo>
                    <a:lnTo>
                      <a:pt x="454" y="806"/>
                    </a:lnTo>
                    <a:lnTo>
                      <a:pt x="455" y="800"/>
                    </a:lnTo>
                    <a:lnTo>
                      <a:pt x="457" y="795"/>
                    </a:lnTo>
                    <a:lnTo>
                      <a:pt x="460" y="791"/>
                    </a:lnTo>
                    <a:lnTo>
                      <a:pt x="464" y="787"/>
                    </a:lnTo>
                    <a:lnTo>
                      <a:pt x="467" y="783"/>
                    </a:lnTo>
                    <a:lnTo>
                      <a:pt x="471" y="780"/>
                    </a:lnTo>
                    <a:lnTo>
                      <a:pt x="477" y="778"/>
                    </a:lnTo>
                    <a:lnTo>
                      <a:pt x="487" y="774"/>
                    </a:lnTo>
                    <a:lnTo>
                      <a:pt x="499" y="770"/>
                    </a:lnTo>
                    <a:lnTo>
                      <a:pt x="512" y="768"/>
                    </a:lnTo>
                    <a:lnTo>
                      <a:pt x="525" y="767"/>
                    </a:lnTo>
                    <a:lnTo>
                      <a:pt x="539" y="765"/>
                    </a:lnTo>
                    <a:lnTo>
                      <a:pt x="554" y="764"/>
                    </a:lnTo>
                    <a:lnTo>
                      <a:pt x="567" y="761"/>
                    </a:lnTo>
                    <a:lnTo>
                      <a:pt x="580" y="758"/>
                    </a:lnTo>
                    <a:lnTo>
                      <a:pt x="586" y="756"/>
                    </a:lnTo>
                    <a:lnTo>
                      <a:pt x="591" y="753"/>
                    </a:lnTo>
                    <a:lnTo>
                      <a:pt x="597" y="750"/>
                    </a:lnTo>
                    <a:lnTo>
                      <a:pt x="602" y="747"/>
                    </a:lnTo>
                    <a:lnTo>
                      <a:pt x="606" y="743"/>
                    </a:lnTo>
                    <a:lnTo>
                      <a:pt x="611" y="738"/>
                    </a:lnTo>
                    <a:lnTo>
                      <a:pt x="615" y="733"/>
                    </a:lnTo>
                    <a:lnTo>
                      <a:pt x="618" y="727"/>
                    </a:lnTo>
                    <a:lnTo>
                      <a:pt x="614" y="725"/>
                    </a:lnTo>
                    <a:lnTo>
                      <a:pt x="610" y="722"/>
                    </a:lnTo>
                    <a:lnTo>
                      <a:pt x="604" y="718"/>
                    </a:lnTo>
                    <a:lnTo>
                      <a:pt x="598" y="712"/>
                    </a:lnTo>
                    <a:lnTo>
                      <a:pt x="584" y="700"/>
                    </a:lnTo>
                    <a:lnTo>
                      <a:pt x="571" y="686"/>
                    </a:lnTo>
                    <a:lnTo>
                      <a:pt x="559" y="671"/>
                    </a:lnTo>
                    <a:lnTo>
                      <a:pt x="548" y="655"/>
                    </a:lnTo>
                    <a:lnTo>
                      <a:pt x="545" y="648"/>
                    </a:lnTo>
                    <a:lnTo>
                      <a:pt x="542" y="641"/>
                    </a:lnTo>
                    <a:lnTo>
                      <a:pt x="539" y="634"/>
                    </a:lnTo>
                    <a:lnTo>
                      <a:pt x="538" y="628"/>
                    </a:lnTo>
                    <a:lnTo>
                      <a:pt x="534" y="627"/>
                    </a:lnTo>
                    <a:lnTo>
                      <a:pt x="530" y="626"/>
                    </a:lnTo>
                    <a:lnTo>
                      <a:pt x="526" y="624"/>
                    </a:lnTo>
                    <a:lnTo>
                      <a:pt x="523" y="620"/>
                    </a:lnTo>
                    <a:lnTo>
                      <a:pt x="517" y="613"/>
                    </a:lnTo>
                    <a:lnTo>
                      <a:pt x="512" y="603"/>
                    </a:lnTo>
                    <a:lnTo>
                      <a:pt x="512" y="579"/>
                    </a:lnTo>
                    <a:lnTo>
                      <a:pt x="526" y="578"/>
                    </a:lnTo>
                    <a:lnTo>
                      <a:pt x="539" y="577"/>
                    </a:lnTo>
                    <a:lnTo>
                      <a:pt x="551" y="575"/>
                    </a:lnTo>
                    <a:lnTo>
                      <a:pt x="562" y="571"/>
                    </a:lnTo>
                    <a:lnTo>
                      <a:pt x="572" y="568"/>
                    </a:lnTo>
                    <a:lnTo>
                      <a:pt x="582" y="563"/>
                    </a:lnTo>
                    <a:lnTo>
                      <a:pt x="591" y="558"/>
                    </a:lnTo>
                    <a:lnTo>
                      <a:pt x="600" y="552"/>
                    </a:lnTo>
                    <a:lnTo>
                      <a:pt x="607" y="545"/>
                    </a:lnTo>
                    <a:lnTo>
                      <a:pt x="615" y="538"/>
                    </a:lnTo>
                    <a:lnTo>
                      <a:pt x="622" y="531"/>
                    </a:lnTo>
                    <a:lnTo>
                      <a:pt x="628" y="523"/>
                    </a:lnTo>
                    <a:lnTo>
                      <a:pt x="639" y="507"/>
                    </a:lnTo>
                    <a:lnTo>
                      <a:pt x="650" y="489"/>
                    </a:lnTo>
                    <a:lnTo>
                      <a:pt x="669" y="453"/>
                    </a:lnTo>
                    <a:lnTo>
                      <a:pt x="688" y="417"/>
                    </a:lnTo>
                    <a:lnTo>
                      <a:pt x="699" y="401"/>
                    </a:lnTo>
                    <a:lnTo>
                      <a:pt x="710" y="387"/>
                    </a:lnTo>
                    <a:lnTo>
                      <a:pt x="716" y="379"/>
                    </a:lnTo>
                    <a:lnTo>
                      <a:pt x="723" y="373"/>
                    </a:lnTo>
                    <a:lnTo>
                      <a:pt x="730" y="368"/>
                    </a:lnTo>
                    <a:lnTo>
                      <a:pt x="738" y="363"/>
                    </a:lnTo>
                    <a:lnTo>
                      <a:pt x="732" y="351"/>
                    </a:lnTo>
                    <a:lnTo>
                      <a:pt x="727" y="340"/>
                    </a:lnTo>
                    <a:lnTo>
                      <a:pt x="726" y="335"/>
                    </a:lnTo>
                    <a:lnTo>
                      <a:pt x="725" y="330"/>
                    </a:lnTo>
                    <a:lnTo>
                      <a:pt x="725" y="324"/>
                    </a:lnTo>
                    <a:lnTo>
                      <a:pt x="725" y="319"/>
                    </a:lnTo>
                    <a:lnTo>
                      <a:pt x="726" y="314"/>
                    </a:lnTo>
                    <a:lnTo>
                      <a:pt x="727" y="309"/>
                    </a:lnTo>
                    <a:lnTo>
                      <a:pt x="729" y="305"/>
                    </a:lnTo>
                    <a:lnTo>
                      <a:pt x="733" y="301"/>
                    </a:lnTo>
                    <a:lnTo>
                      <a:pt x="736" y="298"/>
                    </a:lnTo>
                    <a:lnTo>
                      <a:pt x="740" y="295"/>
                    </a:lnTo>
                    <a:lnTo>
                      <a:pt x="746" y="292"/>
                    </a:lnTo>
                    <a:lnTo>
                      <a:pt x="751" y="289"/>
                    </a:lnTo>
                    <a:lnTo>
                      <a:pt x="722" y="262"/>
                    </a:lnTo>
                    <a:lnTo>
                      <a:pt x="700" y="242"/>
                    </a:lnTo>
                    <a:lnTo>
                      <a:pt x="690" y="232"/>
                    </a:lnTo>
                    <a:lnTo>
                      <a:pt x="680" y="221"/>
                    </a:lnTo>
                    <a:lnTo>
                      <a:pt x="670" y="207"/>
                    </a:lnTo>
                    <a:lnTo>
                      <a:pt x="658" y="190"/>
                    </a:lnTo>
                    <a:lnTo>
                      <a:pt x="658" y="147"/>
                    </a:lnTo>
                    <a:lnTo>
                      <a:pt x="701" y="145"/>
                    </a:lnTo>
                    <a:lnTo>
                      <a:pt x="733" y="143"/>
                    </a:lnTo>
                    <a:lnTo>
                      <a:pt x="758" y="140"/>
                    </a:lnTo>
                    <a:lnTo>
                      <a:pt x="778" y="136"/>
                    </a:lnTo>
                    <a:lnTo>
                      <a:pt x="785" y="134"/>
                    </a:lnTo>
                    <a:lnTo>
                      <a:pt x="792" y="131"/>
                    </a:lnTo>
                    <a:lnTo>
                      <a:pt x="799" y="127"/>
                    </a:lnTo>
                    <a:lnTo>
                      <a:pt x="805" y="123"/>
                    </a:lnTo>
                    <a:lnTo>
                      <a:pt x="817" y="113"/>
                    </a:lnTo>
                    <a:lnTo>
                      <a:pt x="831" y="98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1" name="Freeform 262">
                <a:extLst>
                  <a:ext uri="{FF2B5EF4-FFF2-40B4-BE49-F238E27FC236}">
                    <a16:creationId xmlns:a16="http://schemas.microsoft.com/office/drawing/2014/main" id="{5A11AA4F-5934-45E4-9F1B-4662273738E6}"/>
                  </a:ext>
                </a:extLst>
              </p:cNvPr>
              <p:cNvSpPr>
                <a:spLocks/>
              </p:cNvSpPr>
              <p:nvPr>
                <p:custDataLst>
                  <p:tags r:id="rId189"/>
                </p:custDataLst>
              </p:nvPr>
            </p:nvSpPr>
            <p:spPr bwMode="auto">
              <a:xfrm>
                <a:off x="6735303" y="3489233"/>
                <a:ext cx="266045" cy="659239"/>
              </a:xfrm>
              <a:custGeom>
                <a:avLst/>
                <a:gdLst>
                  <a:gd name="T0" fmla="*/ 83627781 w 505"/>
                  <a:gd name="T1" fmla="*/ 291361884 h 1121"/>
                  <a:gd name="T2" fmla="*/ 84582531 w 505"/>
                  <a:gd name="T3" fmla="*/ 280712161 h 1121"/>
                  <a:gd name="T4" fmla="*/ 76181607 w 505"/>
                  <a:gd name="T5" fmla="*/ 279073943 h 1121"/>
                  <a:gd name="T6" fmla="*/ 77326870 w 505"/>
                  <a:gd name="T7" fmla="*/ 261324754 h 1121"/>
                  <a:gd name="T8" fmla="*/ 80000169 w 505"/>
                  <a:gd name="T9" fmla="*/ 254224765 h 1121"/>
                  <a:gd name="T10" fmla="*/ 78854469 w 505"/>
                  <a:gd name="T11" fmla="*/ 245486558 h 1121"/>
                  <a:gd name="T12" fmla="*/ 75990657 w 505"/>
                  <a:gd name="T13" fmla="*/ 243848340 h 1121"/>
                  <a:gd name="T14" fmla="*/ 72935457 w 505"/>
                  <a:gd name="T15" fmla="*/ 228829514 h 1121"/>
                  <a:gd name="T16" fmla="*/ 61861670 w 505"/>
                  <a:gd name="T17" fmla="*/ 196334796 h 1121"/>
                  <a:gd name="T18" fmla="*/ 56515508 w 505"/>
                  <a:gd name="T19" fmla="*/ 191965692 h 1121"/>
                  <a:gd name="T20" fmla="*/ 53842646 w 505"/>
                  <a:gd name="T21" fmla="*/ 196061498 h 1121"/>
                  <a:gd name="T22" fmla="*/ 43150322 w 505"/>
                  <a:gd name="T23" fmla="*/ 202615415 h 1121"/>
                  <a:gd name="T24" fmla="*/ 32267485 w 505"/>
                  <a:gd name="T25" fmla="*/ 200976674 h 1121"/>
                  <a:gd name="T26" fmla="*/ 25393723 w 505"/>
                  <a:gd name="T27" fmla="*/ 154828573 h 1121"/>
                  <a:gd name="T28" fmla="*/ 19284198 w 505"/>
                  <a:gd name="T29" fmla="*/ 141994560 h 1121"/>
                  <a:gd name="T30" fmla="*/ 9737574 w 505"/>
                  <a:gd name="T31" fmla="*/ 137079384 h 1121"/>
                  <a:gd name="T32" fmla="*/ 1527600 w 505"/>
                  <a:gd name="T33" fmla="*/ 128614474 h 1121"/>
                  <a:gd name="T34" fmla="*/ 4391412 w 505"/>
                  <a:gd name="T35" fmla="*/ 121514485 h 1121"/>
                  <a:gd name="T36" fmla="*/ 11073787 w 505"/>
                  <a:gd name="T37" fmla="*/ 98576822 h 1121"/>
                  <a:gd name="T38" fmla="*/ 12792337 w 505"/>
                  <a:gd name="T39" fmla="*/ 75639158 h 1121"/>
                  <a:gd name="T40" fmla="*/ 15274686 w 505"/>
                  <a:gd name="T41" fmla="*/ 72362723 h 1121"/>
                  <a:gd name="T42" fmla="*/ 21575161 w 505"/>
                  <a:gd name="T43" fmla="*/ 70451207 h 1121"/>
                  <a:gd name="T44" fmla="*/ 25584673 w 505"/>
                  <a:gd name="T45" fmla="*/ 60620855 h 1121"/>
                  <a:gd name="T46" fmla="*/ 26730373 w 505"/>
                  <a:gd name="T47" fmla="*/ 31948645 h 1121"/>
                  <a:gd name="T48" fmla="*/ 30357985 w 505"/>
                  <a:gd name="T49" fmla="*/ 26760694 h 1121"/>
                  <a:gd name="T50" fmla="*/ 40668409 w 505"/>
                  <a:gd name="T51" fmla="*/ 20206777 h 1121"/>
                  <a:gd name="T52" fmla="*/ 44677922 w 505"/>
                  <a:gd name="T53" fmla="*/ 5734546 h 1121"/>
                  <a:gd name="T54" fmla="*/ 52887896 w 505"/>
                  <a:gd name="T55" fmla="*/ 8464910 h 1121"/>
                  <a:gd name="T56" fmla="*/ 59570271 w 505"/>
                  <a:gd name="T57" fmla="*/ 13380086 h 1121"/>
                  <a:gd name="T58" fmla="*/ 64343583 w 505"/>
                  <a:gd name="T59" fmla="*/ 33314088 h 1121"/>
                  <a:gd name="T60" fmla="*/ 63961683 w 505"/>
                  <a:gd name="T61" fmla="*/ 45602029 h 1121"/>
                  <a:gd name="T62" fmla="*/ 57279308 w 505"/>
                  <a:gd name="T63" fmla="*/ 58982114 h 1121"/>
                  <a:gd name="T64" fmla="*/ 55942659 w 505"/>
                  <a:gd name="T65" fmla="*/ 66901474 h 1121"/>
                  <a:gd name="T66" fmla="*/ 58997858 w 505"/>
                  <a:gd name="T67" fmla="*/ 71270577 h 1121"/>
                  <a:gd name="T68" fmla="*/ 66062133 w 505"/>
                  <a:gd name="T69" fmla="*/ 73728166 h 1121"/>
                  <a:gd name="T70" fmla="*/ 70835445 w 505"/>
                  <a:gd name="T71" fmla="*/ 79462189 h 1121"/>
                  <a:gd name="T72" fmla="*/ 75990657 w 505"/>
                  <a:gd name="T73" fmla="*/ 94207718 h 1121"/>
                  <a:gd name="T74" fmla="*/ 82100182 w 505"/>
                  <a:gd name="T75" fmla="*/ 109226544 h 1121"/>
                  <a:gd name="T76" fmla="*/ 88592043 w 505"/>
                  <a:gd name="T77" fmla="*/ 114141720 h 1121"/>
                  <a:gd name="T78" fmla="*/ 96420118 w 505"/>
                  <a:gd name="T79" fmla="*/ 114141720 h 1121"/>
                  <a:gd name="T80" fmla="*/ 90883006 w 505"/>
                  <a:gd name="T81" fmla="*/ 134894571 h 1121"/>
                  <a:gd name="T82" fmla="*/ 81527332 w 505"/>
                  <a:gd name="T83" fmla="*/ 139263674 h 1121"/>
                  <a:gd name="T84" fmla="*/ 73126407 w 505"/>
                  <a:gd name="T85" fmla="*/ 144178850 h 1121"/>
                  <a:gd name="T86" fmla="*/ 68734995 w 505"/>
                  <a:gd name="T87" fmla="*/ 156194016 h 1121"/>
                  <a:gd name="T88" fmla="*/ 70644495 w 505"/>
                  <a:gd name="T89" fmla="*/ 173943205 h 1121"/>
                  <a:gd name="T90" fmla="*/ 76754020 w 505"/>
                  <a:gd name="T91" fmla="*/ 186504443 h 1121"/>
                  <a:gd name="T92" fmla="*/ 82100182 w 505"/>
                  <a:gd name="T93" fmla="*/ 200703899 h 1121"/>
                  <a:gd name="T94" fmla="*/ 81718282 w 505"/>
                  <a:gd name="T95" fmla="*/ 211899694 h 1121"/>
                  <a:gd name="T96" fmla="*/ 80000169 w 505"/>
                  <a:gd name="T97" fmla="*/ 218726386 h 1121"/>
                  <a:gd name="T98" fmla="*/ 83054931 w 505"/>
                  <a:gd name="T99" fmla="*/ 232379247 h 1121"/>
                  <a:gd name="T100" fmla="*/ 92219656 w 505"/>
                  <a:gd name="T101" fmla="*/ 263509045 h 1121"/>
                  <a:gd name="T102" fmla="*/ 87446344 w 505"/>
                  <a:gd name="T103" fmla="*/ 295457690 h 1121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505" h="1121">
                    <a:moveTo>
                      <a:pt x="446" y="1121"/>
                    </a:moveTo>
                    <a:lnTo>
                      <a:pt x="445" y="1106"/>
                    </a:lnTo>
                    <a:lnTo>
                      <a:pt x="443" y="1091"/>
                    </a:lnTo>
                    <a:lnTo>
                      <a:pt x="440" y="1079"/>
                    </a:lnTo>
                    <a:lnTo>
                      <a:pt x="438" y="1067"/>
                    </a:lnTo>
                    <a:lnTo>
                      <a:pt x="437" y="1056"/>
                    </a:lnTo>
                    <a:lnTo>
                      <a:pt x="437" y="1045"/>
                    </a:lnTo>
                    <a:lnTo>
                      <a:pt x="438" y="1040"/>
                    </a:lnTo>
                    <a:lnTo>
                      <a:pt x="439" y="1034"/>
                    </a:lnTo>
                    <a:lnTo>
                      <a:pt x="443" y="1028"/>
                    </a:lnTo>
                    <a:lnTo>
                      <a:pt x="446" y="1022"/>
                    </a:lnTo>
                    <a:lnTo>
                      <a:pt x="430" y="1022"/>
                    </a:lnTo>
                    <a:lnTo>
                      <a:pt x="420" y="1022"/>
                    </a:lnTo>
                    <a:lnTo>
                      <a:pt x="411" y="1022"/>
                    </a:lnTo>
                    <a:lnTo>
                      <a:pt x="399" y="1022"/>
                    </a:lnTo>
                    <a:lnTo>
                      <a:pt x="399" y="1001"/>
                    </a:lnTo>
                    <a:lnTo>
                      <a:pt x="399" y="988"/>
                    </a:lnTo>
                    <a:lnTo>
                      <a:pt x="399" y="975"/>
                    </a:lnTo>
                    <a:lnTo>
                      <a:pt x="399" y="961"/>
                    </a:lnTo>
                    <a:lnTo>
                      <a:pt x="405" y="957"/>
                    </a:lnTo>
                    <a:lnTo>
                      <a:pt x="411" y="953"/>
                    </a:lnTo>
                    <a:lnTo>
                      <a:pt x="414" y="949"/>
                    </a:lnTo>
                    <a:lnTo>
                      <a:pt x="416" y="946"/>
                    </a:lnTo>
                    <a:lnTo>
                      <a:pt x="419" y="939"/>
                    </a:lnTo>
                    <a:lnTo>
                      <a:pt x="419" y="931"/>
                    </a:lnTo>
                    <a:lnTo>
                      <a:pt x="419" y="922"/>
                    </a:lnTo>
                    <a:lnTo>
                      <a:pt x="419" y="915"/>
                    </a:lnTo>
                    <a:lnTo>
                      <a:pt x="419" y="908"/>
                    </a:lnTo>
                    <a:lnTo>
                      <a:pt x="419" y="899"/>
                    </a:lnTo>
                    <a:lnTo>
                      <a:pt x="413" y="899"/>
                    </a:lnTo>
                    <a:lnTo>
                      <a:pt x="409" y="899"/>
                    </a:lnTo>
                    <a:lnTo>
                      <a:pt x="404" y="898"/>
                    </a:lnTo>
                    <a:lnTo>
                      <a:pt x="402" y="896"/>
                    </a:lnTo>
                    <a:lnTo>
                      <a:pt x="400" y="895"/>
                    </a:lnTo>
                    <a:lnTo>
                      <a:pt x="398" y="893"/>
                    </a:lnTo>
                    <a:lnTo>
                      <a:pt x="397" y="891"/>
                    </a:lnTo>
                    <a:lnTo>
                      <a:pt x="395" y="889"/>
                    </a:lnTo>
                    <a:lnTo>
                      <a:pt x="394" y="879"/>
                    </a:lnTo>
                    <a:lnTo>
                      <a:pt x="392" y="868"/>
                    </a:lnTo>
                    <a:lnTo>
                      <a:pt x="382" y="838"/>
                    </a:lnTo>
                    <a:lnTo>
                      <a:pt x="371" y="811"/>
                    </a:lnTo>
                    <a:lnTo>
                      <a:pt x="360" y="786"/>
                    </a:lnTo>
                    <a:lnTo>
                      <a:pt x="348" y="764"/>
                    </a:lnTo>
                    <a:lnTo>
                      <a:pt x="336" y="741"/>
                    </a:lnTo>
                    <a:lnTo>
                      <a:pt x="324" y="719"/>
                    </a:lnTo>
                    <a:lnTo>
                      <a:pt x="312" y="695"/>
                    </a:lnTo>
                    <a:lnTo>
                      <a:pt x="300" y="672"/>
                    </a:lnTo>
                    <a:lnTo>
                      <a:pt x="299" y="684"/>
                    </a:lnTo>
                    <a:lnTo>
                      <a:pt x="298" y="694"/>
                    </a:lnTo>
                    <a:lnTo>
                      <a:pt x="296" y="703"/>
                    </a:lnTo>
                    <a:lnTo>
                      <a:pt x="292" y="710"/>
                    </a:lnTo>
                    <a:lnTo>
                      <a:pt x="291" y="713"/>
                    </a:lnTo>
                    <a:lnTo>
                      <a:pt x="288" y="715"/>
                    </a:lnTo>
                    <a:lnTo>
                      <a:pt x="286" y="717"/>
                    </a:lnTo>
                    <a:lnTo>
                      <a:pt x="282" y="718"/>
                    </a:lnTo>
                    <a:lnTo>
                      <a:pt x="276" y="720"/>
                    </a:lnTo>
                    <a:lnTo>
                      <a:pt x="266" y="721"/>
                    </a:lnTo>
                    <a:lnTo>
                      <a:pt x="246" y="751"/>
                    </a:lnTo>
                    <a:lnTo>
                      <a:pt x="238" y="748"/>
                    </a:lnTo>
                    <a:lnTo>
                      <a:pt x="226" y="742"/>
                    </a:lnTo>
                    <a:lnTo>
                      <a:pt x="214" y="736"/>
                    </a:lnTo>
                    <a:lnTo>
                      <a:pt x="207" y="733"/>
                    </a:lnTo>
                    <a:lnTo>
                      <a:pt x="190" y="734"/>
                    </a:lnTo>
                    <a:lnTo>
                      <a:pt x="176" y="735"/>
                    </a:lnTo>
                    <a:lnTo>
                      <a:pt x="169" y="736"/>
                    </a:lnTo>
                    <a:lnTo>
                      <a:pt x="165" y="736"/>
                    </a:lnTo>
                    <a:lnTo>
                      <a:pt x="162" y="735"/>
                    </a:lnTo>
                    <a:lnTo>
                      <a:pt x="159" y="733"/>
                    </a:lnTo>
                    <a:lnTo>
                      <a:pt x="167" y="646"/>
                    </a:lnTo>
                    <a:lnTo>
                      <a:pt x="133" y="567"/>
                    </a:lnTo>
                    <a:lnTo>
                      <a:pt x="122" y="551"/>
                    </a:lnTo>
                    <a:lnTo>
                      <a:pt x="112" y="539"/>
                    </a:lnTo>
                    <a:lnTo>
                      <a:pt x="107" y="533"/>
                    </a:lnTo>
                    <a:lnTo>
                      <a:pt x="103" y="527"/>
                    </a:lnTo>
                    <a:lnTo>
                      <a:pt x="101" y="520"/>
                    </a:lnTo>
                    <a:lnTo>
                      <a:pt x="100" y="511"/>
                    </a:lnTo>
                    <a:lnTo>
                      <a:pt x="85" y="508"/>
                    </a:lnTo>
                    <a:lnTo>
                      <a:pt x="74" y="505"/>
                    </a:lnTo>
                    <a:lnTo>
                      <a:pt x="62" y="504"/>
                    </a:lnTo>
                    <a:lnTo>
                      <a:pt x="51" y="502"/>
                    </a:lnTo>
                    <a:lnTo>
                      <a:pt x="41" y="498"/>
                    </a:lnTo>
                    <a:lnTo>
                      <a:pt x="32" y="493"/>
                    </a:lnTo>
                    <a:lnTo>
                      <a:pt x="23" y="487"/>
                    </a:lnTo>
                    <a:lnTo>
                      <a:pt x="16" y="479"/>
                    </a:lnTo>
                    <a:lnTo>
                      <a:pt x="8" y="471"/>
                    </a:lnTo>
                    <a:lnTo>
                      <a:pt x="0" y="462"/>
                    </a:lnTo>
                    <a:lnTo>
                      <a:pt x="8" y="458"/>
                    </a:lnTo>
                    <a:lnTo>
                      <a:pt x="13" y="454"/>
                    </a:lnTo>
                    <a:lnTo>
                      <a:pt x="19" y="450"/>
                    </a:lnTo>
                    <a:lnTo>
                      <a:pt x="23" y="445"/>
                    </a:lnTo>
                    <a:lnTo>
                      <a:pt x="31" y="435"/>
                    </a:lnTo>
                    <a:lnTo>
                      <a:pt x="38" y="422"/>
                    </a:lnTo>
                    <a:lnTo>
                      <a:pt x="45" y="397"/>
                    </a:lnTo>
                    <a:lnTo>
                      <a:pt x="54" y="369"/>
                    </a:lnTo>
                    <a:lnTo>
                      <a:pt x="58" y="361"/>
                    </a:lnTo>
                    <a:lnTo>
                      <a:pt x="62" y="351"/>
                    </a:lnTo>
                    <a:lnTo>
                      <a:pt x="64" y="340"/>
                    </a:lnTo>
                    <a:lnTo>
                      <a:pt x="65" y="328"/>
                    </a:lnTo>
                    <a:lnTo>
                      <a:pt x="67" y="302"/>
                    </a:lnTo>
                    <a:lnTo>
                      <a:pt x="67" y="277"/>
                    </a:lnTo>
                    <a:lnTo>
                      <a:pt x="67" y="274"/>
                    </a:lnTo>
                    <a:lnTo>
                      <a:pt x="68" y="272"/>
                    </a:lnTo>
                    <a:lnTo>
                      <a:pt x="70" y="269"/>
                    </a:lnTo>
                    <a:lnTo>
                      <a:pt x="73" y="268"/>
                    </a:lnTo>
                    <a:lnTo>
                      <a:pt x="80" y="265"/>
                    </a:lnTo>
                    <a:lnTo>
                      <a:pt x="88" y="264"/>
                    </a:lnTo>
                    <a:lnTo>
                      <a:pt x="96" y="263"/>
                    </a:lnTo>
                    <a:lnTo>
                      <a:pt x="103" y="262"/>
                    </a:lnTo>
                    <a:lnTo>
                      <a:pt x="110" y="261"/>
                    </a:lnTo>
                    <a:lnTo>
                      <a:pt x="113" y="258"/>
                    </a:lnTo>
                    <a:lnTo>
                      <a:pt x="119" y="253"/>
                    </a:lnTo>
                    <a:lnTo>
                      <a:pt x="124" y="247"/>
                    </a:lnTo>
                    <a:lnTo>
                      <a:pt x="129" y="239"/>
                    </a:lnTo>
                    <a:lnTo>
                      <a:pt x="132" y="231"/>
                    </a:lnTo>
                    <a:lnTo>
                      <a:pt x="134" y="222"/>
                    </a:lnTo>
                    <a:lnTo>
                      <a:pt x="136" y="213"/>
                    </a:lnTo>
                    <a:lnTo>
                      <a:pt x="137" y="202"/>
                    </a:lnTo>
                    <a:lnTo>
                      <a:pt x="140" y="192"/>
                    </a:lnTo>
                    <a:lnTo>
                      <a:pt x="141" y="152"/>
                    </a:lnTo>
                    <a:lnTo>
                      <a:pt x="140" y="117"/>
                    </a:lnTo>
                    <a:lnTo>
                      <a:pt x="141" y="114"/>
                    </a:lnTo>
                    <a:lnTo>
                      <a:pt x="143" y="110"/>
                    </a:lnTo>
                    <a:lnTo>
                      <a:pt x="145" y="107"/>
                    </a:lnTo>
                    <a:lnTo>
                      <a:pt x="150" y="104"/>
                    </a:lnTo>
                    <a:lnTo>
                      <a:pt x="159" y="98"/>
                    </a:lnTo>
                    <a:lnTo>
                      <a:pt x="170" y="91"/>
                    </a:lnTo>
                    <a:lnTo>
                      <a:pt x="193" y="83"/>
                    </a:lnTo>
                    <a:lnTo>
                      <a:pt x="207" y="80"/>
                    </a:lnTo>
                    <a:lnTo>
                      <a:pt x="210" y="77"/>
                    </a:lnTo>
                    <a:lnTo>
                      <a:pt x="213" y="74"/>
                    </a:lnTo>
                    <a:lnTo>
                      <a:pt x="217" y="70"/>
                    </a:lnTo>
                    <a:lnTo>
                      <a:pt x="219" y="66"/>
                    </a:lnTo>
                    <a:lnTo>
                      <a:pt x="224" y="56"/>
                    </a:lnTo>
                    <a:lnTo>
                      <a:pt x="227" y="45"/>
                    </a:lnTo>
                    <a:lnTo>
                      <a:pt x="234" y="21"/>
                    </a:lnTo>
                    <a:lnTo>
                      <a:pt x="240" y="0"/>
                    </a:lnTo>
                    <a:lnTo>
                      <a:pt x="251" y="7"/>
                    </a:lnTo>
                    <a:lnTo>
                      <a:pt x="260" y="15"/>
                    </a:lnTo>
                    <a:lnTo>
                      <a:pt x="269" y="23"/>
                    </a:lnTo>
                    <a:lnTo>
                      <a:pt x="277" y="31"/>
                    </a:lnTo>
                    <a:lnTo>
                      <a:pt x="286" y="39"/>
                    </a:lnTo>
                    <a:lnTo>
                      <a:pt x="294" y="44"/>
                    </a:lnTo>
                    <a:lnTo>
                      <a:pt x="300" y="47"/>
                    </a:lnTo>
                    <a:lnTo>
                      <a:pt x="305" y="48"/>
                    </a:lnTo>
                    <a:lnTo>
                      <a:pt x="312" y="49"/>
                    </a:lnTo>
                    <a:lnTo>
                      <a:pt x="320" y="49"/>
                    </a:lnTo>
                    <a:lnTo>
                      <a:pt x="325" y="75"/>
                    </a:lnTo>
                    <a:lnTo>
                      <a:pt x="332" y="99"/>
                    </a:lnTo>
                    <a:lnTo>
                      <a:pt x="335" y="110"/>
                    </a:lnTo>
                    <a:lnTo>
                      <a:pt x="337" y="122"/>
                    </a:lnTo>
                    <a:lnTo>
                      <a:pt x="338" y="134"/>
                    </a:lnTo>
                    <a:lnTo>
                      <a:pt x="339" y="147"/>
                    </a:lnTo>
                    <a:lnTo>
                      <a:pt x="338" y="155"/>
                    </a:lnTo>
                    <a:lnTo>
                      <a:pt x="337" y="161"/>
                    </a:lnTo>
                    <a:lnTo>
                      <a:pt x="335" y="167"/>
                    </a:lnTo>
                    <a:lnTo>
                      <a:pt x="332" y="173"/>
                    </a:lnTo>
                    <a:lnTo>
                      <a:pt x="324" y="183"/>
                    </a:lnTo>
                    <a:lnTo>
                      <a:pt x="316" y="194"/>
                    </a:lnTo>
                    <a:lnTo>
                      <a:pt x="308" y="204"/>
                    </a:lnTo>
                    <a:lnTo>
                      <a:pt x="300" y="216"/>
                    </a:lnTo>
                    <a:lnTo>
                      <a:pt x="297" y="221"/>
                    </a:lnTo>
                    <a:lnTo>
                      <a:pt x="294" y="227"/>
                    </a:lnTo>
                    <a:lnTo>
                      <a:pt x="293" y="233"/>
                    </a:lnTo>
                    <a:lnTo>
                      <a:pt x="292" y="240"/>
                    </a:lnTo>
                    <a:lnTo>
                      <a:pt x="293" y="245"/>
                    </a:lnTo>
                    <a:lnTo>
                      <a:pt x="294" y="250"/>
                    </a:lnTo>
                    <a:lnTo>
                      <a:pt x="297" y="253"/>
                    </a:lnTo>
                    <a:lnTo>
                      <a:pt x="300" y="256"/>
                    </a:lnTo>
                    <a:lnTo>
                      <a:pt x="304" y="258"/>
                    </a:lnTo>
                    <a:lnTo>
                      <a:pt x="309" y="261"/>
                    </a:lnTo>
                    <a:lnTo>
                      <a:pt x="313" y="262"/>
                    </a:lnTo>
                    <a:lnTo>
                      <a:pt x="319" y="264"/>
                    </a:lnTo>
                    <a:lnTo>
                      <a:pt x="330" y="266"/>
                    </a:lnTo>
                    <a:lnTo>
                      <a:pt x="341" y="268"/>
                    </a:lnTo>
                    <a:lnTo>
                      <a:pt x="346" y="270"/>
                    </a:lnTo>
                    <a:lnTo>
                      <a:pt x="350" y="272"/>
                    </a:lnTo>
                    <a:lnTo>
                      <a:pt x="355" y="274"/>
                    </a:lnTo>
                    <a:lnTo>
                      <a:pt x="359" y="277"/>
                    </a:lnTo>
                    <a:lnTo>
                      <a:pt x="366" y="284"/>
                    </a:lnTo>
                    <a:lnTo>
                      <a:pt x="371" y="291"/>
                    </a:lnTo>
                    <a:lnTo>
                      <a:pt x="375" y="298"/>
                    </a:lnTo>
                    <a:lnTo>
                      <a:pt x="378" y="304"/>
                    </a:lnTo>
                    <a:lnTo>
                      <a:pt x="384" y="319"/>
                    </a:lnTo>
                    <a:lnTo>
                      <a:pt x="392" y="333"/>
                    </a:lnTo>
                    <a:lnTo>
                      <a:pt x="398" y="345"/>
                    </a:lnTo>
                    <a:lnTo>
                      <a:pt x="404" y="359"/>
                    </a:lnTo>
                    <a:lnTo>
                      <a:pt x="411" y="374"/>
                    </a:lnTo>
                    <a:lnTo>
                      <a:pt x="420" y="387"/>
                    </a:lnTo>
                    <a:lnTo>
                      <a:pt x="425" y="394"/>
                    </a:lnTo>
                    <a:lnTo>
                      <a:pt x="430" y="400"/>
                    </a:lnTo>
                    <a:lnTo>
                      <a:pt x="436" y="405"/>
                    </a:lnTo>
                    <a:lnTo>
                      <a:pt x="442" y="409"/>
                    </a:lnTo>
                    <a:lnTo>
                      <a:pt x="448" y="413"/>
                    </a:lnTo>
                    <a:lnTo>
                      <a:pt x="456" y="416"/>
                    </a:lnTo>
                    <a:lnTo>
                      <a:pt x="464" y="418"/>
                    </a:lnTo>
                    <a:lnTo>
                      <a:pt x="472" y="418"/>
                    </a:lnTo>
                    <a:lnTo>
                      <a:pt x="477" y="418"/>
                    </a:lnTo>
                    <a:lnTo>
                      <a:pt x="487" y="418"/>
                    </a:lnTo>
                    <a:lnTo>
                      <a:pt x="498" y="418"/>
                    </a:lnTo>
                    <a:lnTo>
                      <a:pt x="505" y="418"/>
                    </a:lnTo>
                    <a:lnTo>
                      <a:pt x="499" y="439"/>
                    </a:lnTo>
                    <a:lnTo>
                      <a:pt x="489" y="460"/>
                    </a:lnTo>
                    <a:lnTo>
                      <a:pt x="483" y="470"/>
                    </a:lnTo>
                    <a:lnTo>
                      <a:pt x="479" y="482"/>
                    </a:lnTo>
                    <a:lnTo>
                      <a:pt x="476" y="494"/>
                    </a:lnTo>
                    <a:lnTo>
                      <a:pt x="472" y="505"/>
                    </a:lnTo>
                    <a:lnTo>
                      <a:pt x="479" y="499"/>
                    </a:lnTo>
                    <a:lnTo>
                      <a:pt x="458" y="503"/>
                    </a:lnTo>
                    <a:lnTo>
                      <a:pt x="437" y="507"/>
                    </a:lnTo>
                    <a:lnTo>
                      <a:pt x="427" y="510"/>
                    </a:lnTo>
                    <a:lnTo>
                      <a:pt x="417" y="512"/>
                    </a:lnTo>
                    <a:lnTo>
                      <a:pt x="408" y="515"/>
                    </a:lnTo>
                    <a:lnTo>
                      <a:pt x="399" y="519"/>
                    </a:lnTo>
                    <a:lnTo>
                      <a:pt x="391" y="523"/>
                    </a:lnTo>
                    <a:lnTo>
                      <a:pt x="383" y="528"/>
                    </a:lnTo>
                    <a:lnTo>
                      <a:pt x="376" y="534"/>
                    </a:lnTo>
                    <a:lnTo>
                      <a:pt x="370" y="543"/>
                    </a:lnTo>
                    <a:lnTo>
                      <a:pt x="366" y="551"/>
                    </a:lnTo>
                    <a:lnTo>
                      <a:pt x="363" y="561"/>
                    </a:lnTo>
                    <a:lnTo>
                      <a:pt x="360" y="572"/>
                    </a:lnTo>
                    <a:lnTo>
                      <a:pt x="359" y="585"/>
                    </a:lnTo>
                    <a:lnTo>
                      <a:pt x="360" y="601"/>
                    </a:lnTo>
                    <a:lnTo>
                      <a:pt x="363" y="614"/>
                    </a:lnTo>
                    <a:lnTo>
                      <a:pt x="366" y="626"/>
                    </a:lnTo>
                    <a:lnTo>
                      <a:pt x="370" y="637"/>
                    </a:lnTo>
                    <a:lnTo>
                      <a:pt x="376" y="647"/>
                    </a:lnTo>
                    <a:lnTo>
                      <a:pt x="382" y="657"/>
                    </a:lnTo>
                    <a:lnTo>
                      <a:pt x="389" y="666"/>
                    </a:lnTo>
                    <a:lnTo>
                      <a:pt x="395" y="675"/>
                    </a:lnTo>
                    <a:lnTo>
                      <a:pt x="402" y="683"/>
                    </a:lnTo>
                    <a:lnTo>
                      <a:pt x="409" y="692"/>
                    </a:lnTo>
                    <a:lnTo>
                      <a:pt x="415" y="701"/>
                    </a:lnTo>
                    <a:lnTo>
                      <a:pt x="421" y="712"/>
                    </a:lnTo>
                    <a:lnTo>
                      <a:pt x="425" y="723"/>
                    </a:lnTo>
                    <a:lnTo>
                      <a:pt x="430" y="735"/>
                    </a:lnTo>
                    <a:lnTo>
                      <a:pt x="432" y="748"/>
                    </a:lnTo>
                    <a:lnTo>
                      <a:pt x="433" y="764"/>
                    </a:lnTo>
                    <a:lnTo>
                      <a:pt x="432" y="769"/>
                    </a:lnTo>
                    <a:lnTo>
                      <a:pt x="431" y="773"/>
                    </a:lnTo>
                    <a:lnTo>
                      <a:pt x="428" y="776"/>
                    </a:lnTo>
                    <a:lnTo>
                      <a:pt x="425" y="780"/>
                    </a:lnTo>
                    <a:lnTo>
                      <a:pt x="423" y="784"/>
                    </a:lnTo>
                    <a:lnTo>
                      <a:pt x="421" y="789"/>
                    </a:lnTo>
                    <a:lnTo>
                      <a:pt x="420" y="794"/>
                    </a:lnTo>
                    <a:lnTo>
                      <a:pt x="419" y="801"/>
                    </a:lnTo>
                    <a:lnTo>
                      <a:pt x="420" y="809"/>
                    </a:lnTo>
                    <a:lnTo>
                      <a:pt x="421" y="818"/>
                    </a:lnTo>
                    <a:lnTo>
                      <a:pt x="423" y="826"/>
                    </a:lnTo>
                    <a:lnTo>
                      <a:pt x="426" y="834"/>
                    </a:lnTo>
                    <a:lnTo>
                      <a:pt x="435" y="851"/>
                    </a:lnTo>
                    <a:lnTo>
                      <a:pt x="445" y="868"/>
                    </a:lnTo>
                    <a:lnTo>
                      <a:pt x="467" y="903"/>
                    </a:lnTo>
                    <a:lnTo>
                      <a:pt x="486" y="937"/>
                    </a:lnTo>
                    <a:lnTo>
                      <a:pt x="486" y="951"/>
                    </a:lnTo>
                    <a:lnTo>
                      <a:pt x="483" y="965"/>
                    </a:lnTo>
                    <a:lnTo>
                      <a:pt x="482" y="980"/>
                    </a:lnTo>
                    <a:lnTo>
                      <a:pt x="479" y="997"/>
                    </a:lnTo>
                    <a:lnTo>
                      <a:pt x="472" y="1027"/>
                    </a:lnTo>
                    <a:lnTo>
                      <a:pt x="466" y="1057"/>
                    </a:lnTo>
                    <a:lnTo>
                      <a:pt x="458" y="1082"/>
                    </a:lnTo>
                    <a:lnTo>
                      <a:pt x="451" y="1103"/>
                    </a:lnTo>
                    <a:lnTo>
                      <a:pt x="447" y="1116"/>
                    </a:lnTo>
                    <a:lnTo>
                      <a:pt x="446" y="1121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2" name="Freeform 263">
                <a:extLst>
                  <a:ext uri="{FF2B5EF4-FFF2-40B4-BE49-F238E27FC236}">
                    <a16:creationId xmlns:a16="http://schemas.microsoft.com/office/drawing/2014/main" id="{E204F24D-63F3-4599-A8D7-A3A9D81A86F5}"/>
                  </a:ext>
                </a:extLst>
              </p:cNvPr>
              <p:cNvSpPr>
                <a:spLocks/>
              </p:cNvSpPr>
              <p:nvPr>
                <p:custDataLst>
                  <p:tags r:id="rId190"/>
                </p:custDataLst>
              </p:nvPr>
            </p:nvSpPr>
            <p:spPr bwMode="auto">
              <a:xfrm>
                <a:off x="3508384" y="4062332"/>
                <a:ext cx="97731" cy="66803"/>
              </a:xfrm>
              <a:custGeom>
                <a:avLst/>
                <a:gdLst>
                  <a:gd name="T0" fmla="*/ 36416708 w 180"/>
                  <a:gd name="T1" fmla="*/ 1925243 h 112"/>
                  <a:gd name="T2" fmla="*/ 34595940 w 180"/>
                  <a:gd name="T3" fmla="*/ 6601207 h 112"/>
                  <a:gd name="T4" fmla="*/ 32977129 w 180"/>
                  <a:gd name="T5" fmla="*/ 10726503 h 112"/>
                  <a:gd name="T6" fmla="*/ 30751996 w 180"/>
                  <a:gd name="T7" fmla="*/ 14577513 h 112"/>
                  <a:gd name="T8" fmla="*/ 28526413 w 180"/>
                  <a:gd name="T9" fmla="*/ 18152664 h 112"/>
                  <a:gd name="T10" fmla="*/ 26098423 w 180"/>
                  <a:gd name="T11" fmla="*/ 22003674 h 112"/>
                  <a:gd name="T12" fmla="*/ 23266067 w 180"/>
                  <a:gd name="T13" fmla="*/ 25304016 h 112"/>
                  <a:gd name="T14" fmla="*/ 20433712 w 180"/>
                  <a:gd name="T15" fmla="*/ 28054737 h 112"/>
                  <a:gd name="T16" fmla="*/ 17601356 w 180"/>
                  <a:gd name="T17" fmla="*/ 30804934 h 112"/>
                  <a:gd name="T18" fmla="*/ 16589768 w 180"/>
                  <a:gd name="T19" fmla="*/ 29429836 h 112"/>
                  <a:gd name="T20" fmla="*/ 15982996 w 180"/>
                  <a:gd name="T21" fmla="*/ 27779403 h 112"/>
                  <a:gd name="T22" fmla="*/ 15375773 w 180"/>
                  <a:gd name="T23" fmla="*/ 26128970 h 112"/>
                  <a:gd name="T24" fmla="*/ 14971408 w 180"/>
                  <a:gd name="T25" fmla="*/ 24203727 h 112"/>
                  <a:gd name="T26" fmla="*/ 14162228 w 180"/>
                  <a:gd name="T27" fmla="*/ 22278484 h 112"/>
                  <a:gd name="T28" fmla="*/ 13757413 w 180"/>
                  <a:gd name="T29" fmla="*/ 20353241 h 112"/>
                  <a:gd name="T30" fmla="*/ 13150640 w 180"/>
                  <a:gd name="T31" fmla="*/ 18978143 h 112"/>
                  <a:gd name="T32" fmla="*/ 12139052 w 180"/>
                  <a:gd name="T33" fmla="*/ 17327710 h 112"/>
                  <a:gd name="T34" fmla="*/ 9104289 w 180"/>
                  <a:gd name="T35" fmla="*/ 13201890 h 112"/>
                  <a:gd name="T36" fmla="*/ 7283521 w 180"/>
                  <a:gd name="T37" fmla="*/ 10451693 h 112"/>
                  <a:gd name="T38" fmla="*/ 6069526 w 180"/>
                  <a:gd name="T39" fmla="*/ 9076594 h 112"/>
                  <a:gd name="T40" fmla="*/ 5057939 w 180"/>
                  <a:gd name="T41" fmla="*/ 8526450 h 112"/>
                  <a:gd name="T42" fmla="*/ 3641536 w 180"/>
                  <a:gd name="T43" fmla="*/ 8251116 h 112"/>
                  <a:gd name="T44" fmla="*/ 0 w 180"/>
                  <a:gd name="T45" fmla="*/ 7151352 h 112"/>
                  <a:gd name="T46" fmla="*/ 5260346 w 180"/>
                  <a:gd name="T47" fmla="*/ 3850486 h 112"/>
                  <a:gd name="T48" fmla="*/ 8295109 w 180"/>
                  <a:gd name="T49" fmla="*/ 2475387 h 112"/>
                  <a:gd name="T50" fmla="*/ 11329422 w 180"/>
                  <a:gd name="T51" fmla="*/ 1375099 h 112"/>
                  <a:gd name="T52" fmla="*/ 14971408 w 180"/>
                  <a:gd name="T53" fmla="*/ 824954 h 112"/>
                  <a:gd name="T54" fmla="*/ 18815351 w 180"/>
                  <a:gd name="T55" fmla="*/ 274810 h 112"/>
                  <a:gd name="T56" fmla="*/ 23064110 w 180"/>
                  <a:gd name="T57" fmla="*/ 0 h 112"/>
                  <a:gd name="T58" fmla="*/ 27312418 w 180"/>
                  <a:gd name="T59" fmla="*/ 274810 h 112"/>
                  <a:gd name="T60" fmla="*/ 31763584 w 180"/>
                  <a:gd name="T61" fmla="*/ 824954 h 112"/>
                  <a:gd name="T62" fmla="*/ 36416708 w 180"/>
                  <a:gd name="T63" fmla="*/ 1925243 h 11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80" h="112">
                    <a:moveTo>
                      <a:pt x="180" y="7"/>
                    </a:moveTo>
                    <a:lnTo>
                      <a:pt x="171" y="24"/>
                    </a:lnTo>
                    <a:lnTo>
                      <a:pt x="163" y="39"/>
                    </a:lnTo>
                    <a:lnTo>
                      <a:pt x="152" y="53"/>
                    </a:lnTo>
                    <a:lnTo>
                      <a:pt x="141" y="66"/>
                    </a:lnTo>
                    <a:lnTo>
                      <a:pt x="129" y="80"/>
                    </a:lnTo>
                    <a:lnTo>
                      <a:pt x="115" y="92"/>
                    </a:lnTo>
                    <a:lnTo>
                      <a:pt x="101" y="102"/>
                    </a:lnTo>
                    <a:lnTo>
                      <a:pt x="87" y="112"/>
                    </a:lnTo>
                    <a:lnTo>
                      <a:pt x="82" y="107"/>
                    </a:lnTo>
                    <a:lnTo>
                      <a:pt x="79" y="101"/>
                    </a:lnTo>
                    <a:lnTo>
                      <a:pt x="76" y="95"/>
                    </a:lnTo>
                    <a:lnTo>
                      <a:pt x="74" y="88"/>
                    </a:lnTo>
                    <a:lnTo>
                      <a:pt x="70" y="81"/>
                    </a:lnTo>
                    <a:lnTo>
                      <a:pt x="68" y="74"/>
                    </a:lnTo>
                    <a:lnTo>
                      <a:pt x="65" y="69"/>
                    </a:lnTo>
                    <a:lnTo>
                      <a:pt x="60" y="63"/>
                    </a:lnTo>
                    <a:lnTo>
                      <a:pt x="45" y="48"/>
                    </a:lnTo>
                    <a:lnTo>
                      <a:pt x="36" y="38"/>
                    </a:lnTo>
                    <a:lnTo>
                      <a:pt x="30" y="33"/>
                    </a:lnTo>
                    <a:lnTo>
                      <a:pt x="25" y="31"/>
                    </a:lnTo>
                    <a:lnTo>
                      <a:pt x="18" y="30"/>
                    </a:lnTo>
                    <a:lnTo>
                      <a:pt x="0" y="26"/>
                    </a:lnTo>
                    <a:lnTo>
                      <a:pt x="26" y="14"/>
                    </a:lnTo>
                    <a:lnTo>
                      <a:pt x="41" y="9"/>
                    </a:lnTo>
                    <a:lnTo>
                      <a:pt x="56" y="5"/>
                    </a:lnTo>
                    <a:lnTo>
                      <a:pt x="74" y="3"/>
                    </a:lnTo>
                    <a:lnTo>
                      <a:pt x="93" y="1"/>
                    </a:lnTo>
                    <a:lnTo>
                      <a:pt x="114" y="0"/>
                    </a:lnTo>
                    <a:lnTo>
                      <a:pt x="135" y="1"/>
                    </a:lnTo>
                    <a:lnTo>
                      <a:pt x="157" y="3"/>
                    </a:lnTo>
                    <a:lnTo>
                      <a:pt x="180" y="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3" name="Freeform 264">
                <a:extLst>
                  <a:ext uri="{FF2B5EF4-FFF2-40B4-BE49-F238E27FC236}">
                    <a16:creationId xmlns:a16="http://schemas.microsoft.com/office/drawing/2014/main" id="{EDFB66AF-C0C1-479D-A31A-6E8E010DC147}"/>
                  </a:ext>
                </a:extLst>
              </p:cNvPr>
              <p:cNvSpPr>
                <a:spLocks/>
              </p:cNvSpPr>
              <p:nvPr>
                <p:custDataLst>
                  <p:tags r:id="rId191"/>
                </p:custDataLst>
              </p:nvPr>
            </p:nvSpPr>
            <p:spPr bwMode="auto">
              <a:xfrm>
                <a:off x="3609734" y="4155504"/>
                <a:ext cx="90491" cy="112510"/>
              </a:xfrm>
              <a:custGeom>
                <a:avLst/>
                <a:gdLst>
                  <a:gd name="T0" fmla="*/ 0 w 173"/>
                  <a:gd name="T1" fmla="*/ 18450836 h 192"/>
                  <a:gd name="T2" fmla="*/ 5022293 w 173"/>
                  <a:gd name="T3" fmla="*/ 11396273 h 192"/>
                  <a:gd name="T4" fmla="*/ 9486075 w 173"/>
                  <a:gd name="T5" fmla="*/ 5698136 h 192"/>
                  <a:gd name="T6" fmla="*/ 10416353 w 173"/>
                  <a:gd name="T7" fmla="*/ 4341189 h 192"/>
                  <a:gd name="T8" fmla="*/ 11718397 w 173"/>
                  <a:gd name="T9" fmla="*/ 3256152 h 192"/>
                  <a:gd name="T10" fmla="*/ 13020441 w 173"/>
                  <a:gd name="T11" fmla="*/ 2170595 h 192"/>
                  <a:gd name="T12" fmla="*/ 14136602 w 173"/>
                  <a:gd name="T13" fmla="*/ 1627816 h 192"/>
                  <a:gd name="T14" fmla="*/ 15438646 w 173"/>
                  <a:gd name="T15" fmla="*/ 814168 h 192"/>
                  <a:gd name="T16" fmla="*/ 16740259 w 173"/>
                  <a:gd name="T17" fmla="*/ 542779 h 192"/>
                  <a:gd name="T18" fmla="*/ 18228617 w 173"/>
                  <a:gd name="T19" fmla="*/ 271389 h 192"/>
                  <a:gd name="T20" fmla="*/ 19902428 w 173"/>
                  <a:gd name="T21" fmla="*/ 0 h 192"/>
                  <a:gd name="T22" fmla="*/ 21576669 w 173"/>
                  <a:gd name="T23" fmla="*/ 271389 h 192"/>
                  <a:gd name="T24" fmla="*/ 23064596 w 173"/>
                  <a:gd name="T25" fmla="*/ 542779 h 192"/>
                  <a:gd name="T26" fmla="*/ 24552523 w 173"/>
                  <a:gd name="T27" fmla="*/ 1356947 h 192"/>
                  <a:gd name="T28" fmla="*/ 25854567 w 173"/>
                  <a:gd name="T29" fmla="*/ 2170595 h 192"/>
                  <a:gd name="T30" fmla="*/ 26970729 w 173"/>
                  <a:gd name="T31" fmla="*/ 3527542 h 192"/>
                  <a:gd name="T32" fmla="*/ 28086890 w 173"/>
                  <a:gd name="T33" fmla="*/ 5155358 h 192"/>
                  <a:gd name="T34" fmla="*/ 28830853 w 173"/>
                  <a:gd name="T35" fmla="*/ 6512305 h 192"/>
                  <a:gd name="T36" fmla="*/ 29760700 w 173"/>
                  <a:gd name="T37" fmla="*/ 8140121 h 192"/>
                  <a:gd name="T38" fmla="*/ 30318780 w 173"/>
                  <a:gd name="T39" fmla="*/ 10039326 h 192"/>
                  <a:gd name="T40" fmla="*/ 30876861 w 173"/>
                  <a:gd name="T41" fmla="*/ 11667662 h 192"/>
                  <a:gd name="T42" fmla="*/ 31249058 w 173"/>
                  <a:gd name="T43" fmla="*/ 13566868 h 192"/>
                  <a:gd name="T44" fmla="*/ 31434941 w 173"/>
                  <a:gd name="T45" fmla="*/ 15466073 h 192"/>
                  <a:gd name="T46" fmla="*/ 31993022 w 173"/>
                  <a:gd name="T47" fmla="*/ 19536394 h 192"/>
                  <a:gd name="T48" fmla="*/ 32178905 w 173"/>
                  <a:gd name="T49" fmla="*/ 23606193 h 192"/>
                  <a:gd name="T50" fmla="*/ 29202619 w 173"/>
                  <a:gd name="T51" fmla="*/ 30932667 h 192"/>
                  <a:gd name="T52" fmla="*/ 27156612 w 173"/>
                  <a:gd name="T53" fmla="*/ 37173061 h 192"/>
                  <a:gd name="T54" fmla="*/ 25854567 w 173"/>
                  <a:gd name="T55" fmla="*/ 40157824 h 192"/>
                  <a:gd name="T56" fmla="*/ 24180757 w 173"/>
                  <a:gd name="T57" fmla="*/ 43413976 h 192"/>
                  <a:gd name="T58" fmla="*/ 21762552 w 173"/>
                  <a:gd name="T59" fmla="*/ 47212908 h 192"/>
                  <a:gd name="T60" fmla="*/ 18414500 w 173"/>
                  <a:gd name="T61" fmla="*/ 52096876 h 192"/>
                  <a:gd name="T62" fmla="*/ 15996295 w 173"/>
                  <a:gd name="T63" fmla="*/ 49654892 h 192"/>
                  <a:gd name="T64" fmla="*/ 13764405 w 173"/>
                  <a:gd name="T65" fmla="*/ 47755687 h 192"/>
                  <a:gd name="T66" fmla="*/ 11718397 w 173"/>
                  <a:gd name="T67" fmla="*/ 45855961 h 192"/>
                  <a:gd name="T68" fmla="*/ 10044155 w 173"/>
                  <a:gd name="T69" fmla="*/ 44228145 h 192"/>
                  <a:gd name="T70" fmla="*/ 8556228 w 173"/>
                  <a:gd name="T71" fmla="*/ 42328940 h 192"/>
                  <a:gd name="T72" fmla="*/ 7440067 w 173"/>
                  <a:gd name="T73" fmla="*/ 40700603 h 192"/>
                  <a:gd name="T74" fmla="*/ 6324337 w 173"/>
                  <a:gd name="T75" fmla="*/ 39072787 h 192"/>
                  <a:gd name="T76" fmla="*/ 5579943 w 173"/>
                  <a:gd name="T77" fmla="*/ 37173061 h 192"/>
                  <a:gd name="T78" fmla="*/ 4092015 w 173"/>
                  <a:gd name="T79" fmla="*/ 33374651 h 192"/>
                  <a:gd name="T80" fmla="*/ 2976286 w 173"/>
                  <a:gd name="T81" fmla="*/ 29032940 h 192"/>
                  <a:gd name="T82" fmla="*/ 1674242 w 173"/>
                  <a:gd name="T83" fmla="*/ 24420362 h 192"/>
                  <a:gd name="T84" fmla="*/ 0 w 173"/>
                  <a:gd name="T85" fmla="*/ 18450836 h 19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73" h="192">
                    <a:moveTo>
                      <a:pt x="0" y="68"/>
                    </a:moveTo>
                    <a:lnTo>
                      <a:pt x="27" y="42"/>
                    </a:lnTo>
                    <a:lnTo>
                      <a:pt x="51" y="21"/>
                    </a:lnTo>
                    <a:lnTo>
                      <a:pt x="56" y="16"/>
                    </a:lnTo>
                    <a:lnTo>
                      <a:pt x="63" y="12"/>
                    </a:lnTo>
                    <a:lnTo>
                      <a:pt x="70" y="8"/>
                    </a:lnTo>
                    <a:lnTo>
                      <a:pt x="76" y="6"/>
                    </a:lnTo>
                    <a:lnTo>
                      <a:pt x="83" y="3"/>
                    </a:lnTo>
                    <a:lnTo>
                      <a:pt x="90" y="2"/>
                    </a:lnTo>
                    <a:lnTo>
                      <a:pt x="98" y="1"/>
                    </a:lnTo>
                    <a:lnTo>
                      <a:pt x="107" y="0"/>
                    </a:lnTo>
                    <a:lnTo>
                      <a:pt x="116" y="1"/>
                    </a:lnTo>
                    <a:lnTo>
                      <a:pt x="124" y="2"/>
                    </a:lnTo>
                    <a:lnTo>
                      <a:pt x="132" y="5"/>
                    </a:lnTo>
                    <a:lnTo>
                      <a:pt x="139" y="8"/>
                    </a:lnTo>
                    <a:lnTo>
                      <a:pt x="145" y="13"/>
                    </a:lnTo>
                    <a:lnTo>
                      <a:pt x="151" y="19"/>
                    </a:lnTo>
                    <a:lnTo>
                      <a:pt x="155" y="24"/>
                    </a:lnTo>
                    <a:lnTo>
                      <a:pt x="160" y="30"/>
                    </a:lnTo>
                    <a:lnTo>
                      <a:pt x="163" y="37"/>
                    </a:lnTo>
                    <a:lnTo>
                      <a:pt x="166" y="43"/>
                    </a:lnTo>
                    <a:lnTo>
                      <a:pt x="168" y="50"/>
                    </a:lnTo>
                    <a:lnTo>
                      <a:pt x="169" y="57"/>
                    </a:lnTo>
                    <a:lnTo>
                      <a:pt x="172" y="72"/>
                    </a:lnTo>
                    <a:lnTo>
                      <a:pt x="173" y="87"/>
                    </a:lnTo>
                    <a:lnTo>
                      <a:pt x="157" y="114"/>
                    </a:lnTo>
                    <a:lnTo>
                      <a:pt x="146" y="137"/>
                    </a:lnTo>
                    <a:lnTo>
                      <a:pt x="139" y="148"/>
                    </a:lnTo>
                    <a:lnTo>
                      <a:pt x="130" y="160"/>
                    </a:lnTo>
                    <a:lnTo>
                      <a:pt x="117" y="174"/>
                    </a:lnTo>
                    <a:lnTo>
                      <a:pt x="99" y="192"/>
                    </a:lnTo>
                    <a:lnTo>
                      <a:pt x="86" y="183"/>
                    </a:lnTo>
                    <a:lnTo>
                      <a:pt x="74" y="176"/>
                    </a:lnTo>
                    <a:lnTo>
                      <a:pt x="63" y="169"/>
                    </a:lnTo>
                    <a:lnTo>
                      <a:pt x="54" y="163"/>
                    </a:lnTo>
                    <a:lnTo>
                      <a:pt x="46" y="156"/>
                    </a:lnTo>
                    <a:lnTo>
                      <a:pt x="40" y="150"/>
                    </a:lnTo>
                    <a:lnTo>
                      <a:pt x="34" y="144"/>
                    </a:lnTo>
                    <a:lnTo>
                      <a:pt x="30" y="137"/>
                    </a:lnTo>
                    <a:lnTo>
                      <a:pt x="22" y="123"/>
                    </a:lnTo>
                    <a:lnTo>
                      <a:pt x="16" y="107"/>
                    </a:lnTo>
                    <a:lnTo>
                      <a:pt x="9" y="90"/>
                    </a:lnTo>
                    <a:lnTo>
                      <a:pt x="0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4" name="Freeform 265">
                <a:extLst>
                  <a:ext uri="{FF2B5EF4-FFF2-40B4-BE49-F238E27FC236}">
                    <a16:creationId xmlns:a16="http://schemas.microsoft.com/office/drawing/2014/main" id="{1224692D-C131-444D-8264-2A4ADC499A9C}"/>
                  </a:ext>
                </a:extLst>
              </p:cNvPr>
              <p:cNvSpPr>
                <a:spLocks/>
              </p:cNvSpPr>
              <p:nvPr>
                <p:custDataLst>
                  <p:tags r:id="rId192"/>
                </p:custDataLst>
              </p:nvPr>
            </p:nvSpPr>
            <p:spPr bwMode="auto">
              <a:xfrm>
                <a:off x="3660409" y="4211759"/>
                <a:ext cx="126688" cy="147670"/>
              </a:xfrm>
              <a:custGeom>
                <a:avLst/>
                <a:gdLst>
                  <a:gd name="T0" fmla="*/ 14963489 w 233"/>
                  <a:gd name="T1" fmla="*/ 0 h 252"/>
                  <a:gd name="T2" fmla="*/ 16783336 w 233"/>
                  <a:gd name="T3" fmla="*/ 546921 h 252"/>
                  <a:gd name="T4" fmla="*/ 17996568 w 233"/>
                  <a:gd name="T5" fmla="*/ 820382 h 252"/>
                  <a:gd name="T6" fmla="*/ 19209799 w 233"/>
                  <a:gd name="T7" fmla="*/ 820382 h 252"/>
                  <a:gd name="T8" fmla="*/ 20018770 w 233"/>
                  <a:gd name="T9" fmla="*/ 546921 h 252"/>
                  <a:gd name="T10" fmla="*/ 21434357 w 233"/>
                  <a:gd name="T11" fmla="*/ 273461 h 252"/>
                  <a:gd name="T12" fmla="*/ 22849944 w 233"/>
                  <a:gd name="T13" fmla="*/ 0 h 252"/>
                  <a:gd name="T14" fmla="*/ 25276407 w 233"/>
                  <a:gd name="T15" fmla="*/ 4647783 h 252"/>
                  <a:gd name="T16" fmla="*/ 28309486 w 233"/>
                  <a:gd name="T17" fmla="*/ 10115425 h 252"/>
                  <a:gd name="T18" fmla="*/ 29118456 w 233"/>
                  <a:gd name="T19" fmla="*/ 11482727 h 252"/>
                  <a:gd name="T20" fmla="*/ 29926978 w 233"/>
                  <a:gd name="T21" fmla="*/ 12576046 h 252"/>
                  <a:gd name="T22" fmla="*/ 30938304 w 233"/>
                  <a:gd name="T23" fmla="*/ 13396428 h 252"/>
                  <a:gd name="T24" fmla="*/ 31746825 w 233"/>
                  <a:gd name="T25" fmla="*/ 14216287 h 252"/>
                  <a:gd name="T26" fmla="*/ 32960506 w 233"/>
                  <a:gd name="T27" fmla="*/ 14763208 h 252"/>
                  <a:gd name="T28" fmla="*/ 33971383 w 233"/>
                  <a:gd name="T29" fmla="*/ 15310129 h 252"/>
                  <a:gd name="T30" fmla="*/ 35184614 w 233"/>
                  <a:gd name="T31" fmla="*/ 15310129 h 252"/>
                  <a:gd name="T32" fmla="*/ 36397846 w 233"/>
                  <a:gd name="T33" fmla="*/ 15310129 h 252"/>
                  <a:gd name="T34" fmla="*/ 36397846 w 233"/>
                  <a:gd name="T35" fmla="*/ 21871612 h 252"/>
                  <a:gd name="T36" fmla="*/ 39026664 w 233"/>
                  <a:gd name="T37" fmla="*/ 28159635 h 252"/>
                  <a:gd name="T38" fmla="*/ 42868714 w 233"/>
                  <a:gd name="T39" fmla="*/ 34994057 h 252"/>
                  <a:gd name="T40" fmla="*/ 43475330 w 233"/>
                  <a:gd name="T41" fmla="*/ 36907757 h 252"/>
                  <a:gd name="T42" fmla="*/ 44486206 w 233"/>
                  <a:gd name="T43" fmla="*/ 38821458 h 252"/>
                  <a:gd name="T44" fmla="*/ 45092822 w 233"/>
                  <a:gd name="T45" fmla="*/ 41282080 h 252"/>
                  <a:gd name="T46" fmla="*/ 45699437 w 233"/>
                  <a:gd name="T47" fmla="*/ 43742702 h 252"/>
                  <a:gd name="T48" fmla="*/ 46508408 w 233"/>
                  <a:gd name="T49" fmla="*/ 46476784 h 252"/>
                  <a:gd name="T50" fmla="*/ 46912669 w 233"/>
                  <a:gd name="T51" fmla="*/ 49210343 h 252"/>
                  <a:gd name="T52" fmla="*/ 47115024 w 233"/>
                  <a:gd name="T53" fmla="*/ 52217886 h 252"/>
                  <a:gd name="T54" fmla="*/ 47115024 w 233"/>
                  <a:gd name="T55" fmla="*/ 55771827 h 252"/>
                  <a:gd name="T56" fmla="*/ 46912669 w 233"/>
                  <a:gd name="T57" fmla="*/ 59052830 h 252"/>
                  <a:gd name="T58" fmla="*/ 46508408 w 233"/>
                  <a:gd name="T59" fmla="*/ 62333311 h 252"/>
                  <a:gd name="T60" fmla="*/ 45901793 w 233"/>
                  <a:gd name="T61" fmla="*/ 65614314 h 252"/>
                  <a:gd name="T62" fmla="*/ 45699437 w 233"/>
                  <a:gd name="T63" fmla="*/ 68894794 h 252"/>
                  <a:gd name="T64" fmla="*/ 44890916 w 233"/>
                  <a:gd name="T65" fmla="*/ 68894794 h 252"/>
                  <a:gd name="T66" fmla="*/ 43475330 w 233"/>
                  <a:gd name="T67" fmla="*/ 68347873 h 252"/>
                  <a:gd name="T68" fmla="*/ 42059743 w 233"/>
                  <a:gd name="T69" fmla="*/ 67254554 h 252"/>
                  <a:gd name="T70" fmla="*/ 40037540 w 233"/>
                  <a:gd name="T71" fmla="*/ 65887252 h 252"/>
                  <a:gd name="T72" fmla="*/ 35588875 w 233"/>
                  <a:gd name="T73" fmla="*/ 61786390 h 252"/>
                  <a:gd name="T74" fmla="*/ 30533593 w 233"/>
                  <a:gd name="T75" fmla="*/ 56865669 h 252"/>
                  <a:gd name="T76" fmla="*/ 25276407 w 233"/>
                  <a:gd name="T77" fmla="*/ 50851106 h 252"/>
                  <a:gd name="T78" fmla="*/ 20221125 w 233"/>
                  <a:gd name="T79" fmla="*/ 45109481 h 252"/>
                  <a:gd name="T80" fmla="*/ 15772460 w 233"/>
                  <a:gd name="T81" fmla="*/ 39641840 h 252"/>
                  <a:gd name="T82" fmla="*/ 12334671 w 233"/>
                  <a:gd name="T83" fmla="*/ 35267517 h 252"/>
                  <a:gd name="T84" fmla="*/ 11121439 w 233"/>
                  <a:gd name="T85" fmla="*/ 34174198 h 252"/>
                  <a:gd name="T86" fmla="*/ 9706302 w 233"/>
                  <a:gd name="T87" fmla="*/ 32806896 h 252"/>
                  <a:gd name="T88" fmla="*/ 8290715 w 233"/>
                  <a:gd name="T89" fmla="*/ 31713576 h 252"/>
                  <a:gd name="T90" fmla="*/ 6672773 w 233"/>
                  <a:gd name="T91" fmla="*/ 30619734 h 252"/>
                  <a:gd name="T92" fmla="*/ 3437789 w 233"/>
                  <a:gd name="T93" fmla="*/ 28432573 h 252"/>
                  <a:gd name="T94" fmla="*/ 0 w 233"/>
                  <a:gd name="T95" fmla="*/ 27065793 h 252"/>
                  <a:gd name="T96" fmla="*/ 8088360 w 233"/>
                  <a:gd name="T97" fmla="*/ 17223829 h 252"/>
                  <a:gd name="T98" fmla="*/ 11930410 w 233"/>
                  <a:gd name="T99" fmla="*/ 11755665 h 252"/>
                  <a:gd name="T100" fmla="*/ 13143642 w 233"/>
                  <a:gd name="T101" fmla="*/ 9022105 h 252"/>
                  <a:gd name="T102" fmla="*/ 13952612 w 233"/>
                  <a:gd name="T103" fmla="*/ 6834944 h 252"/>
                  <a:gd name="T104" fmla="*/ 14559228 w 233"/>
                  <a:gd name="T105" fmla="*/ 3827401 h 252"/>
                  <a:gd name="T106" fmla="*/ 14963489 w 233"/>
                  <a:gd name="T107" fmla="*/ 0 h 25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3" h="252">
                    <a:moveTo>
                      <a:pt x="74" y="0"/>
                    </a:moveTo>
                    <a:lnTo>
                      <a:pt x="83" y="2"/>
                    </a:lnTo>
                    <a:lnTo>
                      <a:pt x="89" y="3"/>
                    </a:lnTo>
                    <a:lnTo>
                      <a:pt x="95" y="3"/>
                    </a:lnTo>
                    <a:lnTo>
                      <a:pt x="99" y="2"/>
                    </a:lnTo>
                    <a:lnTo>
                      <a:pt x="106" y="1"/>
                    </a:lnTo>
                    <a:lnTo>
                      <a:pt x="113" y="0"/>
                    </a:lnTo>
                    <a:lnTo>
                      <a:pt x="125" y="17"/>
                    </a:lnTo>
                    <a:lnTo>
                      <a:pt x="140" y="37"/>
                    </a:lnTo>
                    <a:lnTo>
                      <a:pt x="144" y="42"/>
                    </a:lnTo>
                    <a:lnTo>
                      <a:pt x="148" y="46"/>
                    </a:lnTo>
                    <a:lnTo>
                      <a:pt x="153" y="49"/>
                    </a:lnTo>
                    <a:lnTo>
                      <a:pt x="157" y="52"/>
                    </a:lnTo>
                    <a:lnTo>
                      <a:pt x="163" y="54"/>
                    </a:lnTo>
                    <a:lnTo>
                      <a:pt x="168" y="56"/>
                    </a:lnTo>
                    <a:lnTo>
                      <a:pt x="174" y="56"/>
                    </a:lnTo>
                    <a:lnTo>
                      <a:pt x="180" y="56"/>
                    </a:lnTo>
                    <a:lnTo>
                      <a:pt x="180" y="80"/>
                    </a:lnTo>
                    <a:lnTo>
                      <a:pt x="193" y="103"/>
                    </a:lnTo>
                    <a:lnTo>
                      <a:pt x="212" y="128"/>
                    </a:lnTo>
                    <a:lnTo>
                      <a:pt x="215" y="135"/>
                    </a:lnTo>
                    <a:lnTo>
                      <a:pt x="220" y="142"/>
                    </a:lnTo>
                    <a:lnTo>
                      <a:pt x="223" y="151"/>
                    </a:lnTo>
                    <a:lnTo>
                      <a:pt x="226" y="160"/>
                    </a:lnTo>
                    <a:lnTo>
                      <a:pt x="230" y="170"/>
                    </a:lnTo>
                    <a:lnTo>
                      <a:pt x="232" y="180"/>
                    </a:lnTo>
                    <a:lnTo>
                      <a:pt x="233" y="191"/>
                    </a:lnTo>
                    <a:lnTo>
                      <a:pt x="233" y="204"/>
                    </a:lnTo>
                    <a:lnTo>
                      <a:pt x="232" y="216"/>
                    </a:lnTo>
                    <a:lnTo>
                      <a:pt x="230" y="228"/>
                    </a:lnTo>
                    <a:lnTo>
                      <a:pt x="227" y="240"/>
                    </a:lnTo>
                    <a:lnTo>
                      <a:pt x="226" y="252"/>
                    </a:lnTo>
                    <a:lnTo>
                      <a:pt x="222" y="252"/>
                    </a:lnTo>
                    <a:lnTo>
                      <a:pt x="215" y="250"/>
                    </a:lnTo>
                    <a:lnTo>
                      <a:pt x="208" y="246"/>
                    </a:lnTo>
                    <a:lnTo>
                      <a:pt x="198" y="241"/>
                    </a:lnTo>
                    <a:lnTo>
                      <a:pt x="176" y="226"/>
                    </a:lnTo>
                    <a:lnTo>
                      <a:pt x="151" y="208"/>
                    </a:lnTo>
                    <a:lnTo>
                      <a:pt x="125" y="186"/>
                    </a:lnTo>
                    <a:lnTo>
                      <a:pt x="100" y="165"/>
                    </a:lnTo>
                    <a:lnTo>
                      <a:pt x="78" y="145"/>
                    </a:lnTo>
                    <a:lnTo>
                      <a:pt x="61" y="129"/>
                    </a:lnTo>
                    <a:lnTo>
                      <a:pt x="55" y="125"/>
                    </a:lnTo>
                    <a:lnTo>
                      <a:pt x="48" y="120"/>
                    </a:lnTo>
                    <a:lnTo>
                      <a:pt x="41" y="116"/>
                    </a:lnTo>
                    <a:lnTo>
                      <a:pt x="33" y="112"/>
                    </a:lnTo>
                    <a:lnTo>
                      <a:pt x="17" y="104"/>
                    </a:lnTo>
                    <a:lnTo>
                      <a:pt x="0" y="99"/>
                    </a:lnTo>
                    <a:lnTo>
                      <a:pt x="40" y="63"/>
                    </a:lnTo>
                    <a:lnTo>
                      <a:pt x="59" y="43"/>
                    </a:lnTo>
                    <a:lnTo>
                      <a:pt x="65" y="33"/>
                    </a:lnTo>
                    <a:lnTo>
                      <a:pt x="69" y="25"/>
                    </a:lnTo>
                    <a:lnTo>
                      <a:pt x="72" y="14"/>
                    </a:lnTo>
                    <a:lnTo>
                      <a:pt x="74" y="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5" name="Freeform 266">
                <a:extLst>
                  <a:ext uri="{FF2B5EF4-FFF2-40B4-BE49-F238E27FC236}">
                    <a16:creationId xmlns:a16="http://schemas.microsoft.com/office/drawing/2014/main" id="{7BF0A62B-4EA8-4524-B44B-A68B10C805DC}"/>
                  </a:ext>
                </a:extLst>
              </p:cNvPr>
              <p:cNvSpPr>
                <a:spLocks/>
              </p:cNvSpPr>
              <p:nvPr>
                <p:custDataLst>
                  <p:tags r:id="rId193"/>
                </p:custDataLst>
              </p:nvPr>
            </p:nvSpPr>
            <p:spPr bwMode="auto">
              <a:xfrm>
                <a:off x="3919214" y="4120344"/>
                <a:ext cx="126688" cy="226779"/>
              </a:xfrm>
              <a:custGeom>
                <a:avLst/>
                <a:gdLst>
                  <a:gd name="T0" fmla="*/ 2358289 w 246"/>
                  <a:gd name="T1" fmla="*/ 105840994 h 380"/>
                  <a:gd name="T2" fmla="*/ 2539729 w 246"/>
                  <a:gd name="T3" fmla="*/ 103307580 h 380"/>
                  <a:gd name="T4" fmla="*/ 2721169 w 246"/>
                  <a:gd name="T5" fmla="*/ 101055362 h 380"/>
                  <a:gd name="T6" fmla="*/ 3265062 w 246"/>
                  <a:gd name="T7" fmla="*/ 98803675 h 380"/>
                  <a:gd name="T8" fmla="*/ 3627941 w 246"/>
                  <a:gd name="T9" fmla="*/ 96833182 h 380"/>
                  <a:gd name="T10" fmla="*/ 4535139 w 246"/>
                  <a:gd name="T11" fmla="*/ 93736847 h 380"/>
                  <a:gd name="T12" fmla="*/ 4716579 w 246"/>
                  <a:gd name="T13" fmla="*/ 92047550 h 380"/>
                  <a:gd name="T14" fmla="*/ 4535139 w 246"/>
                  <a:gd name="T15" fmla="*/ 90358784 h 380"/>
                  <a:gd name="T16" fmla="*/ 4172260 w 246"/>
                  <a:gd name="T17" fmla="*/ 88388292 h 380"/>
                  <a:gd name="T18" fmla="*/ 3446501 w 246"/>
                  <a:gd name="T19" fmla="*/ 85854879 h 380"/>
                  <a:gd name="T20" fmla="*/ 2358289 w 246"/>
                  <a:gd name="T21" fmla="*/ 83040269 h 380"/>
                  <a:gd name="T22" fmla="*/ 1632531 w 246"/>
                  <a:gd name="T23" fmla="*/ 80225129 h 380"/>
                  <a:gd name="T24" fmla="*/ 725759 w 246"/>
                  <a:gd name="T25" fmla="*/ 77409989 h 380"/>
                  <a:gd name="T26" fmla="*/ 181440 w 246"/>
                  <a:gd name="T27" fmla="*/ 75158301 h 380"/>
                  <a:gd name="T28" fmla="*/ 0 w 246"/>
                  <a:gd name="T29" fmla="*/ 72906083 h 380"/>
                  <a:gd name="T30" fmla="*/ 181440 w 246"/>
                  <a:gd name="T31" fmla="*/ 70654395 h 380"/>
                  <a:gd name="T32" fmla="*/ 362879 w 246"/>
                  <a:gd name="T33" fmla="*/ 68402707 h 380"/>
                  <a:gd name="T34" fmla="*/ 544319 w 246"/>
                  <a:gd name="T35" fmla="*/ 66432215 h 380"/>
                  <a:gd name="T36" fmla="*/ 1088212 w 246"/>
                  <a:gd name="T37" fmla="*/ 64742919 h 380"/>
                  <a:gd name="T38" fmla="*/ 1995410 w 246"/>
                  <a:gd name="T39" fmla="*/ 61365387 h 380"/>
                  <a:gd name="T40" fmla="*/ 3446501 w 246"/>
                  <a:gd name="T41" fmla="*/ 58268521 h 380"/>
                  <a:gd name="T42" fmla="*/ 4716579 w 246"/>
                  <a:gd name="T43" fmla="*/ 55453911 h 380"/>
                  <a:gd name="T44" fmla="*/ 6167670 w 246"/>
                  <a:gd name="T45" fmla="*/ 52075849 h 380"/>
                  <a:gd name="T46" fmla="*/ 7437747 w 246"/>
                  <a:gd name="T47" fmla="*/ 48698317 h 380"/>
                  <a:gd name="T48" fmla="*/ 8525959 w 246"/>
                  <a:gd name="T49" fmla="*/ 45038529 h 380"/>
                  <a:gd name="T50" fmla="*/ 4716579 w 246"/>
                  <a:gd name="T51" fmla="*/ 20549038 h 380"/>
                  <a:gd name="T52" fmla="*/ 4716579 w 246"/>
                  <a:gd name="T53" fmla="*/ 14074640 h 380"/>
                  <a:gd name="T54" fmla="*/ 4353699 w 246"/>
                  <a:gd name="T55" fmla="*/ 9289008 h 380"/>
                  <a:gd name="T56" fmla="*/ 4353699 w 246"/>
                  <a:gd name="T57" fmla="*/ 7037320 h 380"/>
                  <a:gd name="T58" fmla="*/ 4353699 w 246"/>
                  <a:gd name="T59" fmla="*/ 4503906 h 380"/>
                  <a:gd name="T60" fmla="*/ 4535139 w 246"/>
                  <a:gd name="T61" fmla="*/ 2251688 h 380"/>
                  <a:gd name="T62" fmla="*/ 4716579 w 246"/>
                  <a:gd name="T63" fmla="*/ 0 h 380"/>
                  <a:gd name="T64" fmla="*/ 32652745 w 246"/>
                  <a:gd name="T65" fmla="*/ 0 h 380"/>
                  <a:gd name="T66" fmla="*/ 39908627 w 246"/>
                  <a:gd name="T67" fmla="*/ 36312443 h 380"/>
                  <a:gd name="T68" fmla="*/ 39908627 w 246"/>
                  <a:gd name="T69" fmla="*/ 59113169 h 380"/>
                  <a:gd name="T70" fmla="*/ 39908627 w 246"/>
                  <a:gd name="T71" fmla="*/ 61928309 h 380"/>
                  <a:gd name="T72" fmla="*/ 40090067 w 246"/>
                  <a:gd name="T73" fmla="*/ 64742919 h 380"/>
                  <a:gd name="T74" fmla="*/ 40452946 w 246"/>
                  <a:gd name="T75" fmla="*/ 67558059 h 380"/>
                  <a:gd name="T76" fmla="*/ 40815825 w 246"/>
                  <a:gd name="T77" fmla="*/ 70372669 h 380"/>
                  <a:gd name="T78" fmla="*/ 41360144 w 246"/>
                  <a:gd name="T79" fmla="*/ 72906083 h 380"/>
                  <a:gd name="T80" fmla="*/ 42448356 w 246"/>
                  <a:gd name="T81" fmla="*/ 75440027 h 380"/>
                  <a:gd name="T82" fmla="*/ 43355554 w 246"/>
                  <a:gd name="T83" fmla="*/ 78254637 h 380"/>
                  <a:gd name="T84" fmla="*/ 44625206 w 246"/>
                  <a:gd name="T85" fmla="*/ 81350973 h 380"/>
                  <a:gd name="T86" fmla="*/ 40634386 w 246"/>
                  <a:gd name="T87" fmla="*/ 83040269 h 380"/>
                  <a:gd name="T88" fmla="*/ 36643566 w 246"/>
                  <a:gd name="T89" fmla="*/ 85010230 h 380"/>
                  <a:gd name="T90" fmla="*/ 32834185 w 246"/>
                  <a:gd name="T91" fmla="*/ 87262449 h 380"/>
                  <a:gd name="T92" fmla="*/ 29024379 w 246"/>
                  <a:gd name="T93" fmla="*/ 89795863 h 380"/>
                  <a:gd name="T94" fmla="*/ 25577877 w 246"/>
                  <a:gd name="T95" fmla="*/ 92329277 h 380"/>
                  <a:gd name="T96" fmla="*/ 21768497 w 246"/>
                  <a:gd name="T97" fmla="*/ 95144417 h 380"/>
                  <a:gd name="T98" fmla="*/ 18140130 w 246"/>
                  <a:gd name="T99" fmla="*/ 97677831 h 380"/>
                  <a:gd name="T100" fmla="*/ 14512189 w 246"/>
                  <a:gd name="T101" fmla="*/ 100774167 h 380"/>
                  <a:gd name="T102" fmla="*/ 13605417 w 246"/>
                  <a:gd name="T103" fmla="*/ 102181737 h 380"/>
                  <a:gd name="T104" fmla="*/ 12516779 w 246"/>
                  <a:gd name="T105" fmla="*/ 103307580 h 380"/>
                  <a:gd name="T106" fmla="*/ 11247128 w 246"/>
                  <a:gd name="T107" fmla="*/ 104715151 h 380"/>
                  <a:gd name="T108" fmla="*/ 9795611 w 246"/>
                  <a:gd name="T109" fmla="*/ 105840994 h 380"/>
                  <a:gd name="T110" fmla="*/ 8344520 w 246"/>
                  <a:gd name="T111" fmla="*/ 106685112 h 380"/>
                  <a:gd name="T112" fmla="*/ 6530549 w 246"/>
                  <a:gd name="T113" fmla="*/ 106966838 h 380"/>
                  <a:gd name="T114" fmla="*/ 5623351 w 246"/>
                  <a:gd name="T115" fmla="*/ 106966838 h 380"/>
                  <a:gd name="T116" fmla="*/ 4535139 w 246"/>
                  <a:gd name="T117" fmla="*/ 106685112 h 380"/>
                  <a:gd name="T118" fmla="*/ 3627941 w 246"/>
                  <a:gd name="T119" fmla="*/ 106403916 h 380"/>
                  <a:gd name="T120" fmla="*/ 2358289 w 246"/>
                  <a:gd name="T121" fmla="*/ 105840994 h 38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246" h="380">
                    <a:moveTo>
                      <a:pt x="13" y="376"/>
                    </a:moveTo>
                    <a:lnTo>
                      <a:pt x="14" y="367"/>
                    </a:lnTo>
                    <a:lnTo>
                      <a:pt x="15" y="359"/>
                    </a:lnTo>
                    <a:lnTo>
                      <a:pt x="18" y="351"/>
                    </a:lnTo>
                    <a:lnTo>
                      <a:pt x="20" y="344"/>
                    </a:lnTo>
                    <a:lnTo>
                      <a:pt x="25" y="333"/>
                    </a:lnTo>
                    <a:lnTo>
                      <a:pt x="26" y="327"/>
                    </a:lnTo>
                    <a:lnTo>
                      <a:pt x="25" y="321"/>
                    </a:lnTo>
                    <a:lnTo>
                      <a:pt x="23" y="314"/>
                    </a:lnTo>
                    <a:lnTo>
                      <a:pt x="19" y="305"/>
                    </a:lnTo>
                    <a:lnTo>
                      <a:pt x="13" y="295"/>
                    </a:lnTo>
                    <a:lnTo>
                      <a:pt x="9" y="285"/>
                    </a:lnTo>
                    <a:lnTo>
                      <a:pt x="4" y="275"/>
                    </a:lnTo>
                    <a:lnTo>
                      <a:pt x="1" y="267"/>
                    </a:lnTo>
                    <a:lnTo>
                      <a:pt x="0" y="259"/>
                    </a:lnTo>
                    <a:lnTo>
                      <a:pt x="1" y="251"/>
                    </a:lnTo>
                    <a:lnTo>
                      <a:pt x="2" y="243"/>
                    </a:lnTo>
                    <a:lnTo>
                      <a:pt x="3" y="236"/>
                    </a:lnTo>
                    <a:lnTo>
                      <a:pt x="6" y="230"/>
                    </a:lnTo>
                    <a:lnTo>
                      <a:pt x="11" y="218"/>
                    </a:lnTo>
                    <a:lnTo>
                      <a:pt x="19" y="207"/>
                    </a:lnTo>
                    <a:lnTo>
                      <a:pt x="26" y="197"/>
                    </a:lnTo>
                    <a:lnTo>
                      <a:pt x="34" y="185"/>
                    </a:lnTo>
                    <a:lnTo>
                      <a:pt x="41" y="173"/>
                    </a:lnTo>
                    <a:lnTo>
                      <a:pt x="47" y="160"/>
                    </a:lnTo>
                    <a:lnTo>
                      <a:pt x="26" y="73"/>
                    </a:lnTo>
                    <a:lnTo>
                      <a:pt x="26" y="50"/>
                    </a:lnTo>
                    <a:lnTo>
                      <a:pt x="24" y="33"/>
                    </a:lnTo>
                    <a:lnTo>
                      <a:pt x="24" y="25"/>
                    </a:lnTo>
                    <a:lnTo>
                      <a:pt x="24" y="16"/>
                    </a:lnTo>
                    <a:lnTo>
                      <a:pt x="25" y="8"/>
                    </a:lnTo>
                    <a:lnTo>
                      <a:pt x="26" y="0"/>
                    </a:lnTo>
                    <a:lnTo>
                      <a:pt x="180" y="0"/>
                    </a:lnTo>
                    <a:lnTo>
                      <a:pt x="220" y="129"/>
                    </a:lnTo>
                    <a:lnTo>
                      <a:pt x="220" y="210"/>
                    </a:lnTo>
                    <a:lnTo>
                      <a:pt x="220" y="220"/>
                    </a:lnTo>
                    <a:lnTo>
                      <a:pt x="221" y="230"/>
                    </a:lnTo>
                    <a:lnTo>
                      <a:pt x="223" y="240"/>
                    </a:lnTo>
                    <a:lnTo>
                      <a:pt x="225" y="250"/>
                    </a:lnTo>
                    <a:lnTo>
                      <a:pt x="228" y="259"/>
                    </a:lnTo>
                    <a:lnTo>
                      <a:pt x="234" y="268"/>
                    </a:lnTo>
                    <a:lnTo>
                      <a:pt x="239" y="278"/>
                    </a:lnTo>
                    <a:lnTo>
                      <a:pt x="246" y="289"/>
                    </a:lnTo>
                    <a:lnTo>
                      <a:pt x="224" y="295"/>
                    </a:lnTo>
                    <a:lnTo>
                      <a:pt x="202" y="302"/>
                    </a:lnTo>
                    <a:lnTo>
                      <a:pt x="181" y="310"/>
                    </a:lnTo>
                    <a:lnTo>
                      <a:pt x="160" y="319"/>
                    </a:lnTo>
                    <a:lnTo>
                      <a:pt x="141" y="328"/>
                    </a:lnTo>
                    <a:lnTo>
                      <a:pt x="120" y="338"/>
                    </a:lnTo>
                    <a:lnTo>
                      <a:pt x="100" y="347"/>
                    </a:lnTo>
                    <a:lnTo>
                      <a:pt x="80" y="358"/>
                    </a:lnTo>
                    <a:lnTo>
                      <a:pt x="75" y="363"/>
                    </a:lnTo>
                    <a:lnTo>
                      <a:pt x="69" y="367"/>
                    </a:lnTo>
                    <a:lnTo>
                      <a:pt x="62" y="372"/>
                    </a:lnTo>
                    <a:lnTo>
                      <a:pt x="54" y="376"/>
                    </a:lnTo>
                    <a:lnTo>
                      <a:pt x="46" y="379"/>
                    </a:lnTo>
                    <a:lnTo>
                      <a:pt x="36" y="380"/>
                    </a:lnTo>
                    <a:lnTo>
                      <a:pt x="31" y="380"/>
                    </a:lnTo>
                    <a:lnTo>
                      <a:pt x="25" y="379"/>
                    </a:lnTo>
                    <a:lnTo>
                      <a:pt x="20" y="378"/>
                    </a:lnTo>
                    <a:lnTo>
                      <a:pt x="13" y="376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6" name="Freeform 267">
                <a:extLst>
                  <a:ext uri="{FF2B5EF4-FFF2-40B4-BE49-F238E27FC236}">
                    <a16:creationId xmlns:a16="http://schemas.microsoft.com/office/drawing/2014/main" id="{A8EFEDCA-7D52-40E9-845C-98A2A649AF00}"/>
                  </a:ext>
                </a:extLst>
              </p:cNvPr>
              <p:cNvSpPr>
                <a:spLocks/>
              </p:cNvSpPr>
              <p:nvPr>
                <p:custDataLst>
                  <p:tags r:id="rId194"/>
                </p:custDataLst>
              </p:nvPr>
            </p:nvSpPr>
            <p:spPr bwMode="auto">
              <a:xfrm>
                <a:off x="3509338" y="3999044"/>
                <a:ext cx="104970" cy="65044"/>
              </a:xfrm>
              <a:custGeom>
                <a:avLst/>
                <a:gdLst>
                  <a:gd name="T0" fmla="*/ 1432748 w 193"/>
                  <a:gd name="T1" fmla="*/ 47786454 h 38"/>
                  <a:gd name="T2" fmla="*/ 7777191 w 193"/>
                  <a:gd name="T3" fmla="*/ 26282164 h 38"/>
                  <a:gd name="T4" fmla="*/ 13712665 w 193"/>
                  <a:gd name="T5" fmla="*/ 11947000 h 38"/>
                  <a:gd name="T6" fmla="*/ 16373223 w 193"/>
                  <a:gd name="T7" fmla="*/ 7167582 h 38"/>
                  <a:gd name="T8" fmla="*/ 19238718 w 193"/>
                  <a:gd name="T9" fmla="*/ 4777873 h 38"/>
                  <a:gd name="T10" fmla="*/ 22513182 w 193"/>
                  <a:gd name="T11" fmla="*/ 2389709 h 38"/>
                  <a:gd name="T12" fmla="*/ 25787646 w 193"/>
                  <a:gd name="T13" fmla="*/ 0 h 38"/>
                  <a:gd name="T14" fmla="*/ 28243720 w 193"/>
                  <a:gd name="T15" fmla="*/ 2389709 h 38"/>
                  <a:gd name="T16" fmla="*/ 30494857 w 193"/>
                  <a:gd name="T17" fmla="*/ 2389709 h 38"/>
                  <a:gd name="T18" fmla="*/ 32746447 w 193"/>
                  <a:gd name="T19" fmla="*/ 4777873 h 38"/>
                  <a:gd name="T20" fmla="*/ 34588163 w 193"/>
                  <a:gd name="T21" fmla="*/ 9557291 h 38"/>
                  <a:gd name="T22" fmla="*/ 36430331 w 193"/>
                  <a:gd name="T23" fmla="*/ 14335163 h 38"/>
                  <a:gd name="T24" fmla="*/ 37658142 w 193"/>
                  <a:gd name="T25" fmla="*/ 26282164 h 38"/>
                  <a:gd name="T26" fmla="*/ 38272500 w 193"/>
                  <a:gd name="T27" fmla="*/ 31061582 h 38"/>
                  <a:gd name="T28" fmla="*/ 38681469 w 193"/>
                  <a:gd name="T29" fmla="*/ 43007036 h 38"/>
                  <a:gd name="T30" fmla="*/ 39090890 w 193"/>
                  <a:gd name="T31" fmla="*/ 50174618 h 38"/>
                  <a:gd name="T32" fmla="*/ 39500311 w 193"/>
                  <a:gd name="T33" fmla="*/ 62121618 h 38"/>
                  <a:gd name="T34" fmla="*/ 37453658 w 193"/>
                  <a:gd name="T35" fmla="*/ 64511327 h 38"/>
                  <a:gd name="T36" fmla="*/ 35407005 w 193"/>
                  <a:gd name="T37" fmla="*/ 66901036 h 38"/>
                  <a:gd name="T38" fmla="*/ 33769773 w 193"/>
                  <a:gd name="T39" fmla="*/ 66901036 h 38"/>
                  <a:gd name="T40" fmla="*/ 31927604 w 193"/>
                  <a:gd name="T41" fmla="*/ 66901036 h 38"/>
                  <a:gd name="T42" fmla="*/ 28243720 w 193"/>
                  <a:gd name="T43" fmla="*/ 64511327 h 38"/>
                  <a:gd name="T44" fmla="*/ 24559835 w 193"/>
                  <a:gd name="T45" fmla="*/ 62121618 h 38"/>
                  <a:gd name="T46" fmla="*/ 21080435 w 193"/>
                  <a:gd name="T47" fmla="*/ 62121618 h 38"/>
                  <a:gd name="T48" fmla="*/ 18215392 w 193"/>
                  <a:gd name="T49" fmla="*/ 66901036 h 38"/>
                  <a:gd name="T50" fmla="*/ 15554381 w 193"/>
                  <a:gd name="T51" fmla="*/ 71678909 h 38"/>
                  <a:gd name="T52" fmla="*/ 12893823 w 193"/>
                  <a:gd name="T53" fmla="*/ 76458327 h 38"/>
                  <a:gd name="T54" fmla="*/ 10028780 w 193"/>
                  <a:gd name="T55" fmla="*/ 81236200 h 38"/>
                  <a:gd name="T56" fmla="*/ 7163285 w 193"/>
                  <a:gd name="T57" fmla="*/ 86015618 h 38"/>
                  <a:gd name="T58" fmla="*/ 3888821 w 193"/>
                  <a:gd name="T59" fmla="*/ 88403781 h 38"/>
                  <a:gd name="T60" fmla="*/ 0 w 193"/>
                  <a:gd name="T61" fmla="*/ 90793491 h 38"/>
                  <a:gd name="T62" fmla="*/ 0 w 193"/>
                  <a:gd name="T63" fmla="*/ 78846491 h 38"/>
                  <a:gd name="T64" fmla="*/ 204484 w 193"/>
                  <a:gd name="T65" fmla="*/ 69289200 h 38"/>
                  <a:gd name="T66" fmla="*/ 613905 w 193"/>
                  <a:gd name="T67" fmla="*/ 57343745 h 38"/>
                  <a:gd name="T68" fmla="*/ 1432748 w 193"/>
                  <a:gd name="T69" fmla="*/ 47786454 h 38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93" h="38">
                    <a:moveTo>
                      <a:pt x="7" y="20"/>
                    </a:moveTo>
                    <a:lnTo>
                      <a:pt x="38" y="11"/>
                    </a:lnTo>
                    <a:lnTo>
                      <a:pt x="67" y="5"/>
                    </a:lnTo>
                    <a:lnTo>
                      <a:pt x="80" y="3"/>
                    </a:lnTo>
                    <a:lnTo>
                      <a:pt x="94" y="2"/>
                    </a:lnTo>
                    <a:lnTo>
                      <a:pt x="110" y="1"/>
                    </a:lnTo>
                    <a:lnTo>
                      <a:pt x="126" y="0"/>
                    </a:lnTo>
                    <a:lnTo>
                      <a:pt x="138" y="1"/>
                    </a:lnTo>
                    <a:lnTo>
                      <a:pt x="149" y="1"/>
                    </a:lnTo>
                    <a:lnTo>
                      <a:pt x="160" y="2"/>
                    </a:lnTo>
                    <a:lnTo>
                      <a:pt x="169" y="4"/>
                    </a:lnTo>
                    <a:lnTo>
                      <a:pt x="178" y="6"/>
                    </a:lnTo>
                    <a:lnTo>
                      <a:pt x="184" y="11"/>
                    </a:lnTo>
                    <a:lnTo>
                      <a:pt x="187" y="13"/>
                    </a:lnTo>
                    <a:lnTo>
                      <a:pt x="189" y="18"/>
                    </a:lnTo>
                    <a:lnTo>
                      <a:pt x="191" y="21"/>
                    </a:lnTo>
                    <a:lnTo>
                      <a:pt x="193" y="26"/>
                    </a:lnTo>
                    <a:lnTo>
                      <a:pt x="183" y="27"/>
                    </a:lnTo>
                    <a:lnTo>
                      <a:pt x="173" y="28"/>
                    </a:lnTo>
                    <a:lnTo>
                      <a:pt x="165" y="28"/>
                    </a:lnTo>
                    <a:lnTo>
                      <a:pt x="156" y="28"/>
                    </a:lnTo>
                    <a:lnTo>
                      <a:pt x="138" y="27"/>
                    </a:lnTo>
                    <a:lnTo>
                      <a:pt x="120" y="26"/>
                    </a:lnTo>
                    <a:lnTo>
                      <a:pt x="103" y="26"/>
                    </a:lnTo>
                    <a:lnTo>
                      <a:pt x="89" y="28"/>
                    </a:lnTo>
                    <a:lnTo>
                      <a:pt x="76" y="30"/>
                    </a:lnTo>
                    <a:lnTo>
                      <a:pt x="63" y="32"/>
                    </a:lnTo>
                    <a:lnTo>
                      <a:pt x="49" y="34"/>
                    </a:lnTo>
                    <a:lnTo>
                      <a:pt x="35" y="36"/>
                    </a:lnTo>
                    <a:lnTo>
                      <a:pt x="19" y="37"/>
                    </a:lnTo>
                    <a:lnTo>
                      <a:pt x="0" y="38"/>
                    </a:lnTo>
                    <a:lnTo>
                      <a:pt x="0" y="33"/>
                    </a:lnTo>
                    <a:lnTo>
                      <a:pt x="1" y="29"/>
                    </a:lnTo>
                    <a:lnTo>
                      <a:pt x="3" y="24"/>
                    </a:lnTo>
                    <a:lnTo>
                      <a:pt x="7" y="2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0872A6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7" name="Freeform 268">
                <a:extLst>
                  <a:ext uri="{FF2B5EF4-FFF2-40B4-BE49-F238E27FC236}">
                    <a16:creationId xmlns:a16="http://schemas.microsoft.com/office/drawing/2014/main" id="{C52B97FC-C82F-485D-A7BF-F816AD5B5A64}"/>
                  </a:ext>
                </a:extLst>
              </p:cNvPr>
              <p:cNvSpPr>
                <a:spLocks/>
              </p:cNvSpPr>
              <p:nvPr>
                <p:custDataLst>
                  <p:tags r:id="rId195"/>
                </p:custDataLst>
              </p:nvPr>
            </p:nvSpPr>
            <p:spPr bwMode="auto">
              <a:xfrm>
                <a:off x="4013324" y="4113313"/>
                <a:ext cx="52486" cy="175797"/>
              </a:xfrm>
              <a:custGeom>
                <a:avLst/>
                <a:gdLst>
                  <a:gd name="T0" fmla="*/ 9935124 w 99"/>
                  <a:gd name="T1" fmla="*/ 3205569 h 301"/>
                  <a:gd name="T2" fmla="*/ 11059953 w 99"/>
                  <a:gd name="T3" fmla="*/ 3205569 h 301"/>
                  <a:gd name="T4" fmla="*/ 11059953 w 99"/>
                  <a:gd name="T5" fmla="*/ 5075570 h 301"/>
                  <a:gd name="T6" fmla="*/ 11621934 w 99"/>
                  <a:gd name="T7" fmla="*/ 6945571 h 301"/>
                  <a:gd name="T8" fmla="*/ 11809406 w 99"/>
                  <a:gd name="T9" fmla="*/ 8815572 h 301"/>
                  <a:gd name="T10" fmla="*/ 12371820 w 99"/>
                  <a:gd name="T11" fmla="*/ 11220007 h 301"/>
                  <a:gd name="T12" fmla="*/ 13496649 w 99"/>
                  <a:gd name="T13" fmla="*/ 15494443 h 301"/>
                  <a:gd name="T14" fmla="*/ 14808950 w 99"/>
                  <a:gd name="T15" fmla="*/ 20036096 h 301"/>
                  <a:gd name="T16" fmla="*/ 16308289 w 99"/>
                  <a:gd name="T17" fmla="*/ 24844449 h 301"/>
                  <a:gd name="T18" fmla="*/ 17433118 w 99"/>
                  <a:gd name="T19" fmla="*/ 29653319 h 301"/>
                  <a:gd name="T20" fmla="*/ 17995533 w 99"/>
                  <a:gd name="T21" fmla="*/ 32057237 h 301"/>
                  <a:gd name="T22" fmla="*/ 18370476 w 99"/>
                  <a:gd name="T23" fmla="*/ 34461672 h 301"/>
                  <a:gd name="T24" fmla="*/ 18557947 w 99"/>
                  <a:gd name="T25" fmla="*/ 36866106 h 301"/>
                  <a:gd name="T26" fmla="*/ 18557947 w 99"/>
                  <a:gd name="T27" fmla="*/ 39537241 h 301"/>
                  <a:gd name="T28" fmla="*/ 18557947 w 99"/>
                  <a:gd name="T29" fmla="*/ 77204998 h 301"/>
                  <a:gd name="T30" fmla="*/ 16683232 w 99"/>
                  <a:gd name="T31" fmla="*/ 77472215 h 301"/>
                  <a:gd name="T32" fmla="*/ 14996422 w 99"/>
                  <a:gd name="T33" fmla="*/ 78273349 h 301"/>
                  <a:gd name="T34" fmla="*/ 13684121 w 99"/>
                  <a:gd name="T35" fmla="*/ 79342216 h 301"/>
                  <a:gd name="T36" fmla="*/ 12371820 w 99"/>
                  <a:gd name="T37" fmla="*/ 80410567 h 301"/>
                  <a:gd name="T38" fmla="*/ 11059953 w 99"/>
                  <a:gd name="T39" fmla="*/ 77472215 h 301"/>
                  <a:gd name="T40" fmla="*/ 10122595 w 99"/>
                  <a:gd name="T41" fmla="*/ 74800563 h 301"/>
                  <a:gd name="T42" fmla="*/ 8997766 w 99"/>
                  <a:gd name="T43" fmla="*/ 72396128 h 301"/>
                  <a:gd name="T44" fmla="*/ 8435352 w 99"/>
                  <a:gd name="T45" fmla="*/ 69991694 h 301"/>
                  <a:gd name="T46" fmla="*/ 8060409 w 99"/>
                  <a:gd name="T47" fmla="*/ 67320559 h 301"/>
                  <a:gd name="T48" fmla="*/ 7685466 w 99"/>
                  <a:gd name="T49" fmla="*/ 64648907 h 301"/>
                  <a:gd name="T50" fmla="*/ 7497994 w 99"/>
                  <a:gd name="T51" fmla="*/ 61977772 h 301"/>
                  <a:gd name="T52" fmla="*/ 7497994 w 99"/>
                  <a:gd name="T53" fmla="*/ 59306120 h 301"/>
                  <a:gd name="T54" fmla="*/ 7497994 w 99"/>
                  <a:gd name="T55" fmla="*/ 37667240 h 301"/>
                  <a:gd name="T56" fmla="*/ 0 w 99"/>
                  <a:gd name="T57" fmla="*/ 1602784 h 301"/>
                  <a:gd name="T58" fmla="*/ 937358 w 99"/>
                  <a:gd name="T59" fmla="*/ 534434 h 301"/>
                  <a:gd name="T60" fmla="*/ 1874715 w 99"/>
                  <a:gd name="T61" fmla="*/ 0 h 301"/>
                  <a:gd name="T62" fmla="*/ 2624168 w 99"/>
                  <a:gd name="T63" fmla="*/ 0 h 301"/>
                  <a:gd name="T64" fmla="*/ 3748997 w 99"/>
                  <a:gd name="T65" fmla="*/ 0 h 301"/>
                  <a:gd name="T66" fmla="*/ 4873826 w 99"/>
                  <a:gd name="T67" fmla="*/ 0 h 301"/>
                  <a:gd name="T68" fmla="*/ 5998655 w 99"/>
                  <a:gd name="T69" fmla="*/ 534434 h 301"/>
                  <a:gd name="T70" fmla="*/ 6936013 w 99"/>
                  <a:gd name="T71" fmla="*/ 1068351 h 301"/>
                  <a:gd name="T72" fmla="*/ 7685466 w 99"/>
                  <a:gd name="T73" fmla="*/ 1602784 h 301"/>
                  <a:gd name="T74" fmla="*/ 8810295 w 99"/>
                  <a:gd name="T75" fmla="*/ 2671652 h 301"/>
                  <a:gd name="T76" fmla="*/ 9935124 w 99"/>
                  <a:gd name="T77" fmla="*/ 3205569 h 30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9" h="301">
                    <a:moveTo>
                      <a:pt x="53" y="12"/>
                    </a:moveTo>
                    <a:lnTo>
                      <a:pt x="59" y="12"/>
                    </a:lnTo>
                    <a:lnTo>
                      <a:pt x="59" y="19"/>
                    </a:lnTo>
                    <a:lnTo>
                      <a:pt x="62" y="26"/>
                    </a:lnTo>
                    <a:lnTo>
                      <a:pt x="63" y="33"/>
                    </a:lnTo>
                    <a:lnTo>
                      <a:pt x="66" y="42"/>
                    </a:lnTo>
                    <a:lnTo>
                      <a:pt x="72" y="58"/>
                    </a:lnTo>
                    <a:lnTo>
                      <a:pt x="79" y="75"/>
                    </a:lnTo>
                    <a:lnTo>
                      <a:pt x="87" y="93"/>
                    </a:lnTo>
                    <a:lnTo>
                      <a:pt x="93" y="111"/>
                    </a:lnTo>
                    <a:lnTo>
                      <a:pt x="96" y="120"/>
                    </a:lnTo>
                    <a:lnTo>
                      <a:pt x="98" y="129"/>
                    </a:lnTo>
                    <a:lnTo>
                      <a:pt x="99" y="138"/>
                    </a:lnTo>
                    <a:lnTo>
                      <a:pt x="99" y="148"/>
                    </a:lnTo>
                    <a:lnTo>
                      <a:pt x="99" y="289"/>
                    </a:lnTo>
                    <a:lnTo>
                      <a:pt x="89" y="290"/>
                    </a:lnTo>
                    <a:lnTo>
                      <a:pt x="80" y="293"/>
                    </a:lnTo>
                    <a:lnTo>
                      <a:pt x="73" y="297"/>
                    </a:lnTo>
                    <a:lnTo>
                      <a:pt x="66" y="301"/>
                    </a:lnTo>
                    <a:lnTo>
                      <a:pt x="59" y="290"/>
                    </a:lnTo>
                    <a:lnTo>
                      <a:pt x="54" y="280"/>
                    </a:lnTo>
                    <a:lnTo>
                      <a:pt x="48" y="271"/>
                    </a:lnTo>
                    <a:lnTo>
                      <a:pt x="45" y="262"/>
                    </a:lnTo>
                    <a:lnTo>
                      <a:pt x="43" y="252"/>
                    </a:lnTo>
                    <a:lnTo>
                      <a:pt x="41" y="242"/>
                    </a:lnTo>
                    <a:lnTo>
                      <a:pt x="40" y="232"/>
                    </a:lnTo>
                    <a:lnTo>
                      <a:pt x="40" y="222"/>
                    </a:lnTo>
                    <a:lnTo>
                      <a:pt x="40" y="141"/>
                    </a:lnTo>
                    <a:lnTo>
                      <a:pt x="0" y="6"/>
                    </a:lnTo>
                    <a:lnTo>
                      <a:pt x="5" y="2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2" y="2"/>
                    </a:lnTo>
                    <a:lnTo>
                      <a:pt x="37" y="4"/>
                    </a:lnTo>
                    <a:lnTo>
                      <a:pt x="41" y="6"/>
                    </a:lnTo>
                    <a:lnTo>
                      <a:pt x="47" y="10"/>
                    </a:lnTo>
                    <a:lnTo>
                      <a:pt x="53" y="1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8" name="Freeform 269">
                <a:extLst>
                  <a:ext uri="{FF2B5EF4-FFF2-40B4-BE49-F238E27FC236}">
                    <a16:creationId xmlns:a16="http://schemas.microsoft.com/office/drawing/2014/main" id="{770CE4CE-7819-4600-BC12-763FECE8D6B8}"/>
                  </a:ext>
                </a:extLst>
              </p:cNvPr>
              <p:cNvSpPr>
                <a:spLocks/>
              </p:cNvSpPr>
              <p:nvPr>
                <p:custDataLst>
                  <p:tags r:id="rId196"/>
                </p:custDataLst>
              </p:nvPr>
            </p:nvSpPr>
            <p:spPr bwMode="auto">
              <a:xfrm>
                <a:off x="4044092" y="4071121"/>
                <a:ext cx="92301" cy="212715"/>
              </a:xfrm>
              <a:custGeom>
                <a:avLst/>
                <a:gdLst>
                  <a:gd name="T0" fmla="*/ 0 w 173"/>
                  <a:gd name="T1" fmla="*/ 22401153 h 357"/>
                  <a:gd name="T2" fmla="*/ 1745993 w 173"/>
                  <a:gd name="T3" fmla="*/ 20161197 h 357"/>
                  <a:gd name="T4" fmla="*/ 3298183 w 173"/>
                  <a:gd name="T5" fmla="*/ 18201168 h 357"/>
                  <a:gd name="T6" fmla="*/ 4850372 w 173"/>
                  <a:gd name="T7" fmla="*/ 16800997 h 357"/>
                  <a:gd name="T8" fmla="*/ 6402121 w 173"/>
                  <a:gd name="T9" fmla="*/ 15680754 h 357"/>
                  <a:gd name="T10" fmla="*/ 7760067 w 173"/>
                  <a:gd name="T11" fmla="*/ 14000655 h 357"/>
                  <a:gd name="T12" fmla="*/ 12998487 w 173"/>
                  <a:gd name="T13" fmla="*/ 14000655 h 357"/>
                  <a:gd name="T14" fmla="*/ 18236466 w 173"/>
                  <a:gd name="T15" fmla="*/ 0 h 357"/>
                  <a:gd name="T16" fmla="*/ 19594852 w 173"/>
                  <a:gd name="T17" fmla="*/ 839785 h 357"/>
                  <a:gd name="T18" fmla="*/ 20952798 w 173"/>
                  <a:gd name="T19" fmla="*/ 1960028 h 357"/>
                  <a:gd name="T20" fmla="*/ 22504987 w 173"/>
                  <a:gd name="T21" fmla="*/ 3360199 h 357"/>
                  <a:gd name="T22" fmla="*/ 23862933 w 173"/>
                  <a:gd name="T23" fmla="*/ 5040299 h 357"/>
                  <a:gd name="T24" fmla="*/ 25415123 w 173"/>
                  <a:gd name="T25" fmla="*/ 6160542 h 357"/>
                  <a:gd name="T26" fmla="*/ 26966872 w 173"/>
                  <a:gd name="T27" fmla="*/ 7560184 h 357"/>
                  <a:gd name="T28" fmla="*/ 28131014 w 173"/>
                  <a:gd name="T29" fmla="*/ 8120570 h 357"/>
                  <a:gd name="T30" fmla="*/ 29683203 w 173"/>
                  <a:gd name="T31" fmla="*/ 8400499 h 357"/>
                  <a:gd name="T32" fmla="*/ 31623000 w 173"/>
                  <a:gd name="T33" fmla="*/ 10920384 h 357"/>
                  <a:gd name="T34" fmla="*/ 33563237 w 173"/>
                  <a:gd name="T35" fmla="*/ 14000655 h 357"/>
                  <a:gd name="T36" fmla="*/ 33563237 w 173"/>
                  <a:gd name="T37" fmla="*/ 17080926 h 357"/>
                  <a:gd name="T38" fmla="*/ 33563237 w 173"/>
                  <a:gd name="T39" fmla="*/ 19320882 h 357"/>
                  <a:gd name="T40" fmla="*/ 33563237 w 173"/>
                  <a:gd name="T41" fmla="*/ 22401153 h 357"/>
                  <a:gd name="T42" fmla="*/ 33563237 w 173"/>
                  <a:gd name="T43" fmla="*/ 27441452 h 357"/>
                  <a:gd name="T44" fmla="*/ 33563237 w 173"/>
                  <a:gd name="T45" fmla="*/ 30521723 h 357"/>
                  <a:gd name="T46" fmla="*/ 33175190 w 173"/>
                  <a:gd name="T47" fmla="*/ 33042138 h 357"/>
                  <a:gd name="T48" fmla="*/ 32399095 w 173"/>
                  <a:gd name="T49" fmla="*/ 35562023 h 357"/>
                  <a:gd name="T50" fmla="*/ 31623000 w 173"/>
                  <a:gd name="T51" fmla="*/ 37801979 h 357"/>
                  <a:gd name="T52" fmla="*/ 29488960 w 173"/>
                  <a:gd name="T53" fmla="*/ 42282421 h 357"/>
                  <a:gd name="T54" fmla="*/ 27161116 w 173"/>
                  <a:gd name="T55" fmla="*/ 46762864 h 357"/>
                  <a:gd name="T56" fmla="*/ 24832831 w 173"/>
                  <a:gd name="T57" fmla="*/ 51242777 h 357"/>
                  <a:gd name="T58" fmla="*/ 22698791 w 173"/>
                  <a:gd name="T59" fmla="*/ 56003148 h 357"/>
                  <a:gd name="T60" fmla="*/ 21728892 w 173"/>
                  <a:gd name="T61" fmla="*/ 58523562 h 357"/>
                  <a:gd name="T62" fmla="*/ 21146601 w 173"/>
                  <a:gd name="T63" fmla="*/ 61323375 h 357"/>
                  <a:gd name="T64" fmla="*/ 20952798 w 173"/>
                  <a:gd name="T65" fmla="*/ 64123718 h 357"/>
                  <a:gd name="T66" fmla="*/ 20758554 w 173"/>
                  <a:gd name="T67" fmla="*/ 67203989 h 357"/>
                  <a:gd name="T68" fmla="*/ 20952798 w 173"/>
                  <a:gd name="T69" fmla="*/ 76444273 h 357"/>
                  <a:gd name="T70" fmla="*/ 21146601 w 173"/>
                  <a:gd name="T71" fmla="*/ 82044429 h 357"/>
                  <a:gd name="T72" fmla="*/ 21340845 w 173"/>
                  <a:gd name="T73" fmla="*/ 84564843 h 357"/>
                  <a:gd name="T74" fmla="*/ 21146601 w 173"/>
                  <a:gd name="T75" fmla="*/ 87645114 h 357"/>
                  <a:gd name="T76" fmla="*/ 21146601 w 173"/>
                  <a:gd name="T77" fmla="*/ 91565170 h 357"/>
                  <a:gd name="T78" fmla="*/ 20758554 w 173"/>
                  <a:gd name="T79" fmla="*/ 96605469 h 357"/>
                  <a:gd name="T80" fmla="*/ 18818757 w 173"/>
                  <a:gd name="T81" fmla="*/ 96885398 h 357"/>
                  <a:gd name="T82" fmla="*/ 17072764 w 173"/>
                  <a:gd name="T83" fmla="*/ 97165326 h 357"/>
                  <a:gd name="T84" fmla="*/ 15326771 w 173"/>
                  <a:gd name="T85" fmla="*/ 97725712 h 357"/>
                  <a:gd name="T86" fmla="*/ 13774582 w 173"/>
                  <a:gd name="T87" fmla="*/ 98285569 h 357"/>
                  <a:gd name="T88" fmla="*/ 12222392 w 173"/>
                  <a:gd name="T89" fmla="*/ 98845426 h 357"/>
                  <a:gd name="T90" fmla="*/ 10670202 w 173"/>
                  <a:gd name="T91" fmla="*/ 99405812 h 357"/>
                  <a:gd name="T92" fmla="*/ 9312257 w 173"/>
                  <a:gd name="T93" fmla="*/ 99965669 h 357"/>
                  <a:gd name="T94" fmla="*/ 7760067 w 173"/>
                  <a:gd name="T95" fmla="*/ 99965669 h 357"/>
                  <a:gd name="T96" fmla="*/ 7760067 w 173"/>
                  <a:gd name="T97" fmla="*/ 60483590 h 357"/>
                  <a:gd name="T98" fmla="*/ 7760067 w 173"/>
                  <a:gd name="T99" fmla="*/ 57683247 h 357"/>
                  <a:gd name="T100" fmla="*/ 7566264 w 173"/>
                  <a:gd name="T101" fmla="*/ 55163362 h 357"/>
                  <a:gd name="T102" fmla="*/ 7178216 w 173"/>
                  <a:gd name="T103" fmla="*/ 52642948 h 357"/>
                  <a:gd name="T104" fmla="*/ 6596365 w 173"/>
                  <a:gd name="T105" fmla="*/ 50123063 h 357"/>
                  <a:gd name="T106" fmla="*/ 5432223 w 173"/>
                  <a:gd name="T107" fmla="*/ 45082764 h 357"/>
                  <a:gd name="T108" fmla="*/ 3880034 w 173"/>
                  <a:gd name="T109" fmla="*/ 40042465 h 357"/>
                  <a:gd name="T110" fmla="*/ 2522088 w 173"/>
                  <a:gd name="T111" fmla="*/ 35282094 h 357"/>
                  <a:gd name="T112" fmla="*/ 1357946 w 173"/>
                  <a:gd name="T113" fmla="*/ 30801652 h 357"/>
                  <a:gd name="T114" fmla="*/ 776095 w 173"/>
                  <a:gd name="T115" fmla="*/ 28281767 h 357"/>
                  <a:gd name="T116" fmla="*/ 581851 w 173"/>
                  <a:gd name="T117" fmla="*/ 26321739 h 357"/>
                  <a:gd name="T118" fmla="*/ 0 w 173"/>
                  <a:gd name="T119" fmla="*/ 24361181 h 357"/>
                  <a:gd name="T120" fmla="*/ 0 w 173"/>
                  <a:gd name="T121" fmla="*/ 22401153 h 35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73" h="357">
                    <a:moveTo>
                      <a:pt x="0" y="80"/>
                    </a:moveTo>
                    <a:lnTo>
                      <a:pt x="9" y="72"/>
                    </a:lnTo>
                    <a:lnTo>
                      <a:pt x="17" y="65"/>
                    </a:lnTo>
                    <a:lnTo>
                      <a:pt x="25" y="60"/>
                    </a:lnTo>
                    <a:lnTo>
                      <a:pt x="33" y="56"/>
                    </a:lnTo>
                    <a:lnTo>
                      <a:pt x="40" y="50"/>
                    </a:lnTo>
                    <a:lnTo>
                      <a:pt x="67" y="50"/>
                    </a:lnTo>
                    <a:lnTo>
                      <a:pt x="94" y="0"/>
                    </a:lnTo>
                    <a:lnTo>
                      <a:pt x="101" y="3"/>
                    </a:lnTo>
                    <a:lnTo>
                      <a:pt x="108" y="7"/>
                    </a:lnTo>
                    <a:lnTo>
                      <a:pt x="116" y="12"/>
                    </a:lnTo>
                    <a:lnTo>
                      <a:pt x="123" y="18"/>
                    </a:lnTo>
                    <a:lnTo>
                      <a:pt x="131" y="22"/>
                    </a:lnTo>
                    <a:lnTo>
                      <a:pt x="139" y="27"/>
                    </a:lnTo>
                    <a:lnTo>
                      <a:pt x="145" y="29"/>
                    </a:lnTo>
                    <a:lnTo>
                      <a:pt x="153" y="30"/>
                    </a:lnTo>
                    <a:lnTo>
                      <a:pt x="163" y="39"/>
                    </a:lnTo>
                    <a:lnTo>
                      <a:pt x="173" y="50"/>
                    </a:lnTo>
                    <a:lnTo>
                      <a:pt x="173" y="61"/>
                    </a:lnTo>
                    <a:lnTo>
                      <a:pt x="173" y="69"/>
                    </a:lnTo>
                    <a:lnTo>
                      <a:pt x="173" y="80"/>
                    </a:lnTo>
                    <a:lnTo>
                      <a:pt x="173" y="98"/>
                    </a:lnTo>
                    <a:lnTo>
                      <a:pt x="173" y="109"/>
                    </a:lnTo>
                    <a:lnTo>
                      <a:pt x="171" y="118"/>
                    </a:lnTo>
                    <a:lnTo>
                      <a:pt x="167" y="127"/>
                    </a:lnTo>
                    <a:lnTo>
                      <a:pt x="163" y="135"/>
                    </a:lnTo>
                    <a:lnTo>
                      <a:pt x="152" y="151"/>
                    </a:lnTo>
                    <a:lnTo>
                      <a:pt x="140" y="167"/>
                    </a:lnTo>
                    <a:lnTo>
                      <a:pt x="128" y="183"/>
                    </a:lnTo>
                    <a:lnTo>
                      <a:pt x="117" y="200"/>
                    </a:lnTo>
                    <a:lnTo>
                      <a:pt x="112" y="209"/>
                    </a:lnTo>
                    <a:lnTo>
                      <a:pt x="109" y="219"/>
                    </a:lnTo>
                    <a:lnTo>
                      <a:pt x="108" y="229"/>
                    </a:lnTo>
                    <a:lnTo>
                      <a:pt x="107" y="240"/>
                    </a:lnTo>
                    <a:lnTo>
                      <a:pt x="108" y="273"/>
                    </a:lnTo>
                    <a:lnTo>
                      <a:pt x="109" y="293"/>
                    </a:lnTo>
                    <a:lnTo>
                      <a:pt x="110" y="302"/>
                    </a:lnTo>
                    <a:lnTo>
                      <a:pt x="109" y="313"/>
                    </a:lnTo>
                    <a:lnTo>
                      <a:pt x="109" y="327"/>
                    </a:lnTo>
                    <a:lnTo>
                      <a:pt x="107" y="345"/>
                    </a:lnTo>
                    <a:lnTo>
                      <a:pt x="97" y="346"/>
                    </a:lnTo>
                    <a:lnTo>
                      <a:pt x="88" y="347"/>
                    </a:lnTo>
                    <a:lnTo>
                      <a:pt x="79" y="349"/>
                    </a:lnTo>
                    <a:lnTo>
                      <a:pt x="71" y="351"/>
                    </a:lnTo>
                    <a:lnTo>
                      <a:pt x="63" y="353"/>
                    </a:lnTo>
                    <a:lnTo>
                      <a:pt x="55" y="355"/>
                    </a:lnTo>
                    <a:lnTo>
                      <a:pt x="48" y="357"/>
                    </a:lnTo>
                    <a:lnTo>
                      <a:pt x="40" y="357"/>
                    </a:lnTo>
                    <a:lnTo>
                      <a:pt x="40" y="216"/>
                    </a:lnTo>
                    <a:lnTo>
                      <a:pt x="40" y="206"/>
                    </a:lnTo>
                    <a:lnTo>
                      <a:pt x="39" y="197"/>
                    </a:lnTo>
                    <a:lnTo>
                      <a:pt x="37" y="188"/>
                    </a:lnTo>
                    <a:lnTo>
                      <a:pt x="34" y="179"/>
                    </a:lnTo>
                    <a:lnTo>
                      <a:pt x="28" y="161"/>
                    </a:lnTo>
                    <a:lnTo>
                      <a:pt x="20" y="143"/>
                    </a:lnTo>
                    <a:lnTo>
                      <a:pt x="13" y="126"/>
                    </a:lnTo>
                    <a:lnTo>
                      <a:pt x="7" y="110"/>
                    </a:lnTo>
                    <a:lnTo>
                      <a:pt x="4" y="101"/>
                    </a:lnTo>
                    <a:lnTo>
                      <a:pt x="3" y="94"/>
                    </a:lnTo>
                    <a:lnTo>
                      <a:pt x="0" y="87"/>
                    </a:lnTo>
                    <a:lnTo>
                      <a:pt x="0" y="8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59" name="Freeform 270">
                <a:extLst>
                  <a:ext uri="{FF2B5EF4-FFF2-40B4-BE49-F238E27FC236}">
                    <a16:creationId xmlns:a16="http://schemas.microsoft.com/office/drawing/2014/main" id="{0670846B-07D8-4B27-AD1D-C5608F8251B0}"/>
                  </a:ext>
                </a:extLst>
              </p:cNvPr>
              <p:cNvSpPr>
                <a:spLocks/>
              </p:cNvSpPr>
              <p:nvPr>
                <p:custDataLst>
                  <p:tags r:id="rId197"/>
                </p:custDataLst>
              </p:nvPr>
            </p:nvSpPr>
            <p:spPr bwMode="auto">
              <a:xfrm>
                <a:off x="4923667" y="5426519"/>
                <a:ext cx="28957" cy="66803"/>
              </a:xfrm>
              <a:custGeom>
                <a:avLst/>
                <a:gdLst>
                  <a:gd name="T0" fmla="*/ 2580640 w 50"/>
                  <a:gd name="T1" fmla="*/ 0 h 74"/>
                  <a:gd name="T2" fmla="*/ 1548384 w 50"/>
                  <a:gd name="T3" fmla="*/ 9303908 h 74"/>
                  <a:gd name="T4" fmla="*/ 516128 w 50"/>
                  <a:gd name="T5" fmla="*/ 17278221 h 74"/>
                  <a:gd name="T6" fmla="*/ 0 w 50"/>
                  <a:gd name="T7" fmla="*/ 23923754 h 74"/>
                  <a:gd name="T8" fmla="*/ 0 w 50"/>
                  <a:gd name="T9" fmla="*/ 28576116 h 74"/>
                  <a:gd name="T10" fmla="*/ 0 w 50"/>
                  <a:gd name="T11" fmla="*/ 33227662 h 74"/>
                  <a:gd name="T12" fmla="*/ 516128 w 50"/>
                  <a:gd name="T13" fmla="*/ 37214819 h 74"/>
                  <a:gd name="T14" fmla="*/ 1548384 w 50"/>
                  <a:gd name="T15" fmla="*/ 40537585 h 74"/>
                  <a:gd name="T16" fmla="*/ 2580640 w 50"/>
                  <a:gd name="T17" fmla="*/ 45189947 h 74"/>
                  <a:gd name="T18" fmla="*/ 12903200 w 50"/>
                  <a:gd name="T19" fmla="*/ 49177103 h 74"/>
                  <a:gd name="T20" fmla="*/ 12903200 w 50"/>
                  <a:gd name="T21" fmla="*/ 33892052 h 74"/>
                  <a:gd name="T22" fmla="*/ 12903200 w 50"/>
                  <a:gd name="T23" fmla="*/ 22594973 h 74"/>
                  <a:gd name="T24" fmla="*/ 12903200 w 50"/>
                  <a:gd name="T25" fmla="*/ 12626675 h 74"/>
                  <a:gd name="T26" fmla="*/ 12903200 w 50"/>
                  <a:gd name="T27" fmla="*/ 0 h 74"/>
                  <a:gd name="T28" fmla="*/ 9806432 w 50"/>
                  <a:gd name="T29" fmla="*/ 0 h 74"/>
                  <a:gd name="T30" fmla="*/ 6451600 w 50"/>
                  <a:gd name="T31" fmla="*/ 0 h 74"/>
                  <a:gd name="T32" fmla="*/ 3612896 w 50"/>
                  <a:gd name="T33" fmla="*/ 0 h 74"/>
                  <a:gd name="T34" fmla="*/ 2580640 w 50"/>
                  <a:gd name="T35" fmla="*/ 0 h 7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50" h="74">
                    <a:moveTo>
                      <a:pt x="10" y="0"/>
                    </a:moveTo>
                    <a:lnTo>
                      <a:pt x="6" y="14"/>
                    </a:lnTo>
                    <a:lnTo>
                      <a:pt x="2" y="26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0" y="50"/>
                    </a:lnTo>
                    <a:lnTo>
                      <a:pt x="2" y="56"/>
                    </a:lnTo>
                    <a:lnTo>
                      <a:pt x="6" y="61"/>
                    </a:lnTo>
                    <a:lnTo>
                      <a:pt x="10" y="68"/>
                    </a:lnTo>
                    <a:lnTo>
                      <a:pt x="50" y="74"/>
                    </a:lnTo>
                    <a:lnTo>
                      <a:pt x="50" y="51"/>
                    </a:lnTo>
                    <a:lnTo>
                      <a:pt x="50" y="34"/>
                    </a:lnTo>
                    <a:lnTo>
                      <a:pt x="50" y="19"/>
                    </a:lnTo>
                    <a:lnTo>
                      <a:pt x="50" y="0"/>
                    </a:lnTo>
                    <a:lnTo>
                      <a:pt x="38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0" y="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0" name="Freeform 271">
                <a:extLst>
                  <a:ext uri="{FF2B5EF4-FFF2-40B4-BE49-F238E27FC236}">
                    <a16:creationId xmlns:a16="http://schemas.microsoft.com/office/drawing/2014/main" id="{5778339D-535C-4FD9-A097-C3A99F8E231A}"/>
                  </a:ext>
                </a:extLst>
              </p:cNvPr>
              <p:cNvSpPr>
                <a:spLocks/>
              </p:cNvSpPr>
              <p:nvPr>
                <p:custDataLst>
                  <p:tags r:id="rId198"/>
                </p:custDataLst>
              </p:nvPr>
            </p:nvSpPr>
            <p:spPr bwMode="auto">
              <a:xfrm>
                <a:off x="4796980" y="5535513"/>
                <a:ext cx="74202" cy="63287"/>
              </a:xfrm>
              <a:custGeom>
                <a:avLst/>
                <a:gdLst>
                  <a:gd name="T0" fmla="*/ 631044 w 135"/>
                  <a:gd name="T1" fmla="*/ 18704379 h 98"/>
                  <a:gd name="T2" fmla="*/ 2313674 w 135"/>
                  <a:gd name="T3" fmla="*/ 18364394 h 98"/>
                  <a:gd name="T4" fmla="*/ 3785804 w 135"/>
                  <a:gd name="T5" fmla="*/ 18024410 h 98"/>
                  <a:gd name="T6" fmla="*/ 5047892 w 135"/>
                  <a:gd name="T7" fmla="*/ 17003874 h 98"/>
                  <a:gd name="T8" fmla="*/ 6520022 w 135"/>
                  <a:gd name="T9" fmla="*/ 15983922 h 98"/>
                  <a:gd name="T10" fmla="*/ 8833696 w 135"/>
                  <a:gd name="T11" fmla="*/ 12922898 h 98"/>
                  <a:gd name="T12" fmla="*/ 10936869 w 135"/>
                  <a:gd name="T13" fmla="*/ 9522473 h 98"/>
                  <a:gd name="T14" fmla="*/ 12829542 w 135"/>
                  <a:gd name="T15" fmla="*/ 6121465 h 98"/>
                  <a:gd name="T16" fmla="*/ 14932716 w 135"/>
                  <a:gd name="T17" fmla="*/ 2720457 h 98"/>
                  <a:gd name="T18" fmla="*/ 15984303 w 135"/>
                  <a:gd name="T19" fmla="*/ 1700504 h 98"/>
                  <a:gd name="T20" fmla="*/ 17246390 w 135"/>
                  <a:gd name="T21" fmla="*/ 679968 h 98"/>
                  <a:gd name="T22" fmla="*/ 18508019 w 135"/>
                  <a:gd name="T23" fmla="*/ 0 h 98"/>
                  <a:gd name="T24" fmla="*/ 20190650 w 135"/>
                  <a:gd name="T25" fmla="*/ 0 h 98"/>
                  <a:gd name="T26" fmla="*/ 21452737 w 135"/>
                  <a:gd name="T27" fmla="*/ 0 h 98"/>
                  <a:gd name="T28" fmla="*/ 23135368 w 135"/>
                  <a:gd name="T29" fmla="*/ 1019953 h 98"/>
                  <a:gd name="T30" fmla="*/ 24607498 w 135"/>
                  <a:gd name="T31" fmla="*/ 2040488 h 98"/>
                  <a:gd name="T32" fmla="*/ 25869585 w 135"/>
                  <a:gd name="T33" fmla="*/ 3740992 h 98"/>
                  <a:gd name="T34" fmla="*/ 26921172 w 135"/>
                  <a:gd name="T35" fmla="*/ 5441496 h 98"/>
                  <a:gd name="T36" fmla="*/ 27762258 w 135"/>
                  <a:gd name="T37" fmla="*/ 8161953 h 98"/>
                  <a:gd name="T38" fmla="*/ 28182801 w 135"/>
                  <a:gd name="T39" fmla="*/ 10202441 h 98"/>
                  <a:gd name="T40" fmla="*/ 28393302 w 135"/>
                  <a:gd name="T41" fmla="*/ 12582914 h 98"/>
                  <a:gd name="T42" fmla="*/ 28182801 w 135"/>
                  <a:gd name="T43" fmla="*/ 13603449 h 98"/>
                  <a:gd name="T44" fmla="*/ 27762258 w 135"/>
                  <a:gd name="T45" fmla="*/ 14623402 h 98"/>
                  <a:gd name="T46" fmla="*/ 27131214 w 135"/>
                  <a:gd name="T47" fmla="*/ 15983922 h 98"/>
                  <a:gd name="T48" fmla="*/ 26079627 w 135"/>
                  <a:gd name="T49" fmla="*/ 17343859 h 98"/>
                  <a:gd name="T50" fmla="*/ 23766412 w 135"/>
                  <a:gd name="T51" fmla="*/ 20744867 h 98"/>
                  <a:gd name="T52" fmla="*/ 21032194 w 135"/>
                  <a:gd name="T53" fmla="*/ 24485859 h 98"/>
                  <a:gd name="T54" fmla="*/ 18297977 w 135"/>
                  <a:gd name="T55" fmla="*/ 27886284 h 98"/>
                  <a:gd name="T56" fmla="*/ 15563760 w 135"/>
                  <a:gd name="T57" fmla="*/ 30947308 h 98"/>
                  <a:gd name="T58" fmla="*/ 13250085 w 135"/>
                  <a:gd name="T59" fmla="*/ 32647812 h 98"/>
                  <a:gd name="T60" fmla="*/ 11567455 w 135"/>
                  <a:gd name="T61" fmla="*/ 33327781 h 98"/>
                  <a:gd name="T62" fmla="*/ 10726369 w 135"/>
                  <a:gd name="T63" fmla="*/ 32987796 h 98"/>
                  <a:gd name="T64" fmla="*/ 9043738 w 135"/>
                  <a:gd name="T65" fmla="*/ 31287292 h 98"/>
                  <a:gd name="T66" fmla="*/ 6730064 w 135"/>
                  <a:gd name="T67" fmla="*/ 28906820 h 98"/>
                  <a:gd name="T68" fmla="*/ 4416848 w 135"/>
                  <a:gd name="T69" fmla="*/ 26186363 h 98"/>
                  <a:gd name="T70" fmla="*/ 2313674 w 135"/>
                  <a:gd name="T71" fmla="*/ 23125339 h 98"/>
                  <a:gd name="T72" fmla="*/ 1051587 w 135"/>
                  <a:gd name="T73" fmla="*/ 21084851 h 98"/>
                  <a:gd name="T74" fmla="*/ 210501 w 135"/>
                  <a:gd name="T75" fmla="*/ 20064898 h 98"/>
                  <a:gd name="T76" fmla="*/ 0 w 135"/>
                  <a:gd name="T77" fmla="*/ 19384347 h 98"/>
                  <a:gd name="T78" fmla="*/ 0 w 135"/>
                  <a:gd name="T79" fmla="*/ 19044363 h 98"/>
                  <a:gd name="T80" fmla="*/ 631044 w 135"/>
                  <a:gd name="T81" fmla="*/ 18704379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1" name="Freeform 272">
                <a:extLst>
                  <a:ext uri="{FF2B5EF4-FFF2-40B4-BE49-F238E27FC236}">
                    <a16:creationId xmlns:a16="http://schemas.microsoft.com/office/drawing/2014/main" id="{7589DCC1-3322-473E-8545-CDEE0F83D6B3}"/>
                  </a:ext>
                </a:extLst>
              </p:cNvPr>
              <p:cNvSpPr>
                <a:spLocks/>
              </p:cNvSpPr>
              <p:nvPr>
                <p:custDataLst>
                  <p:tags r:id="rId199"/>
                </p:custDataLst>
              </p:nvPr>
            </p:nvSpPr>
            <p:spPr bwMode="auto">
              <a:xfrm>
                <a:off x="7470092" y="2965357"/>
                <a:ext cx="146596" cy="191618"/>
              </a:xfrm>
              <a:custGeom>
                <a:avLst/>
                <a:gdLst>
                  <a:gd name="T0" fmla="*/ 49374425 w 266"/>
                  <a:gd name="T1" fmla="*/ 2489181 h 326"/>
                  <a:gd name="T2" fmla="*/ 49374425 w 266"/>
                  <a:gd name="T3" fmla="*/ 7744702 h 326"/>
                  <a:gd name="T4" fmla="*/ 51225904 w 266"/>
                  <a:gd name="T5" fmla="*/ 11617052 h 326"/>
                  <a:gd name="T6" fmla="*/ 50403125 w 266"/>
                  <a:gd name="T7" fmla="*/ 15212769 h 326"/>
                  <a:gd name="T8" fmla="*/ 46288779 w 266"/>
                  <a:gd name="T9" fmla="*/ 13829599 h 326"/>
                  <a:gd name="T10" fmla="*/ 43202679 w 266"/>
                  <a:gd name="T11" fmla="*/ 14106233 h 326"/>
                  <a:gd name="T12" fmla="*/ 40116579 w 266"/>
                  <a:gd name="T13" fmla="*/ 17978584 h 326"/>
                  <a:gd name="T14" fmla="*/ 39705189 w 266"/>
                  <a:gd name="T15" fmla="*/ 21574300 h 326"/>
                  <a:gd name="T16" fmla="*/ 40733889 w 266"/>
                  <a:gd name="T17" fmla="*/ 24616749 h 326"/>
                  <a:gd name="T18" fmla="*/ 44231379 w 266"/>
                  <a:gd name="T19" fmla="*/ 30425012 h 326"/>
                  <a:gd name="T20" fmla="*/ 46082857 w 266"/>
                  <a:gd name="T21" fmla="*/ 33744095 h 326"/>
                  <a:gd name="T22" fmla="*/ 46288779 w 266"/>
                  <a:gd name="T23" fmla="*/ 36786543 h 326"/>
                  <a:gd name="T24" fmla="*/ 45671468 w 266"/>
                  <a:gd name="T25" fmla="*/ 39552884 h 326"/>
                  <a:gd name="T26" fmla="*/ 42585368 w 266"/>
                  <a:gd name="T27" fmla="*/ 42595333 h 326"/>
                  <a:gd name="T28" fmla="*/ 41145279 w 266"/>
                  <a:gd name="T29" fmla="*/ 44254611 h 326"/>
                  <a:gd name="T30" fmla="*/ 37236400 w 266"/>
                  <a:gd name="T31" fmla="*/ 45914415 h 326"/>
                  <a:gd name="T32" fmla="*/ 33739364 w 266"/>
                  <a:gd name="T33" fmla="*/ 49233498 h 326"/>
                  <a:gd name="T34" fmla="*/ 32916132 w 266"/>
                  <a:gd name="T35" fmla="*/ 52829215 h 326"/>
                  <a:gd name="T36" fmla="*/ 35590843 w 266"/>
                  <a:gd name="T37" fmla="*/ 57254308 h 326"/>
                  <a:gd name="T38" fmla="*/ 38882411 w 266"/>
                  <a:gd name="T39" fmla="*/ 59467380 h 326"/>
                  <a:gd name="T40" fmla="*/ 44025457 w 266"/>
                  <a:gd name="T41" fmla="*/ 62786463 h 326"/>
                  <a:gd name="T42" fmla="*/ 50403125 w 266"/>
                  <a:gd name="T43" fmla="*/ 71637174 h 326"/>
                  <a:gd name="T44" fmla="*/ 51637293 w 266"/>
                  <a:gd name="T45" fmla="*/ 78828608 h 326"/>
                  <a:gd name="T46" fmla="*/ 45260079 w 266"/>
                  <a:gd name="T47" fmla="*/ 80488412 h 326"/>
                  <a:gd name="T48" fmla="*/ 42585368 w 266"/>
                  <a:gd name="T49" fmla="*/ 82424325 h 326"/>
                  <a:gd name="T50" fmla="*/ 40733889 w 266"/>
                  <a:gd name="T51" fmla="*/ 86296675 h 326"/>
                  <a:gd name="T52" fmla="*/ 38882411 w 266"/>
                  <a:gd name="T53" fmla="*/ 90169026 h 326"/>
                  <a:gd name="T54" fmla="*/ 34973532 w 266"/>
                  <a:gd name="T55" fmla="*/ 88785856 h 326"/>
                  <a:gd name="T56" fmla="*/ 34356221 w 266"/>
                  <a:gd name="T57" fmla="*/ 87403212 h 326"/>
                  <a:gd name="T58" fmla="*/ 31681964 w 266"/>
                  <a:gd name="T59" fmla="*/ 85743407 h 326"/>
                  <a:gd name="T60" fmla="*/ 28595864 w 266"/>
                  <a:gd name="T61" fmla="*/ 83254227 h 326"/>
                  <a:gd name="T62" fmla="*/ 25921607 w 266"/>
                  <a:gd name="T63" fmla="*/ 81594422 h 326"/>
                  <a:gd name="T64" fmla="*/ 20161250 w 266"/>
                  <a:gd name="T65" fmla="*/ 80211778 h 326"/>
                  <a:gd name="T66" fmla="*/ 12960804 w 266"/>
                  <a:gd name="T67" fmla="*/ 76616061 h 326"/>
                  <a:gd name="T68" fmla="*/ 11109325 w 266"/>
                  <a:gd name="T69" fmla="*/ 74126881 h 326"/>
                  <a:gd name="T70" fmla="*/ 11314793 w 266"/>
                  <a:gd name="T71" fmla="*/ 70807798 h 326"/>
                  <a:gd name="T72" fmla="*/ 14400893 w 266"/>
                  <a:gd name="T73" fmla="*/ 67488715 h 326"/>
                  <a:gd name="T74" fmla="*/ 12138025 w 266"/>
                  <a:gd name="T75" fmla="*/ 61126658 h 326"/>
                  <a:gd name="T76" fmla="*/ 6994525 w 266"/>
                  <a:gd name="T77" fmla="*/ 53659117 h 326"/>
                  <a:gd name="T78" fmla="*/ 2674257 w 266"/>
                  <a:gd name="T79" fmla="*/ 50339508 h 326"/>
                  <a:gd name="T80" fmla="*/ 822779 w 266"/>
                  <a:gd name="T81" fmla="*/ 47297060 h 326"/>
                  <a:gd name="T82" fmla="*/ 3908879 w 266"/>
                  <a:gd name="T83" fmla="*/ 42042064 h 326"/>
                  <a:gd name="T84" fmla="*/ 11109325 w 266"/>
                  <a:gd name="T85" fmla="*/ 34297363 h 326"/>
                  <a:gd name="T86" fmla="*/ 15018204 w 266"/>
                  <a:gd name="T87" fmla="*/ 29042368 h 326"/>
                  <a:gd name="T88" fmla="*/ 18103850 w 266"/>
                  <a:gd name="T89" fmla="*/ 25446651 h 326"/>
                  <a:gd name="T90" fmla="*/ 22630039 w 266"/>
                  <a:gd name="T91" fmla="*/ 24340115 h 326"/>
                  <a:gd name="T92" fmla="*/ 29624564 w 266"/>
                  <a:gd name="T93" fmla="*/ 19361228 h 326"/>
                  <a:gd name="T94" fmla="*/ 34562143 w 266"/>
                  <a:gd name="T95" fmla="*/ 12723063 h 326"/>
                  <a:gd name="T96" fmla="*/ 39293800 w 266"/>
                  <a:gd name="T97" fmla="*/ 5808263 h 326"/>
                  <a:gd name="T98" fmla="*/ 45260079 w 266"/>
                  <a:gd name="T99" fmla="*/ 1106536 h 326"/>
                  <a:gd name="T100" fmla="*/ 48963036 w 266"/>
                  <a:gd name="T101" fmla="*/ 0 h 32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266" h="326">
                    <a:moveTo>
                      <a:pt x="246" y="0"/>
                    </a:moveTo>
                    <a:lnTo>
                      <a:pt x="241" y="4"/>
                    </a:lnTo>
                    <a:lnTo>
                      <a:pt x="240" y="9"/>
                    </a:lnTo>
                    <a:lnTo>
                      <a:pt x="239" y="16"/>
                    </a:lnTo>
                    <a:lnTo>
                      <a:pt x="239" y="24"/>
                    </a:lnTo>
                    <a:lnTo>
                      <a:pt x="240" y="28"/>
                    </a:lnTo>
                    <a:lnTo>
                      <a:pt x="243" y="33"/>
                    </a:lnTo>
                    <a:lnTo>
                      <a:pt x="246" y="38"/>
                    </a:lnTo>
                    <a:lnTo>
                      <a:pt x="249" y="42"/>
                    </a:lnTo>
                    <a:lnTo>
                      <a:pt x="256" y="50"/>
                    </a:lnTo>
                    <a:lnTo>
                      <a:pt x="259" y="55"/>
                    </a:lnTo>
                    <a:lnTo>
                      <a:pt x="245" y="55"/>
                    </a:lnTo>
                    <a:lnTo>
                      <a:pt x="234" y="54"/>
                    </a:lnTo>
                    <a:lnTo>
                      <a:pt x="229" y="52"/>
                    </a:lnTo>
                    <a:lnTo>
                      <a:pt x="225" y="50"/>
                    </a:lnTo>
                    <a:lnTo>
                      <a:pt x="222" y="47"/>
                    </a:lnTo>
                    <a:lnTo>
                      <a:pt x="220" y="43"/>
                    </a:lnTo>
                    <a:lnTo>
                      <a:pt x="210" y="51"/>
                    </a:lnTo>
                    <a:lnTo>
                      <a:pt x="201" y="58"/>
                    </a:lnTo>
                    <a:lnTo>
                      <a:pt x="198" y="62"/>
                    </a:lnTo>
                    <a:lnTo>
                      <a:pt x="195" y="65"/>
                    </a:lnTo>
                    <a:lnTo>
                      <a:pt x="193" y="69"/>
                    </a:lnTo>
                    <a:lnTo>
                      <a:pt x="192" y="73"/>
                    </a:lnTo>
                    <a:lnTo>
                      <a:pt x="193" y="78"/>
                    </a:lnTo>
                    <a:lnTo>
                      <a:pt x="194" y="82"/>
                    </a:lnTo>
                    <a:lnTo>
                      <a:pt x="195" y="86"/>
                    </a:lnTo>
                    <a:lnTo>
                      <a:pt x="198" y="89"/>
                    </a:lnTo>
                    <a:lnTo>
                      <a:pt x="203" y="97"/>
                    </a:lnTo>
                    <a:lnTo>
                      <a:pt x="210" y="104"/>
                    </a:lnTo>
                    <a:lnTo>
                      <a:pt x="215" y="110"/>
                    </a:lnTo>
                    <a:lnTo>
                      <a:pt x="221" y="116"/>
                    </a:lnTo>
                    <a:lnTo>
                      <a:pt x="223" y="119"/>
                    </a:lnTo>
                    <a:lnTo>
                      <a:pt x="224" y="122"/>
                    </a:lnTo>
                    <a:lnTo>
                      <a:pt x="225" y="125"/>
                    </a:lnTo>
                    <a:lnTo>
                      <a:pt x="226" y="129"/>
                    </a:lnTo>
                    <a:lnTo>
                      <a:pt x="225" y="133"/>
                    </a:lnTo>
                    <a:lnTo>
                      <a:pt x="225" y="137"/>
                    </a:lnTo>
                    <a:lnTo>
                      <a:pt x="223" y="140"/>
                    </a:lnTo>
                    <a:lnTo>
                      <a:pt x="222" y="143"/>
                    </a:lnTo>
                    <a:lnTo>
                      <a:pt x="217" y="148"/>
                    </a:lnTo>
                    <a:lnTo>
                      <a:pt x="213" y="152"/>
                    </a:lnTo>
                    <a:lnTo>
                      <a:pt x="207" y="154"/>
                    </a:lnTo>
                    <a:lnTo>
                      <a:pt x="203" y="156"/>
                    </a:lnTo>
                    <a:lnTo>
                      <a:pt x="201" y="158"/>
                    </a:lnTo>
                    <a:lnTo>
                      <a:pt x="200" y="160"/>
                    </a:lnTo>
                    <a:lnTo>
                      <a:pt x="193" y="161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5" y="170"/>
                    </a:lnTo>
                    <a:lnTo>
                      <a:pt x="168" y="174"/>
                    </a:lnTo>
                    <a:lnTo>
                      <a:pt x="164" y="178"/>
                    </a:lnTo>
                    <a:lnTo>
                      <a:pt x="160" y="181"/>
                    </a:lnTo>
                    <a:lnTo>
                      <a:pt x="159" y="184"/>
                    </a:lnTo>
                    <a:lnTo>
                      <a:pt x="160" y="191"/>
                    </a:lnTo>
                    <a:lnTo>
                      <a:pt x="164" y="197"/>
                    </a:lnTo>
                    <a:lnTo>
                      <a:pt x="168" y="203"/>
                    </a:lnTo>
                    <a:lnTo>
                      <a:pt x="173" y="207"/>
                    </a:lnTo>
                    <a:lnTo>
                      <a:pt x="179" y="211"/>
                    </a:lnTo>
                    <a:lnTo>
                      <a:pt x="184" y="213"/>
                    </a:lnTo>
                    <a:lnTo>
                      <a:pt x="189" y="215"/>
                    </a:lnTo>
                    <a:lnTo>
                      <a:pt x="192" y="215"/>
                    </a:lnTo>
                    <a:lnTo>
                      <a:pt x="204" y="221"/>
                    </a:lnTo>
                    <a:lnTo>
                      <a:pt x="214" y="227"/>
                    </a:lnTo>
                    <a:lnTo>
                      <a:pt x="223" y="234"/>
                    </a:lnTo>
                    <a:lnTo>
                      <a:pt x="231" y="241"/>
                    </a:lnTo>
                    <a:lnTo>
                      <a:pt x="245" y="259"/>
                    </a:lnTo>
                    <a:lnTo>
                      <a:pt x="259" y="277"/>
                    </a:lnTo>
                    <a:lnTo>
                      <a:pt x="266" y="283"/>
                    </a:lnTo>
                    <a:lnTo>
                      <a:pt x="251" y="285"/>
                    </a:lnTo>
                    <a:lnTo>
                      <a:pt x="239" y="286"/>
                    </a:lnTo>
                    <a:lnTo>
                      <a:pt x="228" y="288"/>
                    </a:lnTo>
                    <a:lnTo>
                      <a:pt x="220" y="291"/>
                    </a:lnTo>
                    <a:lnTo>
                      <a:pt x="215" y="293"/>
                    </a:lnTo>
                    <a:lnTo>
                      <a:pt x="211" y="295"/>
                    </a:lnTo>
                    <a:lnTo>
                      <a:pt x="207" y="298"/>
                    </a:lnTo>
                    <a:lnTo>
                      <a:pt x="204" y="302"/>
                    </a:lnTo>
                    <a:lnTo>
                      <a:pt x="201" y="306"/>
                    </a:lnTo>
                    <a:lnTo>
                      <a:pt x="198" y="312"/>
                    </a:lnTo>
                    <a:lnTo>
                      <a:pt x="195" y="319"/>
                    </a:lnTo>
                    <a:lnTo>
                      <a:pt x="192" y="326"/>
                    </a:lnTo>
                    <a:lnTo>
                      <a:pt x="189" y="326"/>
                    </a:lnTo>
                    <a:lnTo>
                      <a:pt x="179" y="325"/>
                    </a:lnTo>
                    <a:lnTo>
                      <a:pt x="175" y="323"/>
                    </a:lnTo>
                    <a:lnTo>
                      <a:pt x="170" y="321"/>
                    </a:lnTo>
                    <a:lnTo>
                      <a:pt x="168" y="320"/>
                    </a:lnTo>
                    <a:lnTo>
                      <a:pt x="167" y="318"/>
                    </a:lnTo>
                    <a:lnTo>
                      <a:pt x="167" y="316"/>
                    </a:lnTo>
                    <a:lnTo>
                      <a:pt x="166" y="314"/>
                    </a:lnTo>
                    <a:lnTo>
                      <a:pt x="159" y="314"/>
                    </a:lnTo>
                    <a:lnTo>
                      <a:pt x="154" y="310"/>
                    </a:lnTo>
                    <a:lnTo>
                      <a:pt x="148" y="308"/>
                    </a:lnTo>
                    <a:lnTo>
                      <a:pt x="144" y="304"/>
                    </a:lnTo>
                    <a:lnTo>
                      <a:pt x="139" y="301"/>
                    </a:lnTo>
                    <a:lnTo>
                      <a:pt x="135" y="298"/>
                    </a:lnTo>
                    <a:lnTo>
                      <a:pt x="131" y="296"/>
                    </a:lnTo>
                    <a:lnTo>
                      <a:pt x="126" y="295"/>
                    </a:lnTo>
                    <a:lnTo>
                      <a:pt x="120" y="295"/>
                    </a:lnTo>
                    <a:lnTo>
                      <a:pt x="109" y="293"/>
                    </a:lnTo>
                    <a:lnTo>
                      <a:pt x="98" y="290"/>
                    </a:lnTo>
                    <a:lnTo>
                      <a:pt x="84" y="287"/>
                    </a:lnTo>
                    <a:lnTo>
                      <a:pt x="72" y="282"/>
                    </a:lnTo>
                    <a:lnTo>
                      <a:pt x="63" y="277"/>
                    </a:lnTo>
                    <a:lnTo>
                      <a:pt x="58" y="274"/>
                    </a:lnTo>
                    <a:lnTo>
                      <a:pt x="56" y="271"/>
                    </a:lnTo>
                    <a:lnTo>
                      <a:pt x="54" y="268"/>
                    </a:lnTo>
                    <a:lnTo>
                      <a:pt x="53" y="265"/>
                    </a:lnTo>
                    <a:lnTo>
                      <a:pt x="54" y="261"/>
                    </a:lnTo>
                    <a:lnTo>
                      <a:pt x="55" y="256"/>
                    </a:lnTo>
                    <a:lnTo>
                      <a:pt x="58" y="252"/>
                    </a:lnTo>
                    <a:lnTo>
                      <a:pt x="61" y="249"/>
                    </a:lnTo>
                    <a:lnTo>
                      <a:pt x="70" y="244"/>
                    </a:lnTo>
                    <a:lnTo>
                      <a:pt x="80" y="240"/>
                    </a:lnTo>
                    <a:lnTo>
                      <a:pt x="68" y="230"/>
                    </a:lnTo>
                    <a:lnTo>
                      <a:pt x="59" y="221"/>
                    </a:lnTo>
                    <a:lnTo>
                      <a:pt x="50" y="211"/>
                    </a:lnTo>
                    <a:lnTo>
                      <a:pt x="43" y="203"/>
                    </a:lnTo>
                    <a:lnTo>
                      <a:pt x="34" y="194"/>
                    </a:lnTo>
                    <a:lnTo>
                      <a:pt x="24" y="187"/>
                    </a:lnTo>
                    <a:lnTo>
                      <a:pt x="20" y="184"/>
                    </a:lnTo>
                    <a:lnTo>
                      <a:pt x="13" y="182"/>
                    </a:lnTo>
                    <a:lnTo>
                      <a:pt x="7" y="180"/>
                    </a:lnTo>
                    <a:lnTo>
                      <a:pt x="0" y="178"/>
                    </a:lnTo>
                    <a:lnTo>
                      <a:pt x="4" y="171"/>
                    </a:lnTo>
                    <a:lnTo>
                      <a:pt x="9" y="164"/>
                    </a:lnTo>
                    <a:lnTo>
                      <a:pt x="13" y="158"/>
                    </a:lnTo>
                    <a:lnTo>
                      <a:pt x="19" y="152"/>
                    </a:lnTo>
                    <a:lnTo>
                      <a:pt x="31" y="141"/>
                    </a:lnTo>
                    <a:lnTo>
                      <a:pt x="43" y="133"/>
                    </a:lnTo>
                    <a:lnTo>
                      <a:pt x="54" y="124"/>
                    </a:lnTo>
                    <a:lnTo>
                      <a:pt x="65" y="115"/>
                    </a:lnTo>
                    <a:lnTo>
                      <a:pt x="69" y="110"/>
                    </a:lnTo>
                    <a:lnTo>
                      <a:pt x="73" y="105"/>
                    </a:lnTo>
                    <a:lnTo>
                      <a:pt x="77" y="99"/>
                    </a:lnTo>
                    <a:lnTo>
                      <a:pt x="80" y="92"/>
                    </a:lnTo>
                    <a:lnTo>
                      <a:pt x="88" y="92"/>
                    </a:lnTo>
                    <a:lnTo>
                      <a:pt x="95" y="90"/>
                    </a:lnTo>
                    <a:lnTo>
                      <a:pt x="103" y="89"/>
                    </a:lnTo>
                    <a:lnTo>
                      <a:pt x="110" y="88"/>
                    </a:lnTo>
                    <a:lnTo>
                      <a:pt x="123" y="83"/>
                    </a:lnTo>
                    <a:lnTo>
                      <a:pt x="134" y="77"/>
                    </a:lnTo>
                    <a:lnTo>
                      <a:pt x="144" y="70"/>
                    </a:lnTo>
                    <a:lnTo>
                      <a:pt x="153" y="63"/>
                    </a:lnTo>
                    <a:lnTo>
                      <a:pt x="160" y="55"/>
                    </a:lnTo>
                    <a:lnTo>
                      <a:pt x="168" y="46"/>
                    </a:lnTo>
                    <a:lnTo>
                      <a:pt x="176" y="38"/>
                    </a:lnTo>
                    <a:lnTo>
                      <a:pt x="182" y="28"/>
                    </a:lnTo>
                    <a:lnTo>
                      <a:pt x="191" y="21"/>
                    </a:lnTo>
                    <a:lnTo>
                      <a:pt x="199" y="14"/>
                    </a:lnTo>
                    <a:lnTo>
                      <a:pt x="209" y="8"/>
                    </a:lnTo>
                    <a:lnTo>
                      <a:pt x="220" y="4"/>
                    </a:lnTo>
                    <a:lnTo>
                      <a:pt x="225" y="2"/>
                    </a:lnTo>
                    <a:lnTo>
                      <a:pt x="232" y="1"/>
                    </a:lnTo>
                    <a:lnTo>
                      <a:pt x="238" y="0"/>
                    </a:lnTo>
                    <a:lnTo>
                      <a:pt x="24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2" name="Freeform 273">
                <a:extLst>
                  <a:ext uri="{FF2B5EF4-FFF2-40B4-BE49-F238E27FC236}">
                    <a16:creationId xmlns:a16="http://schemas.microsoft.com/office/drawing/2014/main" id="{4BCC6462-5788-40C5-946B-3909C4497DCA}"/>
                  </a:ext>
                </a:extLst>
              </p:cNvPr>
              <p:cNvSpPr>
                <a:spLocks/>
              </p:cNvSpPr>
              <p:nvPr>
                <p:custDataLst>
                  <p:tags r:id="rId200"/>
                </p:custDataLst>
              </p:nvPr>
            </p:nvSpPr>
            <p:spPr bwMode="auto">
              <a:xfrm>
                <a:off x="6351620" y="3431219"/>
                <a:ext cx="247947" cy="138880"/>
              </a:xfrm>
              <a:custGeom>
                <a:avLst/>
                <a:gdLst>
                  <a:gd name="T0" fmla="*/ 16510876 w 471"/>
                  <a:gd name="T1" fmla="*/ 0 h 237"/>
                  <a:gd name="T2" fmla="*/ 17662808 w 471"/>
                  <a:gd name="T3" fmla="*/ 1910667 h 237"/>
                  <a:gd name="T4" fmla="*/ 19582840 w 471"/>
                  <a:gd name="T5" fmla="*/ 3548605 h 237"/>
                  <a:gd name="T6" fmla="*/ 23998214 w 471"/>
                  <a:gd name="T7" fmla="*/ 6278502 h 237"/>
                  <a:gd name="T8" fmla="*/ 30525973 w 471"/>
                  <a:gd name="T9" fmla="*/ 10099836 h 237"/>
                  <a:gd name="T10" fmla="*/ 42812954 w 471"/>
                  <a:gd name="T11" fmla="*/ 21018902 h 237"/>
                  <a:gd name="T12" fmla="*/ 48572613 w 471"/>
                  <a:gd name="T13" fmla="*/ 26478174 h 237"/>
                  <a:gd name="T14" fmla="*/ 54332272 w 471"/>
                  <a:gd name="T15" fmla="*/ 30846009 h 237"/>
                  <a:gd name="T16" fmla="*/ 60668116 w 471"/>
                  <a:gd name="T17" fmla="*/ 34667343 h 237"/>
                  <a:gd name="T18" fmla="*/ 68155453 w 471"/>
                  <a:gd name="T19" fmla="*/ 37943219 h 237"/>
                  <a:gd name="T20" fmla="*/ 76602807 w 471"/>
                  <a:gd name="T21" fmla="*/ 39853886 h 237"/>
                  <a:gd name="T22" fmla="*/ 86586362 w 471"/>
                  <a:gd name="T23" fmla="*/ 40399866 h 237"/>
                  <a:gd name="T24" fmla="*/ 86778278 w 471"/>
                  <a:gd name="T25" fmla="*/ 51046203 h 237"/>
                  <a:gd name="T26" fmla="*/ 88122125 w 471"/>
                  <a:gd name="T27" fmla="*/ 57597434 h 237"/>
                  <a:gd name="T28" fmla="*/ 89657888 w 471"/>
                  <a:gd name="T29" fmla="*/ 61964747 h 237"/>
                  <a:gd name="T30" fmla="*/ 89657888 w 471"/>
                  <a:gd name="T31" fmla="*/ 64421916 h 237"/>
                  <a:gd name="T32" fmla="*/ 86586362 w 471"/>
                  <a:gd name="T33" fmla="*/ 64421916 h 237"/>
                  <a:gd name="T34" fmla="*/ 79866687 w 471"/>
                  <a:gd name="T35" fmla="*/ 63056706 h 237"/>
                  <a:gd name="T36" fmla="*/ 69499301 w 471"/>
                  <a:gd name="T37" fmla="*/ 59781352 h 237"/>
                  <a:gd name="T38" fmla="*/ 60475762 w 471"/>
                  <a:gd name="T39" fmla="*/ 56505475 h 237"/>
                  <a:gd name="T40" fmla="*/ 56444220 w 471"/>
                  <a:gd name="T41" fmla="*/ 55413516 h 237"/>
                  <a:gd name="T42" fmla="*/ 55100372 w 471"/>
                  <a:gd name="T43" fmla="*/ 54321557 h 237"/>
                  <a:gd name="T44" fmla="*/ 53180340 w 471"/>
                  <a:gd name="T45" fmla="*/ 51864911 h 237"/>
                  <a:gd name="T46" fmla="*/ 51260746 w 471"/>
                  <a:gd name="T47" fmla="*/ 48589034 h 237"/>
                  <a:gd name="T48" fmla="*/ 48956882 w 471"/>
                  <a:gd name="T49" fmla="*/ 45313680 h 237"/>
                  <a:gd name="T50" fmla="*/ 46076834 w 471"/>
                  <a:gd name="T51" fmla="*/ 43402491 h 237"/>
                  <a:gd name="T52" fmla="*/ 43581054 w 471"/>
                  <a:gd name="T53" fmla="*/ 43402491 h 237"/>
                  <a:gd name="T54" fmla="*/ 39357597 w 471"/>
                  <a:gd name="T55" fmla="*/ 44494450 h 237"/>
                  <a:gd name="T56" fmla="*/ 35133701 w 471"/>
                  <a:gd name="T57" fmla="*/ 45586409 h 237"/>
                  <a:gd name="T58" fmla="*/ 32446006 w 471"/>
                  <a:gd name="T59" fmla="*/ 45859660 h 237"/>
                  <a:gd name="T60" fmla="*/ 30334058 w 471"/>
                  <a:gd name="T61" fmla="*/ 44767701 h 237"/>
                  <a:gd name="T62" fmla="*/ 28414025 w 471"/>
                  <a:gd name="T63" fmla="*/ 42311055 h 237"/>
                  <a:gd name="T64" fmla="*/ 26686347 w 471"/>
                  <a:gd name="T65" fmla="*/ 40399866 h 237"/>
                  <a:gd name="T66" fmla="*/ 23422467 w 471"/>
                  <a:gd name="T67" fmla="*/ 39581158 h 237"/>
                  <a:gd name="T68" fmla="*/ 17662808 w 471"/>
                  <a:gd name="T69" fmla="*/ 36851260 h 237"/>
                  <a:gd name="T70" fmla="*/ 9215454 w 471"/>
                  <a:gd name="T71" fmla="*/ 31937968 h 237"/>
                  <a:gd name="T72" fmla="*/ 2303864 w 471"/>
                  <a:gd name="T73" fmla="*/ 26205445 h 237"/>
                  <a:gd name="T74" fmla="*/ 1343847 w 471"/>
                  <a:gd name="T75" fmla="*/ 0 h 23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71" h="237">
                    <a:moveTo>
                      <a:pt x="7" y="0"/>
                    </a:moveTo>
                    <a:lnTo>
                      <a:pt x="86" y="0"/>
                    </a:lnTo>
                    <a:lnTo>
                      <a:pt x="89" y="4"/>
                    </a:lnTo>
                    <a:lnTo>
                      <a:pt x="92" y="7"/>
                    </a:lnTo>
                    <a:lnTo>
                      <a:pt x="97" y="10"/>
                    </a:lnTo>
                    <a:lnTo>
                      <a:pt x="102" y="13"/>
                    </a:lnTo>
                    <a:lnTo>
                      <a:pt x="113" y="18"/>
                    </a:lnTo>
                    <a:lnTo>
                      <a:pt x="125" y="23"/>
                    </a:lnTo>
                    <a:lnTo>
                      <a:pt x="147" y="32"/>
                    </a:lnTo>
                    <a:lnTo>
                      <a:pt x="159" y="37"/>
                    </a:lnTo>
                    <a:lnTo>
                      <a:pt x="192" y="58"/>
                    </a:lnTo>
                    <a:lnTo>
                      <a:pt x="223" y="77"/>
                    </a:lnTo>
                    <a:lnTo>
                      <a:pt x="237" y="88"/>
                    </a:lnTo>
                    <a:lnTo>
                      <a:pt x="253" y="97"/>
                    </a:lnTo>
                    <a:lnTo>
                      <a:pt x="267" y="105"/>
                    </a:lnTo>
                    <a:lnTo>
                      <a:pt x="283" y="113"/>
                    </a:lnTo>
                    <a:lnTo>
                      <a:pt x="299" y="121"/>
                    </a:lnTo>
                    <a:lnTo>
                      <a:pt x="316" y="127"/>
                    </a:lnTo>
                    <a:lnTo>
                      <a:pt x="335" y="133"/>
                    </a:lnTo>
                    <a:lnTo>
                      <a:pt x="355" y="139"/>
                    </a:lnTo>
                    <a:lnTo>
                      <a:pt x="376" y="143"/>
                    </a:lnTo>
                    <a:lnTo>
                      <a:pt x="399" y="146"/>
                    </a:lnTo>
                    <a:lnTo>
                      <a:pt x="424" y="148"/>
                    </a:lnTo>
                    <a:lnTo>
                      <a:pt x="451" y="148"/>
                    </a:lnTo>
                    <a:lnTo>
                      <a:pt x="451" y="179"/>
                    </a:lnTo>
                    <a:lnTo>
                      <a:pt x="452" y="187"/>
                    </a:lnTo>
                    <a:lnTo>
                      <a:pt x="457" y="202"/>
                    </a:lnTo>
                    <a:lnTo>
                      <a:pt x="459" y="211"/>
                    </a:lnTo>
                    <a:lnTo>
                      <a:pt x="462" y="219"/>
                    </a:lnTo>
                    <a:lnTo>
                      <a:pt x="467" y="227"/>
                    </a:lnTo>
                    <a:lnTo>
                      <a:pt x="471" y="234"/>
                    </a:lnTo>
                    <a:lnTo>
                      <a:pt x="467" y="236"/>
                    </a:lnTo>
                    <a:lnTo>
                      <a:pt x="459" y="237"/>
                    </a:lnTo>
                    <a:lnTo>
                      <a:pt x="451" y="236"/>
                    </a:lnTo>
                    <a:lnTo>
                      <a:pt x="440" y="235"/>
                    </a:lnTo>
                    <a:lnTo>
                      <a:pt x="416" y="231"/>
                    </a:lnTo>
                    <a:lnTo>
                      <a:pt x="390" y="226"/>
                    </a:lnTo>
                    <a:lnTo>
                      <a:pt x="362" y="219"/>
                    </a:lnTo>
                    <a:lnTo>
                      <a:pt x="337" y="213"/>
                    </a:lnTo>
                    <a:lnTo>
                      <a:pt x="315" y="207"/>
                    </a:lnTo>
                    <a:lnTo>
                      <a:pt x="299" y="204"/>
                    </a:lnTo>
                    <a:lnTo>
                      <a:pt x="294" y="203"/>
                    </a:lnTo>
                    <a:lnTo>
                      <a:pt x="290" y="201"/>
                    </a:lnTo>
                    <a:lnTo>
                      <a:pt x="287" y="199"/>
                    </a:lnTo>
                    <a:lnTo>
                      <a:pt x="283" y="196"/>
                    </a:lnTo>
                    <a:lnTo>
                      <a:pt x="277" y="190"/>
                    </a:lnTo>
                    <a:lnTo>
                      <a:pt x="272" y="184"/>
                    </a:lnTo>
                    <a:lnTo>
                      <a:pt x="267" y="178"/>
                    </a:lnTo>
                    <a:lnTo>
                      <a:pt x="261" y="171"/>
                    </a:lnTo>
                    <a:lnTo>
                      <a:pt x="255" y="166"/>
                    </a:lnTo>
                    <a:lnTo>
                      <a:pt x="246" y="160"/>
                    </a:lnTo>
                    <a:lnTo>
                      <a:pt x="240" y="159"/>
                    </a:lnTo>
                    <a:lnTo>
                      <a:pt x="234" y="158"/>
                    </a:lnTo>
                    <a:lnTo>
                      <a:pt x="227" y="159"/>
                    </a:lnTo>
                    <a:lnTo>
                      <a:pt x="221" y="159"/>
                    </a:lnTo>
                    <a:lnTo>
                      <a:pt x="205" y="163"/>
                    </a:lnTo>
                    <a:lnTo>
                      <a:pt x="191" y="166"/>
                    </a:lnTo>
                    <a:lnTo>
                      <a:pt x="183" y="167"/>
                    </a:lnTo>
                    <a:lnTo>
                      <a:pt x="176" y="168"/>
                    </a:lnTo>
                    <a:lnTo>
                      <a:pt x="169" y="168"/>
                    </a:lnTo>
                    <a:lnTo>
                      <a:pt x="164" y="166"/>
                    </a:lnTo>
                    <a:lnTo>
                      <a:pt x="158" y="164"/>
                    </a:lnTo>
                    <a:lnTo>
                      <a:pt x="153" y="161"/>
                    </a:lnTo>
                    <a:lnTo>
                      <a:pt x="148" y="155"/>
                    </a:lnTo>
                    <a:lnTo>
                      <a:pt x="146" y="148"/>
                    </a:lnTo>
                    <a:lnTo>
                      <a:pt x="139" y="148"/>
                    </a:lnTo>
                    <a:lnTo>
                      <a:pt x="131" y="147"/>
                    </a:lnTo>
                    <a:lnTo>
                      <a:pt x="122" y="145"/>
                    </a:lnTo>
                    <a:lnTo>
                      <a:pt x="113" y="142"/>
                    </a:lnTo>
                    <a:lnTo>
                      <a:pt x="92" y="135"/>
                    </a:lnTo>
                    <a:lnTo>
                      <a:pt x="70" y="126"/>
                    </a:lnTo>
                    <a:lnTo>
                      <a:pt x="48" y="117"/>
                    </a:lnTo>
                    <a:lnTo>
                      <a:pt x="29" y="107"/>
                    </a:lnTo>
                    <a:lnTo>
                      <a:pt x="12" y="96"/>
                    </a:lnTo>
                    <a:lnTo>
                      <a:pt x="0" y="87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3" name="Freeform 274">
                <a:extLst>
                  <a:ext uri="{FF2B5EF4-FFF2-40B4-BE49-F238E27FC236}">
                    <a16:creationId xmlns:a16="http://schemas.microsoft.com/office/drawing/2014/main" id="{7DAE1F51-E53F-43AF-9BB8-F9E5035E7EB1}"/>
                  </a:ext>
                </a:extLst>
              </p:cNvPr>
              <p:cNvSpPr>
                <a:spLocks/>
              </p:cNvSpPr>
              <p:nvPr>
                <p:custDataLst>
                  <p:tags r:id="rId201"/>
                </p:custDataLst>
              </p:nvPr>
            </p:nvSpPr>
            <p:spPr bwMode="auto">
              <a:xfrm>
                <a:off x="6610425" y="3492749"/>
                <a:ext cx="88681" cy="73835"/>
              </a:xfrm>
              <a:custGeom>
                <a:avLst/>
                <a:gdLst>
                  <a:gd name="T0" fmla="*/ 31932040 w 167"/>
                  <a:gd name="T1" fmla="*/ 12040566 h 123"/>
                  <a:gd name="T2" fmla="*/ 31358334 w 167"/>
                  <a:gd name="T3" fmla="*/ 15120821 h 123"/>
                  <a:gd name="T4" fmla="*/ 30784629 w 167"/>
                  <a:gd name="T5" fmla="*/ 18481004 h 123"/>
                  <a:gd name="T6" fmla="*/ 29637655 w 167"/>
                  <a:gd name="T7" fmla="*/ 22121113 h 123"/>
                  <a:gd name="T8" fmla="*/ 28681334 w 167"/>
                  <a:gd name="T9" fmla="*/ 26041150 h 123"/>
                  <a:gd name="T10" fmla="*/ 27916539 w 167"/>
                  <a:gd name="T11" fmla="*/ 27721241 h 123"/>
                  <a:gd name="T12" fmla="*/ 27151744 w 167"/>
                  <a:gd name="T13" fmla="*/ 29401332 h 123"/>
                  <a:gd name="T14" fmla="*/ 26386950 w 167"/>
                  <a:gd name="T15" fmla="*/ 30801497 h 123"/>
                  <a:gd name="T16" fmla="*/ 25239539 w 167"/>
                  <a:gd name="T17" fmla="*/ 31921734 h 123"/>
                  <a:gd name="T18" fmla="*/ 24283655 w 167"/>
                  <a:gd name="T19" fmla="*/ 33041442 h 123"/>
                  <a:gd name="T20" fmla="*/ 23136244 w 167"/>
                  <a:gd name="T21" fmla="*/ 33881752 h 123"/>
                  <a:gd name="T22" fmla="*/ 21989271 w 167"/>
                  <a:gd name="T23" fmla="*/ 34161679 h 123"/>
                  <a:gd name="T24" fmla="*/ 20459244 w 167"/>
                  <a:gd name="T25" fmla="*/ 34441606 h 123"/>
                  <a:gd name="T26" fmla="*/ 19121181 w 167"/>
                  <a:gd name="T27" fmla="*/ 34161679 h 123"/>
                  <a:gd name="T28" fmla="*/ 17591154 w 167"/>
                  <a:gd name="T29" fmla="*/ 33321369 h 123"/>
                  <a:gd name="T30" fmla="*/ 16635270 w 167"/>
                  <a:gd name="T31" fmla="*/ 32481588 h 123"/>
                  <a:gd name="T32" fmla="*/ 16061565 w 167"/>
                  <a:gd name="T33" fmla="*/ 31641278 h 123"/>
                  <a:gd name="T34" fmla="*/ 15679386 w 167"/>
                  <a:gd name="T35" fmla="*/ 30521570 h 123"/>
                  <a:gd name="T36" fmla="*/ 15487859 w 167"/>
                  <a:gd name="T37" fmla="*/ 29401332 h 123"/>
                  <a:gd name="T38" fmla="*/ 13576091 w 167"/>
                  <a:gd name="T39" fmla="*/ 29121405 h 123"/>
                  <a:gd name="T40" fmla="*/ 11663885 w 167"/>
                  <a:gd name="T41" fmla="*/ 28841478 h 123"/>
                  <a:gd name="T42" fmla="*/ 9751680 w 167"/>
                  <a:gd name="T43" fmla="*/ 28281095 h 123"/>
                  <a:gd name="T44" fmla="*/ 7839474 w 167"/>
                  <a:gd name="T45" fmla="*/ 27441314 h 123"/>
                  <a:gd name="T46" fmla="*/ 4015500 w 167"/>
                  <a:gd name="T47" fmla="*/ 25761223 h 123"/>
                  <a:gd name="T48" fmla="*/ 0 w 167"/>
                  <a:gd name="T49" fmla="*/ 24081132 h 123"/>
                  <a:gd name="T50" fmla="*/ 382616 w 167"/>
                  <a:gd name="T51" fmla="*/ 21561259 h 123"/>
                  <a:gd name="T52" fmla="*/ 955884 w 167"/>
                  <a:gd name="T53" fmla="*/ 18760931 h 123"/>
                  <a:gd name="T54" fmla="*/ 1720679 w 167"/>
                  <a:gd name="T55" fmla="*/ 15680675 h 123"/>
                  <a:gd name="T56" fmla="*/ 2868090 w 167"/>
                  <a:gd name="T57" fmla="*/ 12040566 h 123"/>
                  <a:gd name="T58" fmla="*/ 3824411 w 167"/>
                  <a:gd name="T59" fmla="*/ 12040566 h 123"/>
                  <a:gd name="T60" fmla="*/ 4971385 w 167"/>
                  <a:gd name="T61" fmla="*/ 11760639 h 123"/>
                  <a:gd name="T62" fmla="*/ 5736179 w 167"/>
                  <a:gd name="T63" fmla="*/ 11480712 h 123"/>
                  <a:gd name="T64" fmla="*/ 6309885 w 167"/>
                  <a:gd name="T65" fmla="*/ 10640402 h 123"/>
                  <a:gd name="T66" fmla="*/ 7648385 w 167"/>
                  <a:gd name="T67" fmla="*/ 9240237 h 123"/>
                  <a:gd name="T68" fmla="*/ 8604269 w 167"/>
                  <a:gd name="T69" fmla="*/ 7280219 h 123"/>
                  <a:gd name="T70" fmla="*/ 9942769 w 167"/>
                  <a:gd name="T71" fmla="*/ 3360183 h 123"/>
                  <a:gd name="T72" fmla="*/ 11663885 w 167"/>
                  <a:gd name="T73" fmla="*/ 0 h 123"/>
                  <a:gd name="T74" fmla="*/ 12237591 w 167"/>
                  <a:gd name="T75" fmla="*/ 1120237 h 123"/>
                  <a:gd name="T76" fmla="*/ 12810859 w 167"/>
                  <a:gd name="T77" fmla="*/ 1960018 h 123"/>
                  <a:gd name="T78" fmla="*/ 13958270 w 167"/>
                  <a:gd name="T79" fmla="*/ 3080256 h 123"/>
                  <a:gd name="T80" fmla="*/ 14914154 w 167"/>
                  <a:gd name="T81" fmla="*/ 3920037 h 123"/>
                  <a:gd name="T82" fmla="*/ 17591154 w 167"/>
                  <a:gd name="T83" fmla="*/ 5880055 h 123"/>
                  <a:gd name="T84" fmla="*/ 20459244 w 167"/>
                  <a:gd name="T85" fmla="*/ 7840602 h 123"/>
                  <a:gd name="T86" fmla="*/ 23327771 w 167"/>
                  <a:gd name="T87" fmla="*/ 9800621 h 123"/>
                  <a:gd name="T88" fmla="*/ 26578039 w 167"/>
                  <a:gd name="T89" fmla="*/ 10920329 h 123"/>
                  <a:gd name="T90" fmla="*/ 29255039 w 167"/>
                  <a:gd name="T91" fmla="*/ 11760639 h 123"/>
                  <a:gd name="T92" fmla="*/ 31932040 w 167"/>
                  <a:gd name="T93" fmla="*/ 12040566 h 123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67" h="123">
                    <a:moveTo>
                      <a:pt x="167" y="43"/>
                    </a:moveTo>
                    <a:lnTo>
                      <a:pt x="164" y="54"/>
                    </a:lnTo>
                    <a:lnTo>
                      <a:pt x="161" y="66"/>
                    </a:lnTo>
                    <a:lnTo>
                      <a:pt x="155" y="79"/>
                    </a:lnTo>
                    <a:lnTo>
                      <a:pt x="150" y="93"/>
                    </a:lnTo>
                    <a:lnTo>
                      <a:pt x="146" y="99"/>
                    </a:lnTo>
                    <a:lnTo>
                      <a:pt x="142" y="105"/>
                    </a:lnTo>
                    <a:lnTo>
                      <a:pt x="138" y="110"/>
                    </a:lnTo>
                    <a:lnTo>
                      <a:pt x="132" y="114"/>
                    </a:lnTo>
                    <a:lnTo>
                      <a:pt x="127" y="118"/>
                    </a:lnTo>
                    <a:lnTo>
                      <a:pt x="121" y="121"/>
                    </a:lnTo>
                    <a:lnTo>
                      <a:pt x="115" y="122"/>
                    </a:lnTo>
                    <a:lnTo>
                      <a:pt x="107" y="123"/>
                    </a:lnTo>
                    <a:lnTo>
                      <a:pt x="100" y="122"/>
                    </a:lnTo>
                    <a:lnTo>
                      <a:pt x="92" y="119"/>
                    </a:lnTo>
                    <a:lnTo>
                      <a:pt x="87" y="116"/>
                    </a:lnTo>
                    <a:lnTo>
                      <a:pt x="84" y="113"/>
                    </a:lnTo>
                    <a:lnTo>
                      <a:pt x="82" y="109"/>
                    </a:lnTo>
                    <a:lnTo>
                      <a:pt x="81" y="105"/>
                    </a:lnTo>
                    <a:lnTo>
                      <a:pt x="71" y="104"/>
                    </a:lnTo>
                    <a:lnTo>
                      <a:pt x="61" y="103"/>
                    </a:lnTo>
                    <a:lnTo>
                      <a:pt x="51" y="101"/>
                    </a:lnTo>
                    <a:lnTo>
                      <a:pt x="41" y="98"/>
                    </a:lnTo>
                    <a:lnTo>
                      <a:pt x="21" y="92"/>
                    </a:lnTo>
                    <a:lnTo>
                      <a:pt x="0" y="86"/>
                    </a:lnTo>
                    <a:lnTo>
                      <a:pt x="2" y="77"/>
                    </a:lnTo>
                    <a:lnTo>
                      <a:pt x="5" y="67"/>
                    </a:lnTo>
                    <a:lnTo>
                      <a:pt x="9" y="56"/>
                    </a:lnTo>
                    <a:lnTo>
                      <a:pt x="15" y="43"/>
                    </a:lnTo>
                    <a:lnTo>
                      <a:pt x="20" y="43"/>
                    </a:lnTo>
                    <a:lnTo>
                      <a:pt x="26" y="42"/>
                    </a:lnTo>
                    <a:lnTo>
                      <a:pt x="30" y="41"/>
                    </a:lnTo>
                    <a:lnTo>
                      <a:pt x="33" y="38"/>
                    </a:lnTo>
                    <a:lnTo>
                      <a:pt x="40" y="33"/>
                    </a:lnTo>
                    <a:lnTo>
                      <a:pt x="45" y="26"/>
                    </a:lnTo>
                    <a:lnTo>
                      <a:pt x="52" y="12"/>
                    </a:lnTo>
                    <a:lnTo>
                      <a:pt x="61" y="0"/>
                    </a:lnTo>
                    <a:lnTo>
                      <a:pt x="64" y="4"/>
                    </a:lnTo>
                    <a:lnTo>
                      <a:pt x="67" y="7"/>
                    </a:lnTo>
                    <a:lnTo>
                      <a:pt x="73" y="11"/>
                    </a:lnTo>
                    <a:lnTo>
                      <a:pt x="78" y="14"/>
                    </a:lnTo>
                    <a:lnTo>
                      <a:pt x="92" y="21"/>
                    </a:lnTo>
                    <a:lnTo>
                      <a:pt x="107" y="28"/>
                    </a:lnTo>
                    <a:lnTo>
                      <a:pt x="122" y="35"/>
                    </a:lnTo>
                    <a:lnTo>
                      <a:pt x="139" y="39"/>
                    </a:lnTo>
                    <a:lnTo>
                      <a:pt x="153" y="42"/>
                    </a:lnTo>
                    <a:lnTo>
                      <a:pt x="167" y="43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4" name="Freeform 275">
                <a:extLst>
                  <a:ext uri="{FF2B5EF4-FFF2-40B4-BE49-F238E27FC236}">
                    <a16:creationId xmlns:a16="http://schemas.microsoft.com/office/drawing/2014/main" id="{009C644F-7BF9-47C2-A95E-C8DDE123CFD4}"/>
                  </a:ext>
                </a:extLst>
              </p:cNvPr>
              <p:cNvSpPr>
                <a:spLocks/>
              </p:cNvSpPr>
              <p:nvPr>
                <p:custDataLst>
                  <p:tags r:id="rId202"/>
                </p:custDataLst>
              </p:nvPr>
            </p:nvSpPr>
            <p:spPr bwMode="auto">
              <a:xfrm>
                <a:off x="6599566" y="3573615"/>
                <a:ext cx="161074" cy="186345"/>
              </a:xfrm>
              <a:custGeom>
                <a:avLst/>
                <a:gdLst>
                  <a:gd name="T0" fmla="*/ 49186104 w 306"/>
                  <a:gd name="T1" fmla="*/ 43143632 h 321"/>
                  <a:gd name="T2" fmla="*/ 47856962 w 306"/>
                  <a:gd name="T3" fmla="*/ 46649273 h 321"/>
                  <a:gd name="T4" fmla="*/ 46147816 w 306"/>
                  <a:gd name="T5" fmla="*/ 49075855 h 321"/>
                  <a:gd name="T6" fmla="*/ 44248668 w 306"/>
                  <a:gd name="T7" fmla="*/ 50154913 h 321"/>
                  <a:gd name="T8" fmla="*/ 42349520 w 306"/>
                  <a:gd name="T9" fmla="*/ 49615384 h 321"/>
                  <a:gd name="T10" fmla="*/ 40640374 w 306"/>
                  <a:gd name="T11" fmla="*/ 47997316 h 321"/>
                  <a:gd name="T12" fmla="*/ 39690800 w 306"/>
                  <a:gd name="T13" fmla="*/ 45570734 h 321"/>
                  <a:gd name="T14" fmla="*/ 39121229 w 306"/>
                  <a:gd name="T15" fmla="*/ 43143632 h 321"/>
                  <a:gd name="T16" fmla="*/ 39690800 w 306"/>
                  <a:gd name="T17" fmla="*/ 39908015 h 321"/>
                  <a:gd name="T18" fmla="*/ 40450372 w 306"/>
                  <a:gd name="T19" fmla="*/ 36672399 h 321"/>
                  <a:gd name="T20" fmla="*/ 43678662 w 306"/>
                  <a:gd name="T21" fmla="*/ 30740175 h 321"/>
                  <a:gd name="T22" fmla="*/ 46717386 w 306"/>
                  <a:gd name="T23" fmla="*/ 25077457 h 321"/>
                  <a:gd name="T24" fmla="*/ 47476958 w 306"/>
                  <a:gd name="T25" fmla="*/ 22111345 h 321"/>
                  <a:gd name="T26" fmla="*/ 48046528 w 306"/>
                  <a:gd name="T27" fmla="*/ 18605704 h 321"/>
                  <a:gd name="T28" fmla="*/ 24498051 w 306"/>
                  <a:gd name="T29" fmla="*/ 18336199 h 321"/>
                  <a:gd name="T30" fmla="*/ 22598903 w 306"/>
                  <a:gd name="T31" fmla="*/ 15909097 h 321"/>
                  <a:gd name="T32" fmla="*/ 21269761 w 306"/>
                  <a:gd name="T33" fmla="*/ 12133952 h 321"/>
                  <a:gd name="T34" fmla="*/ 20510189 w 306"/>
                  <a:gd name="T35" fmla="*/ 7550291 h 321"/>
                  <a:gd name="T36" fmla="*/ 19180611 w 306"/>
                  <a:gd name="T37" fmla="*/ 5123189 h 321"/>
                  <a:gd name="T38" fmla="*/ 17091897 w 306"/>
                  <a:gd name="T39" fmla="*/ 4584180 h 321"/>
                  <a:gd name="T40" fmla="*/ 15192749 w 306"/>
                  <a:gd name="T41" fmla="*/ 3235617 h 321"/>
                  <a:gd name="T42" fmla="*/ 14243175 w 306"/>
                  <a:gd name="T43" fmla="*/ 1078539 h 321"/>
                  <a:gd name="T44" fmla="*/ 12344026 w 306"/>
                  <a:gd name="T45" fmla="*/ 0 h 321"/>
                  <a:gd name="T46" fmla="*/ 9305302 w 306"/>
                  <a:gd name="T47" fmla="*/ 0 h 321"/>
                  <a:gd name="T48" fmla="*/ 6457016 w 306"/>
                  <a:gd name="T49" fmla="*/ 269505 h 321"/>
                  <a:gd name="T50" fmla="*/ 4177864 w 306"/>
                  <a:gd name="T51" fmla="*/ 1348044 h 321"/>
                  <a:gd name="T52" fmla="*/ 1899148 w 306"/>
                  <a:gd name="T53" fmla="*/ 3775146 h 321"/>
                  <a:gd name="T54" fmla="*/ 190002 w 306"/>
                  <a:gd name="T55" fmla="*/ 6741257 h 321"/>
                  <a:gd name="T56" fmla="*/ 380004 w 306"/>
                  <a:gd name="T57" fmla="*/ 9437864 h 321"/>
                  <a:gd name="T58" fmla="*/ 2848722 w 306"/>
                  <a:gd name="T59" fmla="*/ 12403976 h 321"/>
                  <a:gd name="T60" fmla="*/ 6646582 w 306"/>
                  <a:gd name="T61" fmla="*/ 15639592 h 321"/>
                  <a:gd name="T62" fmla="*/ 10254876 w 306"/>
                  <a:gd name="T63" fmla="*/ 18066694 h 321"/>
                  <a:gd name="T64" fmla="*/ 8925734 w 306"/>
                  <a:gd name="T65" fmla="*/ 21302311 h 321"/>
                  <a:gd name="T66" fmla="*/ 4747870 w 306"/>
                  <a:gd name="T67" fmla="*/ 26155996 h 321"/>
                  <a:gd name="T68" fmla="*/ 3228290 w 306"/>
                  <a:gd name="T69" fmla="*/ 28852602 h 321"/>
                  <a:gd name="T70" fmla="*/ 2658720 w 306"/>
                  <a:gd name="T71" fmla="*/ 30740175 h 321"/>
                  <a:gd name="T72" fmla="*/ 2658720 w 306"/>
                  <a:gd name="T73" fmla="*/ 32897253 h 321"/>
                  <a:gd name="T74" fmla="*/ 3418292 w 306"/>
                  <a:gd name="T75" fmla="*/ 34784826 h 321"/>
                  <a:gd name="T76" fmla="*/ 5317440 w 306"/>
                  <a:gd name="T77" fmla="*/ 38020442 h 321"/>
                  <a:gd name="T78" fmla="*/ 8925734 w 306"/>
                  <a:gd name="T79" fmla="*/ 42065093 h 321"/>
                  <a:gd name="T80" fmla="*/ 12154025 w 306"/>
                  <a:gd name="T81" fmla="*/ 44222171 h 321"/>
                  <a:gd name="T82" fmla="*/ 14243175 w 306"/>
                  <a:gd name="T83" fmla="*/ 44761700 h 321"/>
                  <a:gd name="T84" fmla="*/ 20320187 w 306"/>
                  <a:gd name="T85" fmla="*/ 73074773 h 321"/>
                  <a:gd name="T86" fmla="*/ 20510189 w 306"/>
                  <a:gd name="T87" fmla="*/ 70917695 h 321"/>
                  <a:gd name="T88" fmla="*/ 21269761 w 306"/>
                  <a:gd name="T89" fmla="*/ 69030122 h 321"/>
                  <a:gd name="T90" fmla="*/ 24118483 w 306"/>
                  <a:gd name="T91" fmla="*/ 66333516 h 321"/>
                  <a:gd name="T92" fmla="*/ 28106345 w 306"/>
                  <a:gd name="T93" fmla="*/ 64715967 h 321"/>
                  <a:gd name="T94" fmla="*/ 33043781 w 306"/>
                  <a:gd name="T95" fmla="*/ 63367404 h 321"/>
                  <a:gd name="T96" fmla="*/ 33043781 w 306"/>
                  <a:gd name="T97" fmla="*/ 56626146 h 321"/>
                  <a:gd name="T98" fmla="*/ 34753363 w 306"/>
                  <a:gd name="T99" fmla="*/ 57165676 h 321"/>
                  <a:gd name="T100" fmla="*/ 36652075 w 306"/>
                  <a:gd name="T101" fmla="*/ 57165676 h 321"/>
                  <a:gd name="T102" fmla="*/ 40450372 w 306"/>
                  <a:gd name="T103" fmla="*/ 56626146 h 321"/>
                  <a:gd name="T104" fmla="*/ 44058666 w 306"/>
                  <a:gd name="T105" fmla="*/ 70378166 h 321"/>
                  <a:gd name="T106" fmla="*/ 49186104 w 306"/>
                  <a:gd name="T107" fmla="*/ 86557288 h 321"/>
                  <a:gd name="T108" fmla="*/ 51654822 w 306"/>
                  <a:gd name="T109" fmla="*/ 83860681 h 321"/>
                  <a:gd name="T110" fmla="*/ 53553970 w 306"/>
                  <a:gd name="T111" fmla="*/ 81434098 h 321"/>
                  <a:gd name="T112" fmla="*/ 56022688 w 306"/>
                  <a:gd name="T113" fmla="*/ 75501875 h 321"/>
                  <a:gd name="T114" fmla="*/ 58111838 w 306"/>
                  <a:gd name="T115" fmla="*/ 63367404 h 32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06" h="321">
                    <a:moveTo>
                      <a:pt x="306" y="235"/>
                    </a:moveTo>
                    <a:lnTo>
                      <a:pt x="259" y="160"/>
                    </a:lnTo>
                    <a:lnTo>
                      <a:pt x="257" y="164"/>
                    </a:lnTo>
                    <a:lnTo>
                      <a:pt x="252" y="173"/>
                    </a:lnTo>
                    <a:lnTo>
                      <a:pt x="247" y="178"/>
                    </a:lnTo>
                    <a:lnTo>
                      <a:pt x="243" y="182"/>
                    </a:lnTo>
                    <a:lnTo>
                      <a:pt x="238" y="185"/>
                    </a:lnTo>
                    <a:lnTo>
                      <a:pt x="233" y="186"/>
                    </a:lnTo>
                    <a:lnTo>
                      <a:pt x="227" y="185"/>
                    </a:lnTo>
                    <a:lnTo>
                      <a:pt x="223" y="184"/>
                    </a:lnTo>
                    <a:lnTo>
                      <a:pt x="219" y="181"/>
                    </a:lnTo>
                    <a:lnTo>
                      <a:pt x="214" y="178"/>
                    </a:lnTo>
                    <a:lnTo>
                      <a:pt x="211" y="173"/>
                    </a:lnTo>
                    <a:lnTo>
                      <a:pt x="209" y="169"/>
                    </a:lnTo>
                    <a:lnTo>
                      <a:pt x="206" y="165"/>
                    </a:lnTo>
                    <a:lnTo>
                      <a:pt x="206" y="160"/>
                    </a:lnTo>
                    <a:lnTo>
                      <a:pt x="206" y="154"/>
                    </a:lnTo>
                    <a:lnTo>
                      <a:pt x="209" y="148"/>
                    </a:lnTo>
                    <a:lnTo>
                      <a:pt x="211" y="142"/>
                    </a:lnTo>
                    <a:lnTo>
                      <a:pt x="213" y="136"/>
                    </a:lnTo>
                    <a:lnTo>
                      <a:pt x="221" y="125"/>
                    </a:lnTo>
                    <a:lnTo>
                      <a:pt x="230" y="114"/>
                    </a:lnTo>
                    <a:lnTo>
                      <a:pt x="238" y="104"/>
                    </a:lnTo>
                    <a:lnTo>
                      <a:pt x="246" y="93"/>
                    </a:lnTo>
                    <a:lnTo>
                      <a:pt x="248" y="87"/>
                    </a:lnTo>
                    <a:lnTo>
                      <a:pt x="250" y="82"/>
                    </a:lnTo>
                    <a:lnTo>
                      <a:pt x="253" y="75"/>
                    </a:lnTo>
                    <a:lnTo>
                      <a:pt x="253" y="69"/>
                    </a:lnTo>
                    <a:lnTo>
                      <a:pt x="133" y="69"/>
                    </a:lnTo>
                    <a:lnTo>
                      <a:pt x="129" y="68"/>
                    </a:lnTo>
                    <a:lnTo>
                      <a:pt x="123" y="65"/>
                    </a:lnTo>
                    <a:lnTo>
                      <a:pt x="119" y="59"/>
                    </a:lnTo>
                    <a:lnTo>
                      <a:pt x="115" y="53"/>
                    </a:lnTo>
                    <a:lnTo>
                      <a:pt x="112" y="45"/>
                    </a:lnTo>
                    <a:lnTo>
                      <a:pt x="109" y="37"/>
                    </a:lnTo>
                    <a:lnTo>
                      <a:pt x="108" y="28"/>
                    </a:lnTo>
                    <a:lnTo>
                      <a:pt x="107" y="19"/>
                    </a:lnTo>
                    <a:lnTo>
                      <a:pt x="101" y="19"/>
                    </a:lnTo>
                    <a:lnTo>
                      <a:pt x="96" y="18"/>
                    </a:lnTo>
                    <a:lnTo>
                      <a:pt x="90" y="17"/>
                    </a:lnTo>
                    <a:lnTo>
                      <a:pt x="85" y="15"/>
                    </a:lnTo>
                    <a:lnTo>
                      <a:pt x="80" y="12"/>
                    </a:lnTo>
                    <a:lnTo>
                      <a:pt x="77" y="9"/>
                    </a:lnTo>
                    <a:lnTo>
                      <a:pt x="75" y="4"/>
                    </a:lnTo>
                    <a:lnTo>
                      <a:pt x="74" y="0"/>
                    </a:lnTo>
                    <a:lnTo>
                      <a:pt x="65" y="0"/>
                    </a:lnTo>
                    <a:lnTo>
                      <a:pt x="57" y="0"/>
                    </a:lnTo>
                    <a:lnTo>
                      <a:pt x="49" y="0"/>
                    </a:lnTo>
                    <a:lnTo>
                      <a:pt x="41" y="0"/>
                    </a:lnTo>
                    <a:lnTo>
                      <a:pt x="34" y="1"/>
                    </a:lnTo>
                    <a:lnTo>
                      <a:pt x="29" y="2"/>
                    </a:lnTo>
                    <a:lnTo>
                      <a:pt x="22" y="5"/>
                    </a:lnTo>
                    <a:lnTo>
                      <a:pt x="15" y="9"/>
                    </a:lnTo>
                    <a:lnTo>
                      <a:pt x="10" y="14"/>
                    </a:lnTo>
                    <a:lnTo>
                      <a:pt x="4" y="19"/>
                    </a:lnTo>
                    <a:lnTo>
                      <a:pt x="1" y="25"/>
                    </a:lnTo>
                    <a:lnTo>
                      <a:pt x="0" y="31"/>
                    </a:lnTo>
                    <a:lnTo>
                      <a:pt x="2" y="35"/>
                    </a:lnTo>
                    <a:lnTo>
                      <a:pt x="8" y="40"/>
                    </a:lnTo>
                    <a:lnTo>
                      <a:pt x="15" y="46"/>
                    </a:lnTo>
                    <a:lnTo>
                      <a:pt x="25" y="52"/>
                    </a:lnTo>
                    <a:lnTo>
                      <a:pt x="35" y="58"/>
                    </a:lnTo>
                    <a:lnTo>
                      <a:pt x="45" y="63"/>
                    </a:lnTo>
                    <a:lnTo>
                      <a:pt x="54" y="67"/>
                    </a:lnTo>
                    <a:lnTo>
                      <a:pt x="60" y="69"/>
                    </a:lnTo>
                    <a:lnTo>
                      <a:pt x="47" y="79"/>
                    </a:lnTo>
                    <a:lnTo>
                      <a:pt x="32" y="91"/>
                    </a:lnTo>
                    <a:lnTo>
                      <a:pt x="25" y="97"/>
                    </a:lnTo>
                    <a:lnTo>
                      <a:pt x="19" y="104"/>
                    </a:lnTo>
                    <a:lnTo>
                      <a:pt x="17" y="107"/>
                    </a:lnTo>
                    <a:lnTo>
                      <a:pt x="15" y="110"/>
                    </a:lnTo>
                    <a:lnTo>
                      <a:pt x="14" y="114"/>
                    </a:lnTo>
                    <a:lnTo>
                      <a:pt x="13" y="117"/>
                    </a:lnTo>
                    <a:lnTo>
                      <a:pt x="14" y="122"/>
                    </a:lnTo>
                    <a:lnTo>
                      <a:pt x="15" y="125"/>
                    </a:lnTo>
                    <a:lnTo>
                      <a:pt x="18" y="129"/>
                    </a:lnTo>
                    <a:lnTo>
                      <a:pt x="20" y="133"/>
                    </a:lnTo>
                    <a:lnTo>
                      <a:pt x="28" y="141"/>
                    </a:lnTo>
                    <a:lnTo>
                      <a:pt x="37" y="149"/>
                    </a:lnTo>
                    <a:lnTo>
                      <a:pt x="47" y="156"/>
                    </a:lnTo>
                    <a:lnTo>
                      <a:pt x="58" y="162"/>
                    </a:lnTo>
                    <a:lnTo>
                      <a:pt x="64" y="164"/>
                    </a:lnTo>
                    <a:lnTo>
                      <a:pt x="69" y="165"/>
                    </a:lnTo>
                    <a:lnTo>
                      <a:pt x="75" y="166"/>
                    </a:lnTo>
                    <a:lnTo>
                      <a:pt x="80" y="167"/>
                    </a:lnTo>
                    <a:lnTo>
                      <a:pt x="107" y="271"/>
                    </a:lnTo>
                    <a:lnTo>
                      <a:pt x="107" y="267"/>
                    </a:lnTo>
                    <a:lnTo>
                      <a:pt x="108" y="263"/>
                    </a:lnTo>
                    <a:lnTo>
                      <a:pt x="110" y="260"/>
                    </a:lnTo>
                    <a:lnTo>
                      <a:pt x="112" y="256"/>
                    </a:lnTo>
                    <a:lnTo>
                      <a:pt x="119" y="251"/>
                    </a:lnTo>
                    <a:lnTo>
                      <a:pt x="127" y="246"/>
                    </a:lnTo>
                    <a:lnTo>
                      <a:pt x="137" y="243"/>
                    </a:lnTo>
                    <a:lnTo>
                      <a:pt x="148" y="240"/>
                    </a:lnTo>
                    <a:lnTo>
                      <a:pt x="160" y="237"/>
                    </a:lnTo>
                    <a:lnTo>
                      <a:pt x="174" y="235"/>
                    </a:lnTo>
                    <a:lnTo>
                      <a:pt x="174" y="222"/>
                    </a:lnTo>
                    <a:lnTo>
                      <a:pt x="174" y="210"/>
                    </a:lnTo>
                    <a:lnTo>
                      <a:pt x="178" y="212"/>
                    </a:lnTo>
                    <a:lnTo>
                      <a:pt x="183" y="212"/>
                    </a:lnTo>
                    <a:lnTo>
                      <a:pt x="188" y="213"/>
                    </a:lnTo>
                    <a:lnTo>
                      <a:pt x="193" y="212"/>
                    </a:lnTo>
                    <a:lnTo>
                      <a:pt x="203" y="211"/>
                    </a:lnTo>
                    <a:lnTo>
                      <a:pt x="213" y="210"/>
                    </a:lnTo>
                    <a:lnTo>
                      <a:pt x="220" y="233"/>
                    </a:lnTo>
                    <a:lnTo>
                      <a:pt x="232" y="261"/>
                    </a:lnTo>
                    <a:lnTo>
                      <a:pt x="245" y="292"/>
                    </a:lnTo>
                    <a:lnTo>
                      <a:pt x="259" y="321"/>
                    </a:lnTo>
                    <a:lnTo>
                      <a:pt x="267" y="316"/>
                    </a:lnTo>
                    <a:lnTo>
                      <a:pt x="272" y="311"/>
                    </a:lnTo>
                    <a:lnTo>
                      <a:pt x="278" y="307"/>
                    </a:lnTo>
                    <a:lnTo>
                      <a:pt x="282" y="302"/>
                    </a:lnTo>
                    <a:lnTo>
                      <a:pt x="290" y="291"/>
                    </a:lnTo>
                    <a:lnTo>
                      <a:pt x="295" y="280"/>
                    </a:lnTo>
                    <a:lnTo>
                      <a:pt x="301" y="258"/>
                    </a:lnTo>
                    <a:lnTo>
                      <a:pt x="306" y="23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5" name="Freeform 276">
                <a:extLst>
                  <a:ext uri="{FF2B5EF4-FFF2-40B4-BE49-F238E27FC236}">
                    <a16:creationId xmlns:a16="http://schemas.microsoft.com/office/drawing/2014/main" id="{B0E1275E-90BD-4F92-BBE6-5A97036DE937}"/>
                  </a:ext>
                </a:extLst>
              </p:cNvPr>
              <p:cNvSpPr>
                <a:spLocks/>
              </p:cNvSpPr>
              <p:nvPr>
                <p:custDataLst>
                  <p:tags r:id="rId203"/>
                </p:custDataLst>
              </p:nvPr>
            </p:nvSpPr>
            <p:spPr bwMode="auto">
              <a:xfrm>
                <a:off x="6983249" y="3703705"/>
                <a:ext cx="242517" cy="302371"/>
              </a:xfrm>
              <a:custGeom>
                <a:avLst/>
                <a:gdLst>
                  <a:gd name="T0" fmla="*/ 17223486 w 471"/>
                  <a:gd name="T1" fmla="*/ 3257256 h 518"/>
                  <a:gd name="T2" fmla="*/ 12276073 w 471"/>
                  <a:gd name="T3" fmla="*/ 8686015 h 518"/>
                  <a:gd name="T4" fmla="*/ 7329088 w 471"/>
                  <a:gd name="T5" fmla="*/ 13300461 h 518"/>
                  <a:gd name="T6" fmla="*/ 4946985 w 471"/>
                  <a:gd name="T7" fmla="*/ 22257915 h 518"/>
                  <a:gd name="T8" fmla="*/ 1465646 w 471"/>
                  <a:gd name="T9" fmla="*/ 32029161 h 518"/>
                  <a:gd name="T10" fmla="*/ 1282441 w 471"/>
                  <a:gd name="T11" fmla="*/ 36915045 h 518"/>
                  <a:gd name="T12" fmla="*/ 5497030 w 471"/>
                  <a:gd name="T13" fmla="*/ 41529490 h 518"/>
                  <a:gd name="T14" fmla="*/ 9161575 w 471"/>
                  <a:gd name="T15" fmla="*/ 45601060 h 518"/>
                  <a:gd name="T16" fmla="*/ 11360044 w 471"/>
                  <a:gd name="T17" fmla="*/ 46686812 h 518"/>
                  <a:gd name="T18" fmla="*/ 13742148 w 471"/>
                  <a:gd name="T19" fmla="*/ 57272893 h 518"/>
                  <a:gd name="T20" fmla="*/ 15391000 w 471"/>
                  <a:gd name="T21" fmla="*/ 73830089 h 518"/>
                  <a:gd name="T22" fmla="*/ 17223486 w 471"/>
                  <a:gd name="T23" fmla="*/ 81158915 h 518"/>
                  <a:gd name="T24" fmla="*/ 19055544 w 471"/>
                  <a:gd name="T25" fmla="*/ 81973229 h 518"/>
                  <a:gd name="T26" fmla="*/ 20521619 w 471"/>
                  <a:gd name="T27" fmla="*/ 80616039 h 518"/>
                  <a:gd name="T28" fmla="*/ 23453340 w 471"/>
                  <a:gd name="T29" fmla="*/ 72744337 h 518"/>
                  <a:gd name="T30" fmla="*/ 26567839 w 471"/>
                  <a:gd name="T31" fmla="*/ 71115709 h 518"/>
                  <a:gd name="T32" fmla="*/ 29316354 w 471"/>
                  <a:gd name="T33" fmla="*/ 73830089 h 518"/>
                  <a:gd name="T34" fmla="*/ 31698457 w 471"/>
                  <a:gd name="T35" fmla="*/ 75187279 h 518"/>
                  <a:gd name="T36" fmla="*/ 33530515 w 471"/>
                  <a:gd name="T37" fmla="*/ 74372965 h 518"/>
                  <a:gd name="T38" fmla="*/ 35179796 w 471"/>
                  <a:gd name="T39" fmla="*/ 70301917 h 518"/>
                  <a:gd name="T40" fmla="*/ 37195060 w 471"/>
                  <a:gd name="T41" fmla="*/ 66230347 h 518"/>
                  <a:gd name="T42" fmla="*/ 38844340 w 471"/>
                  <a:gd name="T43" fmla="*/ 65416033 h 518"/>
                  <a:gd name="T44" fmla="*/ 44157737 w 471"/>
                  <a:gd name="T45" fmla="*/ 67044661 h 518"/>
                  <a:gd name="T46" fmla="*/ 47455869 w 471"/>
                  <a:gd name="T47" fmla="*/ 73558651 h 518"/>
                  <a:gd name="T48" fmla="*/ 56434238 w 471"/>
                  <a:gd name="T49" fmla="*/ 91202120 h 518"/>
                  <a:gd name="T50" fmla="*/ 62480458 w 471"/>
                  <a:gd name="T51" fmla="*/ 103688267 h 518"/>
                  <a:gd name="T52" fmla="*/ 65595385 w 471"/>
                  <a:gd name="T53" fmla="*/ 113731473 h 518"/>
                  <a:gd name="T54" fmla="*/ 67061459 w 471"/>
                  <a:gd name="T55" fmla="*/ 124045595 h 518"/>
                  <a:gd name="T56" fmla="*/ 65778590 w 471"/>
                  <a:gd name="T57" fmla="*/ 127574289 h 518"/>
                  <a:gd name="T58" fmla="*/ 62114046 w 471"/>
                  <a:gd name="T59" fmla="*/ 132188735 h 518"/>
                  <a:gd name="T60" fmla="*/ 66511414 w 471"/>
                  <a:gd name="T61" fmla="*/ 134631676 h 518"/>
                  <a:gd name="T62" fmla="*/ 71825238 w 471"/>
                  <a:gd name="T63" fmla="*/ 140603312 h 518"/>
                  <a:gd name="T64" fmla="*/ 73474090 w 471"/>
                  <a:gd name="T65" fmla="*/ 135445990 h 518"/>
                  <a:gd name="T66" fmla="*/ 75672988 w 471"/>
                  <a:gd name="T67" fmla="*/ 132731611 h 518"/>
                  <a:gd name="T68" fmla="*/ 81353224 w 471"/>
                  <a:gd name="T69" fmla="*/ 131102983 h 518"/>
                  <a:gd name="T70" fmla="*/ 85750592 w 471"/>
                  <a:gd name="T71" fmla="*/ 118888273 h 518"/>
                  <a:gd name="T72" fmla="*/ 82269253 w 471"/>
                  <a:gd name="T73" fmla="*/ 105045457 h 518"/>
                  <a:gd name="T74" fmla="*/ 77138635 w 471"/>
                  <a:gd name="T75" fmla="*/ 94187938 h 518"/>
                  <a:gd name="T76" fmla="*/ 63213709 w 471"/>
                  <a:gd name="T77" fmla="*/ 75187279 h 518"/>
                  <a:gd name="T78" fmla="*/ 51120413 w 471"/>
                  <a:gd name="T79" fmla="*/ 59172959 h 518"/>
                  <a:gd name="T80" fmla="*/ 41042810 w 471"/>
                  <a:gd name="T81" fmla="*/ 43972432 h 518"/>
                  <a:gd name="T82" fmla="*/ 32797692 w 471"/>
                  <a:gd name="T83" fmla="*/ 28500467 h 518"/>
                  <a:gd name="T84" fmla="*/ 23269706 w 471"/>
                  <a:gd name="T85" fmla="*/ 10857519 h 518"/>
                  <a:gd name="T86" fmla="*/ 21071236 w 471"/>
                  <a:gd name="T87" fmla="*/ 3800132 h 51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71" h="518">
                    <a:moveTo>
                      <a:pt x="113" y="0"/>
                    </a:moveTo>
                    <a:lnTo>
                      <a:pt x="104" y="5"/>
                    </a:lnTo>
                    <a:lnTo>
                      <a:pt x="94" y="12"/>
                    </a:lnTo>
                    <a:lnTo>
                      <a:pt x="85" y="18"/>
                    </a:lnTo>
                    <a:lnTo>
                      <a:pt x="76" y="25"/>
                    </a:lnTo>
                    <a:lnTo>
                      <a:pt x="67" y="32"/>
                    </a:lnTo>
                    <a:lnTo>
                      <a:pt x="59" y="38"/>
                    </a:lnTo>
                    <a:lnTo>
                      <a:pt x="50" y="44"/>
                    </a:lnTo>
                    <a:lnTo>
                      <a:pt x="40" y="49"/>
                    </a:lnTo>
                    <a:lnTo>
                      <a:pt x="37" y="59"/>
                    </a:lnTo>
                    <a:lnTo>
                      <a:pt x="32" y="71"/>
                    </a:lnTo>
                    <a:lnTo>
                      <a:pt x="27" y="82"/>
                    </a:lnTo>
                    <a:lnTo>
                      <a:pt x="20" y="93"/>
                    </a:lnTo>
                    <a:lnTo>
                      <a:pt x="14" y="106"/>
                    </a:lnTo>
                    <a:lnTo>
                      <a:pt x="8" y="118"/>
                    </a:lnTo>
                    <a:lnTo>
                      <a:pt x="4" y="131"/>
                    </a:lnTo>
                    <a:lnTo>
                      <a:pt x="0" y="142"/>
                    </a:lnTo>
                    <a:lnTo>
                      <a:pt x="7" y="136"/>
                    </a:lnTo>
                    <a:lnTo>
                      <a:pt x="16" y="141"/>
                    </a:lnTo>
                    <a:lnTo>
                      <a:pt x="23" y="147"/>
                    </a:lnTo>
                    <a:lnTo>
                      <a:pt x="30" y="153"/>
                    </a:lnTo>
                    <a:lnTo>
                      <a:pt x="37" y="159"/>
                    </a:lnTo>
                    <a:lnTo>
                      <a:pt x="43" y="164"/>
                    </a:lnTo>
                    <a:lnTo>
                      <a:pt x="50" y="168"/>
                    </a:lnTo>
                    <a:lnTo>
                      <a:pt x="53" y="170"/>
                    </a:lnTo>
                    <a:lnTo>
                      <a:pt x="57" y="171"/>
                    </a:lnTo>
                    <a:lnTo>
                      <a:pt x="62" y="172"/>
                    </a:lnTo>
                    <a:lnTo>
                      <a:pt x="66" y="172"/>
                    </a:lnTo>
                    <a:lnTo>
                      <a:pt x="71" y="191"/>
                    </a:lnTo>
                    <a:lnTo>
                      <a:pt x="75" y="211"/>
                    </a:lnTo>
                    <a:lnTo>
                      <a:pt x="77" y="233"/>
                    </a:lnTo>
                    <a:lnTo>
                      <a:pt x="80" y="254"/>
                    </a:lnTo>
                    <a:lnTo>
                      <a:pt x="84" y="272"/>
                    </a:lnTo>
                    <a:lnTo>
                      <a:pt x="88" y="289"/>
                    </a:lnTo>
                    <a:lnTo>
                      <a:pt x="90" y="294"/>
                    </a:lnTo>
                    <a:lnTo>
                      <a:pt x="94" y="299"/>
                    </a:lnTo>
                    <a:lnTo>
                      <a:pt x="96" y="302"/>
                    </a:lnTo>
                    <a:lnTo>
                      <a:pt x="100" y="302"/>
                    </a:lnTo>
                    <a:lnTo>
                      <a:pt x="104" y="302"/>
                    </a:lnTo>
                    <a:lnTo>
                      <a:pt x="107" y="301"/>
                    </a:lnTo>
                    <a:lnTo>
                      <a:pt x="110" y="299"/>
                    </a:lnTo>
                    <a:lnTo>
                      <a:pt x="112" y="297"/>
                    </a:lnTo>
                    <a:lnTo>
                      <a:pt x="118" y="291"/>
                    </a:lnTo>
                    <a:lnTo>
                      <a:pt x="121" y="283"/>
                    </a:lnTo>
                    <a:lnTo>
                      <a:pt x="128" y="268"/>
                    </a:lnTo>
                    <a:lnTo>
                      <a:pt x="133" y="259"/>
                    </a:lnTo>
                    <a:lnTo>
                      <a:pt x="140" y="260"/>
                    </a:lnTo>
                    <a:lnTo>
                      <a:pt x="145" y="262"/>
                    </a:lnTo>
                    <a:lnTo>
                      <a:pt x="151" y="265"/>
                    </a:lnTo>
                    <a:lnTo>
                      <a:pt x="155" y="268"/>
                    </a:lnTo>
                    <a:lnTo>
                      <a:pt x="160" y="272"/>
                    </a:lnTo>
                    <a:lnTo>
                      <a:pt x="164" y="274"/>
                    </a:lnTo>
                    <a:lnTo>
                      <a:pt x="168" y="277"/>
                    </a:lnTo>
                    <a:lnTo>
                      <a:pt x="173" y="277"/>
                    </a:lnTo>
                    <a:lnTo>
                      <a:pt x="176" y="277"/>
                    </a:lnTo>
                    <a:lnTo>
                      <a:pt x="179" y="276"/>
                    </a:lnTo>
                    <a:lnTo>
                      <a:pt x="183" y="274"/>
                    </a:lnTo>
                    <a:lnTo>
                      <a:pt x="185" y="272"/>
                    </a:lnTo>
                    <a:lnTo>
                      <a:pt x="189" y="266"/>
                    </a:lnTo>
                    <a:lnTo>
                      <a:pt x="192" y="259"/>
                    </a:lnTo>
                    <a:lnTo>
                      <a:pt x="197" y="252"/>
                    </a:lnTo>
                    <a:lnTo>
                      <a:pt x="201" y="247"/>
                    </a:lnTo>
                    <a:lnTo>
                      <a:pt x="203" y="244"/>
                    </a:lnTo>
                    <a:lnTo>
                      <a:pt x="206" y="243"/>
                    </a:lnTo>
                    <a:lnTo>
                      <a:pt x="209" y="241"/>
                    </a:lnTo>
                    <a:lnTo>
                      <a:pt x="212" y="241"/>
                    </a:lnTo>
                    <a:lnTo>
                      <a:pt x="224" y="242"/>
                    </a:lnTo>
                    <a:lnTo>
                      <a:pt x="233" y="244"/>
                    </a:lnTo>
                    <a:lnTo>
                      <a:pt x="241" y="247"/>
                    </a:lnTo>
                    <a:lnTo>
                      <a:pt x="246" y="252"/>
                    </a:lnTo>
                    <a:lnTo>
                      <a:pt x="254" y="261"/>
                    </a:lnTo>
                    <a:lnTo>
                      <a:pt x="259" y="271"/>
                    </a:lnTo>
                    <a:lnTo>
                      <a:pt x="274" y="293"/>
                    </a:lnTo>
                    <a:lnTo>
                      <a:pt x="290" y="314"/>
                    </a:lnTo>
                    <a:lnTo>
                      <a:pt x="308" y="336"/>
                    </a:lnTo>
                    <a:lnTo>
                      <a:pt x="325" y="359"/>
                    </a:lnTo>
                    <a:lnTo>
                      <a:pt x="333" y="371"/>
                    </a:lnTo>
                    <a:lnTo>
                      <a:pt x="341" y="382"/>
                    </a:lnTo>
                    <a:lnTo>
                      <a:pt x="347" y="394"/>
                    </a:lnTo>
                    <a:lnTo>
                      <a:pt x="354" y="407"/>
                    </a:lnTo>
                    <a:lnTo>
                      <a:pt x="358" y="419"/>
                    </a:lnTo>
                    <a:lnTo>
                      <a:pt x="363" y="431"/>
                    </a:lnTo>
                    <a:lnTo>
                      <a:pt x="365" y="443"/>
                    </a:lnTo>
                    <a:lnTo>
                      <a:pt x="366" y="457"/>
                    </a:lnTo>
                    <a:lnTo>
                      <a:pt x="365" y="461"/>
                    </a:lnTo>
                    <a:lnTo>
                      <a:pt x="363" y="466"/>
                    </a:lnTo>
                    <a:lnTo>
                      <a:pt x="359" y="470"/>
                    </a:lnTo>
                    <a:lnTo>
                      <a:pt x="355" y="474"/>
                    </a:lnTo>
                    <a:lnTo>
                      <a:pt x="346" y="481"/>
                    </a:lnTo>
                    <a:lnTo>
                      <a:pt x="339" y="487"/>
                    </a:lnTo>
                    <a:lnTo>
                      <a:pt x="348" y="490"/>
                    </a:lnTo>
                    <a:lnTo>
                      <a:pt x="356" y="493"/>
                    </a:lnTo>
                    <a:lnTo>
                      <a:pt x="363" y="496"/>
                    </a:lnTo>
                    <a:lnTo>
                      <a:pt x="368" y="500"/>
                    </a:lnTo>
                    <a:lnTo>
                      <a:pt x="379" y="508"/>
                    </a:lnTo>
                    <a:lnTo>
                      <a:pt x="392" y="518"/>
                    </a:lnTo>
                    <a:lnTo>
                      <a:pt x="395" y="511"/>
                    </a:lnTo>
                    <a:lnTo>
                      <a:pt x="398" y="504"/>
                    </a:lnTo>
                    <a:lnTo>
                      <a:pt x="401" y="499"/>
                    </a:lnTo>
                    <a:lnTo>
                      <a:pt x="404" y="495"/>
                    </a:lnTo>
                    <a:lnTo>
                      <a:pt x="409" y="491"/>
                    </a:lnTo>
                    <a:lnTo>
                      <a:pt x="413" y="489"/>
                    </a:lnTo>
                    <a:lnTo>
                      <a:pt x="418" y="487"/>
                    </a:lnTo>
                    <a:lnTo>
                      <a:pt x="422" y="485"/>
                    </a:lnTo>
                    <a:lnTo>
                      <a:pt x="444" y="483"/>
                    </a:lnTo>
                    <a:lnTo>
                      <a:pt x="471" y="481"/>
                    </a:lnTo>
                    <a:lnTo>
                      <a:pt x="471" y="459"/>
                    </a:lnTo>
                    <a:lnTo>
                      <a:pt x="468" y="438"/>
                    </a:lnTo>
                    <a:lnTo>
                      <a:pt x="464" y="420"/>
                    </a:lnTo>
                    <a:lnTo>
                      <a:pt x="457" y="403"/>
                    </a:lnTo>
                    <a:lnTo>
                      <a:pt x="449" y="387"/>
                    </a:lnTo>
                    <a:lnTo>
                      <a:pt x="441" y="372"/>
                    </a:lnTo>
                    <a:lnTo>
                      <a:pt x="431" y="359"/>
                    </a:lnTo>
                    <a:lnTo>
                      <a:pt x="421" y="347"/>
                    </a:lnTo>
                    <a:lnTo>
                      <a:pt x="397" y="322"/>
                    </a:lnTo>
                    <a:lnTo>
                      <a:pt x="371" y="300"/>
                    </a:lnTo>
                    <a:lnTo>
                      <a:pt x="345" y="277"/>
                    </a:lnTo>
                    <a:lnTo>
                      <a:pt x="319" y="253"/>
                    </a:lnTo>
                    <a:lnTo>
                      <a:pt x="299" y="237"/>
                    </a:lnTo>
                    <a:lnTo>
                      <a:pt x="279" y="218"/>
                    </a:lnTo>
                    <a:lnTo>
                      <a:pt x="261" y="200"/>
                    </a:lnTo>
                    <a:lnTo>
                      <a:pt x="242" y="182"/>
                    </a:lnTo>
                    <a:lnTo>
                      <a:pt x="224" y="162"/>
                    </a:lnTo>
                    <a:lnTo>
                      <a:pt x="208" y="143"/>
                    </a:lnTo>
                    <a:lnTo>
                      <a:pt x="192" y="124"/>
                    </a:lnTo>
                    <a:lnTo>
                      <a:pt x="179" y="105"/>
                    </a:lnTo>
                    <a:lnTo>
                      <a:pt x="158" y="79"/>
                    </a:lnTo>
                    <a:lnTo>
                      <a:pt x="136" y="52"/>
                    </a:lnTo>
                    <a:lnTo>
                      <a:pt x="127" y="40"/>
                    </a:lnTo>
                    <a:lnTo>
                      <a:pt x="120" y="27"/>
                    </a:lnTo>
                    <a:lnTo>
                      <a:pt x="117" y="21"/>
                    </a:lnTo>
                    <a:lnTo>
                      <a:pt x="115" y="14"/>
                    </a:lnTo>
                    <a:lnTo>
                      <a:pt x="113" y="7"/>
                    </a:lnTo>
                    <a:lnTo>
                      <a:pt x="1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6" name="Freeform 277">
                <a:extLst>
                  <a:ext uri="{FF2B5EF4-FFF2-40B4-BE49-F238E27FC236}">
                    <a16:creationId xmlns:a16="http://schemas.microsoft.com/office/drawing/2014/main" id="{85DDCE5E-5FD3-497B-BBF6-852FC0C68C85}"/>
                  </a:ext>
                </a:extLst>
              </p:cNvPr>
              <p:cNvSpPr>
                <a:spLocks/>
              </p:cNvSpPr>
              <p:nvPr>
                <p:custDataLst>
                  <p:tags r:id="rId204"/>
                </p:custDataLst>
              </p:nvPr>
            </p:nvSpPr>
            <p:spPr bwMode="auto">
              <a:xfrm>
                <a:off x="7082789" y="3984981"/>
                <a:ext cx="159265" cy="147670"/>
              </a:xfrm>
              <a:custGeom>
                <a:avLst/>
                <a:gdLst>
                  <a:gd name="T0" fmla="*/ 31484254 w 293"/>
                  <a:gd name="T1" fmla="*/ 5320242 h 246"/>
                  <a:gd name="T2" fmla="*/ 37076761 w 293"/>
                  <a:gd name="T3" fmla="*/ 8400521 h 246"/>
                  <a:gd name="T4" fmla="*/ 40598021 w 293"/>
                  <a:gd name="T5" fmla="*/ 8400521 h 246"/>
                  <a:gd name="T6" fmla="*/ 41840952 w 293"/>
                  <a:gd name="T7" fmla="*/ 5040313 h 246"/>
                  <a:gd name="T8" fmla="*/ 43498042 w 293"/>
                  <a:gd name="T9" fmla="*/ 2800350 h 246"/>
                  <a:gd name="T10" fmla="*/ 45362211 w 293"/>
                  <a:gd name="T11" fmla="*/ 1680104 h 246"/>
                  <a:gd name="T12" fmla="*/ 50747640 w 293"/>
                  <a:gd name="T13" fmla="*/ 559858 h 246"/>
                  <a:gd name="T14" fmla="*/ 60690179 w 293"/>
                  <a:gd name="T15" fmla="*/ 22401213 h 246"/>
                  <a:gd name="T16" fmla="*/ 55097671 w 293"/>
                  <a:gd name="T17" fmla="*/ 29961946 h 246"/>
                  <a:gd name="T18" fmla="*/ 49090550 w 293"/>
                  <a:gd name="T19" fmla="*/ 39482713 h 246"/>
                  <a:gd name="T20" fmla="*/ 46605142 w 293"/>
                  <a:gd name="T21" fmla="*/ 44523025 h 246"/>
                  <a:gd name="T22" fmla="*/ 44533894 w 293"/>
                  <a:gd name="T23" fmla="*/ 49843267 h 246"/>
                  <a:gd name="T24" fmla="*/ 43290962 w 293"/>
                  <a:gd name="T25" fmla="*/ 55163508 h 246"/>
                  <a:gd name="T26" fmla="*/ 42669724 w 293"/>
                  <a:gd name="T27" fmla="*/ 60483750 h 246"/>
                  <a:gd name="T28" fmla="*/ 40598021 w 293"/>
                  <a:gd name="T29" fmla="*/ 60763679 h 246"/>
                  <a:gd name="T30" fmla="*/ 38526772 w 293"/>
                  <a:gd name="T31" fmla="*/ 61603996 h 246"/>
                  <a:gd name="T32" fmla="*/ 35212592 w 293"/>
                  <a:gd name="T33" fmla="*/ 64123887 h 246"/>
                  <a:gd name="T34" fmla="*/ 31898412 w 293"/>
                  <a:gd name="T35" fmla="*/ 66924237 h 246"/>
                  <a:gd name="T36" fmla="*/ 27548836 w 293"/>
                  <a:gd name="T37" fmla="*/ 68884271 h 246"/>
                  <a:gd name="T38" fmla="*/ 21127555 w 293"/>
                  <a:gd name="T39" fmla="*/ 67204167 h 246"/>
                  <a:gd name="T40" fmla="*/ 14706275 w 293"/>
                  <a:gd name="T41" fmla="*/ 64964204 h 246"/>
                  <a:gd name="T42" fmla="*/ 12220868 w 293"/>
                  <a:gd name="T43" fmla="*/ 63284100 h 246"/>
                  <a:gd name="T44" fmla="*/ 10149619 w 293"/>
                  <a:gd name="T45" fmla="*/ 61603996 h 246"/>
                  <a:gd name="T46" fmla="*/ 8906688 w 293"/>
                  <a:gd name="T47" fmla="*/ 59363504 h 246"/>
                  <a:gd name="T48" fmla="*/ 8492529 w 293"/>
                  <a:gd name="T49" fmla="*/ 57123542 h 246"/>
                  <a:gd name="T50" fmla="*/ 9735460 w 293"/>
                  <a:gd name="T51" fmla="*/ 49843267 h 246"/>
                  <a:gd name="T52" fmla="*/ 9320846 w 293"/>
                  <a:gd name="T53" fmla="*/ 45362813 h 246"/>
                  <a:gd name="T54" fmla="*/ 8285450 w 293"/>
                  <a:gd name="T55" fmla="*/ 41162817 h 246"/>
                  <a:gd name="T56" fmla="*/ 4971270 w 293"/>
                  <a:gd name="T57" fmla="*/ 33322154 h 246"/>
                  <a:gd name="T58" fmla="*/ 1657090 w 293"/>
                  <a:gd name="T59" fmla="*/ 25481492 h 246"/>
                  <a:gd name="T60" fmla="*/ 414159 w 293"/>
                  <a:gd name="T61" fmla="*/ 20721108 h 246"/>
                  <a:gd name="T62" fmla="*/ 0 w 293"/>
                  <a:gd name="T63" fmla="*/ 15400867 h 246"/>
                  <a:gd name="T64" fmla="*/ 414159 w 293"/>
                  <a:gd name="T65" fmla="*/ 12601046 h 246"/>
                  <a:gd name="T66" fmla="*/ 1657090 w 293"/>
                  <a:gd name="T67" fmla="*/ 10080625 h 246"/>
                  <a:gd name="T68" fmla="*/ 3521259 w 293"/>
                  <a:gd name="T69" fmla="*/ 8120592 h 246"/>
                  <a:gd name="T70" fmla="*/ 5385428 w 293"/>
                  <a:gd name="T71" fmla="*/ 6160558 h 246"/>
                  <a:gd name="T72" fmla="*/ 9942540 w 293"/>
                  <a:gd name="T73" fmla="*/ 3920067 h 246"/>
                  <a:gd name="T74" fmla="*/ 13877958 w 293"/>
                  <a:gd name="T75" fmla="*/ 3360208 h 246"/>
                  <a:gd name="T76" fmla="*/ 19884624 w 293"/>
                  <a:gd name="T77" fmla="*/ 3360208 h 246"/>
                  <a:gd name="T78" fmla="*/ 27548836 w 293"/>
                  <a:gd name="T79" fmla="*/ 3360208 h 24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293" h="246">
                    <a:moveTo>
                      <a:pt x="133" y="12"/>
                    </a:moveTo>
                    <a:lnTo>
                      <a:pt x="152" y="19"/>
                    </a:lnTo>
                    <a:lnTo>
                      <a:pt x="166" y="24"/>
                    </a:lnTo>
                    <a:lnTo>
                      <a:pt x="179" y="30"/>
                    </a:lnTo>
                    <a:lnTo>
                      <a:pt x="193" y="37"/>
                    </a:lnTo>
                    <a:lnTo>
                      <a:pt x="196" y="30"/>
                    </a:lnTo>
                    <a:lnTo>
                      <a:pt x="199" y="23"/>
                    </a:lnTo>
                    <a:lnTo>
                      <a:pt x="202" y="18"/>
                    </a:lnTo>
                    <a:lnTo>
                      <a:pt x="205" y="14"/>
                    </a:lnTo>
                    <a:lnTo>
                      <a:pt x="210" y="10"/>
                    </a:lnTo>
                    <a:lnTo>
                      <a:pt x="214" y="8"/>
                    </a:lnTo>
                    <a:lnTo>
                      <a:pt x="219" y="6"/>
                    </a:lnTo>
                    <a:lnTo>
                      <a:pt x="223" y="4"/>
                    </a:lnTo>
                    <a:lnTo>
                      <a:pt x="245" y="2"/>
                    </a:lnTo>
                    <a:lnTo>
                      <a:pt x="272" y="0"/>
                    </a:lnTo>
                    <a:lnTo>
                      <a:pt x="293" y="80"/>
                    </a:lnTo>
                    <a:lnTo>
                      <a:pt x="279" y="93"/>
                    </a:lnTo>
                    <a:lnTo>
                      <a:pt x="266" y="107"/>
                    </a:lnTo>
                    <a:lnTo>
                      <a:pt x="250" y="123"/>
                    </a:lnTo>
                    <a:lnTo>
                      <a:pt x="237" y="141"/>
                    </a:lnTo>
                    <a:lnTo>
                      <a:pt x="231" y="150"/>
                    </a:lnTo>
                    <a:lnTo>
                      <a:pt x="225" y="159"/>
                    </a:lnTo>
                    <a:lnTo>
                      <a:pt x="220" y="169"/>
                    </a:lnTo>
                    <a:lnTo>
                      <a:pt x="215" y="178"/>
                    </a:lnTo>
                    <a:lnTo>
                      <a:pt x="212" y="187"/>
                    </a:lnTo>
                    <a:lnTo>
                      <a:pt x="209" y="197"/>
                    </a:lnTo>
                    <a:lnTo>
                      <a:pt x="206" y="207"/>
                    </a:lnTo>
                    <a:lnTo>
                      <a:pt x="206" y="216"/>
                    </a:lnTo>
                    <a:lnTo>
                      <a:pt x="201" y="216"/>
                    </a:lnTo>
                    <a:lnTo>
                      <a:pt x="196" y="217"/>
                    </a:lnTo>
                    <a:lnTo>
                      <a:pt x="190" y="218"/>
                    </a:lnTo>
                    <a:lnTo>
                      <a:pt x="186" y="220"/>
                    </a:lnTo>
                    <a:lnTo>
                      <a:pt x="178" y="224"/>
                    </a:lnTo>
                    <a:lnTo>
                      <a:pt x="170" y="229"/>
                    </a:lnTo>
                    <a:lnTo>
                      <a:pt x="163" y="234"/>
                    </a:lnTo>
                    <a:lnTo>
                      <a:pt x="154" y="239"/>
                    </a:lnTo>
                    <a:lnTo>
                      <a:pt x="145" y="243"/>
                    </a:lnTo>
                    <a:lnTo>
                      <a:pt x="133" y="246"/>
                    </a:lnTo>
                    <a:lnTo>
                      <a:pt x="118" y="243"/>
                    </a:lnTo>
                    <a:lnTo>
                      <a:pt x="102" y="240"/>
                    </a:lnTo>
                    <a:lnTo>
                      <a:pt x="87" y="236"/>
                    </a:lnTo>
                    <a:lnTo>
                      <a:pt x="71" y="232"/>
                    </a:lnTo>
                    <a:lnTo>
                      <a:pt x="65" y="229"/>
                    </a:lnTo>
                    <a:lnTo>
                      <a:pt x="59" y="226"/>
                    </a:lnTo>
                    <a:lnTo>
                      <a:pt x="54" y="223"/>
                    </a:lnTo>
                    <a:lnTo>
                      <a:pt x="49" y="220"/>
                    </a:lnTo>
                    <a:lnTo>
                      <a:pt x="45" y="216"/>
                    </a:lnTo>
                    <a:lnTo>
                      <a:pt x="43" y="212"/>
                    </a:lnTo>
                    <a:lnTo>
                      <a:pt x="41" y="208"/>
                    </a:lnTo>
                    <a:lnTo>
                      <a:pt x="41" y="204"/>
                    </a:lnTo>
                    <a:lnTo>
                      <a:pt x="44" y="193"/>
                    </a:lnTo>
                    <a:lnTo>
                      <a:pt x="47" y="178"/>
                    </a:lnTo>
                    <a:lnTo>
                      <a:pt x="46" y="170"/>
                    </a:lnTo>
                    <a:lnTo>
                      <a:pt x="45" y="162"/>
                    </a:lnTo>
                    <a:lnTo>
                      <a:pt x="43" y="154"/>
                    </a:lnTo>
                    <a:lnTo>
                      <a:pt x="40" y="147"/>
                    </a:lnTo>
                    <a:lnTo>
                      <a:pt x="32" y="132"/>
                    </a:lnTo>
                    <a:lnTo>
                      <a:pt x="24" y="119"/>
                    </a:lnTo>
                    <a:lnTo>
                      <a:pt x="15" y="106"/>
                    </a:lnTo>
                    <a:lnTo>
                      <a:pt x="8" y="91"/>
                    </a:lnTo>
                    <a:lnTo>
                      <a:pt x="4" y="83"/>
                    </a:lnTo>
                    <a:lnTo>
                      <a:pt x="2" y="74"/>
                    </a:lnTo>
                    <a:lnTo>
                      <a:pt x="1" y="65"/>
                    </a:lnTo>
                    <a:lnTo>
                      <a:pt x="0" y="55"/>
                    </a:lnTo>
                    <a:lnTo>
                      <a:pt x="1" y="50"/>
                    </a:lnTo>
                    <a:lnTo>
                      <a:pt x="2" y="45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7" y="29"/>
                    </a:lnTo>
                    <a:lnTo>
                      <a:pt x="21" y="25"/>
                    </a:lnTo>
                    <a:lnTo>
                      <a:pt x="26" y="22"/>
                    </a:lnTo>
                    <a:lnTo>
                      <a:pt x="37" y="17"/>
                    </a:lnTo>
                    <a:lnTo>
                      <a:pt x="48" y="14"/>
                    </a:lnTo>
                    <a:lnTo>
                      <a:pt x="58" y="13"/>
                    </a:lnTo>
                    <a:lnTo>
                      <a:pt x="67" y="12"/>
                    </a:lnTo>
                    <a:lnTo>
                      <a:pt x="79" y="12"/>
                    </a:lnTo>
                    <a:lnTo>
                      <a:pt x="96" y="12"/>
                    </a:lnTo>
                    <a:lnTo>
                      <a:pt x="113" y="12"/>
                    </a:lnTo>
                    <a:lnTo>
                      <a:pt x="133" y="12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7" name="Freeform 278">
                <a:extLst>
                  <a:ext uri="{FF2B5EF4-FFF2-40B4-BE49-F238E27FC236}">
                    <a16:creationId xmlns:a16="http://schemas.microsoft.com/office/drawing/2014/main" id="{AC341C42-4730-4D79-AD99-53FA0B2DE59E}"/>
                  </a:ext>
                </a:extLst>
              </p:cNvPr>
              <p:cNvSpPr>
                <a:spLocks/>
              </p:cNvSpPr>
              <p:nvPr>
                <p:custDataLst>
                  <p:tags r:id="rId205"/>
                </p:custDataLst>
              </p:nvPr>
            </p:nvSpPr>
            <p:spPr bwMode="auto">
              <a:xfrm>
                <a:off x="7566013" y="3127090"/>
                <a:ext cx="103160" cy="145911"/>
              </a:xfrm>
              <a:custGeom>
                <a:avLst/>
                <a:gdLst>
                  <a:gd name="T0" fmla="*/ 3306842 w 200"/>
                  <a:gd name="T1" fmla="*/ 11480800 h 246"/>
                  <a:gd name="T2" fmla="*/ 5144357 w 200"/>
                  <a:gd name="T3" fmla="*/ 7280275 h 246"/>
                  <a:gd name="T4" fmla="*/ 6981444 w 200"/>
                  <a:gd name="T5" fmla="*/ 4480454 h 246"/>
                  <a:gd name="T6" fmla="*/ 9185862 w 200"/>
                  <a:gd name="T7" fmla="*/ 2520421 h 246"/>
                  <a:gd name="T8" fmla="*/ 13411676 w 200"/>
                  <a:gd name="T9" fmla="*/ 279929 h 246"/>
                  <a:gd name="T10" fmla="*/ 16167306 w 200"/>
                  <a:gd name="T11" fmla="*/ 3360208 h 246"/>
                  <a:gd name="T12" fmla="*/ 19841909 w 200"/>
                  <a:gd name="T13" fmla="*/ 9520767 h 246"/>
                  <a:gd name="T14" fmla="*/ 22964870 w 200"/>
                  <a:gd name="T15" fmla="*/ 14000692 h 246"/>
                  <a:gd name="T16" fmla="*/ 25537049 w 200"/>
                  <a:gd name="T17" fmla="*/ 16241183 h 246"/>
                  <a:gd name="T18" fmla="*/ 27925347 w 200"/>
                  <a:gd name="T19" fmla="*/ 17921288 h 246"/>
                  <a:gd name="T20" fmla="*/ 30497526 w 200"/>
                  <a:gd name="T21" fmla="*/ 18761075 h 246"/>
                  <a:gd name="T22" fmla="*/ 33804368 w 200"/>
                  <a:gd name="T23" fmla="*/ 26881667 h 246"/>
                  <a:gd name="T24" fmla="*/ 35825335 w 200"/>
                  <a:gd name="T25" fmla="*/ 38362467 h 246"/>
                  <a:gd name="T26" fmla="*/ 36559998 w 200"/>
                  <a:gd name="T27" fmla="*/ 46203129 h 246"/>
                  <a:gd name="T28" fmla="*/ 36743878 w 200"/>
                  <a:gd name="T29" fmla="*/ 51803300 h 246"/>
                  <a:gd name="T30" fmla="*/ 36376547 w 200"/>
                  <a:gd name="T31" fmla="*/ 55163508 h 246"/>
                  <a:gd name="T32" fmla="*/ 35825335 w 200"/>
                  <a:gd name="T33" fmla="*/ 57963329 h 246"/>
                  <a:gd name="T34" fmla="*/ 34722911 w 200"/>
                  <a:gd name="T35" fmla="*/ 59923892 h 246"/>
                  <a:gd name="T36" fmla="*/ 32885825 w 200"/>
                  <a:gd name="T37" fmla="*/ 61603996 h 246"/>
                  <a:gd name="T38" fmla="*/ 30130194 w 200"/>
                  <a:gd name="T39" fmla="*/ 62723712 h 246"/>
                  <a:gd name="T40" fmla="*/ 25720929 w 200"/>
                  <a:gd name="T41" fmla="*/ 62723712 h 246"/>
                  <a:gd name="T42" fmla="*/ 21678995 w 200"/>
                  <a:gd name="T43" fmla="*/ 64123887 h 246"/>
                  <a:gd name="T44" fmla="*/ 20392692 w 200"/>
                  <a:gd name="T45" fmla="*/ 65803992 h 246"/>
                  <a:gd name="T46" fmla="*/ 19841909 w 200"/>
                  <a:gd name="T47" fmla="*/ 67764025 h 246"/>
                  <a:gd name="T48" fmla="*/ 18004393 w 200"/>
                  <a:gd name="T49" fmla="*/ 68604342 h 246"/>
                  <a:gd name="T50" fmla="*/ 15616095 w 200"/>
                  <a:gd name="T51" fmla="*/ 67204167 h 246"/>
                  <a:gd name="T52" fmla="*/ 14146340 w 200"/>
                  <a:gd name="T53" fmla="*/ 64403817 h 246"/>
                  <a:gd name="T54" fmla="*/ 13411676 w 200"/>
                  <a:gd name="T55" fmla="*/ 60483750 h 246"/>
                  <a:gd name="T56" fmla="*/ 13227796 w 200"/>
                  <a:gd name="T57" fmla="*/ 53763333 h 246"/>
                  <a:gd name="T58" fmla="*/ 13043916 w 200"/>
                  <a:gd name="T59" fmla="*/ 47042917 h 246"/>
                  <a:gd name="T60" fmla="*/ 12676584 w 200"/>
                  <a:gd name="T61" fmla="*/ 43122850 h 246"/>
                  <a:gd name="T62" fmla="*/ 11758041 w 200"/>
                  <a:gd name="T63" fmla="*/ 39762642 h 246"/>
                  <a:gd name="T64" fmla="*/ 10288286 w 200"/>
                  <a:gd name="T65" fmla="*/ 37522150 h 246"/>
                  <a:gd name="T66" fmla="*/ 7348776 w 200"/>
                  <a:gd name="T67" fmla="*/ 35002258 h 246"/>
                  <a:gd name="T68" fmla="*/ 3306842 w 200"/>
                  <a:gd name="T69" fmla="*/ 32201908 h 246"/>
                  <a:gd name="T70" fmla="*/ 1102424 w 200"/>
                  <a:gd name="T71" fmla="*/ 29682017 h 246"/>
                  <a:gd name="T72" fmla="*/ 183880 w 200"/>
                  <a:gd name="T73" fmla="*/ 27441525 h 246"/>
                  <a:gd name="T74" fmla="*/ 183880 w 200"/>
                  <a:gd name="T75" fmla="*/ 24361775 h 246"/>
                  <a:gd name="T76" fmla="*/ 918543 w 200"/>
                  <a:gd name="T77" fmla="*/ 21841354 h 246"/>
                  <a:gd name="T78" fmla="*/ 1837087 w 200"/>
                  <a:gd name="T79" fmla="*/ 19041004 h 246"/>
                  <a:gd name="T80" fmla="*/ 2388299 w 200"/>
                  <a:gd name="T81" fmla="*/ 15680796 h 24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200" h="246">
                    <a:moveTo>
                      <a:pt x="13" y="49"/>
                    </a:moveTo>
                    <a:lnTo>
                      <a:pt x="18" y="41"/>
                    </a:lnTo>
                    <a:lnTo>
                      <a:pt x="22" y="32"/>
                    </a:lnTo>
                    <a:lnTo>
                      <a:pt x="28" y="26"/>
                    </a:lnTo>
                    <a:lnTo>
                      <a:pt x="33" y="20"/>
                    </a:lnTo>
                    <a:lnTo>
                      <a:pt x="38" y="16"/>
                    </a:lnTo>
                    <a:lnTo>
                      <a:pt x="44" y="12"/>
                    </a:lnTo>
                    <a:lnTo>
                      <a:pt x="50" y="9"/>
                    </a:lnTo>
                    <a:lnTo>
                      <a:pt x="54" y="6"/>
                    </a:lnTo>
                    <a:lnTo>
                      <a:pt x="73" y="1"/>
                    </a:lnTo>
                    <a:lnTo>
                      <a:pt x="80" y="0"/>
                    </a:lnTo>
                    <a:lnTo>
                      <a:pt x="88" y="12"/>
                    </a:lnTo>
                    <a:lnTo>
                      <a:pt x="98" y="23"/>
                    </a:lnTo>
                    <a:lnTo>
                      <a:pt x="108" y="34"/>
                    </a:lnTo>
                    <a:lnTo>
                      <a:pt x="119" y="46"/>
                    </a:lnTo>
                    <a:lnTo>
                      <a:pt x="125" y="50"/>
                    </a:lnTo>
                    <a:lnTo>
                      <a:pt x="132" y="54"/>
                    </a:lnTo>
                    <a:lnTo>
                      <a:pt x="139" y="58"/>
                    </a:lnTo>
                    <a:lnTo>
                      <a:pt x="145" y="61"/>
                    </a:lnTo>
                    <a:lnTo>
                      <a:pt x="152" y="64"/>
                    </a:lnTo>
                    <a:lnTo>
                      <a:pt x="158" y="66"/>
                    </a:lnTo>
                    <a:lnTo>
                      <a:pt x="166" y="67"/>
                    </a:lnTo>
                    <a:lnTo>
                      <a:pt x="174" y="67"/>
                    </a:lnTo>
                    <a:lnTo>
                      <a:pt x="184" y="96"/>
                    </a:lnTo>
                    <a:lnTo>
                      <a:pt x="191" y="123"/>
                    </a:lnTo>
                    <a:lnTo>
                      <a:pt x="195" y="137"/>
                    </a:lnTo>
                    <a:lnTo>
                      <a:pt x="198" y="151"/>
                    </a:lnTo>
                    <a:lnTo>
                      <a:pt x="199" y="165"/>
                    </a:lnTo>
                    <a:lnTo>
                      <a:pt x="200" y="178"/>
                    </a:lnTo>
                    <a:lnTo>
                      <a:pt x="200" y="185"/>
                    </a:lnTo>
                    <a:lnTo>
                      <a:pt x="199" y="192"/>
                    </a:lnTo>
                    <a:lnTo>
                      <a:pt x="198" y="197"/>
                    </a:lnTo>
                    <a:lnTo>
                      <a:pt x="196" y="202"/>
                    </a:lnTo>
                    <a:lnTo>
                      <a:pt x="195" y="207"/>
                    </a:lnTo>
                    <a:lnTo>
                      <a:pt x="192" y="211"/>
                    </a:lnTo>
                    <a:lnTo>
                      <a:pt x="189" y="214"/>
                    </a:lnTo>
                    <a:lnTo>
                      <a:pt x="186" y="216"/>
                    </a:lnTo>
                    <a:lnTo>
                      <a:pt x="179" y="220"/>
                    </a:lnTo>
                    <a:lnTo>
                      <a:pt x="173" y="222"/>
                    </a:lnTo>
                    <a:lnTo>
                      <a:pt x="164" y="224"/>
                    </a:lnTo>
                    <a:lnTo>
                      <a:pt x="156" y="224"/>
                    </a:lnTo>
                    <a:lnTo>
                      <a:pt x="140" y="224"/>
                    </a:lnTo>
                    <a:lnTo>
                      <a:pt x="124" y="226"/>
                    </a:lnTo>
                    <a:lnTo>
                      <a:pt x="118" y="229"/>
                    </a:lnTo>
                    <a:lnTo>
                      <a:pt x="112" y="232"/>
                    </a:lnTo>
                    <a:lnTo>
                      <a:pt x="111" y="235"/>
                    </a:lnTo>
                    <a:lnTo>
                      <a:pt x="109" y="238"/>
                    </a:lnTo>
                    <a:lnTo>
                      <a:pt x="108" y="242"/>
                    </a:lnTo>
                    <a:lnTo>
                      <a:pt x="107" y="246"/>
                    </a:lnTo>
                    <a:lnTo>
                      <a:pt x="98" y="245"/>
                    </a:lnTo>
                    <a:lnTo>
                      <a:pt x="90" y="243"/>
                    </a:lnTo>
                    <a:lnTo>
                      <a:pt x="85" y="240"/>
                    </a:lnTo>
                    <a:lnTo>
                      <a:pt x="80" y="235"/>
                    </a:lnTo>
                    <a:lnTo>
                      <a:pt x="77" y="230"/>
                    </a:lnTo>
                    <a:lnTo>
                      <a:pt x="75" y="223"/>
                    </a:lnTo>
                    <a:lnTo>
                      <a:pt x="73" y="216"/>
                    </a:lnTo>
                    <a:lnTo>
                      <a:pt x="72" y="209"/>
                    </a:lnTo>
                    <a:lnTo>
                      <a:pt x="72" y="192"/>
                    </a:lnTo>
                    <a:lnTo>
                      <a:pt x="72" y="176"/>
                    </a:lnTo>
                    <a:lnTo>
                      <a:pt x="71" y="168"/>
                    </a:lnTo>
                    <a:lnTo>
                      <a:pt x="71" y="161"/>
                    </a:lnTo>
                    <a:lnTo>
                      <a:pt x="69" y="154"/>
                    </a:lnTo>
                    <a:lnTo>
                      <a:pt x="67" y="148"/>
                    </a:lnTo>
                    <a:lnTo>
                      <a:pt x="64" y="142"/>
                    </a:lnTo>
                    <a:lnTo>
                      <a:pt x="61" y="137"/>
                    </a:lnTo>
                    <a:lnTo>
                      <a:pt x="56" y="134"/>
                    </a:lnTo>
                    <a:lnTo>
                      <a:pt x="51" y="130"/>
                    </a:lnTo>
                    <a:lnTo>
                      <a:pt x="40" y="125"/>
                    </a:lnTo>
                    <a:lnTo>
                      <a:pt x="29" y="120"/>
                    </a:lnTo>
                    <a:lnTo>
                      <a:pt x="18" y="115"/>
                    </a:lnTo>
                    <a:lnTo>
                      <a:pt x="9" y="110"/>
                    </a:lnTo>
                    <a:lnTo>
                      <a:pt x="6" y="106"/>
                    </a:lnTo>
                    <a:lnTo>
                      <a:pt x="3" y="103"/>
                    </a:lnTo>
                    <a:lnTo>
                      <a:pt x="1" y="98"/>
                    </a:lnTo>
                    <a:lnTo>
                      <a:pt x="0" y="93"/>
                    </a:lnTo>
                    <a:lnTo>
                      <a:pt x="1" y="87"/>
                    </a:lnTo>
                    <a:lnTo>
                      <a:pt x="3" y="83"/>
                    </a:lnTo>
                    <a:lnTo>
                      <a:pt x="5" y="78"/>
                    </a:lnTo>
                    <a:lnTo>
                      <a:pt x="7" y="73"/>
                    </a:lnTo>
                    <a:lnTo>
                      <a:pt x="10" y="68"/>
                    </a:lnTo>
                    <a:lnTo>
                      <a:pt x="12" y="62"/>
                    </a:lnTo>
                    <a:lnTo>
                      <a:pt x="13" y="56"/>
                    </a:lnTo>
                    <a:lnTo>
                      <a:pt x="13" y="4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8" name="Freeform 279">
                <a:extLst>
                  <a:ext uri="{FF2B5EF4-FFF2-40B4-BE49-F238E27FC236}">
                    <a16:creationId xmlns:a16="http://schemas.microsoft.com/office/drawing/2014/main" id="{9E1D7E3C-6706-4A8C-9C8E-CEA40801318B}"/>
                  </a:ext>
                </a:extLst>
              </p:cNvPr>
              <p:cNvSpPr>
                <a:spLocks/>
              </p:cNvSpPr>
              <p:nvPr>
                <p:custDataLst>
                  <p:tags r:id="rId206"/>
                </p:custDataLst>
              </p:nvPr>
            </p:nvSpPr>
            <p:spPr bwMode="auto">
              <a:xfrm>
                <a:off x="8251937" y="4584449"/>
                <a:ext cx="278713" cy="286550"/>
              </a:xfrm>
              <a:custGeom>
                <a:avLst/>
                <a:gdLst>
                  <a:gd name="T0" fmla="*/ 16889418 w 538"/>
                  <a:gd name="T1" fmla="*/ 5712653 h 487"/>
                  <a:gd name="T2" fmla="*/ 29695203 w 538"/>
                  <a:gd name="T3" fmla="*/ 12785014 h 487"/>
                  <a:gd name="T4" fmla="*/ 37490252 w 538"/>
                  <a:gd name="T5" fmla="*/ 19041655 h 487"/>
                  <a:gd name="T6" fmla="*/ 46955978 w 538"/>
                  <a:gd name="T7" fmla="*/ 29922973 h 487"/>
                  <a:gd name="T8" fmla="*/ 55678989 w 538"/>
                  <a:gd name="T9" fmla="*/ 36995335 h 487"/>
                  <a:gd name="T10" fmla="*/ 55493311 w 538"/>
                  <a:gd name="T11" fmla="*/ 43795963 h 487"/>
                  <a:gd name="T12" fmla="*/ 64402001 w 538"/>
                  <a:gd name="T13" fmla="*/ 55765257 h 487"/>
                  <a:gd name="T14" fmla="*/ 72939334 w 538"/>
                  <a:gd name="T15" fmla="*/ 67462296 h 487"/>
                  <a:gd name="T16" fmla="*/ 70340697 w 538"/>
                  <a:gd name="T17" fmla="*/ 68006283 h 487"/>
                  <a:gd name="T18" fmla="*/ 69041809 w 538"/>
                  <a:gd name="T19" fmla="*/ 69638768 h 487"/>
                  <a:gd name="T20" fmla="*/ 69041809 w 538"/>
                  <a:gd name="T21" fmla="*/ 75623154 h 487"/>
                  <a:gd name="T22" fmla="*/ 69969771 w 538"/>
                  <a:gd name="T23" fmla="*/ 81879795 h 487"/>
                  <a:gd name="T24" fmla="*/ 72197051 w 538"/>
                  <a:gd name="T25" fmla="*/ 88408168 h 487"/>
                  <a:gd name="T26" fmla="*/ 75537540 w 538"/>
                  <a:gd name="T27" fmla="*/ 94664809 h 487"/>
                  <a:gd name="T28" fmla="*/ 79435065 w 538"/>
                  <a:gd name="T29" fmla="*/ 99561220 h 487"/>
                  <a:gd name="T30" fmla="*/ 83703947 w 538"/>
                  <a:gd name="T31" fmla="*/ 102281680 h 487"/>
                  <a:gd name="T32" fmla="*/ 85559870 w 538"/>
                  <a:gd name="T33" fmla="*/ 106090115 h 487"/>
                  <a:gd name="T34" fmla="*/ 87601472 w 538"/>
                  <a:gd name="T35" fmla="*/ 110442538 h 487"/>
                  <a:gd name="T36" fmla="*/ 90756283 w 538"/>
                  <a:gd name="T37" fmla="*/ 113434731 h 487"/>
                  <a:gd name="T38" fmla="*/ 95210844 w 538"/>
                  <a:gd name="T39" fmla="*/ 117514899 h 487"/>
                  <a:gd name="T40" fmla="*/ 96138805 w 538"/>
                  <a:gd name="T41" fmla="*/ 120779347 h 487"/>
                  <a:gd name="T42" fmla="*/ 97437693 w 538"/>
                  <a:gd name="T43" fmla="*/ 122411310 h 487"/>
                  <a:gd name="T44" fmla="*/ 99850652 w 538"/>
                  <a:gd name="T45" fmla="*/ 124043795 h 487"/>
                  <a:gd name="T46" fmla="*/ 99108369 w 538"/>
                  <a:gd name="T47" fmla="*/ 128396218 h 487"/>
                  <a:gd name="T48" fmla="*/ 96324484 w 538"/>
                  <a:gd name="T49" fmla="*/ 131660144 h 487"/>
                  <a:gd name="T50" fmla="*/ 90941962 w 538"/>
                  <a:gd name="T51" fmla="*/ 132476386 h 487"/>
                  <a:gd name="T52" fmla="*/ 83146912 w 538"/>
                  <a:gd name="T53" fmla="*/ 130572168 h 487"/>
                  <a:gd name="T54" fmla="*/ 76836859 w 538"/>
                  <a:gd name="T55" fmla="*/ 126763733 h 487"/>
                  <a:gd name="T56" fmla="*/ 71640015 w 538"/>
                  <a:gd name="T57" fmla="*/ 121323335 h 487"/>
                  <a:gd name="T58" fmla="*/ 65886567 w 538"/>
                  <a:gd name="T59" fmla="*/ 112890743 h 487"/>
                  <a:gd name="T60" fmla="*/ 57905839 w 538"/>
                  <a:gd name="T61" fmla="*/ 99289487 h 487"/>
                  <a:gd name="T62" fmla="*/ 50853503 w 538"/>
                  <a:gd name="T63" fmla="*/ 89768398 h 487"/>
                  <a:gd name="T64" fmla="*/ 45656659 w 538"/>
                  <a:gd name="T65" fmla="*/ 85959963 h 487"/>
                  <a:gd name="T66" fmla="*/ 39346176 w 538"/>
                  <a:gd name="T67" fmla="*/ 84055745 h 487"/>
                  <a:gd name="T68" fmla="*/ 33407480 w 538"/>
                  <a:gd name="T69" fmla="*/ 84328000 h 487"/>
                  <a:gd name="T70" fmla="*/ 28396315 w 538"/>
                  <a:gd name="T71" fmla="*/ 86232218 h 487"/>
                  <a:gd name="T72" fmla="*/ 20972191 w 538"/>
                  <a:gd name="T73" fmla="*/ 93848567 h 487"/>
                  <a:gd name="T74" fmla="*/ 25241073 w 538"/>
                  <a:gd name="T75" fmla="*/ 98200990 h 487"/>
                  <a:gd name="T76" fmla="*/ 25983356 w 538"/>
                  <a:gd name="T77" fmla="*/ 100649195 h 487"/>
                  <a:gd name="T78" fmla="*/ 23013793 w 538"/>
                  <a:gd name="T79" fmla="*/ 109082308 h 487"/>
                  <a:gd name="T80" fmla="*/ 20972191 w 538"/>
                  <a:gd name="T81" fmla="*/ 112618489 h 487"/>
                  <a:gd name="T82" fmla="*/ 8723012 w 538"/>
                  <a:gd name="T83" fmla="*/ 109626296 h 487"/>
                  <a:gd name="T84" fmla="*/ 3711846 w 538"/>
                  <a:gd name="T85" fmla="*/ 70454489 h 487"/>
                  <a:gd name="T86" fmla="*/ 3711846 w 538"/>
                  <a:gd name="T87" fmla="*/ 0 h 487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538" h="487">
                    <a:moveTo>
                      <a:pt x="20" y="0"/>
                    </a:moveTo>
                    <a:lnTo>
                      <a:pt x="58" y="10"/>
                    </a:lnTo>
                    <a:lnTo>
                      <a:pt x="91" y="21"/>
                    </a:lnTo>
                    <a:lnTo>
                      <a:pt x="119" y="30"/>
                    </a:lnTo>
                    <a:lnTo>
                      <a:pt x="142" y="38"/>
                    </a:lnTo>
                    <a:lnTo>
                      <a:pt x="160" y="47"/>
                    </a:lnTo>
                    <a:lnTo>
                      <a:pt x="177" y="55"/>
                    </a:lnTo>
                    <a:lnTo>
                      <a:pt x="190" y="62"/>
                    </a:lnTo>
                    <a:lnTo>
                      <a:pt x="202" y="70"/>
                    </a:lnTo>
                    <a:lnTo>
                      <a:pt x="222" y="86"/>
                    </a:lnTo>
                    <a:lnTo>
                      <a:pt x="242" y="102"/>
                    </a:lnTo>
                    <a:lnTo>
                      <a:pt x="253" y="110"/>
                    </a:lnTo>
                    <a:lnTo>
                      <a:pt x="266" y="118"/>
                    </a:lnTo>
                    <a:lnTo>
                      <a:pt x="281" y="127"/>
                    </a:lnTo>
                    <a:lnTo>
                      <a:pt x="300" y="136"/>
                    </a:lnTo>
                    <a:lnTo>
                      <a:pt x="297" y="152"/>
                    </a:lnTo>
                    <a:lnTo>
                      <a:pt x="297" y="158"/>
                    </a:lnTo>
                    <a:lnTo>
                      <a:pt x="299" y="161"/>
                    </a:lnTo>
                    <a:lnTo>
                      <a:pt x="300" y="167"/>
                    </a:lnTo>
                    <a:lnTo>
                      <a:pt x="314" y="178"/>
                    </a:lnTo>
                    <a:lnTo>
                      <a:pt x="347" y="205"/>
                    </a:lnTo>
                    <a:lnTo>
                      <a:pt x="381" y="231"/>
                    </a:lnTo>
                    <a:lnTo>
                      <a:pt x="399" y="247"/>
                    </a:lnTo>
                    <a:lnTo>
                      <a:pt x="393" y="248"/>
                    </a:lnTo>
                    <a:lnTo>
                      <a:pt x="386" y="250"/>
                    </a:lnTo>
                    <a:lnTo>
                      <a:pt x="382" y="250"/>
                    </a:lnTo>
                    <a:lnTo>
                      <a:pt x="379" y="250"/>
                    </a:lnTo>
                    <a:lnTo>
                      <a:pt x="376" y="249"/>
                    </a:lnTo>
                    <a:lnTo>
                      <a:pt x="372" y="247"/>
                    </a:lnTo>
                    <a:lnTo>
                      <a:pt x="372" y="256"/>
                    </a:lnTo>
                    <a:lnTo>
                      <a:pt x="372" y="265"/>
                    </a:lnTo>
                    <a:lnTo>
                      <a:pt x="372" y="272"/>
                    </a:lnTo>
                    <a:lnTo>
                      <a:pt x="372" y="278"/>
                    </a:lnTo>
                    <a:lnTo>
                      <a:pt x="373" y="285"/>
                    </a:lnTo>
                    <a:lnTo>
                      <a:pt x="375" y="292"/>
                    </a:lnTo>
                    <a:lnTo>
                      <a:pt x="377" y="301"/>
                    </a:lnTo>
                    <a:lnTo>
                      <a:pt x="380" y="309"/>
                    </a:lnTo>
                    <a:lnTo>
                      <a:pt x="384" y="317"/>
                    </a:lnTo>
                    <a:lnTo>
                      <a:pt x="389" y="325"/>
                    </a:lnTo>
                    <a:lnTo>
                      <a:pt x="394" y="333"/>
                    </a:lnTo>
                    <a:lnTo>
                      <a:pt x="401" y="341"/>
                    </a:lnTo>
                    <a:lnTo>
                      <a:pt x="407" y="348"/>
                    </a:lnTo>
                    <a:lnTo>
                      <a:pt x="414" y="355"/>
                    </a:lnTo>
                    <a:lnTo>
                      <a:pt x="421" y="361"/>
                    </a:lnTo>
                    <a:lnTo>
                      <a:pt x="428" y="366"/>
                    </a:lnTo>
                    <a:lnTo>
                      <a:pt x="436" y="371"/>
                    </a:lnTo>
                    <a:lnTo>
                      <a:pt x="444" y="374"/>
                    </a:lnTo>
                    <a:lnTo>
                      <a:pt x="451" y="376"/>
                    </a:lnTo>
                    <a:lnTo>
                      <a:pt x="459" y="376"/>
                    </a:lnTo>
                    <a:lnTo>
                      <a:pt x="459" y="384"/>
                    </a:lnTo>
                    <a:lnTo>
                      <a:pt x="461" y="390"/>
                    </a:lnTo>
                    <a:lnTo>
                      <a:pt x="465" y="396"/>
                    </a:lnTo>
                    <a:lnTo>
                      <a:pt x="468" y="401"/>
                    </a:lnTo>
                    <a:lnTo>
                      <a:pt x="472" y="406"/>
                    </a:lnTo>
                    <a:lnTo>
                      <a:pt x="478" y="411"/>
                    </a:lnTo>
                    <a:lnTo>
                      <a:pt x="483" y="414"/>
                    </a:lnTo>
                    <a:lnTo>
                      <a:pt x="489" y="417"/>
                    </a:lnTo>
                    <a:lnTo>
                      <a:pt x="500" y="423"/>
                    </a:lnTo>
                    <a:lnTo>
                      <a:pt x="510" y="429"/>
                    </a:lnTo>
                    <a:lnTo>
                      <a:pt x="513" y="432"/>
                    </a:lnTo>
                    <a:lnTo>
                      <a:pt x="516" y="436"/>
                    </a:lnTo>
                    <a:lnTo>
                      <a:pt x="518" y="440"/>
                    </a:lnTo>
                    <a:lnTo>
                      <a:pt x="518" y="444"/>
                    </a:lnTo>
                    <a:lnTo>
                      <a:pt x="519" y="446"/>
                    </a:lnTo>
                    <a:lnTo>
                      <a:pt x="522" y="448"/>
                    </a:lnTo>
                    <a:lnTo>
                      <a:pt x="525" y="450"/>
                    </a:lnTo>
                    <a:lnTo>
                      <a:pt x="528" y="452"/>
                    </a:lnTo>
                    <a:lnTo>
                      <a:pt x="536" y="455"/>
                    </a:lnTo>
                    <a:lnTo>
                      <a:pt x="538" y="456"/>
                    </a:lnTo>
                    <a:lnTo>
                      <a:pt x="538" y="461"/>
                    </a:lnTo>
                    <a:lnTo>
                      <a:pt x="536" y="467"/>
                    </a:lnTo>
                    <a:lnTo>
                      <a:pt x="534" y="472"/>
                    </a:lnTo>
                    <a:lnTo>
                      <a:pt x="529" y="477"/>
                    </a:lnTo>
                    <a:lnTo>
                      <a:pt x="525" y="481"/>
                    </a:lnTo>
                    <a:lnTo>
                      <a:pt x="519" y="484"/>
                    </a:lnTo>
                    <a:lnTo>
                      <a:pt x="513" y="487"/>
                    </a:lnTo>
                    <a:lnTo>
                      <a:pt x="505" y="487"/>
                    </a:lnTo>
                    <a:lnTo>
                      <a:pt x="490" y="487"/>
                    </a:lnTo>
                    <a:lnTo>
                      <a:pt x="474" y="485"/>
                    </a:lnTo>
                    <a:lnTo>
                      <a:pt x="461" y="483"/>
                    </a:lnTo>
                    <a:lnTo>
                      <a:pt x="448" y="480"/>
                    </a:lnTo>
                    <a:lnTo>
                      <a:pt x="436" y="476"/>
                    </a:lnTo>
                    <a:lnTo>
                      <a:pt x="425" y="471"/>
                    </a:lnTo>
                    <a:lnTo>
                      <a:pt x="414" y="466"/>
                    </a:lnTo>
                    <a:lnTo>
                      <a:pt x="404" y="459"/>
                    </a:lnTo>
                    <a:lnTo>
                      <a:pt x="395" y="453"/>
                    </a:lnTo>
                    <a:lnTo>
                      <a:pt x="386" y="446"/>
                    </a:lnTo>
                    <a:lnTo>
                      <a:pt x="378" y="438"/>
                    </a:lnTo>
                    <a:lnTo>
                      <a:pt x="369" y="431"/>
                    </a:lnTo>
                    <a:lnTo>
                      <a:pt x="355" y="415"/>
                    </a:lnTo>
                    <a:lnTo>
                      <a:pt x="341" y="398"/>
                    </a:lnTo>
                    <a:lnTo>
                      <a:pt x="326" y="381"/>
                    </a:lnTo>
                    <a:lnTo>
                      <a:pt x="312" y="365"/>
                    </a:lnTo>
                    <a:lnTo>
                      <a:pt x="298" y="350"/>
                    </a:lnTo>
                    <a:lnTo>
                      <a:pt x="282" y="336"/>
                    </a:lnTo>
                    <a:lnTo>
                      <a:pt x="274" y="330"/>
                    </a:lnTo>
                    <a:lnTo>
                      <a:pt x="265" y="325"/>
                    </a:lnTo>
                    <a:lnTo>
                      <a:pt x="256" y="320"/>
                    </a:lnTo>
                    <a:lnTo>
                      <a:pt x="246" y="316"/>
                    </a:lnTo>
                    <a:lnTo>
                      <a:pt x="235" y="313"/>
                    </a:lnTo>
                    <a:lnTo>
                      <a:pt x="224" y="311"/>
                    </a:lnTo>
                    <a:lnTo>
                      <a:pt x="212" y="309"/>
                    </a:lnTo>
                    <a:lnTo>
                      <a:pt x="200" y="309"/>
                    </a:lnTo>
                    <a:lnTo>
                      <a:pt x="189" y="309"/>
                    </a:lnTo>
                    <a:lnTo>
                      <a:pt x="180" y="310"/>
                    </a:lnTo>
                    <a:lnTo>
                      <a:pt x="171" y="311"/>
                    </a:lnTo>
                    <a:lnTo>
                      <a:pt x="165" y="313"/>
                    </a:lnTo>
                    <a:lnTo>
                      <a:pt x="153" y="317"/>
                    </a:lnTo>
                    <a:lnTo>
                      <a:pt x="144" y="322"/>
                    </a:lnTo>
                    <a:lnTo>
                      <a:pt x="130" y="334"/>
                    </a:lnTo>
                    <a:lnTo>
                      <a:pt x="113" y="345"/>
                    </a:lnTo>
                    <a:lnTo>
                      <a:pt x="126" y="352"/>
                    </a:lnTo>
                    <a:lnTo>
                      <a:pt x="134" y="358"/>
                    </a:lnTo>
                    <a:lnTo>
                      <a:pt x="136" y="361"/>
                    </a:lnTo>
                    <a:lnTo>
                      <a:pt x="138" y="363"/>
                    </a:lnTo>
                    <a:lnTo>
                      <a:pt x="140" y="366"/>
                    </a:lnTo>
                    <a:lnTo>
                      <a:pt x="140" y="370"/>
                    </a:lnTo>
                    <a:lnTo>
                      <a:pt x="136" y="380"/>
                    </a:lnTo>
                    <a:lnTo>
                      <a:pt x="130" y="394"/>
                    </a:lnTo>
                    <a:lnTo>
                      <a:pt x="124" y="401"/>
                    </a:lnTo>
                    <a:lnTo>
                      <a:pt x="120" y="407"/>
                    </a:lnTo>
                    <a:lnTo>
                      <a:pt x="117" y="412"/>
                    </a:lnTo>
                    <a:lnTo>
                      <a:pt x="113" y="414"/>
                    </a:lnTo>
                    <a:lnTo>
                      <a:pt x="93" y="395"/>
                    </a:lnTo>
                    <a:lnTo>
                      <a:pt x="70" y="399"/>
                    </a:lnTo>
                    <a:lnTo>
                      <a:pt x="47" y="403"/>
                    </a:lnTo>
                    <a:lnTo>
                      <a:pt x="28" y="406"/>
                    </a:lnTo>
                    <a:lnTo>
                      <a:pt x="20" y="407"/>
                    </a:lnTo>
                    <a:lnTo>
                      <a:pt x="20" y="259"/>
                    </a:lnTo>
                    <a:lnTo>
                      <a:pt x="0" y="234"/>
                    </a:lnTo>
                    <a:lnTo>
                      <a:pt x="20" y="222"/>
                    </a:lnTo>
                    <a:lnTo>
                      <a:pt x="20" y="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69" name="Freeform 280">
                <a:extLst>
                  <a:ext uri="{FF2B5EF4-FFF2-40B4-BE49-F238E27FC236}">
                    <a16:creationId xmlns:a16="http://schemas.microsoft.com/office/drawing/2014/main" id="{1A4F7AA5-9EA0-4798-8809-55B48CBD35FE}"/>
                  </a:ext>
                </a:extLst>
              </p:cNvPr>
              <p:cNvSpPr>
                <a:spLocks/>
              </p:cNvSpPr>
              <p:nvPr>
                <p:custDataLst>
                  <p:tags r:id="rId207"/>
                </p:custDataLst>
              </p:nvPr>
            </p:nvSpPr>
            <p:spPr bwMode="auto">
              <a:xfrm>
                <a:off x="8483594" y="4566869"/>
                <a:ext cx="128498" cy="145912"/>
              </a:xfrm>
              <a:custGeom>
                <a:avLst/>
                <a:gdLst>
                  <a:gd name="T0" fmla="*/ 24036551 w 253"/>
                  <a:gd name="T1" fmla="*/ 273378 h 246"/>
                  <a:gd name="T2" fmla="*/ 27747870 w 253"/>
                  <a:gd name="T3" fmla="*/ 2185979 h 246"/>
                  <a:gd name="T4" fmla="*/ 31636179 w 253"/>
                  <a:gd name="T5" fmla="*/ 5737803 h 246"/>
                  <a:gd name="T6" fmla="*/ 35170929 w 253"/>
                  <a:gd name="T7" fmla="*/ 10109238 h 246"/>
                  <a:gd name="T8" fmla="*/ 38529109 w 253"/>
                  <a:gd name="T9" fmla="*/ 15574186 h 246"/>
                  <a:gd name="T10" fmla="*/ 41356741 w 253"/>
                  <a:gd name="T11" fmla="*/ 20765232 h 246"/>
                  <a:gd name="T12" fmla="*/ 43301105 w 253"/>
                  <a:gd name="T13" fmla="*/ 25683424 h 246"/>
                  <a:gd name="T14" fmla="*/ 44538352 w 253"/>
                  <a:gd name="T15" fmla="*/ 30328237 h 246"/>
                  <a:gd name="T16" fmla="*/ 44538352 w 253"/>
                  <a:gd name="T17" fmla="*/ 34973050 h 246"/>
                  <a:gd name="T18" fmla="*/ 42947546 w 253"/>
                  <a:gd name="T19" fmla="*/ 41257087 h 246"/>
                  <a:gd name="T20" fmla="*/ 40473053 w 253"/>
                  <a:gd name="T21" fmla="*/ 47541646 h 246"/>
                  <a:gd name="T22" fmla="*/ 36938303 w 253"/>
                  <a:gd name="T23" fmla="*/ 53279448 h 246"/>
                  <a:gd name="T24" fmla="*/ 32519866 w 253"/>
                  <a:gd name="T25" fmla="*/ 58470495 h 246"/>
                  <a:gd name="T26" fmla="*/ 27747870 w 253"/>
                  <a:gd name="T27" fmla="*/ 62569075 h 246"/>
                  <a:gd name="T28" fmla="*/ 22799304 w 253"/>
                  <a:gd name="T29" fmla="*/ 65574666 h 246"/>
                  <a:gd name="T30" fmla="*/ 17673749 w 253"/>
                  <a:gd name="T31" fmla="*/ 66940510 h 246"/>
                  <a:gd name="T32" fmla="*/ 13078742 w 253"/>
                  <a:gd name="T33" fmla="*/ 66940510 h 246"/>
                  <a:gd name="T34" fmla="*/ 9367003 w 253"/>
                  <a:gd name="T35" fmla="*/ 65574666 h 246"/>
                  <a:gd name="T36" fmla="*/ 5832253 w 253"/>
                  <a:gd name="T37" fmla="*/ 63934920 h 246"/>
                  <a:gd name="T38" fmla="*/ 1943944 w 253"/>
                  <a:gd name="T39" fmla="*/ 62569075 h 246"/>
                  <a:gd name="T40" fmla="*/ 530128 w 253"/>
                  <a:gd name="T41" fmla="*/ 59836863 h 246"/>
                  <a:gd name="T42" fmla="*/ 1767375 w 253"/>
                  <a:gd name="T43" fmla="*/ 56011661 h 246"/>
                  <a:gd name="T44" fmla="*/ 3888309 w 253"/>
                  <a:gd name="T45" fmla="*/ 53552304 h 246"/>
                  <a:gd name="T46" fmla="*/ 6539371 w 253"/>
                  <a:gd name="T47" fmla="*/ 52186459 h 246"/>
                  <a:gd name="T48" fmla="*/ 8836874 w 253"/>
                  <a:gd name="T49" fmla="*/ 53825682 h 246"/>
                  <a:gd name="T50" fmla="*/ 10604249 w 253"/>
                  <a:gd name="T51" fmla="*/ 56557894 h 246"/>
                  <a:gd name="T52" fmla="*/ 12018065 w 253"/>
                  <a:gd name="T53" fmla="*/ 54918671 h 246"/>
                  <a:gd name="T54" fmla="*/ 13255312 w 253"/>
                  <a:gd name="T55" fmla="*/ 51913081 h 246"/>
                  <a:gd name="T56" fmla="*/ 14846117 w 253"/>
                  <a:gd name="T57" fmla="*/ 49180869 h 246"/>
                  <a:gd name="T58" fmla="*/ 16083364 w 253"/>
                  <a:gd name="T59" fmla="*/ 49454247 h 246"/>
                  <a:gd name="T60" fmla="*/ 17320610 w 253"/>
                  <a:gd name="T61" fmla="*/ 48907490 h 246"/>
                  <a:gd name="T62" fmla="*/ 18734426 w 253"/>
                  <a:gd name="T63" fmla="*/ 48634635 h 246"/>
                  <a:gd name="T64" fmla="*/ 21208499 w 253"/>
                  <a:gd name="T65" fmla="*/ 47541646 h 246"/>
                  <a:gd name="T66" fmla="*/ 26334054 w 253"/>
                  <a:gd name="T67" fmla="*/ 44809433 h 246"/>
                  <a:gd name="T68" fmla="*/ 31636179 w 253"/>
                  <a:gd name="T69" fmla="*/ 40164620 h 246"/>
                  <a:gd name="T70" fmla="*/ 34817369 w 253"/>
                  <a:gd name="T71" fmla="*/ 36885651 h 246"/>
                  <a:gd name="T72" fmla="*/ 37115293 w 253"/>
                  <a:gd name="T73" fmla="*/ 33607206 h 246"/>
                  <a:gd name="T74" fmla="*/ 38529109 w 253"/>
                  <a:gd name="T75" fmla="*/ 30328237 h 246"/>
                  <a:gd name="T76" fmla="*/ 38705678 w 253"/>
                  <a:gd name="T77" fmla="*/ 26776413 h 246"/>
                  <a:gd name="T78" fmla="*/ 37821991 w 253"/>
                  <a:gd name="T79" fmla="*/ 24044201 h 246"/>
                  <a:gd name="T80" fmla="*/ 37115293 w 253"/>
                  <a:gd name="T81" fmla="*/ 21858222 h 246"/>
                  <a:gd name="T82" fmla="*/ 36584744 w 253"/>
                  <a:gd name="T83" fmla="*/ 19672243 h 246"/>
                  <a:gd name="T84" fmla="*/ 35524488 w 253"/>
                  <a:gd name="T85" fmla="*/ 18306398 h 246"/>
                  <a:gd name="T86" fmla="*/ 33757113 w 253"/>
                  <a:gd name="T87" fmla="*/ 17759642 h 246"/>
                  <a:gd name="T88" fmla="*/ 32519866 w 253"/>
                  <a:gd name="T89" fmla="*/ 16666652 h 246"/>
                  <a:gd name="T90" fmla="*/ 31813168 w 253"/>
                  <a:gd name="T91" fmla="*/ 14754051 h 246"/>
                  <a:gd name="T92" fmla="*/ 24743249 w 253"/>
                  <a:gd name="T93" fmla="*/ 13388207 h 246"/>
                  <a:gd name="T94" fmla="*/ 24036551 w 253"/>
                  <a:gd name="T95" fmla="*/ 12021839 h 246"/>
                  <a:gd name="T96" fmla="*/ 24036551 w 253"/>
                  <a:gd name="T97" fmla="*/ 9836383 h 246"/>
                  <a:gd name="T98" fmla="*/ 24743249 w 253"/>
                  <a:gd name="T99" fmla="*/ 4918191 h 246"/>
                  <a:gd name="T100" fmla="*/ 19441124 w 253"/>
                  <a:gd name="T101" fmla="*/ 3005590 h 246"/>
                  <a:gd name="T102" fmla="*/ 17143621 w 253"/>
                  <a:gd name="T103" fmla="*/ 3278969 h 246"/>
                  <a:gd name="T104" fmla="*/ 15199676 w 253"/>
                  <a:gd name="T105" fmla="*/ 4918191 h 246"/>
                  <a:gd name="T106" fmla="*/ 18380867 w 253"/>
                  <a:gd name="T107" fmla="*/ 1366368 h 246"/>
                  <a:gd name="T108" fmla="*/ 19971673 w 253"/>
                  <a:gd name="T109" fmla="*/ 273378 h 246"/>
                  <a:gd name="T110" fmla="*/ 22445745 w 253"/>
                  <a:gd name="T111" fmla="*/ 0 h 24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253" h="246">
                    <a:moveTo>
                      <a:pt x="127" y="0"/>
                    </a:moveTo>
                    <a:lnTo>
                      <a:pt x="136" y="1"/>
                    </a:lnTo>
                    <a:lnTo>
                      <a:pt x="146" y="4"/>
                    </a:lnTo>
                    <a:lnTo>
                      <a:pt x="157" y="8"/>
                    </a:lnTo>
                    <a:lnTo>
                      <a:pt x="168" y="14"/>
                    </a:lnTo>
                    <a:lnTo>
                      <a:pt x="179" y="21"/>
                    </a:lnTo>
                    <a:lnTo>
                      <a:pt x="189" y="28"/>
                    </a:lnTo>
                    <a:lnTo>
                      <a:pt x="199" y="37"/>
                    </a:lnTo>
                    <a:lnTo>
                      <a:pt x="209" y="47"/>
                    </a:lnTo>
                    <a:lnTo>
                      <a:pt x="218" y="57"/>
                    </a:lnTo>
                    <a:lnTo>
                      <a:pt x="227" y="66"/>
                    </a:lnTo>
                    <a:lnTo>
                      <a:pt x="234" y="76"/>
                    </a:lnTo>
                    <a:lnTo>
                      <a:pt x="240" y="85"/>
                    </a:lnTo>
                    <a:lnTo>
                      <a:pt x="245" y="94"/>
                    </a:lnTo>
                    <a:lnTo>
                      <a:pt x="250" y="103"/>
                    </a:lnTo>
                    <a:lnTo>
                      <a:pt x="252" y="111"/>
                    </a:lnTo>
                    <a:lnTo>
                      <a:pt x="253" y="117"/>
                    </a:lnTo>
                    <a:lnTo>
                      <a:pt x="252" y="128"/>
                    </a:lnTo>
                    <a:lnTo>
                      <a:pt x="248" y="140"/>
                    </a:lnTo>
                    <a:lnTo>
                      <a:pt x="243" y="151"/>
                    </a:lnTo>
                    <a:lnTo>
                      <a:pt x="236" y="163"/>
                    </a:lnTo>
                    <a:lnTo>
                      <a:pt x="229" y="174"/>
                    </a:lnTo>
                    <a:lnTo>
                      <a:pt x="219" y="185"/>
                    </a:lnTo>
                    <a:lnTo>
                      <a:pt x="209" y="195"/>
                    </a:lnTo>
                    <a:lnTo>
                      <a:pt x="197" y="204"/>
                    </a:lnTo>
                    <a:lnTo>
                      <a:pt x="184" y="214"/>
                    </a:lnTo>
                    <a:lnTo>
                      <a:pt x="171" y="222"/>
                    </a:lnTo>
                    <a:lnTo>
                      <a:pt x="157" y="229"/>
                    </a:lnTo>
                    <a:lnTo>
                      <a:pt x="143" y="235"/>
                    </a:lnTo>
                    <a:lnTo>
                      <a:pt x="129" y="240"/>
                    </a:lnTo>
                    <a:lnTo>
                      <a:pt x="115" y="243"/>
                    </a:lnTo>
                    <a:lnTo>
                      <a:pt x="100" y="245"/>
                    </a:lnTo>
                    <a:lnTo>
                      <a:pt x="86" y="246"/>
                    </a:lnTo>
                    <a:lnTo>
                      <a:pt x="74" y="245"/>
                    </a:lnTo>
                    <a:lnTo>
                      <a:pt x="64" y="243"/>
                    </a:lnTo>
                    <a:lnTo>
                      <a:pt x="53" y="240"/>
                    </a:lnTo>
                    <a:lnTo>
                      <a:pt x="43" y="237"/>
                    </a:lnTo>
                    <a:lnTo>
                      <a:pt x="33" y="234"/>
                    </a:lnTo>
                    <a:lnTo>
                      <a:pt x="22" y="231"/>
                    </a:lnTo>
                    <a:lnTo>
                      <a:pt x="11" y="229"/>
                    </a:lnTo>
                    <a:lnTo>
                      <a:pt x="0" y="228"/>
                    </a:lnTo>
                    <a:lnTo>
                      <a:pt x="3" y="219"/>
                    </a:lnTo>
                    <a:lnTo>
                      <a:pt x="6" y="212"/>
                    </a:lnTo>
                    <a:lnTo>
                      <a:pt x="10" y="205"/>
                    </a:lnTo>
                    <a:lnTo>
                      <a:pt x="16" y="200"/>
                    </a:lnTo>
                    <a:lnTo>
                      <a:pt x="22" y="196"/>
                    </a:lnTo>
                    <a:lnTo>
                      <a:pt x="29" y="193"/>
                    </a:lnTo>
                    <a:lnTo>
                      <a:pt x="37" y="191"/>
                    </a:lnTo>
                    <a:lnTo>
                      <a:pt x="46" y="191"/>
                    </a:lnTo>
                    <a:lnTo>
                      <a:pt x="50" y="197"/>
                    </a:lnTo>
                    <a:lnTo>
                      <a:pt x="53" y="209"/>
                    </a:lnTo>
                    <a:lnTo>
                      <a:pt x="60" y="207"/>
                    </a:lnTo>
                    <a:lnTo>
                      <a:pt x="65" y="204"/>
                    </a:lnTo>
                    <a:lnTo>
                      <a:pt x="68" y="201"/>
                    </a:lnTo>
                    <a:lnTo>
                      <a:pt x="72" y="198"/>
                    </a:lnTo>
                    <a:lnTo>
                      <a:pt x="75" y="190"/>
                    </a:lnTo>
                    <a:lnTo>
                      <a:pt x="79" y="179"/>
                    </a:lnTo>
                    <a:lnTo>
                      <a:pt x="84" y="180"/>
                    </a:lnTo>
                    <a:lnTo>
                      <a:pt x="88" y="181"/>
                    </a:lnTo>
                    <a:lnTo>
                      <a:pt x="91" y="181"/>
                    </a:lnTo>
                    <a:lnTo>
                      <a:pt x="95" y="181"/>
                    </a:lnTo>
                    <a:lnTo>
                      <a:pt x="98" y="179"/>
                    </a:lnTo>
                    <a:lnTo>
                      <a:pt x="99" y="179"/>
                    </a:lnTo>
                    <a:lnTo>
                      <a:pt x="106" y="178"/>
                    </a:lnTo>
                    <a:lnTo>
                      <a:pt x="112" y="177"/>
                    </a:lnTo>
                    <a:lnTo>
                      <a:pt x="120" y="174"/>
                    </a:lnTo>
                    <a:lnTo>
                      <a:pt x="130" y="171"/>
                    </a:lnTo>
                    <a:lnTo>
                      <a:pt x="149" y="164"/>
                    </a:lnTo>
                    <a:lnTo>
                      <a:pt x="169" y="153"/>
                    </a:lnTo>
                    <a:lnTo>
                      <a:pt x="179" y="147"/>
                    </a:lnTo>
                    <a:lnTo>
                      <a:pt x="188" y="141"/>
                    </a:lnTo>
                    <a:lnTo>
                      <a:pt x="197" y="135"/>
                    </a:lnTo>
                    <a:lnTo>
                      <a:pt x="205" y="129"/>
                    </a:lnTo>
                    <a:lnTo>
                      <a:pt x="210" y="123"/>
                    </a:lnTo>
                    <a:lnTo>
                      <a:pt x="216" y="117"/>
                    </a:lnTo>
                    <a:lnTo>
                      <a:pt x="218" y="111"/>
                    </a:lnTo>
                    <a:lnTo>
                      <a:pt x="219" y="105"/>
                    </a:lnTo>
                    <a:lnTo>
                      <a:pt x="219" y="98"/>
                    </a:lnTo>
                    <a:lnTo>
                      <a:pt x="217" y="92"/>
                    </a:lnTo>
                    <a:lnTo>
                      <a:pt x="214" y="88"/>
                    </a:lnTo>
                    <a:lnTo>
                      <a:pt x="212" y="84"/>
                    </a:lnTo>
                    <a:lnTo>
                      <a:pt x="210" y="80"/>
                    </a:lnTo>
                    <a:lnTo>
                      <a:pt x="208" y="76"/>
                    </a:lnTo>
                    <a:lnTo>
                      <a:pt x="207" y="72"/>
                    </a:lnTo>
                    <a:lnTo>
                      <a:pt x="206" y="68"/>
                    </a:lnTo>
                    <a:lnTo>
                      <a:pt x="201" y="67"/>
                    </a:lnTo>
                    <a:lnTo>
                      <a:pt x="196" y="67"/>
                    </a:lnTo>
                    <a:lnTo>
                      <a:pt x="191" y="65"/>
                    </a:lnTo>
                    <a:lnTo>
                      <a:pt x="188" y="63"/>
                    </a:lnTo>
                    <a:lnTo>
                      <a:pt x="184" y="61"/>
                    </a:lnTo>
                    <a:lnTo>
                      <a:pt x="182" y="57"/>
                    </a:lnTo>
                    <a:lnTo>
                      <a:pt x="180" y="54"/>
                    </a:lnTo>
                    <a:lnTo>
                      <a:pt x="179" y="49"/>
                    </a:lnTo>
                    <a:lnTo>
                      <a:pt x="140" y="49"/>
                    </a:lnTo>
                    <a:lnTo>
                      <a:pt x="138" y="47"/>
                    </a:lnTo>
                    <a:lnTo>
                      <a:pt x="136" y="44"/>
                    </a:lnTo>
                    <a:lnTo>
                      <a:pt x="136" y="39"/>
                    </a:lnTo>
                    <a:lnTo>
                      <a:pt x="136" y="36"/>
                    </a:lnTo>
                    <a:lnTo>
                      <a:pt x="139" y="27"/>
                    </a:lnTo>
                    <a:lnTo>
                      <a:pt x="140" y="18"/>
                    </a:lnTo>
                    <a:lnTo>
                      <a:pt x="124" y="14"/>
                    </a:lnTo>
                    <a:lnTo>
                      <a:pt x="110" y="11"/>
                    </a:lnTo>
                    <a:lnTo>
                      <a:pt x="104" y="11"/>
                    </a:lnTo>
                    <a:lnTo>
                      <a:pt x="97" y="12"/>
                    </a:lnTo>
                    <a:lnTo>
                      <a:pt x="91" y="15"/>
                    </a:lnTo>
                    <a:lnTo>
                      <a:pt x="86" y="18"/>
                    </a:lnTo>
                    <a:lnTo>
                      <a:pt x="96" y="10"/>
                    </a:lnTo>
                    <a:lnTo>
                      <a:pt x="104" y="5"/>
                    </a:lnTo>
                    <a:lnTo>
                      <a:pt x="108" y="3"/>
                    </a:lnTo>
                    <a:lnTo>
                      <a:pt x="113" y="1"/>
                    </a:lnTo>
                    <a:lnTo>
                      <a:pt x="119" y="0"/>
                    </a:lnTo>
                    <a:lnTo>
                      <a:pt x="1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70" name="Freeform 281">
                <a:extLst>
                  <a:ext uri="{FF2B5EF4-FFF2-40B4-BE49-F238E27FC236}">
                    <a16:creationId xmlns:a16="http://schemas.microsoft.com/office/drawing/2014/main" id="{1127978E-ADE2-4CF5-B60A-4DFDFE23D1EA}"/>
                  </a:ext>
                </a:extLst>
              </p:cNvPr>
              <p:cNvSpPr>
                <a:spLocks/>
              </p:cNvSpPr>
              <p:nvPr>
                <p:custDataLst>
                  <p:tags r:id="rId208"/>
                </p:custDataLst>
              </p:nvPr>
            </p:nvSpPr>
            <p:spPr bwMode="auto">
              <a:xfrm>
                <a:off x="6404105" y="4155504"/>
                <a:ext cx="76013" cy="133606"/>
              </a:xfrm>
              <a:custGeom>
                <a:avLst/>
                <a:gdLst>
                  <a:gd name="T0" fmla="*/ 8315798 w 141"/>
                  <a:gd name="T1" fmla="*/ 62175430 h 228"/>
                  <a:gd name="T2" fmla="*/ 7301599 w 141"/>
                  <a:gd name="T3" fmla="*/ 59993652 h 228"/>
                  <a:gd name="T4" fmla="*/ 5881631 w 141"/>
                  <a:gd name="T5" fmla="*/ 56721509 h 228"/>
                  <a:gd name="T6" fmla="*/ 4462113 w 141"/>
                  <a:gd name="T7" fmla="*/ 52903660 h 228"/>
                  <a:gd name="T8" fmla="*/ 3245255 w 141"/>
                  <a:gd name="T9" fmla="*/ 48540627 h 228"/>
                  <a:gd name="T10" fmla="*/ 2028397 w 141"/>
                  <a:gd name="T11" fmla="*/ 44450187 h 228"/>
                  <a:gd name="T12" fmla="*/ 1014199 w 141"/>
                  <a:gd name="T13" fmla="*/ 40359746 h 228"/>
                  <a:gd name="T14" fmla="*/ 405770 w 141"/>
                  <a:gd name="T15" fmla="*/ 36814488 h 228"/>
                  <a:gd name="T16" fmla="*/ 0 w 141"/>
                  <a:gd name="T17" fmla="*/ 33541823 h 228"/>
                  <a:gd name="T18" fmla="*/ 405770 w 141"/>
                  <a:gd name="T19" fmla="*/ 28360493 h 228"/>
                  <a:gd name="T20" fmla="*/ 811089 w 141"/>
                  <a:gd name="T21" fmla="*/ 23724869 h 228"/>
                  <a:gd name="T22" fmla="*/ 1216858 w 141"/>
                  <a:gd name="T23" fmla="*/ 19088723 h 228"/>
                  <a:gd name="T24" fmla="*/ 1825287 w 141"/>
                  <a:gd name="T25" fmla="*/ 14998283 h 228"/>
                  <a:gd name="T26" fmla="*/ 3650574 w 141"/>
                  <a:gd name="T27" fmla="*/ 7635698 h 228"/>
                  <a:gd name="T28" fmla="*/ 5678972 w 141"/>
                  <a:gd name="T29" fmla="*/ 0 h 228"/>
                  <a:gd name="T30" fmla="*/ 9126887 w 141"/>
                  <a:gd name="T31" fmla="*/ 4363032 h 228"/>
                  <a:gd name="T32" fmla="*/ 12574801 w 141"/>
                  <a:gd name="T33" fmla="*/ 7635698 h 228"/>
                  <a:gd name="T34" fmla="*/ 15414287 w 141"/>
                  <a:gd name="T35" fmla="*/ 10090067 h 228"/>
                  <a:gd name="T36" fmla="*/ 18051113 w 141"/>
                  <a:gd name="T37" fmla="*/ 13089619 h 228"/>
                  <a:gd name="T38" fmla="*/ 19267972 w 141"/>
                  <a:gd name="T39" fmla="*/ 14998283 h 228"/>
                  <a:gd name="T40" fmla="*/ 20484830 w 141"/>
                  <a:gd name="T41" fmla="*/ 17180060 h 228"/>
                  <a:gd name="T42" fmla="*/ 21701688 w 141"/>
                  <a:gd name="T43" fmla="*/ 20179612 h 228"/>
                  <a:gd name="T44" fmla="*/ 23121206 w 141"/>
                  <a:gd name="T45" fmla="*/ 23452278 h 228"/>
                  <a:gd name="T46" fmla="*/ 24338514 w 141"/>
                  <a:gd name="T47" fmla="*/ 27270127 h 228"/>
                  <a:gd name="T48" fmla="*/ 25758032 w 141"/>
                  <a:gd name="T49" fmla="*/ 31905751 h 228"/>
                  <a:gd name="T50" fmla="*/ 26974890 w 141"/>
                  <a:gd name="T51" fmla="*/ 37632263 h 228"/>
                  <a:gd name="T52" fmla="*/ 28597518 w 141"/>
                  <a:gd name="T53" fmla="*/ 43904481 h 228"/>
                  <a:gd name="T54" fmla="*/ 28394858 w 141"/>
                  <a:gd name="T55" fmla="*/ 46086259 h 228"/>
                  <a:gd name="T56" fmla="*/ 27989089 w 141"/>
                  <a:gd name="T57" fmla="*/ 48267514 h 228"/>
                  <a:gd name="T58" fmla="*/ 27380660 w 141"/>
                  <a:gd name="T59" fmla="*/ 50721882 h 228"/>
                  <a:gd name="T60" fmla="*/ 26569121 w 141"/>
                  <a:gd name="T61" fmla="*/ 52358476 h 228"/>
                  <a:gd name="T62" fmla="*/ 25758032 w 141"/>
                  <a:gd name="T63" fmla="*/ 54267140 h 228"/>
                  <a:gd name="T64" fmla="*/ 24541174 w 141"/>
                  <a:gd name="T65" fmla="*/ 55630620 h 228"/>
                  <a:gd name="T66" fmla="*/ 23324316 w 141"/>
                  <a:gd name="T67" fmla="*/ 56994100 h 228"/>
                  <a:gd name="T68" fmla="*/ 21904348 w 141"/>
                  <a:gd name="T69" fmla="*/ 58084989 h 228"/>
                  <a:gd name="T70" fmla="*/ 20281720 w 141"/>
                  <a:gd name="T71" fmla="*/ 59175878 h 228"/>
                  <a:gd name="T72" fmla="*/ 18862202 w 141"/>
                  <a:gd name="T73" fmla="*/ 59993652 h 228"/>
                  <a:gd name="T74" fmla="*/ 17239574 w 141"/>
                  <a:gd name="T75" fmla="*/ 60811949 h 228"/>
                  <a:gd name="T76" fmla="*/ 15414287 w 141"/>
                  <a:gd name="T77" fmla="*/ 61357133 h 228"/>
                  <a:gd name="T78" fmla="*/ 11966372 w 141"/>
                  <a:gd name="T79" fmla="*/ 61902838 h 228"/>
                  <a:gd name="T80" fmla="*/ 8315798 w 141"/>
                  <a:gd name="T81" fmla="*/ 62175430 h 22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41" h="228">
                    <a:moveTo>
                      <a:pt x="41" y="228"/>
                    </a:moveTo>
                    <a:lnTo>
                      <a:pt x="36" y="220"/>
                    </a:lnTo>
                    <a:lnTo>
                      <a:pt x="29" y="208"/>
                    </a:lnTo>
                    <a:lnTo>
                      <a:pt x="22" y="194"/>
                    </a:lnTo>
                    <a:lnTo>
                      <a:pt x="16" y="178"/>
                    </a:lnTo>
                    <a:lnTo>
                      <a:pt x="10" y="163"/>
                    </a:lnTo>
                    <a:lnTo>
                      <a:pt x="5" y="148"/>
                    </a:lnTo>
                    <a:lnTo>
                      <a:pt x="2" y="135"/>
                    </a:lnTo>
                    <a:lnTo>
                      <a:pt x="0" y="123"/>
                    </a:lnTo>
                    <a:lnTo>
                      <a:pt x="2" y="104"/>
                    </a:lnTo>
                    <a:lnTo>
                      <a:pt x="4" y="87"/>
                    </a:lnTo>
                    <a:lnTo>
                      <a:pt x="6" y="70"/>
                    </a:lnTo>
                    <a:lnTo>
                      <a:pt x="9" y="55"/>
                    </a:lnTo>
                    <a:lnTo>
                      <a:pt x="18" y="28"/>
                    </a:lnTo>
                    <a:lnTo>
                      <a:pt x="28" y="0"/>
                    </a:lnTo>
                    <a:lnTo>
                      <a:pt x="45" y="16"/>
                    </a:lnTo>
                    <a:lnTo>
                      <a:pt x="62" y="28"/>
                    </a:lnTo>
                    <a:lnTo>
                      <a:pt x="76" y="37"/>
                    </a:lnTo>
                    <a:lnTo>
                      <a:pt x="89" y="48"/>
                    </a:lnTo>
                    <a:lnTo>
                      <a:pt x="95" y="55"/>
                    </a:lnTo>
                    <a:lnTo>
                      <a:pt x="101" y="63"/>
                    </a:lnTo>
                    <a:lnTo>
                      <a:pt x="107" y="74"/>
                    </a:lnTo>
                    <a:lnTo>
                      <a:pt x="114" y="86"/>
                    </a:lnTo>
                    <a:lnTo>
                      <a:pt x="120" y="100"/>
                    </a:lnTo>
                    <a:lnTo>
                      <a:pt x="127" y="117"/>
                    </a:lnTo>
                    <a:lnTo>
                      <a:pt x="133" y="138"/>
                    </a:lnTo>
                    <a:lnTo>
                      <a:pt x="141" y="161"/>
                    </a:lnTo>
                    <a:lnTo>
                      <a:pt x="140" y="169"/>
                    </a:lnTo>
                    <a:lnTo>
                      <a:pt x="138" y="177"/>
                    </a:lnTo>
                    <a:lnTo>
                      <a:pt x="135" y="186"/>
                    </a:lnTo>
                    <a:lnTo>
                      <a:pt x="131" y="192"/>
                    </a:lnTo>
                    <a:lnTo>
                      <a:pt x="127" y="199"/>
                    </a:lnTo>
                    <a:lnTo>
                      <a:pt x="121" y="204"/>
                    </a:lnTo>
                    <a:lnTo>
                      <a:pt x="115" y="209"/>
                    </a:lnTo>
                    <a:lnTo>
                      <a:pt x="108" y="213"/>
                    </a:lnTo>
                    <a:lnTo>
                      <a:pt x="100" y="217"/>
                    </a:lnTo>
                    <a:lnTo>
                      <a:pt x="93" y="220"/>
                    </a:lnTo>
                    <a:lnTo>
                      <a:pt x="85" y="223"/>
                    </a:lnTo>
                    <a:lnTo>
                      <a:pt x="76" y="225"/>
                    </a:lnTo>
                    <a:lnTo>
                      <a:pt x="59" y="227"/>
                    </a:lnTo>
                    <a:lnTo>
                      <a:pt x="41" y="22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771" name="Group 282">
                <a:extLst>
                  <a:ext uri="{FF2B5EF4-FFF2-40B4-BE49-F238E27FC236}">
                    <a16:creationId xmlns:a16="http://schemas.microsoft.com/office/drawing/2014/main" id="{7EC0FC8B-3D88-47A4-A9EB-26B8EEECBDAA}"/>
                  </a:ext>
                </a:extLst>
              </p:cNvPr>
              <p:cNvGrpSpPr>
                <a:grpSpLocks/>
              </p:cNvGrpSpPr>
              <p:nvPr>
                <p:custDataLst>
                  <p:tags r:id="rId209"/>
                </p:custDataLst>
              </p:nvPr>
            </p:nvGrpSpPr>
            <p:grpSpPr bwMode="auto">
              <a:xfrm>
                <a:off x="7537644" y="3847921"/>
                <a:ext cx="281393" cy="476686"/>
                <a:chOff x="5062" y="2305"/>
                <a:chExt cx="177" cy="269"/>
              </a:xfrm>
            </p:grpSpPr>
            <p:sp>
              <p:nvSpPr>
                <p:cNvPr id="1019" name="Freeform 283">
                  <a:extLst>
                    <a:ext uri="{FF2B5EF4-FFF2-40B4-BE49-F238E27FC236}">
                      <a16:creationId xmlns:a16="http://schemas.microsoft.com/office/drawing/2014/main" id="{96E4A865-D3D9-4439-A428-2889A7CAF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4" y="2449"/>
                  <a:ext cx="19" cy="37"/>
                </a:xfrm>
                <a:custGeom>
                  <a:avLst/>
                  <a:gdLst>
                    <a:gd name="T0" fmla="*/ 4 w 60"/>
                    <a:gd name="T1" fmla="*/ 12 h 110"/>
                    <a:gd name="T2" fmla="*/ 4 w 60"/>
                    <a:gd name="T3" fmla="*/ 12 h 110"/>
                    <a:gd name="T4" fmla="*/ 5 w 60"/>
                    <a:gd name="T5" fmla="*/ 12 h 110"/>
                    <a:gd name="T6" fmla="*/ 5 w 60"/>
                    <a:gd name="T7" fmla="*/ 11 h 110"/>
                    <a:gd name="T8" fmla="*/ 5 w 60"/>
                    <a:gd name="T9" fmla="*/ 11 h 110"/>
                    <a:gd name="T10" fmla="*/ 5 w 60"/>
                    <a:gd name="T11" fmla="*/ 10 h 110"/>
                    <a:gd name="T12" fmla="*/ 6 w 60"/>
                    <a:gd name="T13" fmla="*/ 9 h 110"/>
                    <a:gd name="T14" fmla="*/ 6 w 60"/>
                    <a:gd name="T15" fmla="*/ 9 h 110"/>
                    <a:gd name="T16" fmla="*/ 6 w 60"/>
                    <a:gd name="T17" fmla="*/ 8 h 110"/>
                    <a:gd name="T18" fmla="*/ 6 w 60"/>
                    <a:gd name="T19" fmla="*/ 7 h 110"/>
                    <a:gd name="T20" fmla="*/ 6 w 60"/>
                    <a:gd name="T21" fmla="*/ 5 h 110"/>
                    <a:gd name="T22" fmla="*/ 6 w 60"/>
                    <a:gd name="T23" fmla="*/ 4 h 110"/>
                    <a:gd name="T24" fmla="*/ 5 w 60"/>
                    <a:gd name="T25" fmla="*/ 3 h 110"/>
                    <a:gd name="T26" fmla="*/ 5 w 60"/>
                    <a:gd name="T27" fmla="*/ 2 h 110"/>
                    <a:gd name="T28" fmla="*/ 5 w 60"/>
                    <a:gd name="T29" fmla="*/ 1 h 110"/>
                    <a:gd name="T30" fmla="*/ 4 w 60"/>
                    <a:gd name="T31" fmla="*/ 1 h 110"/>
                    <a:gd name="T32" fmla="*/ 4 w 60"/>
                    <a:gd name="T33" fmla="*/ 0 h 110"/>
                    <a:gd name="T34" fmla="*/ 3 w 60"/>
                    <a:gd name="T35" fmla="*/ 0 h 110"/>
                    <a:gd name="T36" fmla="*/ 3 w 60"/>
                    <a:gd name="T37" fmla="*/ 1 h 110"/>
                    <a:gd name="T38" fmla="*/ 3 w 60"/>
                    <a:gd name="T39" fmla="*/ 1 h 110"/>
                    <a:gd name="T40" fmla="*/ 3 w 60"/>
                    <a:gd name="T41" fmla="*/ 2 h 110"/>
                    <a:gd name="T42" fmla="*/ 2 w 60"/>
                    <a:gd name="T43" fmla="*/ 3 h 110"/>
                    <a:gd name="T44" fmla="*/ 2 w 60"/>
                    <a:gd name="T45" fmla="*/ 4 h 110"/>
                    <a:gd name="T46" fmla="*/ 1 w 60"/>
                    <a:gd name="T47" fmla="*/ 6 h 110"/>
                    <a:gd name="T48" fmla="*/ 1 w 60"/>
                    <a:gd name="T49" fmla="*/ 7 h 110"/>
                    <a:gd name="T50" fmla="*/ 1 w 60"/>
                    <a:gd name="T51" fmla="*/ 7 h 110"/>
                    <a:gd name="T52" fmla="*/ 0 w 60"/>
                    <a:gd name="T53" fmla="*/ 8 h 110"/>
                    <a:gd name="T54" fmla="*/ 0 w 60"/>
                    <a:gd name="T55" fmla="*/ 8 h 110"/>
                    <a:gd name="T56" fmla="*/ 0 w 60"/>
                    <a:gd name="T57" fmla="*/ 8 h 110"/>
                    <a:gd name="T58" fmla="*/ 0 w 60"/>
                    <a:gd name="T59" fmla="*/ 9 h 110"/>
                    <a:gd name="T60" fmla="*/ 0 w 60"/>
                    <a:gd name="T61" fmla="*/ 9 h 110"/>
                    <a:gd name="T62" fmla="*/ 1 w 60"/>
                    <a:gd name="T63" fmla="*/ 10 h 110"/>
                    <a:gd name="T64" fmla="*/ 1 w 60"/>
                    <a:gd name="T65" fmla="*/ 11 h 110"/>
                    <a:gd name="T66" fmla="*/ 2 w 60"/>
                    <a:gd name="T67" fmla="*/ 11 h 110"/>
                    <a:gd name="T68" fmla="*/ 3 w 60"/>
                    <a:gd name="T69" fmla="*/ 12 h 110"/>
                    <a:gd name="T70" fmla="*/ 3 w 60"/>
                    <a:gd name="T71" fmla="*/ 12 h 110"/>
                    <a:gd name="T72" fmla="*/ 4 w 60"/>
                    <a:gd name="T73" fmla="*/ 12 h 110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0" t="0" r="r" b="b"/>
                  <a:pathLst>
                    <a:path w="60" h="110">
                      <a:moveTo>
                        <a:pt x="39" y="110"/>
                      </a:moveTo>
                      <a:lnTo>
                        <a:pt x="42" y="109"/>
                      </a:lnTo>
                      <a:lnTo>
                        <a:pt x="46" y="106"/>
                      </a:lnTo>
                      <a:lnTo>
                        <a:pt x="49" y="101"/>
                      </a:lnTo>
                      <a:lnTo>
                        <a:pt x="52" y="96"/>
                      </a:lnTo>
                      <a:lnTo>
                        <a:pt x="54" y="90"/>
                      </a:lnTo>
                      <a:lnTo>
                        <a:pt x="57" y="84"/>
                      </a:lnTo>
                      <a:lnTo>
                        <a:pt x="59" y="78"/>
                      </a:lnTo>
                      <a:lnTo>
                        <a:pt x="60" y="73"/>
                      </a:lnTo>
                      <a:lnTo>
                        <a:pt x="59" y="60"/>
                      </a:lnTo>
                      <a:lnTo>
                        <a:pt x="58" y="48"/>
                      </a:lnTo>
                      <a:lnTo>
                        <a:pt x="57" y="38"/>
                      </a:lnTo>
                      <a:lnTo>
                        <a:pt x="54" y="29"/>
                      </a:lnTo>
                      <a:lnTo>
                        <a:pt x="51" y="21"/>
                      </a:lnTo>
                      <a:lnTo>
                        <a:pt x="48" y="13"/>
                      </a:lnTo>
                      <a:lnTo>
                        <a:pt x="45" y="6"/>
                      </a:lnTo>
                      <a:lnTo>
                        <a:pt x="39" y="0"/>
                      </a:lnTo>
                      <a:lnTo>
                        <a:pt x="35" y="3"/>
                      </a:lnTo>
                      <a:lnTo>
                        <a:pt x="30" y="8"/>
                      </a:lnTo>
                      <a:lnTo>
                        <a:pt x="27" y="13"/>
                      </a:lnTo>
                      <a:lnTo>
                        <a:pt x="24" y="18"/>
                      </a:lnTo>
                      <a:lnTo>
                        <a:pt x="18" y="29"/>
                      </a:lnTo>
                      <a:lnTo>
                        <a:pt x="15" y="40"/>
                      </a:lnTo>
                      <a:lnTo>
                        <a:pt x="10" y="51"/>
                      </a:lnTo>
                      <a:lnTo>
                        <a:pt x="7" y="62"/>
                      </a:lnTo>
                      <a:lnTo>
                        <a:pt x="6" y="66"/>
                      </a:lnTo>
                      <a:lnTo>
                        <a:pt x="4" y="69"/>
                      </a:lnTo>
                      <a:lnTo>
                        <a:pt x="2" y="72"/>
                      </a:lnTo>
                      <a:lnTo>
                        <a:pt x="0" y="73"/>
                      </a:lnTo>
                      <a:lnTo>
                        <a:pt x="1" y="78"/>
                      </a:lnTo>
                      <a:lnTo>
                        <a:pt x="3" y="84"/>
                      </a:lnTo>
                      <a:lnTo>
                        <a:pt x="7" y="90"/>
                      </a:lnTo>
                      <a:lnTo>
                        <a:pt x="12" y="96"/>
                      </a:lnTo>
                      <a:lnTo>
                        <a:pt x="18" y="101"/>
                      </a:lnTo>
                      <a:lnTo>
                        <a:pt x="25" y="106"/>
                      </a:lnTo>
                      <a:lnTo>
                        <a:pt x="32" y="109"/>
                      </a:lnTo>
                      <a:lnTo>
                        <a:pt x="39" y="110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rgbClr val="0872A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0" name="Freeform 284">
                  <a:extLst>
                    <a:ext uri="{FF2B5EF4-FFF2-40B4-BE49-F238E27FC236}">
                      <a16:creationId xmlns:a16="http://schemas.microsoft.com/office/drawing/2014/main" id="{61898E90-1E6D-4885-AEE6-B6321D4E8E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9" y="2422"/>
                  <a:ext cx="24" cy="25"/>
                </a:xfrm>
                <a:custGeom>
                  <a:avLst/>
                  <a:gdLst>
                    <a:gd name="T0" fmla="*/ 0 w 72"/>
                    <a:gd name="T1" fmla="*/ 1 h 75"/>
                    <a:gd name="T2" fmla="*/ 1 w 72"/>
                    <a:gd name="T3" fmla="*/ 2 h 75"/>
                    <a:gd name="T4" fmla="*/ 2 w 72"/>
                    <a:gd name="T5" fmla="*/ 3 h 75"/>
                    <a:gd name="T6" fmla="*/ 3 w 72"/>
                    <a:gd name="T7" fmla="*/ 4 h 75"/>
                    <a:gd name="T8" fmla="*/ 3 w 72"/>
                    <a:gd name="T9" fmla="*/ 4 h 75"/>
                    <a:gd name="T10" fmla="*/ 4 w 72"/>
                    <a:gd name="T11" fmla="*/ 5 h 75"/>
                    <a:gd name="T12" fmla="*/ 5 w 72"/>
                    <a:gd name="T13" fmla="*/ 6 h 75"/>
                    <a:gd name="T14" fmla="*/ 5 w 72"/>
                    <a:gd name="T15" fmla="*/ 7 h 75"/>
                    <a:gd name="T16" fmla="*/ 5 w 72"/>
                    <a:gd name="T17" fmla="*/ 8 h 75"/>
                    <a:gd name="T18" fmla="*/ 8 w 72"/>
                    <a:gd name="T19" fmla="*/ 8 h 75"/>
                    <a:gd name="T20" fmla="*/ 7 w 72"/>
                    <a:gd name="T21" fmla="*/ 6 h 75"/>
                    <a:gd name="T22" fmla="*/ 7 w 72"/>
                    <a:gd name="T23" fmla="*/ 4 h 75"/>
                    <a:gd name="T24" fmla="*/ 7 w 72"/>
                    <a:gd name="T25" fmla="*/ 3 h 75"/>
                    <a:gd name="T26" fmla="*/ 7 w 72"/>
                    <a:gd name="T27" fmla="*/ 2 h 75"/>
                    <a:gd name="T28" fmla="*/ 7 w 72"/>
                    <a:gd name="T29" fmla="*/ 1 h 75"/>
                    <a:gd name="T30" fmla="*/ 8 w 72"/>
                    <a:gd name="T31" fmla="*/ 0 h 75"/>
                    <a:gd name="T32" fmla="*/ 6 w 72"/>
                    <a:gd name="T33" fmla="*/ 0 h 75"/>
                    <a:gd name="T34" fmla="*/ 4 w 72"/>
                    <a:gd name="T35" fmla="*/ 0 h 75"/>
                    <a:gd name="T36" fmla="*/ 2 w 72"/>
                    <a:gd name="T37" fmla="*/ 0 h 75"/>
                    <a:gd name="T38" fmla="*/ 1 w 72"/>
                    <a:gd name="T39" fmla="*/ 0 h 75"/>
                    <a:gd name="T40" fmla="*/ 1 w 72"/>
                    <a:gd name="T41" fmla="*/ 1 h 75"/>
                    <a:gd name="T42" fmla="*/ 1 w 72"/>
                    <a:gd name="T43" fmla="*/ 1 h 75"/>
                    <a:gd name="T44" fmla="*/ 0 w 72"/>
                    <a:gd name="T45" fmla="*/ 1 h 75"/>
                    <a:gd name="T46" fmla="*/ 0 w 72"/>
                    <a:gd name="T47" fmla="*/ 1 h 75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72" h="75">
                      <a:moveTo>
                        <a:pt x="0" y="13"/>
                      </a:moveTo>
                      <a:lnTo>
                        <a:pt x="8" y="18"/>
                      </a:lnTo>
                      <a:lnTo>
                        <a:pt x="15" y="25"/>
                      </a:lnTo>
                      <a:lnTo>
                        <a:pt x="23" y="32"/>
                      </a:lnTo>
                      <a:lnTo>
                        <a:pt x="31" y="40"/>
                      </a:lnTo>
                      <a:lnTo>
                        <a:pt x="37" y="48"/>
                      </a:lnTo>
                      <a:lnTo>
                        <a:pt x="42" y="57"/>
                      </a:lnTo>
                      <a:lnTo>
                        <a:pt x="45" y="65"/>
                      </a:lnTo>
                      <a:lnTo>
                        <a:pt x="46" y="75"/>
                      </a:lnTo>
                      <a:lnTo>
                        <a:pt x="72" y="75"/>
                      </a:lnTo>
                      <a:lnTo>
                        <a:pt x="65" y="50"/>
                      </a:lnTo>
                      <a:lnTo>
                        <a:pt x="60" y="34"/>
                      </a:lnTo>
                      <a:lnTo>
                        <a:pt x="60" y="27"/>
                      </a:lnTo>
                      <a:lnTo>
                        <a:pt x="63" y="19"/>
                      </a:lnTo>
                      <a:lnTo>
                        <a:pt x="67" y="11"/>
                      </a:lnTo>
                      <a:lnTo>
                        <a:pt x="72" y="1"/>
                      </a:lnTo>
                      <a:lnTo>
                        <a:pt x="52" y="0"/>
                      </a:lnTo>
                      <a:lnTo>
                        <a:pt x="32" y="0"/>
                      </a:lnTo>
                      <a:lnTo>
                        <a:pt x="22" y="1"/>
                      </a:lnTo>
                      <a:lnTo>
                        <a:pt x="13" y="3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2" y="10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rgbClr val="0872A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1" name="Freeform 285">
                  <a:extLst>
                    <a:ext uri="{FF2B5EF4-FFF2-40B4-BE49-F238E27FC236}">
                      <a16:creationId xmlns:a16="http://schemas.microsoft.com/office/drawing/2014/main" id="{2A1391DB-6234-47BD-AD69-5DBB440535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0" y="2389"/>
                  <a:ext cx="8" cy="16"/>
                </a:xfrm>
                <a:custGeom>
                  <a:avLst/>
                  <a:gdLst>
                    <a:gd name="T0" fmla="*/ 2 w 15"/>
                    <a:gd name="T1" fmla="*/ 5 h 49"/>
                    <a:gd name="T2" fmla="*/ 2 w 15"/>
                    <a:gd name="T3" fmla="*/ 4 h 49"/>
                    <a:gd name="T4" fmla="*/ 2 w 15"/>
                    <a:gd name="T5" fmla="*/ 2 h 49"/>
                    <a:gd name="T6" fmla="*/ 2 w 15"/>
                    <a:gd name="T7" fmla="*/ 1 h 49"/>
                    <a:gd name="T8" fmla="*/ 1 w 15"/>
                    <a:gd name="T9" fmla="*/ 1 h 49"/>
                    <a:gd name="T10" fmla="*/ 1 w 15"/>
                    <a:gd name="T11" fmla="*/ 0 h 49"/>
                    <a:gd name="T12" fmla="*/ 1 w 15"/>
                    <a:gd name="T13" fmla="*/ 0 h 49"/>
                    <a:gd name="T14" fmla="*/ 0 w 15"/>
                    <a:gd name="T15" fmla="*/ 1 h 49"/>
                    <a:gd name="T16" fmla="*/ 0 w 15"/>
                    <a:gd name="T17" fmla="*/ 2 h 49"/>
                    <a:gd name="T18" fmla="*/ 0 w 15"/>
                    <a:gd name="T19" fmla="*/ 3 h 49"/>
                    <a:gd name="T20" fmla="*/ 0 w 15"/>
                    <a:gd name="T21" fmla="*/ 3 h 49"/>
                    <a:gd name="T22" fmla="*/ 0 w 15"/>
                    <a:gd name="T23" fmla="*/ 4 h 49"/>
                    <a:gd name="T24" fmla="*/ 0 w 15"/>
                    <a:gd name="T25" fmla="*/ 5 h 49"/>
                    <a:gd name="T26" fmla="*/ 1 w 15"/>
                    <a:gd name="T27" fmla="*/ 5 h 49"/>
                    <a:gd name="T28" fmla="*/ 1 w 15"/>
                    <a:gd name="T29" fmla="*/ 5 h 49"/>
                    <a:gd name="T30" fmla="*/ 1 w 15"/>
                    <a:gd name="T31" fmla="*/ 5 h 49"/>
                    <a:gd name="T32" fmla="*/ 2 w 15"/>
                    <a:gd name="T33" fmla="*/ 5 h 4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15" h="49">
                      <a:moveTo>
                        <a:pt x="15" y="49"/>
                      </a:moveTo>
                      <a:lnTo>
                        <a:pt x="15" y="33"/>
                      </a:lnTo>
                      <a:lnTo>
                        <a:pt x="15" y="19"/>
                      </a:lnTo>
                      <a:lnTo>
                        <a:pt x="14" y="13"/>
                      </a:lnTo>
                      <a:lnTo>
                        <a:pt x="13" y="7"/>
                      </a:lnTo>
                      <a:lnTo>
                        <a:pt x="11" y="3"/>
                      </a:lnTo>
                      <a:lnTo>
                        <a:pt x="9" y="0"/>
                      </a:lnTo>
                      <a:lnTo>
                        <a:pt x="4" y="7"/>
                      </a:lnTo>
                      <a:lnTo>
                        <a:pt x="2" y="15"/>
                      </a:lnTo>
                      <a:lnTo>
                        <a:pt x="0" y="23"/>
                      </a:lnTo>
                      <a:lnTo>
                        <a:pt x="0" y="30"/>
                      </a:lnTo>
                      <a:lnTo>
                        <a:pt x="1" y="36"/>
                      </a:lnTo>
                      <a:lnTo>
                        <a:pt x="4" y="42"/>
                      </a:lnTo>
                      <a:lnTo>
                        <a:pt x="7" y="44"/>
                      </a:lnTo>
                      <a:lnTo>
                        <a:pt x="9" y="46"/>
                      </a:lnTo>
                      <a:lnTo>
                        <a:pt x="12" y="48"/>
                      </a:lnTo>
                      <a:lnTo>
                        <a:pt x="15" y="49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rgbClr val="0872A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2" name="Freeform 287">
                  <a:extLst>
                    <a:ext uri="{FF2B5EF4-FFF2-40B4-BE49-F238E27FC236}">
                      <a16:creationId xmlns:a16="http://schemas.microsoft.com/office/drawing/2014/main" id="{256C8779-3297-4760-BC11-471740CBE7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5" y="2465"/>
                  <a:ext cx="17" cy="10"/>
                </a:xfrm>
                <a:custGeom>
                  <a:avLst/>
                  <a:gdLst>
                    <a:gd name="T0" fmla="*/ 0 w 39"/>
                    <a:gd name="T1" fmla="*/ 0 h 31"/>
                    <a:gd name="T2" fmla="*/ 0 w 39"/>
                    <a:gd name="T3" fmla="*/ 1 h 31"/>
                    <a:gd name="T4" fmla="*/ 1 w 39"/>
                    <a:gd name="T5" fmla="*/ 1 h 31"/>
                    <a:gd name="T6" fmla="*/ 1 w 39"/>
                    <a:gd name="T7" fmla="*/ 2 h 31"/>
                    <a:gd name="T8" fmla="*/ 2 w 39"/>
                    <a:gd name="T9" fmla="*/ 2 h 31"/>
                    <a:gd name="T10" fmla="*/ 3 w 39"/>
                    <a:gd name="T11" fmla="*/ 3 h 31"/>
                    <a:gd name="T12" fmla="*/ 3 w 39"/>
                    <a:gd name="T13" fmla="*/ 3 h 31"/>
                    <a:gd name="T14" fmla="*/ 4 w 39"/>
                    <a:gd name="T15" fmla="*/ 3 h 31"/>
                    <a:gd name="T16" fmla="*/ 4 w 39"/>
                    <a:gd name="T17" fmla="*/ 3 h 31"/>
                    <a:gd name="T18" fmla="*/ 4 w 39"/>
                    <a:gd name="T19" fmla="*/ 2 h 31"/>
                    <a:gd name="T20" fmla="*/ 3 w 39"/>
                    <a:gd name="T21" fmla="*/ 2 h 31"/>
                    <a:gd name="T22" fmla="*/ 2 w 39"/>
                    <a:gd name="T23" fmla="*/ 1 h 31"/>
                    <a:gd name="T24" fmla="*/ 1 w 39"/>
                    <a:gd name="T25" fmla="*/ 0 h 31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9" h="31">
                      <a:moveTo>
                        <a:pt x="0" y="0"/>
                      </a:moveTo>
                      <a:lnTo>
                        <a:pt x="3" y="8"/>
                      </a:lnTo>
                      <a:lnTo>
                        <a:pt x="6" y="13"/>
                      </a:lnTo>
                      <a:lnTo>
                        <a:pt x="12" y="19"/>
                      </a:lnTo>
                      <a:lnTo>
                        <a:pt x="17" y="23"/>
                      </a:lnTo>
                      <a:lnTo>
                        <a:pt x="23" y="26"/>
                      </a:lnTo>
                      <a:lnTo>
                        <a:pt x="28" y="29"/>
                      </a:lnTo>
                      <a:lnTo>
                        <a:pt x="34" y="31"/>
                      </a:lnTo>
                      <a:lnTo>
                        <a:pt x="39" y="31"/>
                      </a:lnTo>
                      <a:lnTo>
                        <a:pt x="33" y="22"/>
                      </a:lnTo>
                      <a:lnTo>
                        <a:pt x="25" y="14"/>
                      </a:lnTo>
                      <a:lnTo>
                        <a:pt x="16" y="7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3" name="Freeform 288">
                  <a:extLst>
                    <a:ext uri="{FF2B5EF4-FFF2-40B4-BE49-F238E27FC236}">
                      <a16:creationId xmlns:a16="http://schemas.microsoft.com/office/drawing/2014/main" id="{A63C0958-14EA-4042-81F7-0ECF6C6FB6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72" y="2410"/>
                  <a:ext cx="10" cy="6"/>
                </a:xfrm>
                <a:custGeom>
                  <a:avLst/>
                  <a:gdLst>
                    <a:gd name="T0" fmla="*/ 0 w 34"/>
                    <a:gd name="T1" fmla="*/ 0 h 19"/>
                    <a:gd name="T2" fmla="*/ 3 w 34"/>
                    <a:gd name="T3" fmla="*/ 2 h 19"/>
                    <a:gd name="T4" fmla="*/ 3 w 34"/>
                    <a:gd name="T5" fmla="*/ 0 h 19"/>
                    <a:gd name="T6" fmla="*/ 2 w 34"/>
                    <a:gd name="T7" fmla="*/ 0 h 19"/>
                    <a:gd name="T8" fmla="*/ 1 w 34"/>
                    <a:gd name="T9" fmla="*/ 0 h 19"/>
                    <a:gd name="T10" fmla="*/ 1 w 34"/>
                    <a:gd name="T11" fmla="*/ 0 h 19"/>
                    <a:gd name="T12" fmla="*/ 0 w 34"/>
                    <a:gd name="T13" fmla="*/ 0 h 19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34" h="19">
                      <a:moveTo>
                        <a:pt x="0" y="0"/>
                      </a:moveTo>
                      <a:lnTo>
                        <a:pt x="34" y="19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4" name="Freeform 289">
                  <a:extLst>
                    <a:ext uri="{FF2B5EF4-FFF2-40B4-BE49-F238E27FC236}">
                      <a16:creationId xmlns:a16="http://schemas.microsoft.com/office/drawing/2014/main" id="{ECBD4CBF-96A3-4EE4-85CE-AFD60F147EF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0" y="2471"/>
                  <a:ext cx="6" cy="4"/>
                </a:xfrm>
                <a:custGeom>
                  <a:avLst/>
                  <a:gdLst>
                    <a:gd name="T0" fmla="*/ 0 w 19"/>
                    <a:gd name="T1" fmla="*/ 0 h 12"/>
                    <a:gd name="T2" fmla="*/ 2 w 19"/>
                    <a:gd name="T3" fmla="*/ 1 h 12"/>
                    <a:gd name="T4" fmla="*/ 1 w 19"/>
                    <a:gd name="T5" fmla="*/ 1 h 12"/>
                    <a:gd name="T6" fmla="*/ 1 w 19"/>
                    <a:gd name="T7" fmla="*/ 1 h 12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9" h="12">
                      <a:moveTo>
                        <a:pt x="0" y="0"/>
                      </a:moveTo>
                      <a:lnTo>
                        <a:pt x="19" y="12"/>
                      </a:lnTo>
                      <a:lnTo>
                        <a:pt x="13" y="6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5" name="Freeform 291">
                  <a:extLst>
                    <a:ext uri="{FF2B5EF4-FFF2-40B4-BE49-F238E27FC236}">
                      <a16:creationId xmlns:a16="http://schemas.microsoft.com/office/drawing/2014/main" id="{34D2C9FA-4D7E-48C7-B753-A5AD9442FF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54" y="2465"/>
                  <a:ext cx="85" cy="86"/>
                </a:xfrm>
                <a:custGeom>
                  <a:avLst/>
                  <a:gdLst>
                    <a:gd name="T0" fmla="*/ 1 w 259"/>
                    <a:gd name="T1" fmla="*/ 20 h 259"/>
                    <a:gd name="T2" fmla="*/ 0 w 259"/>
                    <a:gd name="T3" fmla="*/ 18 h 259"/>
                    <a:gd name="T4" fmla="*/ 0 w 259"/>
                    <a:gd name="T5" fmla="*/ 16 h 259"/>
                    <a:gd name="T6" fmla="*/ 1 w 259"/>
                    <a:gd name="T7" fmla="*/ 14 h 259"/>
                    <a:gd name="T8" fmla="*/ 2 w 259"/>
                    <a:gd name="T9" fmla="*/ 14 h 259"/>
                    <a:gd name="T10" fmla="*/ 4 w 259"/>
                    <a:gd name="T11" fmla="*/ 13 h 259"/>
                    <a:gd name="T12" fmla="*/ 5 w 259"/>
                    <a:gd name="T13" fmla="*/ 11 h 259"/>
                    <a:gd name="T14" fmla="*/ 7 w 259"/>
                    <a:gd name="T15" fmla="*/ 10 h 259"/>
                    <a:gd name="T16" fmla="*/ 7 w 259"/>
                    <a:gd name="T17" fmla="*/ 10 h 259"/>
                    <a:gd name="T18" fmla="*/ 9 w 259"/>
                    <a:gd name="T19" fmla="*/ 10 h 259"/>
                    <a:gd name="T20" fmla="*/ 10 w 259"/>
                    <a:gd name="T21" fmla="*/ 10 h 259"/>
                    <a:gd name="T22" fmla="*/ 11 w 259"/>
                    <a:gd name="T23" fmla="*/ 12 h 259"/>
                    <a:gd name="T24" fmla="*/ 11 w 259"/>
                    <a:gd name="T25" fmla="*/ 12 h 259"/>
                    <a:gd name="T26" fmla="*/ 13 w 259"/>
                    <a:gd name="T27" fmla="*/ 12 h 259"/>
                    <a:gd name="T28" fmla="*/ 14 w 259"/>
                    <a:gd name="T29" fmla="*/ 12 h 259"/>
                    <a:gd name="T30" fmla="*/ 16 w 259"/>
                    <a:gd name="T31" fmla="*/ 10 h 259"/>
                    <a:gd name="T32" fmla="*/ 17 w 259"/>
                    <a:gd name="T33" fmla="*/ 9 h 259"/>
                    <a:gd name="T34" fmla="*/ 19 w 259"/>
                    <a:gd name="T35" fmla="*/ 6 h 259"/>
                    <a:gd name="T36" fmla="*/ 20 w 259"/>
                    <a:gd name="T37" fmla="*/ 2 h 259"/>
                    <a:gd name="T38" fmla="*/ 21 w 259"/>
                    <a:gd name="T39" fmla="*/ 0 h 259"/>
                    <a:gd name="T40" fmla="*/ 22 w 259"/>
                    <a:gd name="T41" fmla="*/ 1 h 259"/>
                    <a:gd name="T42" fmla="*/ 23 w 259"/>
                    <a:gd name="T43" fmla="*/ 2 h 259"/>
                    <a:gd name="T44" fmla="*/ 24 w 259"/>
                    <a:gd name="T45" fmla="*/ 4 h 259"/>
                    <a:gd name="T46" fmla="*/ 24 w 259"/>
                    <a:gd name="T47" fmla="*/ 6 h 259"/>
                    <a:gd name="T48" fmla="*/ 24 w 259"/>
                    <a:gd name="T49" fmla="*/ 7 h 259"/>
                    <a:gd name="T50" fmla="*/ 25 w 259"/>
                    <a:gd name="T51" fmla="*/ 8 h 259"/>
                    <a:gd name="T52" fmla="*/ 25 w 259"/>
                    <a:gd name="T53" fmla="*/ 10 h 259"/>
                    <a:gd name="T54" fmla="*/ 25 w 259"/>
                    <a:gd name="T55" fmla="*/ 12 h 259"/>
                    <a:gd name="T56" fmla="*/ 26 w 259"/>
                    <a:gd name="T57" fmla="*/ 12 h 259"/>
                    <a:gd name="T58" fmla="*/ 26 w 259"/>
                    <a:gd name="T59" fmla="*/ 13 h 259"/>
                    <a:gd name="T60" fmla="*/ 27 w 259"/>
                    <a:gd name="T61" fmla="*/ 15 h 259"/>
                    <a:gd name="T62" fmla="*/ 27 w 259"/>
                    <a:gd name="T63" fmla="*/ 18 h 259"/>
                    <a:gd name="T64" fmla="*/ 26 w 259"/>
                    <a:gd name="T65" fmla="*/ 26 h 259"/>
                    <a:gd name="T66" fmla="*/ 26 w 259"/>
                    <a:gd name="T67" fmla="*/ 25 h 259"/>
                    <a:gd name="T68" fmla="*/ 26 w 259"/>
                    <a:gd name="T69" fmla="*/ 23 h 259"/>
                    <a:gd name="T70" fmla="*/ 26 w 259"/>
                    <a:gd name="T71" fmla="*/ 21 h 259"/>
                    <a:gd name="T72" fmla="*/ 24 w 259"/>
                    <a:gd name="T73" fmla="*/ 21 h 259"/>
                    <a:gd name="T74" fmla="*/ 22 w 259"/>
                    <a:gd name="T75" fmla="*/ 20 h 259"/>
                    <a:gd name="T76" fmla="*/ 21 w 259"/>
                    <a:gd name="T77" fmla="*/ 22 h 259"/>
                    <a:gd name="T78" fmla="*/ 20 w 259"/>
                    <a:gd name="T79" fmla="*/ 24 h 259"/>
                    <a:gd name="T80" fmla="*/ 20 w 259"/>
                    <a:gd name="T81" fmla="*/ 29 h 259"/>
                    <a:gd name="T82" fmla="*/ 13 w 259"/>
                    <a:gd name="T83" fmla="*/ 27 h 259"/>
                    <a:gd name="T84" fmla="*/ 12 w 259"/>
                    <a:gd name="T85" fmla="*/ 24 h 259"/>
                    <a:gd name="T86" fmla="*/ 11 w 259"/>
                    <a:gd name="T87" fmla="*/ 23 h 259"/>
                    <a:gd name="T88" fmla="*/ 11 w 259"/>
                    <a:gd name="T89" fmla="*/ 22 h 259"/>
                    <a:gd name="T90" fmla="*/ 11 w 259"/>
                    <a:gd name="T91" fmla="*/ 21 h 259"/>
                    <a:gd name="T92" fmla="*/ 12 w 259"/>
                    <a:gd name="T93" fmla="*/ 20 h 259"/>
                    <a:gd name="T94" fmla="*/ 12 w 259"/>
                    <a:gd name="T95" fmla="*/ 19 h 259"/>
                    <a:gd name="T96" fmla="*/ 10 w 259"/>
                    <a:gd name="T97" fmla="*/ 17 h 259"/>
                    <a:gd name="T98" fmla="*/ 3 w 259"/>
                    <a:gd name="T99" fmla="*/ 17 h 259"/>
                    <a:gd name="T100" fmla="*/ 2 w 259"/>
                    <a:gd name="T101" fmla="*/ 18 h 259"/>
                    <a:gd name="T102" fmla="*/ 2 w 259"/>
                    <a:gd name="T103" fmla="*/ 19 h 259"/>
                    <a:gd name="T104" fmla="*/ 1 w 259"/>
                    <a:gd name="T105" fmla="*/ 21 h 25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259" h="259">
                      <a:moveTo>
                        <a:pt x="13" y="192"/>
                      </a:moveTo>
                      <a:lnTo>
                        <a:pt x="8" y="182"/>
                      </a:lnTo>
                      <a:lnTo>
                        <a:pt x="4" y="173"/>
                      </a:lnTo>
                      <a:lnTo>
                        <a:pt x="1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6" y="130"/>
                      </a:lnTo>
                      <a:lnTo>
                        <a:pt x="13" y="128"/>
                      </a:lnTo>
                      <a:lnTo>
                        <a:pt x="19" y="126"/>
                      </a:lnTo>
                      <a:lnTo>
                        <a:pt x="24" y="123"/>
                      </a:lnTo>
                      <a:lnTo>
                        <a:pt x="34" y="117"/>
                      </a:lnTo>
                      <a:lnTo>
                        <a:pt x="41" y="108"/>
                      </a:lnTo>
                      <a:lnTo>
                        <a:pt x="48" y="100"/>
                      </a:lnTo>
                      <a:lnTo>
                        <a:pt x="56" y="93"/>
                      </a:lnTo>
                      <a:lnTo>
                        <a:pt x="60" y="91"/>
                      </a:lnTo>
                      <a:lnTo>
                        <a:pt x="63" y="89"/>
                      </a:lnTo>
                      <a:lnTo>
                        <a:pt x="68" y="87"/>
                      </a:lnTo>
                      <a:lnTo>
                        <a:pt x="73" y="87"/>
                      </a:lnTo>
                      <a:lnTo>
                        <a:pt x="83" y="87"/>
                      </a:lnTo>
                      <a:lnTo>
                        <a:pt x="93" y="87"/>
                      </a:lnTo>
                      <a:lnTo>
                        <a:pt x="94" y="93"/>
                      </a:lnTo>
                      <a:lnTo>
                        <a:pt x="97" y="101"/>
                      </a:lnTo>
                      <a:lnTo>
                        <a:pt x="101" y="105"/>
                      </a:lnTo>
                      <a:lnTo>
                        <a:pt x="104" y="108"/>
                      </a:lnTo>
                      <a:lnTo>
                        <a:pt x="108" y="110"/>
                      </a:lnTo>
                      <a:lnTo>
                        <a:pt x="113" y="111"/>
                      </a:lnTo>
                      <a:lnTo>
                        <a:pt x="120" y="110"/>
                      </a:lnTo>
                      <a:lnTo>
                        <a:pt x="127" y="108"/>
                      </a:lnTo>
                      <a:lnTo>
                        <a:pt x="135" y="104"/>
                      </a:lnTo>
                      <a:lnTo>
                        <a:pt x="141" y="99"/>
                      </a:lnTo>
                      <a:lnTo>
                        <a:pt x="148" y="93"/>
                      </a:lnTo>
                      <a:lnTo>
                        <a:pt x="153" y="86"/>
                      </a:lnTo>
                      <a:lnTo>
                        <a:pt x="160" y="78"/>
                      </a:lnTo>
                      <a:lnTo>
                        <a:pt x="165" y="70"/>
                      </a:lnTo>
                      <a:lnTo>
                        <a:pt x="174" y="51"/>
                      </a:lnTo>
                      <a:lnTo>
                        <a:pt x="183" y="33"/>
                      </a:lnTo>
                      <a:lnTo>
                        <a:pt x="188" y="16"/>
                      </a:lnTo>
                      <a:lnTo>
                        <a:pt x="193" y="0"/>
                      </a:lnTo>
                      <a:lnTo>
                        <a:pt x="195" y="4"/>
                      </a:lnTo>
                      <a:lnTo>
                        <a:pt x="198" y="9"/>
                      </a:lnTo>
                      <a:lnTo>
                        <a:pt x="202" y="12"/>
                      </a:lnTo>
                      <a:lnTo>
                        <a:pt x="206" y="15"/>
                      </a:lnTo>
                      <a:lnTo>
                        <a:pt x="213" y="18"/>
                      </a:lnTo>
                      <a:lnTo>
                        <a:pt x="219" y="19"/>
                      </a:lnTo>
                      <a:lnTo>
                        <a:pt x="219" y="32"/>
                      </a:lnTo>
                      <a:lnTo>
                        <a:pt x="219" y="44"/>
                      </a:lnTo>
                      <a:lnTo>
                        <a:pt x="219" y="52"/>
                      </a:lnTo>
                      <a:lnTo>
                        <a:pt x="219" y="55"/>
                      </a:lnTo>
                      <a:lnTo>
                        <a:pt x="227" y="61"/>
                      </a:lnTo>
                      <a:lnTo>
                        <a:pt x="231" y="66"/>
                      </a:lnTo>
                      <a:lnTo>
                        <a:pt x="234" y="70"/>
                      </a:lnTo>
                      <a:lnTo>
                        <a:pt x="239" y="75"/>
                      </a:lnTo>
                      <a:lnTo>
                        <a:pt x="234" y="88"/>
                      </a:lnTo>
                      <a:lnTo>
                        <a:pt x="233" y="100"/>
                      </a:lnTo>
                      <a:lnTo>
                        <a:pt x="234" y="104"/>
                      </a:lnTo>
                      <a:lnTo>
                        <a:pt x="234" y="108"/>
                      </a:lnTo>
                      <a:lnTo>
                        <a:pt x="237" y="110"/>
                      </a:lnTo>
                      <a:lnTo>
                        <a:pt x="239" y="111"/>
                      </a:lnTo>
                      <a:lnTo>
                        <a:pt x="243" y="121"/>
                      </a:lnTo>
                      <a:lnTo>
                        <a:pt x="247" y="129"/>
                      </a:lnTo>
                      <a:lnTo>
                        <a:pt x="249" y="137"/>
                      </a:lnTo>
                      <a:lnTo>
                        <a:pt x="251" y="145"/>
                      </a:lnTo>
                      <a:lnTo>
                        <a:pt x="254" y="161"/>
                      </a:lnTo>
                      <a:lnTo>
                        <a:pt x="259" y="179"/>
                      </a:lnTo>
                      <a:lnTo>
                        <a:pt x="245" y="235"/>
                      </a:lnTo>
                      <a:lnTo>
                        <a:pt x="241" y="230"/>
                      </a:lnTo>
                      <a:lnTo>
                        <a:pt x="239" y="222"/>
                      </a:lnTo>
                      <a:lnTo>
                        <a:pt x="238" y="215"/>
                      </a:lnTo>
                      <a:lnTo>
                        <a:pt x="237" y="208"/>
                      </a:lnTo>
                      <a:lnTo>
                        <a:pt x="238" y="196"/>
                      </a:lnTo>
                      <a:lnTo>
                        <a:pt x="239" y="192"/>
                      </a:lnTo>
                      <a:lnTo>
                        <a:pt x="231" y="191"/>
                      </a:lnTo>
                      <a:lnTo>
                        <a:pt x="222" y="188"/>
                      </a:lnTo>
                      <a:lnTo>
                        <a:pt x="213" y="184"/>
                      </a:lnTo>
                      <a:lnTo>
                        <a:pt x="206" y="179"/>
                      </a:lnTo>
                      <a:lnTo>
                        <a:pt x="199" y="189"/>
                      </a:lnTo>
                      <a:lnTo>
                        <a:pt x="194" y="199"/>
                      </a:lnTo>
                      <a:lnTo>
                        <a:pt x="191" y="209"/>
                      </a:lnTo>
                      <a:lnTo>
                        <a:pt x="188" y="219"/>
                      </a:lnTo>
                      <a:lnTo>
                        <a:pt x="186" y="240"/>
                      </a:lnTo>
                      <a:lnTo>
                        <a:pt x="185" y="259"/>
                      </a:lnTo>
                      <a:lnTo>
                        <a:pt x="132" y="259"/>
                      </a:lnTo>
                      <a:lnTo>
                        <a:pt x="124" y="242"/>
                      </a:lnTo>
                      <a:lnTo>
                        <a:pt x="115" y="226"/>
                      </a:lnTo>
                      <a:lnTo>
                        <a:pt x="110" y="220"/>
                      </a:lnTo>
                      <a:lnTo>
                        <a:pt x="105" y="214"/>
                      </a:lnTo>
                      <a:lnTo>
                        <a:pt x="99" y="209"/>
                      </a:lnTo>
                      <a:lnTo>
                        <a:pt x="93" y="204"/>
                      </a:lnTo>
                      <a:lnTo>
                        <a:pt x="97" y="196"/>
                      </a:lnTo>
                      <a:lnTo>
                        <a:pt x="102" y="190"/>
                      </a:lnTo>
                      <a:lnTo>
                        <a:pt x="105" y="186"/>
                      </a:lnTo>
                      <a:lnTo>
                        <a:pt x="108" y="183"/>
                      </a:lnTo>
                      <a:lnTo>
                        <a:pt x="112" y="180"/>
                      </a:lnTo>
                      <a:lnTo>
                        <a:pt x="114" y="177"/>
                      </a:lnTo>
                      <a:lnTo>
                        <a:pt x="117" y="173"/>
                      </a:lnTo>
                      <a:lnTo>
                        <a:pt x="119" y="166"/>
                      </a:lnTo>
                      <a:lnTo>
                        <a:pt x="93" y="154"/>
                      </a:lnTo>
                      <a:lnTo>
                        <a:pt x="32" y="154"/>
                      </a:lnTo>
                      <a:lnTo>
                        <a:pt x="28" y="155"/>
                      </a:lnTo>
                      <a:lnTo>
                        <a:pt x="24" y="158"/>
                      </a:lnTo>
                      <a:lnTo>
                        <a:pt x="20" y="163"/>
                      </a:lnTo>
                      <a:lnTo>
                        <a:pt x="18" y="168"/>
                      </a:lnTo>
                      <a:lnTo>
                        <a:pt x="16" y="175"/>
                      </a:lnTo>
                      <a:lnTo>
                        <a:pt x="14" y="181"/>
                      </a:lnTo>
                      <a:lnTo>
                        <a:pt x="13" y="187"/>
                      </a:lnTo>
                      <a:lnTo>
                        <a:pt x="13" y="192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6" name="Freeform 292">
                  <a:extLst>
                    <a:ext uri="{FF2B5EF4-FFF2-40B4-BE49-F238E27FC236}">
                      <a16:creationId xmlns:a16="http://schemas.microsoft.com/office/drawing/2014/main" id="{076F82BE-D3EE-4790-BB16-7B46388782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04" y="2395"/>
                  <a:ext cx="23" cy="31"/>
                </a:xfrm>
                <a:custGeom>
                  <a:avLst/>
                  <a:gdLst>
                    <a:gd name="T0" fmla="*/ 7 w 72"/>
                    <a:gd name="T1" fmla="*/ 5 h 92"/>
                    <a:gd name="T2" fmla="*/ 7 w 72"/>
                    <a:gd name="T3" fmla="*/ 10 h 92"/>
                    <a:gd name="T4" fmla="*/ 7 w 72"/>
                    <a:gd name="T5" fmla="*/ 10 h 92"/>
                    <a:gd name="T6" fmla="*/ 6 w 72"/>
                    <a:gd name="T7" fmla="*/ 9 h 92"/>
                    <a:gd name="T8" fmla="*/ 5 w 72"/>
                    <a:gd name="T9" fmla="*/ 8 h 92"/>
                    <a:gd name="T10" fmla="*/ 5 w 72"/>
                    <a:gd name="T11" fmla="*/ 8 h 92"/>
                    <a:gd name="T12" fmla="*/ 4 w 72"/>
                    <a:gd name="T13" fmla="*/ 7 h 92"/>
                    <a:gd name="T14" fmla="*/ 3 w 72"/>
                    <a:gd name="T15" fmla="*/ 5 h 92"/>
                    <a:gd name="T16" fmla="*/ 3 w 72"/>
                    <a:gd name="T17" fmla="*/ 4 h 92"/>
                    <a:gd name="T18" fmla="*/ 2 w 72"/>
                    <a:gd name="T19" fmla="*/ 3 h 92"/>
                    <a:gd name="T20" fmla="*/ 1 w 72"/>
                    <a:gd name="T21" fmla="*/ 1 h 92"/>
                    <a:gd name="T22" fmla="*/ 0 w 72"/>
                    <a:gd name="T23" fmla="*/ 0 h 92"/>
                    <a:gd name="T24" fmla="*/ 3 w 72"/>
                    <a:gd name="T25" fmla="*/ 1 h 92"/>
                    <a:gd name="T26" fmla="*/ 4 w 72"/>
                    <a:gd name="T27" fmla="*/ 2 h 92"/>
                    <a:gd name="T28" fmla="*/ 5 w 72"/>
                    <a:gd name="T29" fmla="*/ 3 h 92"/>
                    <a:gd name="T30" fmla="*/ 6 w 72"/>
                    <a:gd name="T31" fmla="*/ 3 h 92"/>
                    <a:gd name="T32" fmla="*/ 7 w 72"/>
                    <a:gd name="T33" fmla="*/ 4 h 92"/>
                    <a:gd name="T34" fmla="*/ 7 w 72"/>
                    <a:gd name="T35" fmla="*/ 5 h 92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72" h="92">
                      <a:moveTo>
                        <a:pt x="72" y="43"/>
                      </a:moveTo>
                      <a:lnTo>
                        <a:pt x="72" y="92"/>
                      </a:lnTo>
                      <a:lnTo>
                        <a:pt x="65" y="86"/>
                      </a:lnTo>
                      <a:lnTo>
                        <a:pt x="58" y="81"/>
                      </a:lnTo>
                      <a:lnTo>
                        <a:pt x="51" y="75"/>
                      </a:lnTo>
                      <a:lnTo>
                        <a:pt x="46" y="69"/>
                      </a:lnTo>
                      <a:lnTo>
                        <a:pt x="38" y="58"/>
                      </a:lnTo>
                      <a:lnTo>
                        <a:pt x="32" y="46"/>
                      </a:lnTo>
                      <a:lnTo>
                        <a:pt x="25" y="34"/>
                      </a:lnTo>
                      <a:lnTo>
                        <a:pt x="19" y="23"/>
                      </a:lnTo>
                      <a:lnTo>
                        <a:pt x="11" y="12"/>
                      </a:lnTo>
                      <a:lnTo>
                        <a:pt x="0" y="0"/>
                      </a:lnTo>
                      <a:lnTo>
                        <a:pt x="25" y="12"/>
                      </a:lnTo>
                      <a:lnTo>
                        <a:pt x="44" y="21"/>
                      </a:lnTo>
                      <a:lnTo>
                        <a:pt x="51" y="26"/>
                      </a:lnTo>
                      <a:lnTo>
                        <a:pt x="58" y="31"/>
                      </a:lnTo>
                      <a:lnTo>
                        <a:pt x="66" y="36"/>
                      </a:lnTo>
                      <a:lnTo>
                        <a:pt x="72" y="43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rgbClr val="0872A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7" name="Freeform 293">
                  <a:extLst>
                    <a:ext uri="{FF2B5EF4-FFF2-40B4-BE49-F238E27FC236}">
                      <a16:creationId xmlns:a16="http://schemas.microsoft.com/office/drawing/2014/main" id="{03BA2142-E327-4857-AF65-6A8A19CB9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2" y="2436"/>
                  <a:ext cx="16" cy="21"/>
                </a:xfrm>
                <a:custGeom>
                  <a:avLst/>
                  <a:gdLst>
                    <a:gd name="T0" fmla="*/ 1 w 46"/>
                    <a:gd name="T1" fmla="*/ 1 h 62"/>
                    <a:gd name="T2" fmla="*/ 2 w 46"/>
                    <a:gd name="T3" fmla="*/ 1 h 62"/>
                    <a:gd name="T4" fmla="*/ 4 w 46"/>
                    <a:gd name="T5" fmla="*/ 0 h 62"/>
                    <a:gd name="T6" fmla="*/ 5 w 46"/>
                    <a:gd name="T7" fmla="*/ 0 h 62"/>
                    <a:gd name="T8" fmla="*/ 6 w 46"/>
                    <a:gd name="T9" fmla="*/ 0 h 62"/>
                    <a:gd name="T10" fmla="*/ 6 w 46"/>
                    <a:gd name="T11" fmla="*/ 1 h 62"/>
                    <a:gd name="T12" fmla="*/ 6 w 46"/>
                    <a:gd name="T13" fmla="*/ 2 h 62"/>
                    <a:gd name="T14" fmla="*/ 6 w 46"/>
                    <a:gd name="T15" fmla="*/ 3 h 62"/>
                    <a:gd name="T16" fmla="*/ 6 w 46"/>
                    <a:gd name="T17" fmla="*/ 4 h 62"/>
                    <a:gd name="T18" fmla="*/ 6 w 46"/>
                    <a:gd name="T19" fmla="*/ 5 h 62"/>
                    <a:gd name="T20" fmla="*/ 5 w 46"/>
                    <a:gd name="T21" fmla="*/ 6 h 62"/>
                    <a:gd name="T22" fmla="*/ 5 w 46"/>
                    <a:gd name="T23" fmla="*/ 6 h 62"/>
                    <a:gd name="T24" fmla="*/ 5 w 46"/>
                    <a:gd name="T25" fmla="*/ 7 h 62"/>
                    <a:gd name="T26" fmla="*/ 4 w 46"/>
                    <a:gd name="T27" fmla="*/ 7 h 62"/>
                    <a:gd name="T28" fmla="*/ 4 w 46"/>
                    <a:gd name="T29" fmla="*/ 7 h 62"/>
                    <a:gd name="T30" fmla="*/ 3 w 46"/>
                    <a:gd name="T31" fmla="*/ 7 h 62"/>
                    <a:gd name="T32" fmla="*/ 3 w 46"/>
                    <a:gd name="T33" fmla="*/ 7 h 62"/>
                    <a:gd name="T34" fmla="*/ 2 w 46"/>
                    <a:gd name="T35" fmla="*/ 7 h 62"/>
                    <a:gd name="T36" fmla="*/ 2 w 46"/>
                    <a:gd name="T37" fmla="*/ 6 h 62"/>
                    <a:gd name="T38" fmla="*/ 1 w 46"/>
                    <a:gd name="T39" fmla="*/ 6 h 62"/>
                    <a:gd name="T40" fmla="*/ 1 w 46"/>
                    <a:gd name="T41" fmla="*/ 6 h 62"/>
                    <a:gd name="T42" fmla="*/ 1 w 46"/>
                    <a:gd name="T43" fmla="*/ 5 h 62"/>
                    <a:gd name="T44" fmla="*/ 0 w 46"/>
                    <a:gd name="T45" fmla="*/ 5 h 62"/>
                    <a:gd name="T46" fmla="*/ 0 w 46"/>
                    <a:gd name="T47" fmla="*/ 4 h 62"/>
                    <a:gd name="T48" fmla="*/ 0 w 46"/>
                    <a:gd name="T49" fmla="*/ 3 h 62"/>
                    <a:gd name="T50" fmla="*/ 0 w 46"/>
                    <a:gd name="T51" fmla="*/ 2 h 62"/>
                    <a:gd name="T52" fmla="*/ 0 w 46"/>
                    <a:gd name="T53" fmla="*/ 1 h 62"/>
                    <a:gd name="T54" fmla="*/ 1 w 46"/>
                    <a:gd name="T55" fmla="*/ 1 h 62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46" h="62">
                      <a:moveTo>
                        <a:pt x="6" y="6"/>
                      </a:moveTo>
                      <a:lnTo>
                        <a:pt x="19" y="5"/>
                      </a:lnTo>
                      <a:lnTo>
                        <a:pt x="31" y="3"/>
                      </a:lnTo>
                      <a:lnTo>
                        <a:pt x="39" y="1"/>
                      </a:lnTo>
                      <a:lnTo>
                        <a:pt x="46" y="0"/>
                      </a:lnTo>
                      <a:lnTo>
                        <a:pt x="46" y="9"/>
                      </a:lnTo>
                      <a:lnTo>
                        <a:pt x="46" y="18"/>
                      </a:lnTo>
                      <a:lnTo>
                        <a:pt x="46" y="27"/>
                      </a:lnTo>
                      <a:lnTo>
                        <a:pt x="46" y="38"/>
                      </a:lnTo>
                      <a:lnTo>
                        <a:pt x="45" y="46"/>
                      </a:lnTo>
                      <a:lnTo>
                        <a:pt x="41" y="54"/>
                      </a:lnTo>
                      <a:lnTo>
                        <a:pt x="39" y="57"/>
                      </a:lnTo>
                      <a:lnTo>
                        <a:pt x="37" y="60"/>
                      </a:lnTo>
                      <a:lnTo>
                        <a:pt x="35" y="61"/>
                      </a:lnTo>
                      <a:lnTo>
                        <a:pt x="33" y="62"/>
                      </a:lnTo>
                      <a:lnTo>
                        <a:pt x="27" y="61"/>
                      </a:lnTo>
                      <a:lnTo>
                        <a:pt x="22" y="60"/>
                      </a:lnTo>
                      <a:lnTo>
                        <a:pt x="17" y="59"/>
                      </a:lnTo>
                      <a:lnTo>
                        <a:pt x="14" y="57"/>
                      </a:lnTo>
                      <a:lnTo>
                        <a:pt x="11" y="54"/>
                      </a:lnTo>
                      <a:lnTo>
                        <a:pt x="7" y="51"/>
                      </a:lnTo>
                      <a:lnTo>
                        <a:pt x="5" y="47"/>
                      </a:lnTo>
                      <a:lnTo>
                        <a:pt x="4" y="44"/>
                      </a:lnTo>
                      <a:lnTo>
                        <a:pt x="1" y="34"/>
                      </a:lnTo>
                      <a:lnTo>
                        <a:pt x="0" y="25"/>
                      </a:lnTo>
                      <a:lnTo>
                        <a:pt x="0" y="16"/>
                      </a:lnTo>
                      <a:lnTo>
                        <a:pt x="0" y="6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rgbClr val="0872A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8" name="Freeform 295">
                  <a:extLst>
                    <a:ext uri="{FF2B5EF4-FFF2-40B4-BE49-F238E27FC236}">
                      <a16:creationId xmlns:a16="http://schemas.microsoft.com/office/drawing/2014/main" id="{CDDAC441-631B-4B34-9947-DDDE33D75F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9" y="2442"/>
                  <a:ext cx="8" cy="13"/>
                </a:xfrm>
                <a:custGeom>
                  <a:avLst/>
                  <a:gdLst>
                    <a:gd name="T0" fmla="*/ 2 w 26"/>
                    <a:gd name="T1" fmla="*/ 4 h 38"/>
                    <a:gd name="T2" fmla="*/ 2 w 26"/>
                    <a:gd name="T3" fmla="*/ 0 h 38"/>
                    <a:gd name="T4" fmla="*/ 2 w 26"/>
                    <a:gd name="T5" fmla="*/ 0 h 38"/>
                    <a:gd name="T6" fmla="*/ 1 w 26"/>
                    <a:gd name="T7" fmla="*/ 0 h 38"/>
                    <a:gd name="T8" fmla="*/ 1 w 26"/>
                    <a:gd name="T9" fmla="*/ 1 h 38"/>
                    <a:gd name="T10" fmla="*/ 0 w 26"/>
                    <a:gd name="T11" fmla="*/ 1 h 38"/>
                    <a:gd name="T12" fmla="*/ 2 w 26"/>
                    <a:gd name="T13" fmla="*/ 3 h 38"/>
                    <a:gd name="T14" fmla="*/ 2 w 26"/>
                    <a:gd name="T15" fmla="*/ 4 h 38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26" h="38">
                      <a:moveTo>
                        <a:pt x="26" y="38"/>
                      </a:moveTo>
                      <a:lnTo>
                        <a:pt x="26" y="0"/>
                      </a:lnTo>
                      <a:lnTo>
                        <a:pt x="21" y="1"/>
                      </a:lnTo>
                      <a:lnTo>
                        <a:pt x="13" y="4"/>
                      </a:lnTo>
                      <a:lnTo>
                        <a:pt x="6" y="8"/>
                      </a:lnTo>
                      <a:lnTo>
                        <a:pt x="0" y="13"/>
                      </a:lnTo>
                      <a:lnTo>
                        <a:pt x="18" y="30"/>
                      </a:lnTo>
                      <a:lnTo>
                        <a:pt x="26" y="3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29" name="Freeform 296">
                  <a:extLst>
                    <a:ext uri="{FF2B5EF4-FFF2-40B4-BE49-F238E27FC236}">
                      <a16:creationId xmlns:a16="http://schemas.microsoft.com/office/drawing/2014/main" id="{19E72C08-E929-486E-AC6C-9BBF997630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65" y="2420"/>
                  <a:ext cx="10" cy="10"/>
                </a:xfrm>
                <a:custGeom>
                  <a:avLst/>
                  <a:gdLst>
                    <a:gd name="T0" fmla="*/ 0 w 34"/>
                    <a:gd name="T1" fmla="*/ 2 h 31"/>
                    <a:gd name="T2" fmla="*/ 1 w 34"/>
                    <a:gd name="T3" fmla="*/ 2 h 31"/>
                    <a:gd name="T4" fmla="*/ 1 w 34"/>
                    <a:gd name="T5" fmla="*/ 3 h 31"/>
                    <a:gd name="T6" fmla="*/ 2 w 34"/>
                    <a:gd name="T7" fmla="*/ 3 h 31"/>
                    <a:gd name="T8" fmla="*/ 3 w 34"/>
                    <a:gd name="T9" fmla="*/ 3 h 31"/>
                    <a:gd name="T10" fmla="*/ 3 w 34"/>
                    <a:gd name="T11" fmla="*/ 3 h 31"/>
                    <a:gd name="T12" fmla="*/ 3 w 34"/>
                    <a:gd name="T13" fmla="*/ 2 h 31"/>
                    <a:gd name="T14" fmla="*/ 2 w 34"/>
                    <a:gd name="T15" fmla="*/ 1 h 31"/>
                    <a:gd name="T16" fmla="*/ 2 w 34"/>
                    <a:gd name="T17" fmla="*/ 0 h 31"/>
                    <a:gd name="T18" fmla="*/ 1 w 34"/>
                    <a:gd name="T19" fmla="*/ 1 h 31"/>
                    <a:gd name="T20" fmla="*/ 1 w 34"/>
                    <a:gd name="T21" fmla="*/ 1 h 31"/>
                    <a:gd name="T22" fmla="*/ 1 w 34"/>
                    <a:gd name="T23" fmla="*/ 2 h 31"/>
                    <a:gd name="T24" fmla="*/ 1 w 34"/>
                    <a:gd name="T25" fmla="*/ 2 h 31"/>
                    <a:gd name="T26" fmla="*/ 0 w 34"/>
                    <a:gd name="T27" fmla="*/ 2 h 31"/>
                    <a:gd name="T28" fmla="*/ 0 w 34"/>
                    <a:gd name="T29" fmla="*/ 2 h 31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34" h="31">
                      <a:moveTo>
                        <a:pt x="0" y="18"/>
                      </a:moveTo>
                      <a:lnTo>
                        <a:pt x="8" y="22"/>
                      </a:lnTo>
                      <a:lnTo>
                        <a:pt x="17" y="26"/>
                      </a:lnTo>
                      <a:lnTo>
                        <a:pt x="27" y="30"/>
                      </a:lnTo>
                      <a:lnTo>
                        <a:pt x="34" y="31"/>
                      </a:lnTo>
                      <a:lnTo>
                        <a:pt x="33" y="24"/>
                      </a:lnTo>
                      <a:lnTo>
                        <a:pt x="30" y="15"/>
                      </a:lnTo>
                      <a:lnTo>
                        <a:pt x="26" y="6"/>
                      </a:lnTo>
                      <a:lnTo>
                        <a:pt x="20" y="0"/>
                      </a:lnTo>
                      <a:lnTo>
                        <a:pt x="16" y="5"/>
                      </a:lnTo>
                      <a:lnTo>
                        <a:pt x="10" y="11"/>
                      </a:lnTo>
                      <a:lnTo>
                        <a:pt x="8" y="14"/>
                      </a:lnTo>
                      <a:lnTo>
                        <a:pt x="6" y="16"/>
                      </a:lnTo>
                      <a:lnTo>
                        <a:pt x="4" y="18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rgbClr val="0872A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0" name="Freeform 297">
                  <a:extLst>
                    <a:ext uri="{FF2B5EF4-FFF2-40B4-BE49-F238E27FC236}">
                      <a16:creationId xmlns:a16="http://schemas.microsoft.com/office/drawing/2014/main" id="{08035259-4EDE-48C0-96AE-162D930426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39" y="2418"/>
                  <a:ext cx="6" cy="12"/>
                </a:xfrm>
                <a:custGeom>
                  <a:avLst/>
                  <a:gdLst>
                    <a:gd name="T0" fmla="*/ 0 w 20"/>
                    <a:gd name="T1" fmla="*/ 1 h 37"/>
                    <a:gd name="T2" fmla="*/ 0 w 20"/>
                    <a:gd name="T3" fmla="*/ 4 h 37"/>
                    <a:gd name="T4" fmla="*/ 1 w 20"/>
                    <a:gd name="T5" fmla="*/ 4 h 37"/>
                    <a:gd name="T6" fmla="*/ 2 w 20"/>
                    <a:gd name="T7" fmla="*/ 3 h 37"/>
                    <a:gd name="T8" fmla="*/ 2 w 20"/>
                    <a:gd name="T9" fmla="*/ 0 h 37"/>
                    <a:gd name="T10" fmla="*/ 0 w 20"/>
                    <a:gd name="T11" fmla="*/ 1 h 37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" h="37">
                      <a:moveTo>
                        <a:pt x="0" y="6"/>
                      </a:moveTo>
                      <a:lnTo>
                        <a:pt x="0" y="37"/>
                      </a:lnTo>
                      <a:lnTo>
                        <a:pt x="7" y="33"/>
                      </a:lnTo>
                      <a:lnTo>
                        <a:pt x="20" y="30"/>
                      </a:lnTo>
                      <a:lnTo>
                        <a:pt x="20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1" name="Line 298">
                  <a:extLst>
                    <a:ext uri="{FF2B5EF4-FFF2-40B4-BE49-F238E27FC236}">
                      <a16:creationId xmlns:a16="http://schemas.microsoft.com/office/drawing/2014/main" id="{3D4B7A5B-03D3-497E-BB0D-EBC7B8A78BBA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5180" y="2449"/>
                  <a:ext cx="1" cy="10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2" name="Freeform 299">
                  <a:extLst>
                    <a:ext uri="{FF2B5EF4-FFF2-40B4-BE49-F238E27FC236}">
                      <a16:creationId xmlns:a16="http://schemas.microsoft.com/office/drawing/2014/main" id="{4FC3157C-7AE2-451A-92D5-154E5F2142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80" y="2453"/>
                  <a:ext cx="5" cy="6"/>
                </a:xfrm>
                <a:custGeom>
                  <a:avLst/>
                  <a:gdLst>
                    <a:gd name="T0" fmla="*/ 0 w 13"/>
                    <a:gd name="T1" fmla="*/ 2 h 18"/>
                    <a:gd name="T2" fmla="*/ 0 w 13"/>
                    <a:gd name="T3" fmla="*/ 1 h 18"/>
                    <a:gd name="T4" fmla="*/ 0 w 13"/>
                    <a:gd name="T5" fmla="*/ 1 h 18"/>
                    <a:gd name="T6" fmla="*/ 1 w 13"/>
                    <a:gd name="T7" fmla="*/ 0 h 18"/>
                    <a:gd name="T8" fmla="*/ 1 w 13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13" h="18">
                      <a:moveTo>
                        <a:pt x="0" y="18"/>
                      </a:moveTo>
                      <a:lnTo>
                        <a:pt x="1" y="13"/>
                      </a:lnTo>
                      <a:lnTo>
                        <a:pt x="3" y="9"/>
                      </a:lnTo>
                      <a:lnTo>
                        <a:pt x="7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3" name="Line 300">
                  <a:extLst>
                    <a:ext uri="{FF2B5EF4-FFF2-40B4-BE49-F238E27FC236}">
                      <a16:creationId xmlns:a16="http://schemas.microsoft.com/office/drawing/2014/main" id="{9E490CE4-6B70-4296-8BDE-AA7E1F20C36D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5178" y="2447"/>
                  <a:ext cx="7" cy="6"/>
                </a:xfrm>
                <a:prstGeom prst="line">
                  <a:avLst/>
                </a:prstGeom>
                <a:noFill/>
                <a:ln w="9525">
                  <a:solidFill>
                    <a:schemeClr val="bg1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4" name="Freeform 301">
                  <a:extLst>
                    <a:ext uri="{FF2B5EF4-FFF2-40B4-BE49-F238E27FC236}">
                      <a16:creationId xmlns:a16="http://schemas.microsoft.com/office/drawing/2014/main" id="{2666958F-6131-4406-9291-4EE19B050F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6" y="2564"/>
                  <a:ext cx="9" cy="10"/>
                </a:xfrm>
                <a:custGeom>
                  <a:avLst/>
                  <a:gdLst>
                    <a:gd name="T0" fmla="*/ 0 w 27"/>
                    <a:gd name="T1" fmla="*/ 0 h 31"/>
                    <a:gd name="T2" fmla="*/ 2 w 27"/>
                    <a:gd name="T3" fmla="*/ 3 h 31"/>
                    <a:gd name="T4" fmla="*/ 3 w 27"/>
                    <a:gd name="T5" fmla="*/ 1 h 3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7" h="31">
                      <a:moveTo>
                        <a:pt x="0" y="0"/>
                      </a:moveTo>
                      <a:lnTo>
                        <a:pt x="20" y="31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5" name="Freeform 302">
                  <a:extLst>
                    <a:ext uri="{FF2B5EF4-FFF2-40B4-BE49-F238E27FC236}">
                      <a16:creationId xmlns:a16="http://schemas.microsoft.com/office/drawing/2014/main" id="{48AFD3C7-E261-450D-80AA-A281061DDD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19" y="2568"/>
                  <a:ext cx="7" cy="1"/>
                </a:xfrm>
                <a:custGeom>
                  <a:avLst/>
                  <a:gdLst>
                    <a:gd name="T0" fmla="*/ 2 w 20"/>
                    <a:gd name="T1" fmla="*/ 0 h 1"/>
                    <a:gd name="T2" fmla="*/ 1 w 20"/>
                    <a:gd name="T3" fmla="*/ 0 h 1"/>
                    <a:gd name="T4" fmla="*/ 0 w 20"/>
                    <a:gd name="T5" fmla="*/ 0 h 1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0" h="1">
                      <a:moveTo>
                        <a:pt x="20" y="0"/>
                      </a:moveTo>
                      <a:lnTo>
                        <a:pt x="10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6" name="Freeform 303">
                  <a:extLst>
                    <a:ext uri="{FF2B5EF4-FFF2-40B4-BE49-F238E27FC236}">
                      <a16:creationId xmlns:a16="http://schemas.microsoft.com/office/drawing/2014/main" id="{AE1C558B-5AE5-42E7-816F-1E1C9743A9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7" y="2557"/>
                  <a:ext cx="16" cy="5"/>
                </a:xfrm>
                <a:custGeom>
                  <a:avLst/>
                  <a:gdLst>
                    <a:gd name="T0" fmla="*/ 0 w 34"/>
                    <a:gd name="T1" fmla="*/ 2 h 13"/>
                    <a:gd name="T2" fmla="*/ 1 w 34"/>
                    <a:gd name="T3" fmla="*/ 2 h 13"/>
                    <a:gd name="T4" fmla="*/ 1 w 34"/>
                    <a:gd name="T5" fmla="*/ 2 h 13"/>
                    <a:gd name="T6" fmla="*/ 2 w 34"/>
                    <a:gd name="T7" fmla="*/ 2 h 13"/>
                    <a:gd name="T8" fmla="*/ 2 w 34"/>
                    <a:gd name="T9" fmla="*/ 1 h 13"/>
                    <a:gd name="T10" fmla="*/ 4 w 34"/>
                    <a:gd name="T11" fmla="*/ 0 h 13"/>
                    <a:gd name="T12" fmla="*/ 4 w 34"/>
                    <a:gd name="T13" fmla="*/ 0 h 13"/>
                    <a:gd name="T14" fmla="*/ 3 w 34"/>
                    <a:gd name="T15" fmla="*/ 0 h 13"/>
                    <a:gd name="T16" fmla="*/ 2 w 34"/>
                    <a:gd name="T17" fmla="*/ 0 h 1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4" h="13">
                      <a:moveTo>
                        <a:pt x="0" y="13"/>
                      </a:moveTo>
                      <a:lnTo>
                        <a:pt x="6" y="13"/>
                      </a:lnTo>
                      <a:lnTo>
                        <a:pt x="10" y="11"/>
                      </a:lnTo>
                      <a:lnTo>
                        <a:pt x="16" y="10"/>
                      </a:lnTo>
                      <a:lnTo>
                        <a:pt x="20" y="7"/>
                      </a:lnTo>
                      <a:lnTo>
                        <a:pt x="28" y="2"/>
                      </a:lnTo>
                      <a:lnTo>
                        <a:pt x="34" y="0"/>
                      </a:lnTo>
                      <a:lnTo>
                        <a:pt x="25" y="0"/>
                      </a:lnTo>
                      <a:lnTo>
                        <a:pt x="15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7" name="Freeform 304">
                  <a:extLst>
                    <a:ext uri="{FF2B5EF4-FFF2-40B4-BE49-F238E27FC236}">
                      <a16:creationId xmlns:a16="http://schemas.microsoft.com/office/drawing/2014/main" id="{759EEF15-4966-4799-A44E-60D31AA3C0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27" y="2547"/>
                  <a:ext cx="16" cy="6"/>
                </a:xfrm>
                <a:custGeom>
                  <a:avLst/>
                  <a:gdLst>
                    <a:gd name="T0" fmla="*/ 4 w 34"/>
                    <a:gd name="T1" fmla="*/ 2 h 18"/>
                    <a:gd name="T2" fmla="*/ 4 w 34"/>
                    <a:gd name="T3" fmla="*/ 0 h 18"/>
                    <a:gd name="T4" fmla="*/ 4 w 34"/>
                    <a:gd name="T5" fmla="*/ 0 h 18"/>
                    <a:gd name="T6" fmla="*/ 2 w 34"/>
                    <a:gd name="T7" fmla="*/ 0 h 18"/>
                    <a:gd name="T8" fmla="*/ 1 w 34"/>
                    <a:gd name="T9" fmla="*/ 0 h 18"/>
                    <a:gd name="T10" fmla="*/ 0 w 34"/>
                    <a:gd name="T11" fmla="*/ 0 h 18"/>
                    <a:gd name="T12" fmla="*/ 4 w 34"/>
                    <a:gd name="T13" fmla="*/ 2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34" h="18">
                      <a:moveTo>
                        <a:pt x="34" y="18"/>
                      </a:moveTo>
                      <a:lnTo>
                        <a:pt x="34" y="0"/>
                      </a:lnTo>
                      <a:lnTo>
                        <a:pt x="28" y="0"/>
                      </a:lnTo>
                      <a:lnTo>
                        <a:pt x="20" y="0"/>
                      </a:lnTo>
                      <a:lnTo>
                        <a:pt x="10" y="0"/>
                      </a:lnTo>
                      <a:lnTo>
                        <a:pt x="0" y="0"/>
                      </a:lnTo>
                      <a:lnTo>
                        <a:pt x="34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8" name="Freeform 305">
                  <a:extLst>
                    <a:ext uri="{FF2B5EF4-FFF2-40B4-BE49-F238E27FC236}">
                      <a16:creationId xmlns:a16="http://schemas.microsoft.com/office/drawing/2014/main" id="{EC9A7418-A590-4718-9239-E8E792CB91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141" y="2535"/>
                  <a:ext cx="17" cy="8"/>
                </a:xfrm>
                <a:custGeom>
                  <a:avLst/>
                  <a:gdLst>
                    <a:gd name="T0" fmla="*/ 6 w 59"/>
                    <a:gd name="T1" fmla="*/ 3 h 25"/>
                    <a:gd name="T2" fmla="*/ 6 w 59"/>
                    <a:gd name="T3" fmla="*/ 1 h 25"/>
                    <a:gd name="T4" fmla="*/ 7 w 59"/>
                    <a:gd name="T5" fmla="*/ 0 h 25"/>
                    <a:gd name="T6" fmla="*/ 5 w 59"/>
                    <a:gd name="T7" fmla="*/ 0 h 25"/>
                    <a:gd name="T8" fmla="*/ 3 w 59"/>
                    <a:gd name="T9" fmla="*/ 0 h 25"/>
                    <a:gd name="T10" fmla="*/ 2 w 59"/>
                    <a:gd name="T11" fmla="*/ 0 h 25"/>
                    <a:gd name="T12" fmla="*/ 1 w 59"/>
                    <a:gd name="T13" fmla="*/ 0 h 25"/>
                    <a:gd name="T14" fmla="*/ 1 w 59"/>
                    <a:gd name="T15" fmla="*/ 0 h 25"/>
                    <a:gd name="T16" fmla="*/ 0 w 59"/>
                    <a:gd name="T17" fmla="*/ 1 h 25"/>
                    <a:gd name="T18" fmla="*/ 1 w 59"/>
                    <a:gd name="T19" fmla="*/ 1 h 25"/>
                    <a:gd name="T20" fmla="*/ 3 w 59"/>
                    <a:gd name="T21" fmla="*/ 2 h 25"/>
                    <a:gd name="T22" fmla="*/ 4 w 59"/>
                    <a:gd name="T23" fmla="*/ 2 h 25"/>
                    <a:gd name="T24" fmla="*/ 4 w 59"/>
                    <a:gd name="T25" fmla="*/ 3 h 25"/>
                    <a:gd name="T26" fmla="*/ 5 w 59"/>
                    <a:gd name="T27" fmla="*/ 3 h 25"/>
                    <a:gd name="T28" fmla="*/ 6 w 59"/>
                    <a:gd name="T29" fmla="*/ 3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59" h="25">
                      <a:moveTo>
                        <a:pt x="53" y="25"/>
                      </a:moveTo>
                      <a:lnTo>
                        <a:pt x="56" y="12"/>
                      </a:lnTo>
                      <a:lnTo>
                        <a:pt x="59" y="0"/>
                      </a:lnTo>
                      <a:lnTo>
                        <a:pt x="44" y="0"/>
                      </a:lnTo>
                      <a:lnTo>
                        <a:pt x="27" y="0"/>
                      </a:lnTo>
                      <a:lnTo>
                        <a:pt x="19" y="1"/>
                      </a:lnTo>
                      <a:lnTo>
                        <a:pt x="12" y="2"/>
                      </a:lnTo>
                      <a:lnTo>
                        <a:pt x="5" y="4"/>
                      </a:lnTo>
                      <a:lnTo>
                        <a:pt x="0" y="6"/>
                      </a:lnTo>
                      <a:lnTo>
                        <a:pt x="13" y="14"/>
                      </a:lnTo>
                      <a:lnTo>
                        <a:pt x="26" y="20"/>
                      </a:lnTo>
                      <a:lnTo>
                        <a:pt x="33" y="22"/>
                      </a:lnTo>
                      <a:lnTo>
                        <a:pt x="38" y="24"/>
                      </a:lnTo>
                      <a:lnTo>
                        <a:pt x="46" y="25"/>
                      </a:lnTo>
                      <a:lnTo>
                        <a:pt x="53" y="25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rgbClr val="0872A6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39" name="Line 306">
                  <a:extLst>
                    <a:ext uri="{FF2B5EF4-FFF2-40B4-BE49-F238E27FC236}">
                      <a16:creationId xmlns:a16="http://schemas.microsoft.com/office/drawing/2014/main" id="{32D025CE-A6EB-490E-B957-B6C7E2F336AB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191" y="2516"/>
                  <a:ext cx="6" cy="2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40" name="Freeform 290">
                  <a:extLst>
                    <a:ext uri="{FF2B5EF4-FFF2-40B4-BE49-F238E27FC236}">
                      <a16:creationId xmlns:a16="http://schemas.microsoft.com/office/drawing/2014/main" id="{7FC39C55-33B0-4ECE-AD58-AF9C835B50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62" y="2457"/>
                  <a:ext cx="42" cy="60"/>
                </a:xfrm>
                <a:custGeom>
                  <a:avLst/>
                  <a:gdLst>
                    <a:gd name="T0" fmla="*/ 13 w 126"/>
                    <a:gd name="T1" fmla="*/ 0 h 166"/>
                    <a:gd name="T2" fmla="*/ 13 w 126"/>
                    <a:gd name="T3" fmla="*/ 1 h 166"/>
                    <a:gd name="T4" fmla="*/ 13 w 126"/>
                    <a:gd name="T5" fmla="*/ 1 h 166"/>
                    <a:gd name="T6" fmla="*/ 14 w 126"/>
                    <a:gd name="T7" fmla="*/ 1 h 166"/>
                    <a:gd name="T8" fmla="*/ 14 w 126"/>
                    <a:gd name="T9" fmla="*/ 2 h 166"/>
                    <a:gd name="T10" fmla="*/ 14 w 126"/>
                    <a:gd name="T11" fmla="*/ 2 h 166"/>
                    <a:gd name="T12" fmla="*/ 14 w 126"/>
                    <a:gd name="T13" fmla="*/ 3 h 166"/>
                    <a:gd name="T14" fmla="*/ 14 w 126"/>
                    <a:gd name="T15" fmla="*/ 4 h 166"/>
                    <a:gd name="T16" fmla="*/ 13 w 126"/>
                    <a:gd name="T17" fmla="*/ 5 h 166"/>
                    <a:gd name="T18" fmla="*/ 13 w 126"/>
                    <a:gd name="T19" fmla="*/ 6 h 166"/>
                    <a:gd name="T20" fmla="*/ 12 w 126"/>
                    <a:gd name="T21" fmla="*/ 7 h 166"/>
                    <a:gd name="T22" fmla="*/ 10 w 126"/>
                    <a:gd name="T23" fmla="*/ 9 h 166"/>
                    <a:gd name="T24" fmla="*/ 8 w 126"/>
                    <a:gd name="T25" fmla="*/ 11 h 166"/>
                    <a:gd name="T26" fmla="*/ 6 w 126"/>
                    <a:gd name="T27" fmla="*/ 14 h 166"/>
                    <a:gd name="T28" fmla="*/ 4 w 126"/>
                    <a:gd name="T29" fmla="*/ 16 h 166"/>
                    <a:gd name="T30" fmla="*/ 3 w 126"/>
                    <a:gd name="T31" fmla="*/ 17 h 166"/>
                    <a:gd name="T32" fmla="*/ 2 w 126"/>
                    <a:gd name="T33" fmla="*/ 17 h 166"/>
                    <a:gd name="T34" fmla="*/ 1 w 126"/>
                    <a:gd name="T35" fmla="*/ 18 h 166"/>
                    <a:gd name="T36" fmla="*/ 0 w 126"/>
                    <a:gd name="T37" fmla="*/ 18 h 166"/>
                    <a:gd name="T38" fmla="*/ 0 w 126"/>
                    <a:gd name="T39" fmla="*/ 18 h 166"/>
                    <a:gd name="T40" fmla="*/ 0 w 126"/>
                    <a:gd name="T41" fmla="*/ 17 h 166"/>
                    <a:gd name="T42" fmla="*/ 0 w 126"/>
                    <a:gd name="T43" fmla="*/ 16 h 166"/>
                    <a:gd name="T44" fmla="*/ 0 w 126"/>
                    <a:gd name="T45" fmla="*/ 15 h 166"/>
                    <a:gd name="T46" fmla="*/ 0 w 126"/>
                    <a:gd name="T47" fmla="*/ 14 h 166"/>
                    <a:gd name="T48" fmla="*/ 1 w 126"/>
                    <a:gd name="T49" fmla="*/ 14 h 166"/>
                    <a:gd name="T50" fmla="*/ 1 w 126"/>
                    <a:gd name="T51" fmla="*/ 14 h 166"/>
                    <a:gd name="T52" fmla="*/ 2 w 126"/>
                    <a:gd name="T53" fmla="*/ 13 h 166"/>
                    <a:gd name="T54" fmla="*/ 3 w 126"/>
                    <a:gd name="T55" fmla="*/ 13 h 166"/>
                    <a:gd name="T56" fmla="*/ 4 w 126"/>
                    <a:gd name="T57" fmla="*/ 12 h 166"/>
                    <a:gd name="T58" fmla="*/ 4 w 126"/>
                    <a:gd name="T59" fmla="*/ 11 h 166"/>
                    <a:gd name="T60" fmla="*/ 5 w 126"/>
                    <a:gd name="T61" fmla="*/ 11 h 166"/>
                    <a:gd name="T62" fmla="*/ 6 w 126"/>
                    <a:gd name="T63" fmla="*/ 10 h 166"/>
                    <a:gd name="T64" fmla="*/ 6 w 126"/>
                    <a:gd name="T65" fmla="*/ 9 h 166"/>
                    <a:gd name="T66" fmla="*/ 7 w 126"/>
                    <a:gd name="T67" fmla="*/ 7 h 166"/>
                    <a:gd name="T68" fmla="*/ 8 w 126"/>
                    <a:gd name="T69" fmla="*/ 6 h 166"/>
                    <a:gd name="T70" fmla="*/ 9 w 126"/>
                    <a:gd name="T71" fmla="*/ 4 h 166"/>
                    <a:gd name="T72" fmla="*/ 10 w 126"/>
                    <a:gd name="T73" fmla="*/ 3 h 166"/>
                    <a:gd name="T74" fmla="*/ 10 w 126"/>
                    <a:gd name="T75" fmla="*/ 2 h 166"/>
                    <a:gd name="T76" fmla="*/ 11 w 126"/>
                    <a:gd name="T77" fmla="*/ 1 h 166"/>
                    <a:gd name="T78" fmla="*/ 12 w 126"/>
                    <a:gd name="T79" fmla="*/ 1 h 166"/>
                    <a:gd name="T80" fmla="*/ 13 w 126"/>
                    <a:gd name="T81" fmla="*/ 0 h 16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</a:gdLst>
                  <a:ahLst/>
                  <a:cxnLst>
                    <a:cxn ang="T82">
                      <a:pos x="T0" y="T1"/>
                    </a:cxn>
                    <a:cxn ang="T83">
                      <a:pos x="T2" y="T3"/>
                    </a:cxn>
                    <a:cxn ang="T84">
                      <a:pos x="T4" y="T5"/>
                    </a:cxn>
                    <a:cxn ang="T85">
                      <a:pos x="T6" y="T7"/>
                    </a:cxn>
                    <a:cxn ang="T86">
                      <a:pos x="T8" y="T9"/>
                    </a:cxn>
                    <a:cxn ang="T87">
                      <a:pos x="T10" y="T11"/>
                    </a:cxn>
                    <a:cxn ang="T88">
                      <a:pos x="T12" y="T13"/>
                    </a:cxn>
                    <a:cxn ang="T89">
                      <a:pos x="T14" y="T15"/>
                    </a:cxn>
                    <a:cxn ang="T90">
                      <a:pos x="T16" y="T17"/>
                    </a:cxn>
                    <a:cxn ang="T91">
                      <a:pos x="T18" y="T19"/>
                    </a:cxn>
                    <a:cxn ang="T92">
                      <a:pos x="T20" y="T21"/>
                    </a:cxn>
                    <a:cxn ang="T93">
                      <a:pos x="T22" y="T23"/>
                    </a:cxn>
                    <a:cxn ang="T94">
                      <a:pos x="T24" y="T25"/>
                    </a:cxn>
                    <a:cxn ang="T95">
                      <a:pos x="T26" y="T27"/>
                    </a:cxn>
                    <a:cxn ang="T96">
                      <a:pos x="T28" y="T29"/>
                    </a:cxn>
                    <a:cxn ang="T97">
                      <a:pos x="T30" y="T31"/>
                    </a:cxn>
                    <a:cxn ang="T98">
                      <a:pos x="T32" y="T33"/>
                    </a:cxn>
                    <a:cxn ang="T99">
                      <a:pos x="T34" y="T35"/>
                    </a:cxn>
                    <a:cxn ang="T100">
                      <a:pos x="T36" y="T37"/>
                    </a:cxn>
                    <a:cxn ang="T101">
                      <a:pos x="T38" y="T39"/>
                    </a:cxn>
                    <a:cxn ang="T102">
                      <a:pos x="T40" y="T41"/>
                    </a:cxn>
                    <a:cxn ang="T103">
                      <a:pos x="T42" y="T43"/>
                    </a:cxn>
                    <a:cxn ang="T104">
                      <a:pos x="T44" y="T45"/>
                    </a:cxn>
                    <a:cxn ang="T105">
                      <a:pos x="T46" y="T47"/>
                    </a:cxn>
                    <a:cxn ang="T106">
                      <a:pos x="T48" y="T49"/>
                    </a:cxn>
                    <a:cxn ang="T107">
                      <a:pos x="T50" y="T51"/>
                    </a:cxn>
                    <a:cxn ang="T108">
                      <a:pos x="T52" y="T53"/>
                    </a:cxn>
                    <a:cxn ang="T109">
                      <a:pos x="T54" y="T55"/>
                    </a:cxn>
                    <a:cxn ang="T110">
                      <a:pos x="T56" y="T57"/>
                    </a:cxn>
                    <a:cxn ang="T111">
                      <a:pos x="T58" y="T59"/>
                    </a:cxn>
                    <a:cxn ang="T112">
                      <a:pos x="T60" y="T61"/>
                    </a:cxn>
                    <a:cxn ang="T113">
                      <a:pos x="T62" y="T63"/>
                    </a:cxn>
                    <a:cxn ang="T114">
                      <a:pos x="T64" y="T65"/>
                    </a:cxn>
                    <a:cxn ang="T115">
                      <a:pos x="T66" y="T67"/>
                    </a:cxn>
                    <a:cxn ang="T116">
                      <a:pos x="T68" y="T69"/>
                    </a:cxn>
                    <a:cxn ang="T117">
                      <a:pos x="T70" y="T71"/>
                    </a:cxn>
                    <a:cxn ang="T118">
                      <a:pos x="T72" y="T73"/>
                    </a:cxn>
                    <a:cxn ang="T119">
                      <a:pos x="T74" y="T75"/>
                    </a:cxn>
                    <a:cxn ang="T120">
                      <a:pos x="T76" y="T77"/>
                    </a:cxn>
                    <a:cxn ang="T121">
                      <a:pos x="T78" y="T79"/>
                    </a:cxn>
                    <a:cxn ang="T122">
                      <a:pos x="T80" y="T81"/>
                    </a:cxn>
                  </a:cxnLst>
                  <a:rect l="0" t="0" r="r" b="b"/>
                  <a:pathLst>
                    <a:path w="126" h="166">
                      <a:moveTo>
                        <a:pt x="113" y="0"/>
                      </a:moveTo>
                      <a:lnTo>
                        <a:pt x="117" y="5"/>
                      </a:lnTo>
                      <a:lnTo>
                        <a:pt x="121" y="10"/>
                      </a:lnTo>
                      <a:lnTo>
                        <a:pt x="124" y="13"/>
                      </a:lnTo>
                      <a:lnTo>
                        <a:pt x="125" y="17"/>
                      </a:lnTo>
                      <a:lnTo>
                        <a:pt x="126" y="20"/>
                      </a:lnTo>
                      <a:lnTo>
                        <a:pt x="126" y="25"/>
                      </a:lnTo>
                      <a:lnTo>
                        <a:pt x="123" y="32"/>
                      </a:lnTo>
                      <a:lnTo>
                        <a:pt x="118" y="41"/>
                      </a:lnTo>
                      <a:lnTo>
                        <a:pt x="113" y="50"/>
                      </a:lnTo>
                      <a:lnTo>
                        <a:pt x="106" y="61"/>
                      </a:lnTo>
                      <a:lnTo>
                        <a:pt x="91" y="83"/>
                      </a:lnTo>
                      <a:lnTo>
                        <a:pt x="72" y="104"/>
                      </a:lnTo>
                      <a:lnTo>
                        <a:pt x="53" y="126"/>
                      </a:lnTo>
                      <a:lnTo>
                        <a:pt x="34" y="144"/>
                      </a:lnTo>
                      <a:lnTo>
                        <a:pt x="25" y="152"/>
                      </a:lnTo>
                      <a:lnTo>
                        <a:pt x="16" y="158"/>
                      </a:lnTo>
                      <a:lnTo>
                        <a:pt x="7" y="163"/>
                      </a:lnTo>
                      <a:lnTo>
                        <a:pt x="0" y="166"/>
                      </a:lnTo>
                      <a:lnTo>
                        <a:pt x="0" y="160"/>
                      </a:lnTo>
                      <a:lnTo>
                        <a:pt x="0" y="153"/>
                      </a:lnTo>
                      <a:lnTo>
                        <a:pt x="0" y="145"/>
                      </a:lnTo>
                      <a:lnTo>
                        <a:pt x="0" y="136"/>
                      </a:lnTo>
                      <a:lnTo>
                        <a:pt x="3" y="131"/>
                      </a:lnTo>
                      <a:lnTo>
                        <a:pt x="6" y="128"/>
                      </a:lnTo>
                      <a:lnTo>
                        <a:pt x="12" y="124"/>
                      </a:lnTo>
                      <a:lnTo>
                        <a:pt x="16" y="121"/>
                      </a:lnTo>
                      <a:lnTo>
                        <a:pt x="26" y="116"/>
                      </a:lnTo>
                      <a:lnTo>
                        <a:pt x="33" y="110"/>
                      </a:lnTo>
                      <a:lnTo>
                        <a:pt x="40" y="104"/>
                      </a:lnTo>
                      <a:lnTo>
                        <a:pt x="48" y="96"/>
                      </a:lnTo>
                      <a:lnTo>
                        <a:pt x="53" y="89"/>
                      </a:lnTo>
                      <a:lnTo>
                        <a:pt x="58" y="82"/>
                      </a:lnTo>
                      <a:lnTo>
                        <a:pt x="67" y="66"/>
                      </a:lnTo>
                      <a:lnTo>
                        <a:pt x="72" y="50"/>
                      </a:lnTo>
                      <a:lnTo>
                        <a:pt x="79" y="36"/>
                      </a:lnTo>
                      <a:lnTo>
                        <a:pt x="87" y="23"/>
                      </a:lnTo>
                      <a:lnTo>
                        <a:pt x="92" y="16"/>
                      </a:lnTo>
                      <a:lnTo>
                        <a:pt x="97" y="11"/>
                      </a:lnTo>
                      <a:lnTo>
                        <a:pt x="104" y="5"/>
                      </a:lnTo>
                      <a:lnTo>
                        <a:pt x="113" y="0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41" name="Freeform 294">
                  <a:extLst>
                    <a:ext uri="{FF2B5EF4-FFF2-40B4-BE49-F238E27FC236}">
                      <a16:creationId xmlns:a16="http://schemas.microsoft.com/office/drawing/2014/main" id="{15F02B2D-5DC6-4A66-8AAD-109F150123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089" y="2305"/>
                  <a:ext cx="50" cy="98"/>
                </a:xfrm>
                <a:custGeom>
                  <a:avLst/>
                  <a:gdLst>
                    <a:gd name="T0" fmla="*/ 6 w 152"/>
                    <a:gd name="T1" fmla="*/ 0 h 296"/>
                    <a:gd name="T2" fmla="*/ 7 w 152"/>
                    <a:gd name="T3" fmla="*/ 1 h 296"/>
                    <a:gd name="T4" fmla="*/ 8 w 152"/>
                    <a:gd name="T5" fmla="*/ 2 h 296"/>
                    <a:gd name="T6" fmla="*/ 10 w 152"/>
                    <a:gd name="T7" fmla="*/ 3 h 296"/>
                    <a:gd name="T8" fmla="*/ 11 w 152"/>
                    <a:gd name="T9" fmla="*/ 3 h 296"/>
                    <a:gd name="T10" fmla="*/ 12 w 152"/>
                    <a:gd name="T11" fmla="*/ 2 h 296"/>
                    <a:gd name="T12" fmla="*/ 13 w 152"/>
                    <a:gd name="T13" fmla="*/ 1 h 296"/>
                    <a:gd name="T14" fmla="*/ 13 w 152"/>
                    <a:gd name="T15" fmla="*/ 4 h 296"/>
                    <a:gd name="T16" fmla="*/ 14 w 152"/>
                    <a:gd name="T17" fmla="*/ 7 h 296"/>
                    <a:gd name="T18" fmla="*/ 15 w 152"/>
                    <a:gd name="T19" fmla="*/ 9 h 296"/>
                    <a:gd name="T20" fmla="*/ 16 w 152"/>
                    <a:gd name="T21" fmla="*/ 10 h 296"/>
                    <a:gd name="T22" fmla="*/ 16 w 152"/>
                    <a:gd name="T23" fmla="*/ 11 h 296"/>
                    <a:gd name="T24" fmla="*/ 15 w 152"/>
                    <a:gd name="T25" fmla="*/ 13 h 296"/>
                    <a:gd name="T26" fmla="*/ 14 w 152"/>
                    <a:gd name="T27" fmla="*/ 15 h 296"/>
                    <a:gd name="T28" fmla="*/ 13 w 152"/>
                    <a:gd name="T29" fmla="*/ 17 h 296"/>
                    <a:gd name="T30" fmla="*/ 12 w 152"/>
                    <a:gd name="T31" fmla="*/ 19 h 296"/>
                    <a:gd name="T32" fmla="*/ 13 w 152"/>
                    <a:gd name="T33" fmla="*/ 22 h 296"/>
                    <a:gd name="T34" fmla="*/ 13 w 152"/>
                    <a:gd name="T35" fmla="*/ 23 h 296"/>
                    <a:gd name="T36" fmla="*/ 12 w 152"/>
                    <a:gd name="T37" fmla="*/ 24 h 296"/>
                    <a:gd name="T38" fmla="*/ 13 w 152"/>
                    <a:gd name="T39" fmla="*/ 24 h 296"/>
                    <a:gd name="T40" fmla="*/ 16 w 152"/>
                    <a:gd name="T41" fmla="*/ 24 h 296"/>
                    <a:gd name="T42" fmla="*/ 15 w 152"/>
                    <a:gd name="T43" fmla="*/ 27 h 296"/>
                    <a:gd name="T44" fmla="*/ 15 w 152"/>
                    <a:gd name="T45" fmla="*/ 29 h 296"/>
                    <a:gd name="T46" fmla="*/ 16 w 152"/>
                    <a:gd name="T47" fmla="*/ 31 h 296"/>
                    <a:gd name="T48" fmla="*/ 13 w 152"/>
                    <a:gd name="T49" fmla="*/ 32 h 296"/>
                    <a:gd name="T50" fmla="*/ 12 w 152"/>
                    <a:gd name="T51" fmla="*/ 32 h 296"/>
                    <a:gd name="T52" fmla="*/ 9 w 152"/>
                    <a:gd name="T53" fmla="*/ 32 h 296"/>
                    <a:gd name="T54" fmla="*/ 8 w 152"/>
                    <a:gd name="T55" fmla="*/ 31 h 296"/>
                    <a:gd name="T56" fmla="*/ 7 w 152"/>
                    <a:gd name="T57" fmla="*/ 31 h 296"/>
                    <a:gd name="T58" fmla="*/ 7 w 152"/>
                    <a:gd name="T59" fmla="*/ 30 h 296"/>
                    <a:gd name="T60" fmla="*/ 9 w 152"/>
                    <a:gd name="T61" fmla="*/ 28 h 296"/>
                    <a:gd name="T62" fmla="*/ 8 w 152"/>
                    <a:gd name="T63" fmla="*/ 27 h 296"/>
                    <a:gd name="T64" fmla="*/ 6 w 152"/>
                    <a:gd name="T65" fmla="*/ 26 h 296"/>
                    <a:gd name="T66" fmla="*/ 4 w 152"/>
                    <a:gd name="T67" fmla="*/ 25 h 296"/>
                    <a:gd name="T68" fmla="*/ 3 w 152"/>
                    <a:gd name="T69" fmla="*/ 24 h 296"/>
                    <a:gd name="T70" fmla="*/ 2 w 152"/>
                    <a:gd name="T71" fmla="*/ 23 h 296"/>
                    <a:gd name="T72" fmla="*/ 1 w 152"/>
                    <a:gd name="T73" fmla="*/ 21 h 296"/>
                    <a:gd name="T74" fmla="*/ 0 w 152"/>
                    <a:gd name="T75" fmla="*/ 19 h 296"/>
                    <a:gd name="T76" fmla="*/ 0 w 152"/>
                    <a:gd name="T77" fmla="*/ 17 h 296"/>
                    <a:gd name="T78" fmla="*/ 0 w 152"/>
                    <a:gd name="T79" fmla="*/ 14 h 296"/>
                    <a:gd name="T80" fmla="*/ 3 w 152"/>
                    <a:gd name="T81" fmla="*/ 12 h 296"/>
                    <a:gd name="T82" fmla="*/ 4 w 152"/>
                    <a:gd name="T83" fmla="*/ 5 h 296"/>
                    <a:gd name="T84" fmla="*/ 3 w 152"/>
                    <a:gd name="T85" fmla="*/ 2 h 296"/>
                    <a:gd name="T86" fmla="*/ 3 w 152"/>
                    <a:gd name="T87" fmla="*/ 0 h 29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</a:gdLst>
                  <a:ahLst/>
                  <a:cxnLst>
                    <a:cxn ang="T88">
                      <a:pos x="T0" y="T1"/>
                    </a:cxn>
                    <a:cxn ang="T89">
                      <a:pos x="T2" y="T3"/>
                    </a:cxn>
                    <a:cxn ang="T90">
                      <a:pos x="T4" y="T5"/>
                    </a:cxn>
                    <a:cxn ang="T91">
                      <a:pos x="T6" y="T7"/>
                    </a:cxn>
                    <a:cxn ang="T92">
                      <a:pos x="T8" y="T9"/>
                    </a:cxn>
                    <a:cxn ang="T93">
                      <a:pos x="T10" y="T11"/>
                    </a:cxn>
                    <a:cxn ang="T94">
                      <a:pos x="T12" y="T13"/>
                    </a:cxn>
                    <a:cxn ang="T95">
                      <a:pos x="T14" y="T15"/>
                    </a:cxn>
                    <a:cxn ang="T96">
                      <a:pos x="T16" y="T17"/>
                    </a:cxn>
                    <a:cxn ang="T97">
                      <a:pos x="T18" y="T19"/>
                    </a:cxn>
                    <a:cxn ang="T98">
                      <a:pos x="T20" y="T21"/>
                    </a:cxn>
                    <a:cxn ang="T99">
                      <a:pos x="T22" y="T23"/>
                    </a:cxn>
                    <a:cxn ang="T100">
                      <a:pos x="T24" y="T25"/>
                    </a:cxn>
                    <a:cxn ang="T101">
                      <a:pos x="T26" y="T27"/>
                    </a:cxn>
                    <a:cxn ang="T102">
                      <a:pos x="T28" y="T29"/>
                    </a:cxn>
                    <a:cxn ang="T103">
                      <a:pos x="T30" y="T31"/>
                    </a:cxn>
                    <a:cxn ang="T104">
                      <a:pos x="T32" y="T33"/>
                    </a:cxn>
                    <a:cxn ang="T105">
                      <a:pos x="T34" y="T35"/>
                    </a:cxn>
                    <a:cxn ang="T106">
                      <a:pos x="T36" y="T37"/>
                    </a:cxn>
                    <a:cxn ang="T107">
                      <a:pos x="T38" y="T39"/>
                    </a:cxn>
                    <a:cxn ang="T108">
                      <a:pos x="T40" y="T41"/>
                    </a:cxn>
                    <a:cxn ang="T109">
                      <a:pos x="T42" y="T43"/>
                    </a:cxn>
                    <a:cxn ang="T110">
                      <a:pos x="T44" y="T45"/>
                    </a:cxn>
                    <a:cxn ang="T111">
                      <a:pos x="T46" y="T47"/>
                    </a:cxn>
                    <a:cxn ang="T112">
                      <a:pos x="T48" y="T49"/>
                    </a:cxn>
                    <a:cxn ang="T113">
                      <a:pos x="T50" y="T51"/>
                    </a:cxn>
                    <a:cxn ang="T114">
                      <a:pos x="T52" y="T53"/>
                    </a:cxn>
                    <a:cxn ang="T115">
                      <a:pos x="T54" y="T55"/>
                    </a:cxn>
                    <a:cxn ang="T116">
                      <a:pos x="T56" y="T57"/>
                    </a:cxn>
                    <a:cxn ang="T117">
                      <a:pos x="T58" y="T59"/>
                    </a:cxn>
                    <a:cxn ang="T118">
                      <a:pos x="T60" y="T61"/>
                    </a:cxn>
                    <a:cxn ang="T119">
                      <a:pos x="T62" y="T63"/>
                    </a:cxn>
                    <a:cxn ang="T120">
                      <a:pos x="T64" y="T65"/>
                    </a:cxn>
                    <a:cxn ang="T121">
                      <a:pos x="T66" y="T67"/>
                    </a:cxn>
                    <a:cxn ang="T122">
                      <a:pos x="T68" y="T69"/>
                    </a:cxn>
                    <a:cxn ang="T123">
                      <a:pos x="T70" y="T71"/>
                    </a:cxn>
                    <a:cxn ang="T124">
                      <a:pos x="T72" y="T73"/>
                    </a:cxn>
                    <a:cxn ang="T125">
                      <a:pos x="T74" y="T75"/>
                    </a:cxn>
                    <a:cxn ang="T126">
                      <a:pos x="T76" y="T77"/>
                    </a:cxn>
                    <a:cxn ang="T127">
                      <a:pos x="T78" y="T79"/>
                    </a:cxn>
                    <a:cxn ang="T128">
                      <a:pos x="T80" y="T81"/>
                    </a:cxn>
                    <a:cxn ang="T129">
                      <a:pos x="T82" y="T83"/>
                    </a:cxn>
                    <a:cxn ang="T130">
                      <a:pos x="T84" y="T85"/>
                    </a:cxn>
                    <a:cxn ang="T131">
                      <a:pos x="T86" y="T87"/>
                    </a:cxn>
                  </a:cxnLst>
                  <a:rect l="0" t="0" r="r" b="b"/>
                  <a:pathLst>
                    <a:path w="152" h="296">
                      <a:moveTo>
                        <a:pt x="26" y="0"/>
                      </a:moveTo>
                      <a:lnTo>
                        <a:pt x="59" y="0"/>
                      </a:lnTo>
                      <a:lnTo>
                        <a:pt x="62" y="4"/>
                      </a:lnTo>
                      <a:lnTo>
                        <a:pt x="66" y="9"/>
                      </a:lnTo>
                      <a:lnTo>
                        <a:pt x="71" y="13"/>
                      </a:lnTo>
                      <a:lnTo>
                        <a:pt x="77" y="17"/>
                      </a:lnTo>
                      <a:lnTo>
                        <a:pt x="82" y="21"/>
                      </a:lnTo>
                      <a:lnTo>
                        <a:pt x="88" y="23"/>
                      </a:lnTo>
                      <a:lnTo>
                        <a:pt x="93" y="24"/>
                      </a:lnTo>
                      <a:lnTo>
                        <a:pt x="99" y="25"/>
                      </a:lnTo>
                      <a:lnTo>
                        <a:pt x="104" y="24"/>
                      </a:lnTo>
                      <a:lnTo>
                        <a:pt x="108" y="21"/>
                      </a:lnTo>
                      <a:lnTo>
                        <a:pt x="114" y="17"/>
                      </a:lnTo>
                      <a:lnTo>
                        <a:pt x="118" y="12"/>
                      </a:lnTo>
                      <a:lnTo>
                        <a:pt x="119" y="23"/>
                      </a:lnTo>
                      <a:lnTo>
                        <a:pt x="122" y="35"/>
                      </a:lnTo>
                      <a:lnTo>
                        <a:pt x="126" y="49"/>
                      </a:lnTo>
                      <a:lnTo>
                        <a:pt x="130" y="62"/>
                      </a:lnTo>
                      <a:lnTo>
                        <a:pt x="136" y="76"/>
                      </a:lnTo>
                      <a:lnTo>
                        <a:pt x="141" y="86"/>
                      </a:lnTo>
                      <a:lnTo>
                        <a:pt x="144" y="91"/>
                      </a:lnTo>
                      <a:lnTo>
                        <a:pt x="147" y="94"/>
                      </a:lnTo>
                      <a:lnTo>
                        <a:pt x="149" y="97"/>
                      </a:lnTo>
                      <a:lnTo>
                        <a:pt x="152" y="99"/>
                      </a:lnTo>
                      <a:lnTo>
                        <a:pt x="148" y="110"/>
                      </a:lnTo>
                      <a:lnTo>
                        <a:pt x="143" y="120"/>
                      </a:lnTo>
                      <a:lnTo>
                        <a:pt x="137" y="131"/>
                      </a:lnTo>
                      <a:lnTo>
                        <a:pt x="129" y="140"/>
                      </a:lnTo>
                      <a:lnTo>
                        <a:pt x="123" y="149"/>
                      </a:lnTo>
                      <a:lnTo>
                        <a:pt x="117" y="157"/>
                      </a:lnTo>
                      <a:lnTo>
                        <a:pt x="114" y="165"/>
                      </a:lnTo>
                      <a:lnTo>
                        <a:pt x="112" y="172"/>
                      </a:lnTo>
                      <a:lnTo>
                        <a:pt x="113" y="187"/>
                      </a:lnTo>
                      <a:lnTo>
                        <a:pt x="115" y="197"/>
                      </a:lnTo>
                      <a:lnTo>
                        <a:pt x="115" y="201"/>
                      </a:lnTo>
                      <a:lnTo>
                        <a:pt x="115" y="205"/>
                      </a:lnTo>
                      <a:lnTo>
                        <a:pt x="114" y="210"/>
                      </a:lnTo>
                      <a:lnTo>
                        <a:pt x="112" y="216"/>
                      </a:lnTo>
                      <a:lnTo>
                        <a:pt x="118" y="216"/>
                      </a:lnTo>
                      <a:lnTo>
                        <a:pt x="126" y="216"/>
                      </a:lnTo>
                      <a:lnTo>
                        <a:pt x="136" y="216"/>
                      </a:lnTo>
                      <a:lnTo>
                        <a:pt x="146" y="216"/>
                      </a:lnTo>
                      <a:lnTo>
                        <a:pt x="139" y="235"/>
                      </a:lnTo>
                      <a:lnTo>
                        <a:pt x="136" y="252"/>
                      </a:lnTo>
                      <a:lnTo>
                        <a:pt x="135" y="259"/>
                      </a:lnTo>
                      <a:lnTo>
                        <a:pt x="136" y="267"/>
                      </a:lnTo>
                      <a:lnTo>
                        <a:pt x="139" y="275"/>
                      </a:lnTo>
                      <a:lnTo>
                        <a:pt x="146" y="283"/>
                      </a:lnTo>
                      <a:lnTo>
                        <a:pt x="136" y="288"/>
                      </a:lnTo>
                      <a:lnTo>
                        <a:pt x="125" y="291"/>
                      </a:lnTo>
                      <a:lnTo>
                        <a:pt x="115" y="295"/>
                      </a:lnTo>
                      <a:lnTo>
                        <a:pt x="105" y="296"/>
                      </a:lnTo>
                      <a:lnTo>
                        <a:pt x="94" y="296"/>
                      </a:lnTo>
                      <a:lnTo>
                        <a:pt x="85" y="294"/>
                      </a:lnTo>
                      <a:lnTo>
                        <a:pt x="79" y="291"/>
                      </a:lnTo>
                      <a:lnTo>
                        <a:pt x="73" y="288"/>
                      </a:lnTo>
                      <a:lnTo>
                        <a:pt x="70" y="284"/>
                      </a:lnTo>
                      <a:lnTo>
                        <a:pt x="67" y="280"/>
                      </a:lnTo>
                      <a:lnTo>
                        <a:pt x="66" y="276"/>
                      </a:lnTo>
                      <a:lnTo>
                        <a:pt x="66" y="271"/>
                      </a:lnTo>
                      <a:lnTo>
                        <a:pt x="76" y="262"/>
                      </a:lnTo>
                      <a:lnTo>
                        <a:pt x="85" y="253"/>
                      </a:lnTo>
                      <a:lnTo>
                        <a:pt x="77" y="251"/>
                      </a:lnTo>
                      <a:lnTo>
                        <a:pt x="69" y="249"/>
                      </a:lnTo>
                      <a:lnTo>
                        <a:pt x="60" y="246"/>
                      </a:lnTo>
                      <a:lnTo>
                        <a:pt x="52" y="242"/>
                      </a:lnTo>
                      <a:lnTo>
                        <a:pt x="45" y="236"/>
                      </a:lnTo>
                      <a:lnTo>
                        <a:pt x="38" y="231"/>
                      </a:lnTo>
                      <a:lnTo>
                        <a:pt x="32" y="226"/>
                      </a:lnTo>
                      <a:lnTo>
                        <a:pt x="25" y="219"/>
                      </a:lnTo>
                      <a:lnTo>
                        <a:pt x="20" y="213"/>
                      </a:lnTo>
                      <a:lnTo>
                        <a:pt x="14" y="205"/>
                      </a:lnTo>
                      <a:lnTo>
                        <a:pt x="10" y="198"/>
                      </a:lnTo>
                      <a:lnTo>
                        <a:pt x="6" y="190"/>
                      </a:lnTo>
                      <a:lnTo>
                        <a:pt x="3" y="180"/>
                      </a:lnTo>
                      <a:lnTo>
                        <a:pt x="1" y="172"/>
                      </a:lnTo>
                      <a:lnTo>
                        <a:pt x="0" y="163"/>
                      </a:lnTo>
                      <a:lnTo>
                        <a:pt x="0" y="154"/>
                      </a:lnTo>
                      <a:lnTo>
                        <a:pt x="0" y="142"/>
                      </a:lnTo>
                      <a:lnTo>
                        <a:pt x="0" y="130"/>
                      </a:lnTo>
                      <a:lnTo>
                        <a:pt x="26" y="130"/>
                      </a:lnTo>
                      <a:lnTo>
                        <a:pt x="27" y="106"/>
                      </a:lnTo>
                      <a:lnTo>
                        <a:pt x="31" y="67"/>
                      </a:lnTo>
                      <a:lnTo>
                        <a:pt x="32" y="46"/>
                      </a:lnTo>
                      <a:lnTo>
                        <a:pt x="32" y="27"/>
                      </a:lnTo>
                      <a:lnTo>
                        <a:pt x="31" y="18"/>
                      </a:lnTo>
                      <a:lnTo>
                        <a:pt x="29" y="10"/>
                      </a:lnTo>
                      <a:lnTo>
                        <a:pt x="28" y="4"/>
                      </a:lnTo>
                      <a:lnTo>
                        <a:pt x="26" y="0"/>
                      </a:lnTo>
                    </a:path>
                  </a:pathLst>
                </a:custGeom>
                <a:solidFill>
                  <a:srgbClr val="0872A6"/>
                </a:solidFill>
                <a:ln w="9525" cmpd="sng">
                  <a:solidFill>
                    <a:schemeClr val="bg1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772" name="Freeform 307">
                <a:extLst>
                  <a:ext uri="{FF2B5EF4-FFF2-40B4-BE49-F238E27FC236}">
                    <a16:creationId xmlns:a16="http://schemas.microsoft.com/office/drawing/2014/main" id="{E114040A-4ADD-4448-9902-AC43C61A6227}"/>
                  </a:ext>
                </a:extLst>
              </p:cNvPr>
              <p:cNvSpPr>
                <a:spLocks/>
              </p:cNvSpPr>
              <p:nvPr>
                <p:custDataLst>
                  <p:tags r:id="rId210"/>
                </p:custDataLst>
              </p:nvPr>
            </p:nvSpPr>
            <p:spPr bwMode="auto">
              <a:xfrm>
                <a:off x="7953316" y="4751457"/>
                <a:ext cx="16288" cy="61528"/>
              </a:xfrm>
              <a:custGeom>
                <a:avLst/>
                <a:gdLst>
                  <a:gd name="T0" fmla="*/ 0 w 33"/>
                  <a:gd name="T1" fmla="*/ 71796441 h 43"/>
                  <a:gd name="T2" fmla="*/ 187476 w 33"/>
                  <a:gd name="T3" fmla="*/ 56769880 h 43"/>
                  <a:gd name="T4" fmla="*/ 374952 w 33"/>
                  <a:gd name="T5" fmla="*/ 45080975 h 43"/>
                  <a:gd name="T6" fmla="*/ 937379 w 33"/>
                  <a:gd name="T7" fmla="*/ 35062837 h 43"/>
                  <a:gd name="T8" fmla="*/ 1687283 w 33"/>
                  <a:gd name="T9" fmla="*/ 25044699 h 43"/>
                  <a:gd name="T10" fmla="*/ 2624662 w 33"/>
                  <a:gd name="T11" fmla="*/ 15026561 h 43"/>
                  <a:gd name="T12" fmla="*/ 3749085 w 33"/>
                  <a:gd name="T13" fmla="*/ 8348664 h 43"/>
                  <a:gd name="T14" fmla="*/ 4873940 w 33"/>
                  <a:gd name="T15" fmla="*/ 3338949 h 43"/>
                  <a:gd name="T16" fmla="*/ 6186271 w 33"/>
                  <a:gd name="T17" fmla="*/ 0 h 43"/>
                  <a:gd name="T18" fmla="*/ 6186271 w 33"/>
                  <a:gd name="T19" fmla="*/ 41742027 h 43"/>
                  <a:gd name="T20" fmla="*/ 4311512 w 33"/>
                  <a:gd name="T21" fmla="*/ 45080975 h 43"/>
                  <a:gd name="T22" fmla="*/ 3374133 w 33"/>
                  <a:gd name="T23" fmla="*/ 48421216 h 43"/>
                  <a:gd name="T24" fmla="*/ 2999614 w 33"/>
                  <a:gd name="T25" fmla="*/ 53429639 h 43"/>
                  <a:gd name="T26" fmla="*/ 2999614 w 33"/>
                  <a:gd name="T27" fmla="*/ 56769880 h 43"/>
                  <a:gd name="T28" fmla="*/ 2999614 w 33"/>
                  <a:gd name="T29" fmla="*/ 60108829 h 43"/>
                  <a:gd name="T30" fmla="*/ 2624662 w 33"/>
                  <a:gd name="T31" fmla="*/ 63447777 h 43"/>
                  <a:gd name="T32" fmla="*/ 1874759 w 33"/>
                  <a:gd name="T33" fmla="*/ 68457492 h 43"/>
                  <a:gd name="T34" fmla="*/ 0 w 33"/>
                  <a:gd name="T35" fmla="*/ 71796441 h 43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33" h="43">
                    <a:moveTo>
                      <a:pt x="0" y="43"/>
                    </a:moveTo>
                    <a:lnTo>
                      <a:pt x="1" y="34"/>
                    </a:lnTo>
                    <a:lnTo>
                      <a:pt x="2" y="27"/>
                    </a:lnTo>
                    <a:lnTo>
                      <a:pt x="5" y="21"/>
                    </a:lnTo>
                    <a:lnTo>
                      <a:pt x="9" y="15"/>
                    </a:lnTo>
                    <a:lnTo>
                      <a:pt x="14" y="9"/>
                    </a:lnTo>
                    <a:lnTo>
                      <a:pt x="20" y="5"/>
                    </a:lnTo>
                    <a:lnTo>
                      <a:pt x="26" y="2"/>
                    </a:lnTo>
                    <a:lnTo>
                      <a:pt x="33" y="0"/>
                    </a:lnTo>
                    <a:lnTo>
                      <a:pt x="33" y="25"/>
                    </a:lnTo>
                    <a:lnTo>
                      <a:pt x="23" y="27"/>
                    </a:lnTo>
                    <a:lnTo>
                      <a:pt x="18" y="29"/>
                    </a:lnTo>
                    <a:lnTo>
                      <a:pt x="16" y="32"/>
                    </a:lnTo>
                    <a:lnTo>
                      <a:pt x="16" y="34"/>
                    </a:lnTo>
                    <a:lnTo>
                      <a:pt x="16" y="36"/>
                    </a:lnTo>
                    <a:lnTo>
                      <a:pt x="14" y="38"/>
                    </a:lnTo>
                    <a:lnTo>
                      <a:pt x="10" y="41"/>
                    </a:lnTo>
                    <a:lnTo>
                      <a:pt x="0" y="4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73" name="Freeform 308">
                <a:extLst>
                  <a:ext uri="{FF2B5EF4-FFF2-40B4-BE49-F238E27FC236}">
                    <a16:creationId xmlns:a16="http://schemas.microsoft.com/office/drawing/2014/main" id="{845E5765-DDFC-4D85-8FC4-DB6EEE2E4A4B}"/>
                  </a:ext>
                </a:extLst>
              </p:cNvPr>
              <p:cNvSpPr>
                <a:spLocks/>
              </p:cNvSpPr>
              <p:nvPr>
                <p:custDataLst>
                  <p:tags r:id="rId211"/>
                </p:custDataLst>
              </p:nvPr>
            </p:nvSpPr>
            <p:spPr bwMode="auto">
              <a:xfrm>
                <a:off x="8045617" y="4682896"/>
                <a:ext cx="25338" cy="66803"/>
              </a:xfrm>
              <a:custGeom>
                <a:avLst/>
                <a:gdLst>
                  <a:gd name="T0" fmla="*/ 0 w 54"/>
                  <a:gd name="T1" fmla="*/ 22419401 h 92"/>
                  <a:gd name="T2" fmla="*/ 169569 w 54"/>
                  <a:gd name="T3" fmla="*/ 20788783 h 92"/>
                  <a:gd name="T4" fmla="*/ 338725 w 54"/>
                  <a:gd name="T5" fmla="*/ 18750830 h 92"/>
                  <a:gd name="T6" fmla="*/ 508294 w 54"/>
                  <a:gd name="T7" fmla="*/ 17120212 h 92"/>
                  <a:gd name="T8" fmla="*/ 1016176 w 54"/>
                  <a:gd name="T9" fmla="*/ 15082258 h 92"/>
                  <a:gd name="T10" fmla="*/ 1863196 w 54"/>
                  <a:gd name="T11" fmla="*/ 11821022 h 92"/>
                  <a:gd name="T12" fmla="*/ 3048941 w 54"/>
                  <a:gd name="T13" fmla="*/ 8560425 h 92"/>
                  <a:gd name="T14" fmla="*/ 5251274 w 54"/>
                  <a:gd name="T15" fmla="*/ 2853262 h 92"/>
                  <a:gd name="T16" fmla="*/ 6945313 w 54"/>
                  <a:gd name="T17" fmla="*/ 0 h 92"/>
                  <a:gd name="T18" fmla="*/ 9147234 w 54"/>
                  <a:gd name="T19" fmla="*/ 4891215 h 92"/>
                  <a:gd name="T20" fmla="*/ 8638940 w 54"/>
                  <a:gd name="T21" fmla="*/ 8560425 h 92"/>
                  <a:gd name="T22" fmla="*/ 7961489 w 54"/>
                  <a:gd name="T23" fmla="*/ 11821022 h 92"/>
                  <a:gd name="T24" fmla="*/ 7453195 w 54"/>
                  <a:gd name="T25" fmla="*/ 14266949 h 92"/>
                  <a:gd name="T26" fmla="*/ 6945313 w 54"/>
                  <a:gd name="T27" fmla="*/ 16712876 h 92"/>
                  <a:gd name="T28" fmla="*/ 5589999 w 54"/>
                  <a:gd name="T29" fmla="*/ 19973474 h 92"/>
                  <a:gd name="T30" fmla="*/ 4742980 w 54"/>
                  <a:gd name="T31" fmla="*/ 22419401 h 92"/>
                  <a:gd name="T32" fmla="*/ 4404254 w 54"/>
                  <a:gd name="T33" fmla="*/ 26087972 h 92"/>
                  <a:gd name="T34" fmla="*/ 4404254 w 54"/>
                  <a:gd name="T35" fmla="*/ 30164517 h 92"/>
                  <a:gd name="T36" fmla="*/ 4065529 w 54"/>
                  <a:gd name="T37" fmla="*/ 33833088 h 92"/>
                  <a:gd name="T38" fmla="*/ 3387666 w 54"/>
                  <a:gd name="T39" fmla="*/ 37501659 h 92"/>
                  <a:gd name="T40" fmla="*/ 2371490 w 54"/>
                  <a:gd name="T41" fmla="*/ 33833088 h 92"/>
                  <a:gd name="T42" fmla="*/ 1355313 w 54"/>
                  <a:gd name="T43" fmla="*/ 30164517 h 92"/>
                  <a:gd name="T44" fmla="*/ 847019 w 54"/>
                  <a:gd name="T45" fmla="*/ 28533899 h 92"/>
                  <a:gd name="T46" fmla="*/ 338725 w 54"/>
                  <a:gd name="T47" fmla="*/ 26087972 h 92"/>
                  <a:gd name="T48" fmla="*/ 169569 w 54"/>
                  <a:gd name="T49" fmla="*/ 24457354 h 92"/>
                  <a:gd name="T50" fmla="*/ 0 w 54"/>
                  <a:gd name="T51" fmla="*/ 22419401 h 92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54" h="92">
                    <a:moveTo>
                      <a:pt x="0" y="55"/>
                    </a:moveTo>
                    <a:lnTo>
                      <a:pt x="1" y="51"/>
                    </a:lnTo>
                    <a:lnTo>
                      <a:pt x="2" y="46"/>
                    </a:lnTo>
                    <a:lnTo>
                      <a:pt x="3" y="42"/>
                    </a:lnTo>
                    <a:lnTo>
                      <a:pt x="6" y="37"/>
                    </a:lnTo>
                    <a:lnTo>
                      <a:pt x="11" y="29"/>
                    </a:lnTo>
                    <a:lnTo>
                      <a:pt x="18" y="21"/>
                    </a:lnTo>
                    <a:lnTo>
                      <a:pt x="31" y="7"/>
                    </a:lnTo>
                    <a:lnTo>
                      <a:pt x="41" y="0"/>
                    </a:lnTo>
                    <a:lnTo>
                      <a:pt x="54" y="12"/>
                    </a:lnTo>
                    <a:lnTo>
                      <a:pt x="51" y="21"/>
                    </a:lnTo>
                    <a:lnTo>
                      <a:pt x="47" y="29"/>
                    </a:lnTo>
                    <a:lnTo>
                      <a:pt x="44" y="35"/>
                    </a:lnTo>
                    <a:lnTo>
                      <a:pt x="41" y="41"/>
                    </a:lnTo>
                    <a:lnTo>
                      <a:pt x="33" y="49"/>
                    </a:lnTo>
                    <a:lnTo>
                      <a:pt x="28" y="55"/>
                    </a:lnTo>
                    <a:lnTo>
                      <a:pt x="26" y="64"/>
                    </a:lnTo>
                    <a:lnTo>
                      <a:pt x="26" y="74"/>
                    </a:lnTo>
                    <a:lnTo>
                      <a:pt x="24" y="83"/>
                    </a:lnTo>
                    <a:lnTo>
                      <a:pt x="20" y="92"/>
                    </a:lnTo>
                    <a:lnTo>
                      <a:pt x="14" y="83"/>
                    </a:lnTo>
                    <a:lnTo>
                      <a:pt x="8" y="74"/>
                    </a:lnTo>
                    <a:lnTo>
                      <a:pt x="5" y="70"/>
                    </a:lnTo>
                    <a:lnTo>
                      <a:pt x="2" y="64"/>
                    </a:lnTo>
                    <a:lnTo>
                      <a:pt x="1" y="60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74" name="Freeform 309">
                <a:extLst>
                  <a:ext uri="{FF2B5EF4-FFF2-40B4-BE49-F238E27FC236}">
                    <a16:creationId xmlns:a16="http://schemas.microsoft.com/office/drawing/2014/main" id="{223546B3-9862-4C40-A974-ADE2D3D19BE8}"/>
                  </a:ext>
                </a:extLst>
              </p:cNvPr>
              <p:cNvSpPr>
                <a:spLocks/>
              </p:cNvSpPr>
              <p:nvPr>
                <p:custDataLst>
                  <p:tags r:id="rId212"/>
                </p:custDataLst>
              </p:nvPr>
            </p:nvSpPr>
            <p:spPr bwMode="auto">
              <a:xfrm>
                <a:off x="8101722" y="4547532"/>
                <a:ext cx="28957" cy="65044"/>
              </a:xfrm>
              <a:custGeom>
                <a:avLst/>
                <a:gdLst>
                  <a:gd name="T0" fmla="*/ 0 w 60"/>
                  <a:gd name="T1" fmla="*/ 0 h 18"/>
                  <a:gd name="T2" fmla="*/ 2992897 w 60"/>
                  <a:gd name="T3" fmla="*/ 40322500 h 18"/>
                  <a:gd name="T4" fmla="*/ 5828232 w 60"/>
                  <a:gd name="T5" fmla="*/ 90725625 h 18"/>
                  <a:gd name="T6" fmla="*/ 7088336 w 60"/>
                  <a:gd name="T7" fmla="*/ 110886875 h 18"/>
                  <a:gd name="T8" fmla="*/ 8033316 w 60"/>
                  <a:gd name="T9" fmla="*/ 131048125 h 18"/>
                  <a:gd name="T10" fmla="*/ 8820732 w 60"/>
                  <a:gd name="T11" fmla="*/ 161290000 h 18"/>
                  <a:gd name="T12" fmla="*/ 9450983 w 60"/>
                  <a:gd name="T13" fmla="*/ 181451250 h 18"/>
                  <a:gd name="T14" fmla="*/ 5985794 w 60"/>
                  <a:gd name="T15" fmla="*/ 181451250 h 18"/>
                  <a:gd name="T16" fmla="*/ 3622751 w 60"/>
                  <a:gd name="T17" fmla="*/ 181451250 h 18"/>
                  <a:gd name="T18" fmla="*/ 1575230 w 60"/>
                  <a:gd name="T19" fmla="*/ 181451250 h 18"/>
                  <a:gd name="T20" fmla="*/ 0 w 60"/>
                  <a:gd name="T21" fmla="*/ 181451250 h 18"/>
                  <a:gd name="T22" fmla="*/ 0 w 60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60" h="18">
                    <a:moveTo>
                      <a:pt x="0" y="0"/>
                    </a:moveTo>
                    <a:lnTo>
                      <a:pt x="19" y="4"/>
                    </a:lnTo>
                    <a:lnTo>
                      <a:pt x="37" y="9"/>
                    </a:lnTo>
                    <a:lnTo>
                      <a:pt x="45" y="11"/>
                    </a:lnTo>
                    <a:lnTo>
                      <a:pt x="51" y="13"/>
                    </a:lnTo>
                    <a:lnTo>
                      <a:pt x="56" y="16"/>
                    </a:lnTo>
                    <a:lnTo>
                      <a:pt x="60" y="18"/>
                    </a:lnTo>
                    <a:lnTo>
                      <a:pt x="38" y="18"/>
                    </a:lnTo>
                    <a:lnTo>
                      <a:pt x="23" y="18"/>
                    </a:lnTo>
                    <a:lnTo>
                      <a:pt x="10" y="18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75" name="Freeform 310">
                <a:extLst>
                  <a:ext uri="{FF2B5EF4-FFF2-40B4-BE49-F238E27FC236}">
                    <a16:creationId xmlns:a16="http://schemas.microsoft.com/office/drawing/2014/main" id="{53A152C5-A941-47F1-8EFC-80B168892BF7}"/>
                  </a:ext>
                </a:extLst>
              </p:cNvPr>
              <p:cNvSpPr>
                <a:spLocks/>
              </p:cNvSpPr>
              <p:nvPr>
                <p:custDataLst>
                  <p:tags r:id="rId213"/>
                </p:custDataLst>
              </p:nvPr>
            </p:nvSpPr>
            <p:spPr bwMode="auto">
              <a:xfrm>
                <a:off x="8083624" y="4514130"/>
                <a:ext cx="30766" cy="63287"/>
              </a:xfrm>
              <a:custGeom>
                <a:avLst/>
                <a:gdLst>
                  <a:gd name="T0" fmla="*/ 0 w 66"/>
                  <a:gd name="T1" fmla="*/ 181451250 h 18"/>
                  <a:gd name="T2" fmla="*/ 9775152 w 66"/>
                  <a:gd name="T3" fmla="*/ 181451250 h 18"/>
                  <a:gd name="T4" fmla="*/ 7701588 w 66"/>
                  <a:gd name="T5" fmla="*/ 131048125 h 18"/>
                  <a:gd name="T6" fmla="*/ 5924358 w 66"/>
                  <a:gd name="T7" fmla="*/ 70564375 h 18"/>
                  <a:gd name="T8" fmla="*/ 5183909 w 66"/>
                  <a:gd name="T9" fmla="*/ 40322500 h 18"/>
                  <a:gd name="T10" fmla="*/ 4295294 w 66"/>
                  <a:gd name="T11" fmla="*/ 20161250 h 18"/>
                  <a:gd name="T12" fmla="*/ 3702627 w 66"/>
                  <a:gd name="T13" fmla="*/ 10080625 h 18"/>
                  <a:gd name="T14" fmla="*/ 2814012 w 66"/>
                  <a:gd name="T15" fmla="*/ 0 h 18"/>
                  <a:gd name="T16" fmla="*/ 0 w 66"/>
                  <a:gd name="T17" fmla="*/ 181451250 h 1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66" h="18">
                    <a:moveTo>
                      <a:pt x="0" y="18"/>
                    </a:moveTo>
                    <a:lnTo>
                      <a:pt x="66" y="18"/>
                    </a:lnTo>
                    <a:lnTo>
                      <a:pt x="52" y="13"/>
                    </a:lnTo>
                    <a:lnTo>
                      <a:pt x="40" y="7"/>
                    </a:lnTo>
                    <a:lnTo>
                      <a:pt x="35" y="4"/>
                    </a:lnTo>
                    <a:lnTo>
                      <a:pt x="29" y="2"/>
                    </a:lnTo>
                    <a:lnTo>
                      <a:pt x="25" y="1"/>
                    </a:lnTo>
                    <a:lnTo>
                      <a:pt x="19" y="0"/>
                    </a:lnTo>
                    <a:lnTo>
                      <a:pt x="0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76" name="Freeform 311">
                <a:extLst>
                  <a:ext uri="{FF2B5EF4-FFF2-40B4-BE49-F238E27FC236}">
                    <a16:creationId xmlns:a16="http://schemas.microsoft.com/office/drawing/2014/main" id="{D0B860F7-39BB-49A4-917B-F94937659566}"/>
                  </a:ext>
                </a:extLst>
              </p:cNvPr>
              <p:cNvSpPr>
                <a:spLocks/>
              </p:cNvSpPr>
              <p:nvPr>
                <p:custDataLst>
                  <p:tags r:id="rId214"/>
                </p:custDataLst>
              </p:nvPr>
            </p:nvSpPr>
            <p:spPr bwMode="auto">
              <a:xfrm>
                <a:off x="7871873" y="4398104"/>
                <a:ext cx="10859" cy="63287"/>
              </a:xfrm>
              <a:custGeom>
                <a:avLst/>
                <a:gdLst>
                  <a:gd name="T0" fmla="*/ 0 w 17"/>
                  <a:gd name="T1" fmla="*/ 66655950 h 42"/>
                  <a:gd name="T2" fmla="*/ 2834333 w 17"/>
                  <a:gd name="T3" fmla="*/ 77764821 h 42"/>
                  <a:gd name="T4" fmla="*/ 3052394 w 17"/>
                  <a:gd name="T5" fmla="*/ 61101514 h 42"/>
                  <a:gd name="T6" fmla="*/ 3488518 w 17"/>
                  <a:gd name="T7" fmla="*/ 42584914 h 42"/>
                  <a:gd name="T8" fmla="*/ 3706579 w 17"/>
                  <a:gd name="T9" fmla="*/ 33327975 h 42"/>
                  <a:gd name="T10" fmla="*/ 3488518 w 17"/>
                  <a:gd name="T11" fmla="*/ 22219104 h 42"/>
                  <a:gd name="T12" fmla="*/ 3488518 w 17"/>
                  <a:gd name="T13" fmla="*/ 11108871 h 42"/>
                  <a:gd name="T14" fmla="*/ 2834333 w 17"/>
                  <a:gd name="T15" fmla="*/ 0 h 42"/>
                  <a:gd name="T16" fmla="*/ 0 w 17"/>
                  <a:gd name="T17" fmla="*/ 66655950 h 4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" h="42">
                    <a:moveTo>
                      <a:pt x="0" y="36"/>
                    </a:moveTo>
                    <a:lnTo>
                      <a:pt x="13" y="42"/>
                    </a:lnTo>
                    <a:lnTo>
                      <a:pt x="14" y="33"/>
                    </a:lnTo>
                    <a:lnTo>
                      <a:pt x="16" y="23"/>
                    </a:lnTo>
                    <a:lnTo>
                      <a:pt x="17" y="18"/>
                    </a:lnTo>
                    <a:lnTo>
                      <a:pt x="16" y="12"/>
                    </a:lnTo>
                    <a:lnTo>
                      <a:pt x="16" y="6"/>
                    </a:lnTo>
                    <a:lnTo>
                      <a:pt x="13" y="0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77" name="Freeform 312">
                <a:extLst>
                  <a:ext uri="{FF2B5EF4-FFF2-40B4-BE49-F238E27FC236}">
                    <a16:creationId xmlns:a16="http://schemas.microsoft.com/office/drawing/2014/main" id="{FD6BCDE3-6BE1-4364-B300-5E1336DD9759}"/>
                  </a:ext>
                </a:extLst>
              </p:cNvPr>
              <p:cNvSpPr>
                <a:spLocks/>
              </p:cNvSpPr>
              <p:nvPr>
                <p:custDataLst>
                  <p:tags r:id="rId215"/>
                </p:custDataLst>
              </p:nvPr>
            </p:nvSpPr>
            <p:spPr bwMode="auto">
              <a:xfrm>
                <a:off x="7785002" y="4549290"/>
                <a:ext cx="36197" cy="66803"/>
              </a:xfrm>
              <a:custGeom>
                <a:avLst/>
                <a:gdLst>
                  <a:gd name="T0" fmla="*/ 1053191 w 72"/>
                  <a:gd name="T1" fmla="*/ 118966730 h 29"/>
                  <a:gd name="T2" fmla="*/ 2632560 w 72"/>
                  <a:gd name="T3" fmla="*/ 106660316 h 29"/>
                  <a:gd name="T4" fmla="*/ 4211928 w 72"/>
                  <a:gd name="T5" fmla="*/ 98455364 h 29"/>
                  <a:gd name="T6" fmla="*/ 5616183 w 72"/>
                  <a:gd name="T7" fmla="*/ 98455364 h 29"/>
                  <a:gd name="T8" fmla="*/ 6844487 w 72"/>
                  <a:gd name="T9" fmla="*/ 98455364 h 29"/>
                  <a:gd name="T10" fmla="*/ 9652579 w 72"/>
                  <a:gd name="T11" fmla="*/ 110761779 h 29"/>
                  <a:gd name="T12" fmla="*/ 12636202 w 72"/>
                  <a:gd name="T13" fmla="*/ 118966730 h 29"/>
                  <a:gd name="T14" fmla="*/ 12636202 w 72"/>
                  <a:gd name="T15" fmla="*/ 16409903 h 29"/>
                  <a:gd name="T16" fmla="*/ 10179175 w 72"/>
                  <a:gd name="T17" fmla="*/ 4101463 h 29"/>
                  <a:gd name="T18" fmla="*/ 8248743 w 72"/>
                  <a:gd name="T19" fmla="*/ 0 h 29"/>
                  <a:gd name="T20" fmla="*/ 6844487 w 72"/>
                  <a:gd name="T21" fmla="*/ 0 h 29"/>
                  <a:gd name="T22" fmla="*/ 5967247 w 72"/>
                  <a:gd name="T23" fmla="*/ 8204951 h 29"/>
                  <a:gd name="T24" fmla="*/ 4738524 w 72"/>
                  <a:gd name="T25" fmla="*/ 12306414 h 29"/>
                  <a:gd name="T26" fmla="*/ 3685751 w 72"/>
                  <a:gd name="T27" fmla="*/ 20511365 h 29"/>
                  <a:gd name="T28" fmla="*/ 2105964 w 72"/>
                  <a:gd name="T29" fmla="*/ 20511365 h 29"/>
                  <a:gd name="T30" fmla="*/ 0 w 72"/>
                  <a:gd name="T31" fmla="*/ 16409903 h 29"/>
                  <a:gd name="T32" fmla="*/ 526596 w 72"/>
                  <a:gd name="T33" fmla="*/ 65637585 h 29"/>
                  <a:gd name="T34" fmla="*/ 1053191 w 72"/>
                  <a:gd name="T35" fmla="*/ 118966730 h 29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0" t="0" r="r" b="b"/>
                <a:pathLst>
                  <a:path w="72" h="29">
                    <a:moveTo>
                      <a:pt x="6" y="29"/>
                    </a:moveTo>
                    <a:lnTo>
                      <a:pt x="15" y="26"/>
                    </a:lnTo>
                    <a:lnTo>
                      <a:pt x="24" y="24"/>
                    </a:lnTo>
                    <a:lnTo>
                      <a:pt x="32" y="24"/>
                    </a:lnTo>
                    <a:lnTo>
                      <a:pt x="39" y="24"/>
                    </a:lnTo>
                    <a:lnTo>
                      <a:pt x="55" y="27"/>
                    </a:lnTo>
                    <a:lnTo>
                      <a:pt x="72" y="29"/>
                    </a:lnTo>
                    <a:lnTo>
                      <a:pt x="72" y="4"/>
                    </a:lnTo>
                    <a:lnTo>
                      <a:pt x="58" y="1"/>
                    </a:lnTo>
                    <a:lnTo>
                      <a:pt x="47" y="0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27" y="3"/>
                    </a:lnTo>
                    <a:lnTo>
                      <a:pt x="21" y="5"/>
                    </a:lnTo>
                    <a:lnTo>
                      <a:pt x="12" y="5"/>
                    </a:lnTo>
                    <a:lnTo>
                      <a:pt x="0" y="4"/>
                    </a:lnTo>
                    <a:lnTo>
                      <a:pt x="3" y="16"/>
                    </a:lnTo>
                    <a:lnTo>
                      <a:pt x="6" y="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78" name="Freeform 313">
                <a:extLst>
                  <a:ext uri="{FF2B5EF4-FFF2-40B4-BE49-F238E27FC236}">
                    <a16:creationId xmlns:a16="http://schemas.microsoft.com/office/drawing/2014/main" id="{8CDE9D79-A0CF-48BD-B549-7500E2ED1D35}"/>
                  </a:ext>
                </a:extLst>
              </p:cNvPr>
              <p:cNvSpPr>
                <a:spLocks/>
              </p:cNvSpPr>
              <p:nvPr>
                <p:custDataLst>
                  <p:tags r:id="rId216"/>
                </p:custDataLst>
              </p:nvPr>
            </p:nvSpPr>
            <p:spPr bwMode="auto">
              <a:xfrm>
                <a:off x="7794051" y="4758489"/>
                <a:ext cx="23527" cy="61528"/>
              </a:xfrm>
              <a:custGeom>
                <a:avLst/>
                <a:gdLst>
                  <a:gd name="T0" fmla="*/ 0 w 46"/>
                  <a:gd name="T1" fmla="*/ 0 h 37"/>
                  <a:gd name="T2" fmla="*/ 1543464 w 46"/>
                  <a:gd name="T3" fmla="*/ 20295512 h 37"/>
                  <a:gd name="T4" fmla="*/ 3430242 w 46"/>
                  <a:gd name="T5" fmla="*/ 33827355 h 37"/>
                  <a:gd name="T6" fmla="*/ 5316607 w 46"/>
                  <a:gd name="T7" fmla="*/ 45102139 h 37"/>
                  <a:gd name="T8" fmla="*/ 7889185 w 46"/>
                  <a:gd name="T9" fmla="*/ 56378425 h 37"/>
                  <a:gd name="T10" fmla="*/ 6345721 w 46"/>
                  <a:gd name="T11" fmla="*/ 65397651 h 37"/>
                  <a:gd name="T12" fmla="*/ 4973707 w 46"/>
                  <a:gd name="T13" fmla="*/ 74418379 h 37"/>
                  <a:gd name="T14" fmla="*/ 3601692 w 46"/>
                  <a:gd name="T15" fmla="*/ 81183550 h 37"/>
                  <a:gd name="T16" fmla="*/ 2229678 w 46"/>
                  <a:gd name="T17" fmla="*/ 83439107 h 37"/>
                  <a:gd name="T18" fmla="*/ 1543464 w 46"/>
                  <a:gd name="T19" fmla="*/ 81183550 h 37"/>
                  <a:gd name="T20" fmla="*/ 1200564 w 46"/>
                  <a:gd name="T21" fmla="*/ 74418379 h 37"/>
                  <a:gd name="T22" fmla="*/ 857664 w 46"/>
                  <a:gd name="T23" fmla="*/ 65397651 h 37"/>
                  <a:gd name="T24" fmla="*/ 514350 w 46"/>
                  <a:gd name="T25" fmla="*/ 51867310 h 37"/>
                  <a:gd name="T26" fmla="*/ 171450 w 46"/>
                  <a:gd name="T27" fmla="*/ 27060683 h 37"/>
                  <a:gd name="T28" fmla="*/ 0 w 46"/>
                  <a:gd name="T29" fmla="*/ 0 h 3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37">
                    <a:moveTo>
                      <a:pt x="0" y="0"/>
                    </a:moveTo>
                    <a:lnTo>
                      <a:pt x="9" y="9"/>
                    </a:lnTo>
                    <a:lnTo>
                      <a:pt x="20" y="15"/>
                    </a:lnTo>
                    <a:lnTo>
                      <a:pt x="31" y="20"/>
                    </a:lnTo>
                    <a:lnTo>
                      <a:pt x="46" y="25"/>
                    </a:lnTo>
                    <a:lnTo>
                      <a:pt x="37" y="29"/>
                    </a:lnTo>
                    <a:lnTo>
                      <a:pt x="29" y="33"/>
                    </a:lnTo>
                    <a:lnTo>
                      <a:pt x="21" y="36"/>
                    </a:lnTo>
                    <a:lnTo>
                      <a:pt x="13" y="37"/>
                    </a:lnTo>
                    <a:lnTo>
                      <a:pt x="9" y="36"/>
                    </a:lnTo>
                    <a:lnTo>
                      <a:pt x="7" y="33"/>
                    </a:lnTo>
                    <a:lnTo>
                      <a:pt x="5" y="29"/>
                    </a:lnTo>
                    <a:lnTo>
                      <a:pt x="3" y="23"/>
                    </a:lnTo>
                    <a:lnTo>
                      <a:pt x="1" y="1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79" name="Freeform 314">
                <a:extLst>
                  <a:ext uri="{FF2B5EF4-FFF2-40B4-BE49-F238E27FC236}">
                    <a16:creationId xmlns:a16="http://schemas.microsoft.com/office/drawing/2014/main" id="{DD98F6BB-2CE7-450C-98BE-0EE62EB096AD}"/>
                  </a:ext>
                </a:extLst>
              </p:cNvPr>
              <p:cNvSpPr>
                <a:spLocks/>
              </p:cNvSpPr>
              <p:nvPr>
                <p:custDataLst>
                  <p:tags r:id="rId217"/>
                </p:custDataLst>
              </p:nvPr>
            </p:nvSpPr>
            <p:spPr bwMode="auto">
              <a:xfrm>
                <a:off x="7929788" y="4554564"/>
                <a:ext cx="14479" cy="65044"/>
              </a:xfrm>
              <a:custGeom>
                <a:avLst/>
                <a:gdLst>
                  <a:gd name="T0" fmla="*/ 0 w 26"/>
                  <a:gd name="T1" fmla="*/ 0 h 19"/>
                  <a:gd name="T2" fmla="*/ 4749953 w 26"/>
                  <a:gd name="T3" fmla="*/ 171901184 h 19"/>
                  <a:gd name="T4" fmla="*/ 4749953 w 26"/>
                  <a:gd name="T5" fmla="*/ 81426718 h 19"/>
                  <a:gd name="T6" fmla="*/ 4749953 w 26"/>
                  <a:gd name="T7" fmla="*/ 0 h 19"/>
                  <a:gd name="T8" fmla="*/ 2740209 w 26"/>
                  <a:gd name="T9" fmla="*/ 0 h 19"/>
                  <a:gd name="T10" fmla="*/ 0 w 26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6" h="19">
                    <a:moveTo>
                      <a:pt x="0" y="0"/>
                    </a:moveTo>
                    <a:lnTo>
                      <a:pt x="26" y="1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15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0" name="Freeform 315">
                <a:extLst>
                  <a:ext uri="{FF2B5EF4-FFF2-40B4-BE49-F238E27FC236}">
                    <a16:creationId xmlns:a16="http://schemas.microsoft.com/office/drawing/2014/main" id="{81E214FC-90A2-4753-8B56-B1112CCBEA15}"/>
                  </a:ext>
                </a:extLst>
              </p:cNvPr>
              <p:cNvSpPr>
                <a:spLocks/>
              </p:cNvSpPr>
              <p:nvPr>
                <p:custDataLst>
                  <p:tags r:id="rId218"/>
                </p:custDataLst>
              </p:nvPr>
            </p:nvSpPr>
            <p:spPr bwMode="auto">
              <a:xfrm>
                <a:off x="7761475" y="4549290"/>
                <a:ext cx="23527" cy="66803"/>
              </a:xfrm>
              <a:custGeom>
                <a:avLst/>
                <a:gdLst>
                  <a:gd name="T0" fmla="*/ 392519 w 43"/>
                  <a:gd name="T1" fmla="*/ 0 h 31"/>
                  <a:gd name="T2" fmla="*/ 196259 w 43"/>
                  <a:gd name="T3" fmla="*/ 43080747 h 31"/>
                  <a:gd name="T4" fmla="*/ 0 w 43"/>
                  <a:gd name="T5" fmla="*/ 82570959 h 31"/>
                  <a:gd name="T6" fmla="*/ 0 w 43"/>
                  <a:gd name="T7" fmla="*/ 93340672 h 31"/>
                  <a:gd name="T8" fmla="*/ 0 w 43"/>
                  <a:gd name="T9" fmla="*/ 104112280 h 31"/>
                  <a:gd name="T10" fmla="*/ 0 w 43"/>
                  <a:gd name="T11" fmla="*/ 111291457 h 31"/>
                  <a:gd name="T12" fmla="*/ 392519 w 43"/>
                  <a:gd name="T13" fmla="*/ 111291457 h 31"/>
                  <a:gd name="T14" fmla="*/ 2551371 w 43"/>
                  <a:gd name="T15" fmla="*/ 78980423 h 31"/>
                  <a:gd name="T16" fmla="*/ 4906926 w 43"/>
                  <a:gd name="T17" fmla="*/ 46671283 h 31"/>
                  <a:gd name="T18" fmla="*/ 6869519 w 43"/>
                  <a:gd name="T19" fmla="*/ 17950785 h 31"/>
                  <a:gd name="T20" fmla="*/ 8439593 w 43"/>
                  <a:gd name="T21" fmla="*/ 0 h 31"/>
                  <a:gd name="T22" fmla="*/ 392519 w 43"/>
                  <a:gd name="T23" fmla="*/ 0 h 3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3" h="31">
                    <a:moveTo>
                      <a:pt x="2" y="0"/>
                    </a:moveTo>
                    <a:lnTo>
                      <a:pt x="1" y="12"/>
                    </a:lnTo>
                    <a:lnTo>
                      <a:pt x="0" y="23"/>
                    </a:lnTo>
                    <a:lnTo>
                      <a:pt x="0" y="26"/>
                    </a:lnTo>
                    <a:lnTo>
                      <a:pt x="0" y="29"/>
                    </a:lnTo>
                    <a:lnTo>
                      <a:pt x="0" y="31"/>
                    </a:lnTo>
                    <a:lnTo>
                      <a:pt x="2" y="31"/>
                    </a:lnTo>
                    <a:lnTo>
                      <a:pt x="13" y="22"/>
                    </a:lnTo>
                    <a:lnTo>
                      <a:pt x="25" y="13"/>
                    </a:lnTo>
                    <a:lnTo>
                      <a:pt x="35" y="5"/>
                    </a:lnTo>
                    <a:lnTo>
                      <a:pt x="43" y="0"/>
                    </a:lnTo>
                    <a:lnTo>
                      <a:pt x="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1" name="Freeform 316">
                <a:extLst>
                  <a:ext uri="{FF2B5EF4-FFF2-40B4-BE49-F238E27FC236}">
                    <a16:creationId xmlns:a16="http://schemas.microsoft.com/office/drawing/2014/main" id="{A97697FE-76E1-4E4B-BDF3-8FF7BB592C23}"/>
                  </a:ext>
                </a:extLst>
              </p:cNvPr>
              <p:cNvSpPr>
                <a:spLocks/>
              </p:cNvSpPr>
              <p:nvPr>
                <p:custDataLst>
                  <p:tags r:id="rId219"/>
                </p:custDataLst>
              </p:nvPr>
            </p:nvSpPr>
            <p:spPr bwMode="auto">
              <a:xfrm>
                <a:off x="7815769" y="4603787"/>
                <a:ext cx="36197" cy="63287"/>
              </a:xfrm>
              <a:custGeom>
                <a:avLst/>
                <a:gdLst>
                  <a:gd name="T0" fmla="*/ 721788 w 71"/>
                  <a:gd name="T1" fmla="*/ 16323906 h 49"/>
                  <a:gd name="T2" fmla="*/ 721788 w 71"/>
                  <a:gd name="T3" fmla="*/ 24485859 h 49"/>
                  <a:gd name="T4" fmla="*/ 902341 w 71"/>
                  <a:gd name="T5" fmla="*/ 34007749 h 49"/>
                  <a:gd name="T6" fmla="*/ 1263447 w 71"/>
                  <a:gd name="T7" fmla="*/ 42169702 h 49"/>
                  <a:gd name="T8" fmla="*/ 1624129 w 71"/>
                  <a:gd name="T9" fmla="*/ 50331655 h 49"/>
                  <a:gd name="T10" fmla="*/ 2526895 w 71"/>
                  <a:gd name="T11" fmla="*/ 55772568 h 49"/>
                  <a:gd name="T12" fmla="*/ 3248683 w 71"/>
                  <a:gd name="T13" fmla="*/ 62574585 h 49"/>
                  <a:gd name="T14" fmla="*/ 4151024 w 71"/>
                  <a:gd name="T15" fmla="*/ 65295624 h 49"/>
                  <a:gd name="T16" fmla="*/ 5414471 w 71"/>
                  <a:gd name="T17" fmla="*/ 66655561 h 49"/>
                  <a:gd name="T18" fmla="*/ 6316812 w 71"/>
                  <a:gd name="T19" fmla="*/ 65295624 h 49"/>
                  <a:gd name="T20" fmla="*/ 7219153 w 71"/>
                  <a:gd name="T21" fmla="*/ 62574585 h 49"/>
                  <a:gd name="T22" fmla="*/ 8121494 w 71"/>
                  <a:gd name="T23" fmla="*/ 57133671 h 49"/>
                  <a:gd name="T24" fmla="*/ 9024260 w 71"/>
                  <a:gd name="T25" fmla="*/ 50331655 h 49"/>
                  <a:gd name="T26" fmla="*/ 10828942 w 71"/>
                  <a:gd name="T27" fmla="*/ 38088726 h 49"/>
                  <a:gd name="T28" fmla="*/ 12814177 w 71"/>
                  <a:gd name="T29" fmla="*/ 24485859 h 49"/>
                  <a:gd name="T30" fmla="*/ 11009495 w 71"/>
                  <a:gd name="T31" fmla="*/ 16323906 h 49"/>
                  <a:gd name="T32" fmla="*/ 9384941 w 71"/>
                  <a:gd name="T33" fmla="*/ 12242930 h 49"/>
                  <a:gd name="T34" fmla="*/ 7941366 w 71"/>
                  <a:gd name="T35" fmla="*/ 9521890 h 49"/>
                  <a:gd name="T36" fmla="*/ 6677918 w 71"/>
                  <a:gd name="T37" fmla="*/ 8161953 h 49"/>
                  <a:gd name="T38" fmla="*/ 5233918 w 71"/>
                  <a:gd name="T39" fmla="*/ 8161953 h 49"/>
                  <a:gd name="T40" fmla="*/ 3789917 w 71"/>
                  <a:gd name="T41" fmla="*/ 6802016 h 49"/>
                  <a:gd name="T42" fmla="*/ 2526895 w 71"/>
                  <a:gd name="T43" fmla="*/ 4080977 h 49"/>
                  <a:gd name="T44" fmla="*/ 721788 w 71"/>
                  <a:gd name="T45" fmla="*/ 0 h 49"/>
                  <a:gd name="T46" fmla="*/ 541235 w 71"/>
                  <a:gd name="T47" fmla="*/ 1359937 h 49"/>
                  <a:gd name="T48" fmla="*/ 180553 w 71"/>
                  <a:gd name="T49" fmla="*/ 8161953 h 49"/>
                  <a:gd name="T50" fmla="*/ 0 w 71"/>
                  <a:gd name="T51" fmla="*/ 10882993 h 49"/>
                  <a:gd name="T52" fmla="*/ 0 w 71"/>
                  <a:gd name="T53" fmla="*/ 13602866 h 49"/>
                  <a:gd name="T54" fmla="*/ 180553 w 71"/>
                  <a:gd name="T55" fmla="*/ 14963969 h 49"/>
                  <a:gd name="T56" fmla="*/ 721788 w 71"/>
                  <a:gd name="T57" fmla="*/ 16323906 h 4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71" h="49">
                    <a:moveTo>
                      <a:pt x="4" y="12"/>
                    </a:moveTo>
                    <a:lnTo>
                      <a:pt x="4" y="18"/>
                    </a:lnTo>
                    <a:lnTo>
                      <a:pt x="5" y="25"/>
                    </a:lnTo>
                    <a:lnTo>
                      <a:pt x="7" y="31"/>
                    </a:lnTo>
                    <a:lnTo>
                      <a:pt x="9" y="37"/>
                    </a:lnTo>
                    <a:lnTo>
                      <a:pt x="14" y="41"/>
                    </a:lnTo>
                    <a:lnTo>
                      <a:pt x="18" y="46"/>
                    </a:lnTo>
                    <a:lnTo>
                      <a:pt x="23" y="48"/>
                    </a:lnTo>
                    <a:lnTo>
                      <a:pt x="30" y="49"/>
                    </a:lnTo>
                    <a:lnTo>
                      <a:pt x="35" y="48"/>
                    </a:lnTo>
                    <a:lnTo>
                      <a:pt x="40" y="46"/>
                    </a:lnTo>
                    <a:lnTo>
                      <a:pt x="45" y="42"/>
                    </a:lnTo>
                    <a:lnTo>
                      <a:pt x="50" y="37"/>
                    </a:lnTo>
                    <a:lnTo>
                      <a:pt x="60" y="28"/>
                    </a:lnTo>
                    <a:lnTo>
                      <a:pt x="71" y="18"/>
                    </a:lnTo>
                    <a:lnTo>
                      <a:pt x="61" y="12"/>
                    </a:lnTo>
                    <a:lnTo>
                      <a:pt x="52" y="9"/>
                    </a:lnTo>
                    <a:lnTo>
                      <a:pt x="44" y="7"/>
                    </a:lnTo>
                    <a:lnTo>
                      <a:pt x="37" y="6"/>
                    </a:lnTo>
                    <a:lnTo>
                      <a:pt x="29" y="6"/>
                    </a:lnTo>
                    <a:lnTo>
                      <a:pt x="21" y="5"/>
                    </a:lnTo>
                    <a:lnTo>
                      <a:pt x="14" y="3"/>
                    </a:lnTo>
                    <a:lnTo>
                      <a:pt x="4" y="0"/>
                    </a:lnTo>
                    <a:lnTo>
                      <a:pt x="3" y="1"/>
                    </a:lnTo>
                    <a:lnTo>
                      <a:pt x="1" y="6"/>
                    </a:lnTo>
                    <a:lnTo>
                      <a:pt x="0" y="8"/>
                    </a:lnTo>
                    <a:lnTo>
                      <a:pt x="0" y="10"/>
                    </a:lnTo>
                    <a:lnTo>
                      <a:pt x="1" y="11"/>
                    </a:lnTo>
                    <a:lnTo>
                      <a:pt x="4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2" name="Freeform 317">
                <a:extLst>
                  <a:ext uri="{FF2B5EF4-FFF2-40B4-BE49-F238E27FC236}">
                    <a16:creationId xmlns:a16="http://schemas.microsoft.com/office/drawing/2014/main" id="{0BD257AE-17BB-4C9C-A586-555919D6DB9D}"/>
                  </a:ext>
                </a:extLst>
              </p:cNvPr>
              <p:cNvSpPr>
                <a:spLocks/>
              </p:cNvSpPr>
              <p:nvPr>
                <p:custDataLst>
                  <p:tags r:id="rId220"/>
                </p:custDataLst>
              </p:nvPr>
            </p:nvSpPr>
            <p:spPr bwMode="auto">
              <a:xfrm>
                <a:off x="7575062" y="4832324"/>
                <a:ext cx="56105" cy="65044"/>
              </a:xfrm>
              <a:custGeom>
                <a:avLst/>
                <a:gdLst>
                  <a:gd name="T0" fmla="*/ 7772032 w 112"/>
                  <a:gd name="T1" fmla="*/ 10206683 h 26"/>
                  <a:gd name="T2" fmla="*/ 9461837 w 112"/>
                  <a:gd name="T3" fmla="*/ 10206683 h 26"/>
                  <a:gd name="T4" fmla="*/ 11151230 w 112"/>
                  <a:gd name="T5" fmla="*/ 15310025 h 26"/>
                  <a:gd name="T6" fmla="*/ 12502745 w 112"/>
                  <a:gd name="T7" fmla="*/ 20413367 h 26"/>
                  <a:gd name="T8" fmla="*/ 14192549 w 112"/>
                  <a:gd name="T9" fmla="*/ 30622309 h 26"/>
                  <a:gd name="T10" fmla="*/ 15544064 w 112"/>
                  <a:gd name="T11" fmla="*/ 45932334 h 26"/>
                  <a:gd name="T12" fmla="*/ 16895579 w 112"/>
                  <a:gd name="T13" fmla="*/ 61242359 h 26"/>
                  <a:gd name="T14" fmla="*/ 17909626 w 112"/>
                  <a:gd name="T15" fmla="*/ 81657985 h 26"/>
                  <a:gd name="T16" fmla="*/ 18923262 w 112"/>
                  <a:gd name="T17" fmla="*/ 102071351 h 26"/>
                  <a:gd name="T18" fmla="*/ 18585384 w 112"/>
                  <a:gd name="T19" fmla="*/ 112280294 h 26"/>
                  <a:gd name="T20" fmla="*/ 17740687 w 112"/>
                  <a:gd name="T21" fmla="*/ 117383635 h 26"/>
                  <a:gd name="T22" fmla="*/ 17064929 w 112"/>
                  <a:gd name="T23" fmla="*/ 127590319 h 26"/>
                  <a:gd name="T24" fmla="*/ 16050882 w 112"/>
                  <a:gd name="T25" fmla="*/ 127590319 h 26"/>
                  <a:gd name="T26" fmla="*/ 14699367 w 112"/>
                  <a:gd name="T27" fmla="*/ 132693660 h 26"/>
                  <a:gd name="T28" fmla="*/ 13347853 w 112"/>
                  <a:gd name="T29" fmla="*/ 132693660 h 26"/>
                  <a:gd name="T30" fmla="*/ 11151230 w 112"/>
                  <a:gd name="T31" fmla="*/ 122486977 h 26"/>
                  <a:gd name="T32" fmla="*/ 6927335 w 112"/>
                  <a:gd name="T33" fmla="*/ 96968010 h 26"/>
                  <a:gd name="T34" fmla="*/ 2703441 w 112"/>
                  <a:gd name="T35" fmla="*/ 66347960 h 26"/>
                  <a:gd name="T36" fmla="*/ 0 w 112"/>
                  <a:gd name="T37" fmla="*/ 40828992 h 26"/>
                  <a:gd name="T38" fmla="*/ 844697 w 112"/>
                  <a:gd name="T39" fmla="*/ 20413367 h 26"/>
                  <a:gd name="T40" fmla="*/ 1858333 w 112"/>
                  <a:gd name="T41" fmla="*/ 10206683 h 26"/>
                  <a:gd name="T42" fmla="*/ 3041319 w 112"/>
                  <a:gd name="T43" fmla="*/ 5103342 h 26"/>
                  <a:gd name="T44" fmla="*/ 4223895 w 112"/>
                  <a:gd name="T45" fmla="*/ 0 h 26"/>
                  <a:gd name="T46" fmla="*/ 6251578 w 112"/>
                  <a:gd name="T47" fmla="*/ 5103342 h 26"/>
                  <a:gd name="T48" fmla="*/ 7772032 w 112"/>
                  <a:gd name="T49" fmla="*/ 10206683 h 2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112" h="26">
                    <a:moveTo>
                      <a:pt x="46" y="2"/>
                    </a:moveTo>
                    <a:lnTo>
                      <a:pt x="56" y="2"/>
                    </a:lnTo>
                    <a:lnTo>
                      <a:pt x="66" y="3"/>
                    </a:lnTo>
                    <a:lnTo>
                      <a:pt x="74" y="4"/>
                    </a:lnTo>
                    <a:lnTo>
                      <a:pt x="84" y="6"/>
                    </a:lnTo>
                    <a:lnTo>
                      <a:pt x="92" y="9"/>
                    </a:lnTo>
                    <a:lnTo>
                      <a:pt x="100" y="12"/>
                    </a:lnTo>
                    <a:lnTo>
                      <a:pt x="106" y="16"/>
                    </a:lnTo>
                    <a:lnTo>
                      <a:pt x="112" y="20"/>
                    </a:lnTo>
                    <a:lnTo>
                      <a:pt x="110" y="22"/>
                    </a:lnTo>
                    <a:lnTo>
                      <a:pt x="105" y="23"/>
                    </a:lnTo>
                    <a:lnTo>
                      <a:pt x="101" y="25"/>
                    </a:lnTo>
                    <a:lnTo>
                      <a:pt x="95" y="25"/>
                    </a:lnTo>
                    <a:lnTo>
                      <a:pt x="87" y="26"/>
                    </a:lnTo>
                    <a:lnTo>
                      <a:pt x="79" y="26"/>
                    </a:lnTo>
                    <a:lnTo>
                      <a:pt x="66" y="24"/>
                    </a:lnTo>
                    <a:lnTo>
                      <a:pt x="41" y="19"/>
                    </a:lnTo>
                    <a:lnTo>
                      <a:pt x="16" y="13"/>
                    </a:lnTo>
                    <a:lnTo>
                      <a:pt x="0" y="8"/>
                    </a:lnTo>
                    <a:lnTo>
                      <a:pt x="5" y="4"/>
                    </a:lnTo>
                    <a:lnTo>
                      <a:pt x="11" y="2"/>
                    </a:lnTo>
                    <a:lnTo>
                      <a:pt x="18" y="1"/>
                    </a:lnTo>
                    <a:lnTo>
                      <a:pt x="25" y="0"/>
                    </a:lnTo>
                    <a:lnTo>
                      <a:pt x="37" y="1"/>
                    </a:lnTo>
                    <a:lnTo>
                      <a:pt x="46" y="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3" name="Freeform 318">
                <a:extLst>
                  <a:ext uri="{FF2B5EF4-FFF2-40B4-BE49-F238E27FC236}">
                    <a16:creationId xmlns:a16="http://schemas.microsoft.com/office/drawing/2014/main" id="{C0AD417E-68CE-4742-BF5F-2780A2626F41}"/>
                  </a:ext>
                </a:extLst>
              </p:cNvPr>
              <p:cNvSpPr>
                <a:spLocks/>
              </p:cNvSpPr>
              <p:nvPr>
                <p:custDataLst>
                  <p:tags r:id="rId221"/>
                </p:custDataLst>
              </p:nvPr>
            </p:nvSpPr>
            <p:spPr bwMode="auto">
              <a:xfrm>
                <a:off x="7694510" y="4874515"/>
                <a:ext cx="18098" cy="65044"/>
              </a:xfrm>
              <a:custGeom>
                <a:avLst/>
                <a:gdLst>
                  <a:gd name="T0" fmla="*/ 0 w 41"/>
                  <a:gd name="T1" fmla="*/ 0 h 25"/>
                  <a:gd name="T2" fmla="*/ 4978497 w 41"/>
                  <a:gd name="T3" fmla="*/ 0 h 25"/>
                  <a:gd name="T4" fmla="*/ 3399958 w 41"/>
                  <a:gd name="T5" fmla="*/ 44160826 h 25"/>
                  <a:gd name="T6" fmla="*/ 2185563 w 41"/>
                  <a:gd name="T7" fmla="*/ 82800374 h 25"/>
                  <a:gd name="T8" fmla="*/ 1092781 w 41"/>
                  <a:gd name="T9" fmla="*/ 110402065 h 25"/>
                  <a:gd name="T10" fmla="*/ 0 w 41"/>
                  <a:gd name="T11" fmla="*/ 138001407 h 25"/>
                  <a:gd name="T12" fmla="*/ 0 w 41"/>
                  <a:gd name="T13" fmla="*/ 0 h 2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1" h="25">
                    <a:moveTo>
                      <a:pt x="0" y="0"/>
                    </a:moveTo>
                    <a:lnTo>
                      <a:pt x="41" y="0"/>
                    </a:lnTo>
                    <a:lnTo>
                      <a:pt x="28" y="8"/>
                    </a:lnTo>
                    <a:lnTo>
                      <a:pt x="18" y="15"/>
                    </a:lnTo>
                    <a:lnTo>
                      <a:pt x="9" y="20"/>
                    </a:lnTo>
                    <a:lnTo>
                      <a:pt x="0" y="25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4" name="Freeform 319">
                <a:extLst>
                  <a:ext uri="{FF2B5EF4-FFF2-40B4-BE49-F238E27FC236}">
                    <a16:creationId xmlns:a16="http://schemas.microsoft.com/office/drawing/2014/main" id="{DEE65995-C868-4391-A2A9-2D8AD3FDD962}"/>
                  </a:ext>
                </a:extLst>
              </p:cNvPr>
              <p:cNvSpPr>
                <a:spLocks/>
              </p:cNvSpPr>
              <p:nvPr>
                <p:custDataLst>
                  <p:tags r:id="rId222"/>
                </p:custDataLst>
              </p:nvPr>
            </p:nvSpPr>
            <p:spPr bwMode="auto">
              <a:xfrm>
                <a:off x="7493620" y="4797164"/>
                <a:ext cx="43436" cy="63287"/>
              </a:xfrm>
              <a:custGeom>
                <a:avLst/>
                <a:gdLst>
                  <a:gd name="T0" fmla="*/ 0 w 81"/>
                  <a:gd name="T1" fmla="*/ 99588612 h 31"/>
                  <a:gd name="T2" fmla="*/ 0 w 81"/>
                  <a:gd name="T3" fmla="*/ 70676136 h 31"/>
                  <a:gd name="T4" fmla="*/ 0 w 81"/>
                  <a:gd name="T5" fmla="*/ 41763660 h 31"/>
                  <a:gd name="T6" fmla="*/ 0 w 81"/>
                  <a:gd name="T7" fmla="*/ 32126168 h 31"/>
                  <a:gd name="T8" fmla="*/ 406602 w 81"/>
                  <a:gd name="T9" fmla="*/ 25700576 h 31"/>
                  <a:gd name="T10" fmla="*/ 609452 w 81"/>
                  <a:gd name="T11" fmla="*/ 19274984 h 31"/>
                  <a:gd name="T12" fmla="*/ 812752 w 81"/>
                  <a:gd name="T13" fmla="*/ 12849392 h 31"/>
                  <a:gd name="T14" fmla="*/ 1625505 w 81"/>
                  <a:gd name="T15" fmla="*/ 6425592 h 31"/>
                  <a:gd name="T16" fmla="*/ 2844859 w 81"/>
                  <a:gd name="T17" fmla="*/ 0 h 31"/>
                  <a:gd name="T18" fmla="*/ 5283116 w 81"/>
                  <a:gd name="T19" fmla="*/ 3211900 h 31"/>
                  <a:gd name="T20" fmla="*/ 8331275 w 81"/>
                  <a:gd name="T21" fmla="*/ 3211900 h 31"/>
                  <a:gd name="T22" fmla="*/ 11379434 w 81"/>
                  <a:gd name="T23" fmla="*/ 3211900 h 31"/>
                  <a:gd name="T24" fmla="*/ 13208240 w 81"/>
                  <a:gd name="T25" fmla="*/ 3211900 h 31"/>
                  <a:gd name="T26" fmla="*/ 14833744 w 81"/>
                  <a:gd name="T27" fmla="*/ 3211900 h 31"/>
                  <a:gd name="T28" fmla="*/ 16459249 w 81"/>
                  <a:gd name="T29" fmla="*/ 3211900 h 31"/>
                  <a:gd name="T30" fmla="*/ 14833744 w 81"/>
                  <a:gd name="T31" fmla="*/ 19274984 h 31"/>
                  <a:gd name="T32" fmla="*/ 13614390 w 81"/>
                  <a:gd name="T33" fmla="*/ 32126168 h 31"/>
                  <a:gd name="T34" fmla="*/ 13004939 w 81"/>
                  <a:gd name="T35" fmla="*/ 44975560 h 31"/>
                  <a:gd name="T36" fmla="*/ 12598337 w 81"/>
                  <a:gd name="T37" fmla="*/ 57824952 h 31"/>
                  <a:gd name="T38" fmla="*/ 11988886 w 81"/>
                  <a:gd name="T39" fmla="*/ 67462444 h 31"/>
                  <a:gd name="T40" fmla="*/ 10972833 w 81"/>
                  <a:gd name="T41" fmla="*/ 73888036 h 31"/>
                  <a:gd name="T42" fmla="*/ 9550629 w 81"/>
                  <a:gd name="T43" fmla="*/ 80313628 h 31"/>
                  <a:gd name="T44" fmla="*/ 6908620 w 81"/>
                  <a:gd name="T45" fmla="*/ 80313628 h 31"/>
                  <a:gd name="T46" fmla="*/ 0 w 81"/>
                  <a:gd name="T47" fmla="*/ 99588612 h 3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81" h="31">
                    <a:moveTo>
                      <a:pt x="0" y="31"/>
                    </a:moveTo>
                    <a:lnTo>
                      <a:pt x="0" y="22"/>
                    </a:lnTo>
                    <a:lnTo>
                      <a:pt x="0" y="13"/>
                    </a:lnTo>
                    <a:lnTo>
                      <a:pt x="0" y="10"/>
                    </a:lnTo>
                    <a:lnTo>
                      <a:pt x="2" y="8"/>
                    </a:lnTo>
                    <a:lnTo>
                      <a:pt x="3" y="6"/>
                    </a:lnTo>
                    <a:lnTo>
                      <a:pt x="4" y="4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lnTo>
                      <a:pt x="41" y="1"/>
                    </a:lnTo>
                    <a:lnTo>
                      <a:pt x="56" y="1"/>
                    </a:lnTo>
                    <a:lnTo>
                      <a:pt x="65" y="1"/>
                    </a:lnTo>
                    <a:lnTo>
                      <a:pt x="73" y="1"/>
                    </a:lnTo>
                    <a:lnTo>
                      <a:pt x="81" y="1"/>
                    </a:lnTo>
                    <a:lnTo>
                      <a:pt x="73" y="6"/>
                    </a:lnTo>
                    <a:lnTo>
                      <a:pt x="67" y="10"/>
                    </a:lnTo>
                    <a:lnTo>
                      <a:pt x="64" y="14"/>
                    </a:lnTo>
                    <a:lnTo>
                      <a:pt x="62" y="18"/>
                    </a:lnTo>
                    <a:lnTo>
                      <a:pt x="59" y="21"/>
                    </a:lnTo>
                    <a:lnTo>
                      <a:pt x="54" y="23"/>
                    </a:lnTo>
                    <a:lnTo>
                      <a:pt x="47" y="25"/>
                    </a:lnTo>
                    <a:lnTo>
                      <a:pt x="34" y="25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5" name="Freeform 320">
                <a:extLst>
                  <a:ext uri="{FF2B5EF4-FFF2-40B4-BE49-F238E27FC236}">
                    <a16:creationId xmlns:a16="http://schemas.microsoft.com/office/drawing/2014/main" id="{E55DBC16-7B65-4EE8-9911-D2D913B90994}"/>
                  </a:ext>
                </a:extLst>
              </p:cNvPr>
              <p:cNvSpPr>
                <a:spLocks/>
              </p:cNvSpPr>
              <p:nvPr>
                <p:custDataLst>
                  <p:tags r:id="rId223"/>
                </p:custDataLst>
              </p:nvPr>
            </p:nvSpPr>
            <p:spPr bwMode="auto">
              <a:xfrm>
                <a:off x="7547915" y="4781342"/>
                <a:ext cx="47055" cy="63287"/>
              </a:xfrm>
              <a:custGeom>
                <a:avLst/>
                <a:gdLst>
                  <a:gd name="T0" fmla="*/ 397772 w 89"/>
                  <a:gd name="T1" fmla="*/ 63002772 h 49"/>
                  <a:gd name="T2" fmla="*/ 17698172 w 89"/>
                  <a:gd name="T3" fmla="*/ 63002772 h 49"/>
                  <a:gd name="T4" fmla="*/ 15510873 w 89"/>
                  <a:gd name="T5" fmla="*/ 52716999 h 49"/>
                  <a:gd name="T6" fmla="*/ 13522014 w 89"/>
                  <a:gd name="T7" fmla="*/ 45001818 h 49"/>
                  <a:gd name="T8" fmla="*/ 11334714 w 89"/>
                  <a:gd name="T9" fmla="*/ 38573635 h 49"/>
                  <a:gd name="T10" fmla="*/ 9147415 w 89"/>
                  <a:gd name="T11" fmla="*/ 32144318 h 49"/>
                  <a:gd name="T12" fmla="*/ 7159002 w 89"/>
                  <a:gd name="T13" fmla="*/ 27000864 h 49"/>
                  <a:gd name="T14" fmla="*/ 5170142 w 89"/>
                  <a:gd name="T15" fmla="*/ 18000954 h 49"/>
                  <a:gd name="T16" fmla="*/ 3181729 w 89"/>
                  <a:gd name="T17" fmla="*/ 10285774 h 49"/>
                  <a:gd name="T18" fmla="*/ 1789527 w 89"/>
                  <a:gd name="T19" fmla="*/ 0 h 49"/>
                  <a:gd name="T20" fmla="*/ 795544 w 89"/>
                  <a:gd name="T21" fmla="*/ 12857500 h 49"/>
                  <a:gd name="T22" fmla="*/ 198886 w 89"/>
                  <a:gd name="T23" fmla="*/ 29572591 h 49"/>
                  <a:gd name="T24" fmla="*/ 0 w 89"/>
                  <a:gd name="T25" fmla="*/ 37287772 h 49"/>
                  <a:gd name="T26" fmla="*/ 0 w 89"/>
                  <a:gd name="T27" fmla="*/ 46287682 h 49"/>
                  <a:gd name="T28" fmla="*/ 0 w 89"/>
                  <a:gd name="T29" fmla="*/ 55287592 h 49"/>
                  <a:gd name="T30" fmla="*/ 397772 w 89"/>
                  <a:gd name="T31" fmla="*/ 63002772 h 4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89" h="49">
                    <a:moveTo>
                      <a:pt x="2" y="49"/>
                    </a:moveTo>
                    <a:lnTo>
                      <a:pt x="89" y="49"/>
                    </a:lnTo>
                    <a:lnTo>
                      <a:pt x="78" y="41"/>
                    </a:lnTo>
                    <a:lnTo>
                      <a:pt x="68" y="35"/>
                    </a:lnTo>
                    <a:lnTo>
                      <a:pt x="57" y="30"/>
                    </a:lnTo>
                    <a:lnTo>
                      <a:pt x="46" y="25"/>
                    </a:lnTo>
                    <a:lnTo>
                      <a:pt x="36" y="21"/>
                    </a:lnTo>
                    <a:lnTo>
                      <a:pt x="26" y="14"/>
                    </a:lnTo>
                    <a:lnTo>
                      <a:pt x="16" y="8"/>
                    </a:lnTo>
                    <a:lnTo>
                      <a:pt x="9" y="0"/>
                    </a:lnTo>
                    <a:lnTo>
                      <a:pt x="4" y="10"/>
                    </a:lnTo>
                    <a:lnTo>
                      <a:pt x="1" y="23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3"/>
                    </a:lnTo>
                    <a:lnTo>
                      <a:pt x="2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6" name="Freeform 321">
                <a:extLst>
                  <a:ext uri="{FF2B5EF4-FFF2-40B4-BE49-F238E27FC236}">
                    <a16:creationId xmlns:a16="http://schemas.microsoft.com/office/drawing/2014/main" id="{881A0A18-9145-4C26-BEEE-282BAB9B3F65}"/>
                  </a:ext>
                </a:extLst>
              </p:cNvPr>
              <p:cNvSpPr>
                <a:spLocks/>
              </p:cNvSpPr>
              <p:nvPr>
                <p:custDataLst>
                  <p:tags r:id="rId224"/>
                </p:custDataLst>
              </p:nvPr>
            </p:nvSpPr>
            <p:spPr bwMode="auto">
              <a:xfrm>
                <a:off x="7611258" y="4791890"/>
                <a:ext cx="43436" cy="66803"/>
              </a:xfrm>
              <a:custGeom>
                <a:avLst/>
                <a:gdLst>
                  <a:gd name="T0" fmla="*/ 0 w 86"/>
                  <a:gd name="T1" fmla="*/ 34239840 h 46"/>
                  <a:gd name="T2" fmla="*/ 2523574 w 86"/>
                  <a:gd name="T3" fmla="*/ 42391514 h 46"/>
                  <a:gd name="T4" fmla="*/ 4506260 w 86"/>
                  <a:gd name="T5" fmla="*/ 47283285 h 46"/>
                  <a:gd name="T6" fmla="*/ 5407597 w 86"/>
                  <a:gd name="T7" fmla="*/ 48913875 h 46"/>
                  <a:gd name="T8" fmla="*/ 6488947 w 86"/>
                  <a:gd name="T9" fmla="*/ 48913875 h 46"/>
                  <a:gd name="T10" fmla="*/ 7390284 w 86"/>
                  <a:gd name="T11" fmla="*/ 47283285 h 46"/>
                  <a:gd name="T12" fmla="*/ 8291620 w 86"/>
                  <a:gd name="T13" fmla="*/ 44022105 h 46"/>
                  <a:gd name="T14" fmla="*/ 8291620 w 86"/>
                  <a:gd name="T15" fmla="*/ 58696139 h 46"/>
                  <a:gd name="T16" fmla="*/ 8291620 w 86"/>
                  <a:gd name="T17" fmla="*/ 75000765 h 46"/>
                  <a:gd name="T18" fmla="*/ 10093870 w 86"/>
                  <a:gd name="T19" fmla="*/ 73370174 h 46"/>
                  <a:gd name="T20" fmla="*/ 12076556 w 86"/>
                  <a:gd name="T21" fmla="*/ 70108994 h 46"/>
                  <a:gd name="T22" fmla="*/ 13879230 w 86"/>
                  <a:gd name="T23" fmla="*/ 65218500 h 46"/>
                  <a:gd name="T24" fmla="*/ 15501467 w 86"/>
                  <a:gd name="T25" fmla="*/ 65218500 h 46"/>
                  <a:gd name="T26" fmla="*/ 14960580 w 86"/>
                  <a:gd name="T27" fmla="*/ 52175056 h 46"/>
                  <a:gd name="T28" fmla="*/ 14420117 w 86"/>
                  <a:gd name="T29" fmla="*/ 40760924 h 46"/>
                  <a:gd name="T30" fmla="*/ 13338343 w 86"/>
                  <a:gd name="T31" fmla="*/ 30978660 h 46"/>
                  <a:gd name="T32" fmla="*/ 12617443 w 86"/>
                  <a:gd name="T33" fmla="*/ 22825709 h 46"/>
                  <a:gd name="T34" fmla="*/ 11536094 w 86"/>
                  <a:gd name="T35" fmla="*/ 14674035 h 46"/>
                  <a:gd name="T36" fmla="*/ 10454320 w 86"/>
                  <a:gd name="T37" fmla="*/ 9782264 h 46"/>
                  <a:gd name="T38" fmla="*/ 9192533 w 86"/>
                  <a:gd name="T39" fmla="*/ 4891771 h 46"/>
                  <a:gd name="T40" fmla="*/ 8291620 w 86"/>
                  <a:gd name="T41" fmla="*/ 1630590 h 46"/>
                  <a:gd name="T42" fmla="*/ 7029834 w 86"/>
                  <a:gd name="T43" fmla="*/ 0 h 46"/>
                  <a:gd name="T44" fmla="*/ 5948060 w 86"/>
                  <a:gd name="T45" fmla="*/ 0 h 46"/>
                  <a:gd name="T46" fmla="*/ 4686697 w 86"/>
                  <a:gd name="T47" fmla="*/ 1630590 h 46"/>
                  <a:gd name="T48" fmla="*/ 3424911 w 86"/>
                  <a:gd name="T49" fmla="*/ 4891771 h 46"/>
                  <a:gd name="T50" fmla="*/ 2523574 w 86"/>
                  <a:gd name="T51" fmla="*/ 9782264 h 46"/>
                  <a:gd name="T52" fmla="*/ 1441799 w 86"/>
                  <a:gd name="T53" fmla="*/ 16304625 h 46"/>
                  <a:gd name="T54" fmla="*/ 720900 w 86"/>
                  <a:gd name="T55" fmla="*/ 24456299 h 46"/>
                  <a:gd name="T56" fmla="*/ 0 w 86"/>
                  <a:gd name="T57" fmla="*/ 34239840 h 4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6" h="46">
                    <a:moveTo>
                      <a:pt x="0" y="21"/>
                    </a:moveTo>
                    <a:lnTo>
                      <a:pt x="14" y="26"/>
                    </a:lnTo>
                    <a:lnTo>
                      <a:pt x="25" y="29"/>
                    </a:lnTo>
                    <a:lnTo>
                      <a:pt x="30" y="30"/>
                    </a:lnTo>
                    <a:lnTo>
                      <a:pt x="36" y="30"/>
                    </a:lnTo>
                    <a:lnTo>
                      <a:pt x="41" y="29"/>
                    </a:lnTo>
                    <a:lnTo>
                      <a:pt x="46" y="27"/>
                    </a:lnTo>
                    <a:lnTo>
                      <a:pt x="46" y="36"/>
                    </a:lnTo>
                    <a:lnTo>
                      <a:pt x="46" y="46"/>
                    </a:lnTo>
                    <a:lnTo>
                      <a:pt x="56" y="45"/>
                    </a:lnTo>
                    <a:lnTo>
                      <a:pt x="67" y="43"/>
                    </a:lnTo>
                    <a:lnTo>
                      <a:pt x="77" y="40"/>
                    </a:lnTo>
                    <a:lnTo>
                      <a:pt x="86" y="40"/>
                    </a:lnTo>
                    <a:lnTo>
                      <a:pt x="83" y="32"/>
                    </a:lnTo>
                    <a:lnTo>
                      <a:pt x="80" y="25"/>
                    </a:lnTo>
                    <a:lnTo>
                      <a:pt x="74" y="19"/>
                    </a:lnTo>
                    <a:lnTo>
                      <a:pt x="70" y="14"/>
                    </a:lnTo>
                    <a:lnTo>
                      <a:pt x="64" y="9"/>
                    </a:lnTo>
                    <a:lnTo>
                      <a:pt x="58" y="6"/>
                    </a:lnTo>
                    <a:lnTo>
                      <a:pt x="51" y="3"/>
                    </a:lnTo>
                    <a:lnTo>
                      <a:pt x="46" y="1"/>
                    </a:lnTo>
                    <a:lnTo>
                      <a:pt x="39" y="0"/>
                    </a:lnTo>
                    <a:lnTo>
                      <a:pt x="33" y="0"/>
                    </a:lnTo>
                    <a:lnTo>
                      <a:pt x="26" y="1"/>
                    </a:lnTo>
                    <a:lnTo>
                      <a:pt x="19" y="3"/>
                    </a:lnTo>
                    <a:lnTo>
                      <a:pt x="14" y="6"/>
                    </a:lnTo>
                    <a:lnTo>
                      <a:pt x="8" y="10"/>
                    </a:lnTo>
                    <a:lnTo>
                      <a:pt x="4" y="15"/>
                    </a:lnTo>
                    <a:lnTo>
                      <a:pt x="0" y="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7" name="Freeform 322">
                <a:extLst>
                  <a:ext uri="{FF2B5EF4-FFF2-40B4-BE49-F238E27FC236}">
                    <a16:creationId xmlns:a16="http://schemas.microsoft.com/office/drawing/2014/main" id="{DCDC3834-4FBD-4509-B038-9691BE701189}"/>
                  </a:ext>
                </a:extLst>
              </p:cNvPr>
              <p:cNvSpPr>
                <a:spLocks/>
              </p:cNvSpPr>
              <p:nvPr>
                <p:custDataLst>
                  <p:tags r:id="rId225"/>
                </p:custDataLst>
              </p:nvPr>
            </p:nvSpPr>
            <p:spPr bwMode="auto">
              <a:xfrm>
                <a:off x="7672792" y="4797164"/>
                <a:ext cx="30768" cy="63287"/>
              </a:xfrm>
              <a:custGeom>
                <a:avLst/>
                <a:gdLst>
                  <a:gd name="T0" fmla="*/ 0 w 59"/>
                  <a:gd name="T1" fmla="*/ 0 h 18"/>
                  <a:gd name="T2" fmla="*/ 0 w 59"/>
                  <a:gd name="T3" fmla="*/ 171513721 h 18"/>
                  <a:gd name="T4" fmla="*/ 7228237 w 59"/>
                  <a:gd name="T5" fmla="*/ 171513721 h 18"/>
                  <a:gd name="T6" fmla="*/ 10934915 w 59"/>
                  <a:gd name="T7" fmla="*/ 57171240 h 18"/>
                  <a:gd name="T8" fmla="*/ 9452244 w 59"/>
                  <a:gd name="T9" fmla="*/ 47642186 h 18"/>
                  <a:gd name="T10" fmla="*/ 8340241 w 59"/>
                  <a:gd name="T11" fmla="*/ 38113131 h 18"/>
                  <a:gd name="T12" fmla="*/ 6857569 w 59"/>
                  <a:gd name="T13" fmla="*/ 47642186 h 18"/>
                  <a:gd name="T14" fmla="*/ 5374898 w 59"/>
                  <a:gd name="T15" fmla="*/ 57171240 h 18"/>
                  <a:gd name="T16" fmla="*/ 4077346 w 59"/>
                  <a:gd name="T17" fmla="*/ 57171240 h 18"/>
                  <a:gd name="T18" fmla="*/ 2594675 w 59"/>
                  <a:gd name="T19" fmla="*/ 47642186 h 18"/>
                  <a:gd name="T20" fmla="*/ 1297553 w 59"/>
                  <a:gd name="T21" fmla="*/ 38113131 h 18"/>
                  <a:gd name="T22" fmla="*/ 0 w 59"/>
                  <a:gd name="T23" fmla="*/ 0 h 1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59" h="18">
                    <a:moveTo>
                      <a:pt x="0" y="0"/>
                    </a:moveTo>
                    <a:lnTo>
                      <a:pt x="0" y="18"/>
                    </a:lnTo>
                    <a:lnTo>
                      <a:pt x="39" y="18"/>
                    </a:lnTo>
                    <a:lnTo>
                      <a:pt x="59" y="6"/>
                    </a:lnTo>
                    <a:lnTo>
                      <a:pt x="51" y="5"/>
                    </a:lnTo>
                    <a:lnTo>
                      <a:pt x="45" y="4"/>
                    </a:lnTo>
                    <a:lnTo>
                      <a:pt x="37" y="5"/>
                    </a:lnTo>
                    <a:lnTo>
                      <a:pt x="29" y="6"/>
                    </a:lnTo>
                    <a:lnTo>
                      <a:pt x="22" y="6"/>
                    </a:lnTo>
                    <a:lnTo>
                      <a:pt x="14" y="5"/>
                    </a:lnTo>
                    <a:lnTo>
                      <a:pt x="7" y="4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8" name="Freeform 323">
                <a:extLst>
                  <a:ext uri="{FF2B5EF4-FFF2-40B4-BE49-F238E27FC236}">
                    <a16:creationId xmlns:a16="http://schemas.microsoft.com/office/drawing/2014/main" id="{8A0FCD29-7BC7-4B51-B3E7-871BEEAA2D5A}"/>
                  </a:ext>
                </a:extLst>
              </p:cNvPr>
              <p:cNvSpPr>
                <a:spLocks/>
              </p:cNvSpPr>
              <p:nvPr>
                <p:custDataLst>
                  <p:tags r:id="rId226"/>
                </p:custDataLst>
              </p:nvPr>
            </p:nvSpPr>
            <p:spPr bwMode="auto">
              <a:xfrm>
                <a:off x="7761475" y="4788374"/>
                <a:ext cx="1809" cy="63287"/>
              </a:xfrm>
              <a:custGeom>
                <a:avLst/>
                <a:gdLst>
                  <a:gd name="T0" fmla="*/ 630436 w 4"/>
                  <a:gd name="T1" fmla="*/ 162480834 h 19"/>
                  <a:gd name="T2" fmla="*/ 630436 w 4"/>
                  <a:gd name="T3" fmla="*/ 0 h 19"/>
                  <a:gd name="T4" fmla="*/ 315218 w 4"/>
                  <a:gd name="T5" fmla="*/ 8550699 h 19"/>
                  <a:gd name="T6" fmla="*/ 157609 w 4"/>
                  <a:gd name="T7" fmla="*/ 25655022 h 19"/>
                  <a:gd name="T8" fmla="*/ 0 w 4"/>
                  <a:gd name="T9" fmla="*/ 51310045 h 19"/>
                  <a:gd name="T10" fmla="*/ 0 w 4"/>
                  <a:gd name="T11" fmla="*/ 85515767 h 19"/>
                  <a:gd name="T12" fmla="*/ 0 w 4"/>
                  <a:gd name="T13" fmla="*/ 119721488 h 19"/>
                  <a:gd name="T14" fmla="*/ 157609 w 4"/>
                  <a:gd name="T15" fmla="*/ 136825811 h 19"/>
                  <a:gd name="T16" fmla="*/ 315218 w 4"/>
                  <a:gd name="T17" fmla="*/ 162480834 h 19"/>
                  <a:gd name="T18" fmla="*/ 630436 w 4"/>
                  <a:gd name="T19" fmla="*/ 162480834 h 19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" h="19">
                    <a:moveTo>
                      <a:pt x="4" y="19"/>
                    </a:moveTo>
                    <a:lnTo>
                      <a:pt x="4" y="0"/>
                    </a:lnTo>
                    <a:lnTo>
                      <a:pt x="2" y="1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1" y="16"/>
                    </a:lnTo>
                    <a:lnTo>
                      <a:pt x="2" y="19"/>
                    </a:lnTo>
                    <a:lnTo>
                      <a:pt x="4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89" name="Freeform 324">
                <a:extLst>
                  <a:ext uri="{FF2B5EF4-FFF2-40B4-BE49-F238E27FC236}">
                    <a16:creationId xmlns:a16="http://schemas.microsoft.com/office/drawing/2014/main" id="{8B47B4A4-7DDE-40FF-84B7-E299B43F19C1}"/>
                  </a:ext>
                </a:extLst>
              </p:cNvPr>
              <p:cNvSpPr>
                <a:spLocks/>
              </p:cNvSpPr>
              <p:nvPr>
                <p:custDataLst>
                  <p:tags r:id="rId227"/>
                </p:custDataLst>
              </p:nvPr>
            </p:nvSpPr>
            <p:spPr bwMode="auto">
              <a:xfrm>
                <a:off x="7249293" y="4579176"/>
                <a:ext cx="23528" cy="66803"/>
              </a:xfrm>
              <a:custGeom>
                <a:avLst/>
                <a:gdLst>
                  <a:gd name="T0" fmla="*/ 0 w 46"/>
                  <a:gd name="T1" fmla="*/ 69003053 h 50"/>
                  <a:gd name="T2" fmla="*/ 1409216 w 46"/>
                  <a:gd name="T3" fmla="*/ 0 h 50"/>
                  <a:gd name="T4" fmla="*/ 4629642 w 46"/>
                  <a:gd name="T5" fmla="*/ 11040394 h 50"/>
                  <a:gd name="T6" fmla="*/ 6843740 w 46"/>
                  <a:gd name="T7" fmla="*/ 19321278 h 50"/>
                  <a:gd name="T8" fmla="*/ 7447626 w 46"/>
                  <a:gd name="T9" fmla="*/ 24841475 h 50"/>
                  <a:gd name="T10" fmla="*/ 8252957 w 46"/>
                  <a:gd name="T11" fmla="*/ 30361672 h 50"/>
                  <a:gd name="T12" fmla="*/ 8856843 w 46"/>
                  <a:gd name="T13" fmla="*/ 41402067 h 50"/>
                  <a:gd name="T14" fmla="*/ 9259284 w 46"/>
                  <a:gd name="T15" fmla="*/ 52442461 h 50"/>
                  <a:gd name="T16" fmla="*/ 6843740 w 46"/>
                  <a:gd name="T17" fmla="*/ 57962658 h 50"/>
                  <a:gd name="T18" fmla="*/ 4227201 w 46"/>
                  <a:gd name="T19" fmla="*/ 63482856 h 50"/>
                  <a:gd name="T20" fmla="*/ 1610213 w 46"/>
                  <a:gd name="T21" fmla="*/ 67622710 h 50"/>
                  <a:gd name="T22" fmla="*/ 0 w 46"/>
                  <a:gd name="T23" fmla="*/ 69003053 h 5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6" h="50">
                    <a:moveTo>
                      <a:pt x="0" y="50"/>
                    </a:moveTo>
                    <a:lnTo>
                      <a:pt x="7" y="0"/>
                    </a:lnTo>
                    <a:lnTo>
                      <a:pt x="23" y="8"/>
                    </a:lnTo>
                    <a:lnTo>
                      <a:pt x="34" y="14"/>
                    </a:lnTo>
                    <a:lnTo>
                      <a:pt x="37" y="18"/>
                    </a:lnTo>
                    <a:lnTo>
                      <a:pt x="41" y="22"/>
                    </a:lnTo>
                    <a:lnTo>
                      <a:pt x="44" y="30"/>
                    </a:lnTo>
                    <a:lnTo>
                      <a:pt x="46" y="38"/>
                    </a:lnTo>
                    <a:lnTo>
                      <a:pt x="34" y="42"/>
                    </a:lnTo>
                    <a:lnTo>
                      <a:pt x="21" y="46"/>
                    </a:lnTo>
                    <a:lnTo>
                      <a:pt x="8" y="49"/>
                    </a:lnTo>
                    <a:lnTo>
                      <a:pt x="0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0" name="Freeform 325">
                <a:extLst>
                  <a:ext uri="{FF2B5EF4-FFF2-40B4-BE49-F238E27FC236}">
                    <a16:creationId xmlns:a16="http://schemas.microsoft.com/office/drawing/2014/main" id="{2C8C0BC3-FEC3-4247-9B04-A056E4D71DCB}"/>
                  </a:ext>
                </a:extLst>
              </p:cNvPr>
              <p:cNvSpPr>
                <a:spLocks/>
              </p:cNvSpPr>
              <p:nvPr>
                <p:custDataLst>
                  <p:tags r:id="rId228"/>
                </p:custDataLst>
              </p:nvPr>
            </p:nvSpPr>
            <p:spPr bwMode="auto">
              <a:xfrm>
                <a:off x="7184139" y="4549290"/>
                <a:ext cx="36197" cy="66803"/>
              </a:xfrm>
              <a:custGeom>
                <a:avLst/>
                <a:gdLst>
                  <a:gd name="T0" fmla="*/ 0 w 66"/>
                  <a:gd name="T1" fmla="*/ 0 h 80"/>
                  <a:gd name="T2" fmla="*/ 2088559 w 66"/>
                  <a:gd name="T3" fmla="*/ 0 h 80"/>
                  <a:gd name="T4" fmla="*/ 3759407 w 66"/>
                  <a:gd name="T5" fmla="*/ 0 h 80"/>
                  <a:gd name="T6" fmla="*/ 5430254 w 66"/>
                  <a:gd name="T7" fmla="*/ 0 h 80"/>
                  <a:gd name="T8" fmla="*/ 6892703 w 66"/>
                  <a:gd name="T9" fmla="*/ 0 h 80"/>
                  <a:gd name="T10" fmla="*/ 6892703 w 66"/>
                  <a:gd name="T11" fmla="*/ 3773118 h 80"/>
                  <a:gd name="T12" fmla="*/ 7101558 w 66"/>
                  <a:gd name="T13" fmla="*/ 7546970 h 80"/>
                  <a:gd name="T14" fmla="*/ 7519270 w 66"/>
                  <a:gd name="T15" fmla="*/ 11320088 h 80"/>
                  <a:gd name="T16" fmla="*/ 7936982 w 66"/>
                  <a:gd name="T17" fmla="*/ 14555029 h 80"/>
                  <a:gd name="T18" fmla="*/ 9190118 w 66"/>
                  <a:gd name="T19" fmla="*/ 19406705 h 80"/>
                  <a:gd name="T20" fmla="*/ 10234397 w 66"/>
                  <a:gd name="T21" fmla="*/ 24258381 h 80"/>
                  <a:gd name="T22" fmla="*/ 11696389 w 66"/>
                  <a:gd name="T23" fmla="*/ 28031499 h 80"/>
                  <a:gd name="T24" fmla="*/ 12740668 w 66"/>
                  <a:gd name="T25" fmla="*/ 32344263 h 80"/>
                  <a:gd name="T26" fmla="*/ 12949524 w 66"/>
                  <a:gd name="T27" fmla="*/ 35039557 h 80"/>
                  <a:gd name="T28" fmla="*/ 13576092 w 66"/>
                  <a:gd name="T29" fmla="*/ 37195939 h 80"/>
                  <a:gd name="T30" fmla="*/ 13784948 w 66"/>
                  <a:gd name="T31" fmla="*/ 40430146 h 80"/>
                  <a:gd name="T32" fmla="*/ 13784948 w 66"/>
                  <a:gd name="T33" fmla="*/ 43125440 h 80"/>
                  <a:gd name="T34" fmla="*/ 0 w 66"/>
                  <a:gd name="T35" fmla="*/ 9703352 h 80"/>
                  <a:gd name="T36" fmla="*/ 0 w 66"/>
                  <a:gd name="T37" fmla="*/ 0 h 8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66" h="80">
                    <a:moveTo>
                      <a:pt x="0" y="0"/>
                    </a:moveTo>
                    <a:lnTo>
                      <a:pt x="10" y="0"/>
                    </a:lnTo>
                    <a:lnTo>
                      <a:pt x="18" y="0"/>
                    </a:lnTo>
                    <a:lnTo>
                      <a:pt x="26" y="0"/>
                    </a:lnTo>
                    <a:lnTo>
                      <a:pt x="33" y="0"/>
                    </a:lnTo>
                    <a:lnTo>
                      <a:pt x="33" y="7"/>
                    </a:lnTo>
                    <a:lnTo>
                      <a:pt x="34" y="14"/>
                    </a:lnTo>
                    <a:lnTo>
                      <a:pt x="36" y="21"/>
                    </a:lnTo>
                    <a:lnTo>
                      <a:pt x="38" y="27"/>
                    </a:lnTo>
                    <a:lnTo>
                      <a:pt x="44" y="36"/>
                    </a:lnTo>
                    <a:lnTo>
                      <a:pt x="49" y="45"/>
                    </a:lnTo>
                    <a:lnTo>
                      <a:pt x="56" y="52"/>
                    </a:lnTo>
                    <a:lnTo>
                      <a:pt x="61" y="60"/>
                    </a:lnTo>
                    <a:lnTo>
                      <a:pt x="62" y="65"/>
                    </a:lnTo>
                    <a:lnTo>
                      <a:pt x="65" y="69"/>
                    </a:lnTo>
                    <a:lnTo>
                      <a:pt x="66" y="75"/>
                    </a:lnTo>
                    <a:lnTo>
                      <a:pt x="66" y="80"/>
                    </a:lnTo>
                    <a:lnTo>
                      <a:pt x="0" y="18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1" name="Freeform 326">
                <a:extLst>
                  <a:ext uri="{FF2B5EF4-FFF2-40B4-BE49-F238E27FC236}">
                    <a16:creationId xmlns:a16="http://schemas.microsoft.com/office/drawing/2014/main" id="{B28ED75A-81B5-4EED-913D-3F8B9B4F1CEC}"/>
                  </a:ext>
                </a:extLst>
              </p:cNvPr>
              <p:cNvSpPr>
                <a:spLocks/>
              </p:cNvSpPr>
              <p:nvPr>
                <p:custDataLst>
                  <p:tags r:id="rId229"/>
                </p:custDataLst>
              </p:nvPr>
            </p:nvSpPr>
            <p:spPr bwMode="auto">
              <a:xfrm>
                <a:off x="6985059" y="4531710"/>
                <a:ext cx="9050" cy="65046"/>
              </a:xfrm>
              <a:custGeom>
                <a:avLst/>
                <a:gdLst>
                  <a:gd name="T0" fmla="*/ 3150592 w 20"/>
                  <a:gd name="T1" fmla="*/ 68044219 h 48"/>
                  <a:gd name="T2" fmla="*/ 3150592 w 20"/>
                  <a:gd name="T3" fmla="*/ 55285481 h 48"/>
                  <a:gd name="T4" fmla="*/ 2993023 w 20"/>
                  <a:gd name="T5" fmla="*/ 45362813 h 48"/>
                  <a:gd name="T6" fmla="*/ 2520315 w 20"/>
                  <a:gd name="T7" fmla="*/ 35440144 h 48"/>
                  <a:gd name="T8" fmla="*/ 2205573 w 20"/>
                  <a:gd name="T9" fmla="*/ 26934319 h 48"/>
                  <a:gd name="T10" fmla="*/ 1890435 w 20"/>
                  <a:gd name="T11" fmla="*/ 19846528 h 48"/>
                  <a:gd name="T12" fmla="*/ 1417727 w 20"/>
                  <a:gd name="T13" fmla="*/ 12758738 h 48"/>
                  <a:gd name="T14" fmla="*/ 630277 w 20"/>
                  <a:gd name="T15" fmla="*/ 5670947 h 48"/>
                  <a:gd name="T16" fmla="*/ 0 w 20"/>
                  <a:gd name="T17" fmla="*/ 0 h 48"/>
                  <a:gd name="T18" fmla="*/ 0 w 20"/>
                  <a:gd name="T19" fmla="*/ 11340703 h 48"/>
                  <a:gd name="T20" fmla="*/ 315139 w 20"/>
                  <a:gd name="T21" fmla="*/ 24099441 h 48"/>
                  <a:gd name="T22" fmla="*/ 630277 w 20"/>
                  <a:gd name="T23" fmla="*/ 34022109 h 48"/>
                  <a:gd name="T24" fmla="*/ 1260158 w 20"/>
                  <a:gd name="T25" fmla="*/ 43944778 h 48"/>
                  <a:gd name="T26" fmla="*/ 2205573 w 20"/>
                  <a:gd name="T27" fmla="*/ 58121550 h 48"/>
                  <a:gd name="T28" fmla="*/ 3150592 w 20"/>
                  <a:gd name="T29" fmla="*/ 68044219 h 4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0" h="48">
                    <a:moveTo>
                      <a:pt x="20" y="48"/>
                    </a:moveTo>
                    <a:lnTo>
                      <a:pt x="20" y="39"/>
                    </a:lnTo>
                    <a:lnTo>
                      <a:pt x="19" y="32"/>
                    </a:lnTo>
                    <a:lnTo>
                      <a:pt x="16" y="25"/>
                    </a:lnTo>
                    <a:lnTo>
                      <a:pt x="14" y="19"/>
                    </a:lnTo>
                    <a:lnTo>
                      <a:pt x="12" y="14"/>
                    </a:lnTo>
                    <a:lnTo>
                      <a:pt x="9" y="9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8"/>
                    </a:lnTo>
                    <a:lnTo>
                      <a:pt x="2" y="17"/>
                    </a:lnTo>
                    <a:lnTo>
                      <a:pt x="4" y="24"/>
                    </a:lnTo>
                    <a:lnTo>
                      <a:pt x="8" y="31"/>
                    </a:lnTo>
                    <a:lnTo>
                      <a:pt x="14" y="41"/>
                    </a:lnTo>
                    <a:lnTo>
                      <a:pt x="20" y="4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2" name="Line 327" descr="Horizontal dunkel">
                <a:extLst>
                  <a:ext uri="{FF2B5EF4-FFF2-40B4-BE49-F238E27FC236}">
                    <a16:creationId xmlns:a16="http://schemas.microsoft.com/office/drawing/2014/main" id="{4171F54C-4B6F-421A-887E-AAB4BE2EE5E9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30"/>
                </p:custDataLst>
              </p:nvPr>
            </p:nvSpPr>
            <p:spPr bwMode="auto">
              <a:xfrm>
                <a:off x="7015826" y="4572144"/>
                <a:ext cx="5429" cy="7032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3" name="Freeform 328">
                <a:extLst>
                  <a:ext uri="{FF2B5EF4-FFF2-40B4-BE49-F238E27FC236}">
                    <a16:creationId xmlns:a16="http://schemas.microsoft.com/office/drawing/2014/main" id="{DC0A9064-1A60-4873-8E1D-84148A6F3FBF}"/>
                  </a:ext>
                </a:extLst>
              </p:cNvPr>
              <p:cNvSpPr>
                <a:spLocks/>
              </p:cNvSpPr>
              <p:nvPr>
                <p:custDataLst>
                  <p:tags r:id="rId231"/>
                </p:custDataLst>
              </p:nvPr>
            </p:nvSpPr>
            <p:spPr bwMode="auto">
              <a:xfrm>
                <a:off x="7010396" y="4572144"/>
                <a:ext cx="10859" cy="65044"/>
              </a:xfrm>
              <a:custGeom>
                <a:avLst/>
                <a:gdLst>
                  <a:gd name="T0" fmla="*/ 3150592 w 20"/>
                  <a:gd name="T1" fmla="*/ 272176875 h 12"/>
                  <a:gd name="T2" fmla="*/ 3150592 w 20"/>
                  <a:gd name="T3" fmla="*/ 181451250 h 12"/>
                  <a:gd name="T4" fmla="*/ 2835454 w 20"/>
                  <a:gd name="T5" fmla="*/ 113409413 h 12"/>
                  <a:gd name="T6" fmla="*/ 2363143 w 20"/>
                  <a:gd name="T7" fmla="*/ 68046600 h 12"/>
                  <a:gd name="T8" fmla="*/ 2048004 w 20"/>
                  <a:gd name="T9" fmla="*/ 45362813 h 12"/>
                  <a:gd name="T10" fmla="*/ 1102588 w 20"/>
                  <a:gd name="T11" fmla="*/ 0 h 12"/>
                  <a:gd name="T12" fmla="*/ 0 w 20"/>
                  <a:gd name="T13" fmla="*/ 0 h 1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0" h="12">
                    <a:moveTo>
                      <a:pt x="20" y="12"/>
                    </a:moveTo>
                    <a:lnTo>
                      <a:pt x="20" y="8"/>
                    </a:lnTo>
                    <a:lnTo>
                      <a:pt x="18" y="5"/>
                    </a:lnTo>
                    <a:lnTo>
                      <a:pt x="15" y="3"/>
                    </a:lnTo>
                    <a:lnTo>
                      <a:pt x="13" y="2"/>
                    </a:lnTo>
                    <a:lnTo>
                      <a:pt x="7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4" name="Freeform 329">
                <a:extLst>
                  <a:ext uri="{FF2B5EF4-FFF2-40B4-BE49-F238E27FC236}">
                    <a16:creationId xmlns:a16="http://schemas.microsoft.com/office/drawing/2014/main" id="{AFA2DF28-584F-413B-B618-8D388666A54E}"/>
                  </a:ext>
                </a:extLst>
              </p:cNvPr>
              <p:cNvSpPr>
                <a:spLocks/>
              </p:cNvSpPr>
              <p:nvPr>
                <p:custDataLst>
                  <p:tags r:id="rId232"/>
                </p:custDataLst>
              </p:nvPr>
            </p:nvSpPr>
            <p:spPr bwMode="auto">
              <a:xfrm>
                <a:off x="6892758" y="4398104"/>
                <a:ext cx="27147" cy="63287"/>
              </a:xfrm>
              <a:custGeom>
                <a:avLst/>
                <a:gdLst>
                  <a:gd name="T0" fmla="*/ 1230762 w 53"/>
                  <a:gd name="T1" fmla="*/ 0 h 30"/>
                  <a:gd name="T2" fmla="*/ 1934414 w 53"/>
                  <a:gd name="T3" fmla="*/ 14516100 h 30"/>
                  <a:gd name="T4" fmla="*/ 4044531 w 53"/>
                  <a:gd name="T5" fmla="*/ 47177325 h 30"/>
                  <a:gd name="T6" fmla="*/ 6506474 w 53"/>
                  <a:gd name="T7" fmla="*/ 83467575 h 30"/>
                  <a:gd name="T8" fmla="*/ 8089061 w 53"/>
                  <a:gd name="T9" fmla="*/ 108870750 h 30"/>
                  <a:gd name="T10" fmla="*/ 8616591 w 53"/>
                  <a:gd name="T11" fmla="*/ 65322450 h 30"/>
                  <a:gd name="T12" fmla="*/ 9319823 w 53"/>
                  <a:gd name="T13" fmla="*/ 21774150 h 30"/>
                  <a:gd name="T14" fmla="*/ 6506474 w 53"/>
                  <a:gd name="T15" fmla="*/ 18145125 h 30"/>
                  <a:gd name="T16" fmla="*/ 4572060 w 53"/>
                  <a:gd name="T17" fmla="*/ 10887075 h 30"/>
                  <a:gd name="T18" fmla="*/ 3692705 w 53"/>
                  <a:gd name="T19" fmla="*/ 10887075 h 30"/>
                  <a:gd name="T20" fmla="*/ 2637646 w 53"/>
                  <a:gd name="T21" fmla="*/ 10887075 h 30"/>
                  <a:gd name="T22" fmla="*/ 1582588 w 53"/>
                  <a:gd name="T23" fmla="*/ 14516100 h 30"/>
                  <a:gd name="T24" fmla="*/ 0 w 53"/>
                  <a:gd name="T25" fmla="*/ 21774150 h 30"/>
                  <a:gd name="T26" fmla="*/ 1230762 w 53"/>
                  <a:gd name="T27" fmla="*/ 0 h 30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0" t="0" r="r" b="b"/>
                <a:pathLst>
                  <a:path w="53" h="30">
                    <a:moveTo>
                      <a:pt x="7" y="0"/>
                    </a:moveTo>
                    <a:lnTo>
                      <a:pt x="11" y="4"/>
                    </a:lnTo>
                    <a:lnTo>
                      <a:pt x="23" y="13"/>
                    </a:lnTo>
                    <a:lnTo>
                      <a:pt x="37" y="23"/>
                    </a:lnTo>
                    <a:lnTo>
                      <a:pt x="46" y="30"/>
                    </a:lnTo>
                    <a:lnTo>
                      <a:pt x="49" y="18"/>
                    </a:lnTo>
                    <a:lnTo>
                      <a:pt x="53" y="6"/>
                    </a:lnTo>
                    <a:lnTo>
                      <a:pt x="37" y="5"/>
                    </a:lnTo>
                    <a:lnTo>
                      <a:pt x="26" y="3"/>
                    </a:lnTo>
                    <a:lnTo>
                      <a:pt x="21" y="3"/>
                    </a:lnTo>
                    <a:lnTo>
                      <a:pt x="15" y="3"/>
                    </a:lnTo>
                    <a:lnTo>
                      <a:pt x="9" y="4"/>
                    </a:lnTo>
                    <a:lnTo>
                      <a:pt x="0" y="6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5" name="Freeform 330">
                <a:extLst>
                  <a:ext uri="{FF2B5EF4-FFF2-40B4-BE49-F238E27FC236}">
                    <a16:creationId xmlns:a16="http://schemas.microsoft.com/office/drawing/2014/main" id="{5C3EED6E-4718-438C-A6C7-650835526BC0}"/>
                  </a:ext>
                </a:extLst>
              </p:cNvPr>
              <p:cNvSpPr>
                <a:spLocks/>
              </p:cNvSpPr>
              <p:nvPr>
                <p:custDataLst>
                  <p:tags r:id="rId233"/>
                </p:custDataLst>
              </p:nvPr>
            </p:nvSpPr>
            <p:spPr bwMode="auto">
              <a:xfrm>
                <a:off x="7529817" y="4805954"/>
                <a:ext cx="12668" cy="65046"/>
              </a:xfrm>
              <a:custGeom>
                <a:avLst/>
                <a:gdLst>
                  <a:gd name="T0" fmla="*/ 0 w 33"/>
                  <a:gd name="T1" fmla="*/ 20391489 h 31"/>
                  <a:gd name="T2" fmla="*/ 453572 w 33"/>
                  <a:gd name="T3" fmla="*/ 71372976 h 31"/>
                  <a:gd name="T4" fmla="*/ 793666 w 33"/>
                  <a:gd name="T5" fmla="*/ 105358790 h 31"/>
                  <a:gd name="T6" fmla="*/ 2494476 w 33"/>
                  <a:gd name="T7" fmla="*/ 105358790 h 31"/>
                  <a:gd name="T8" fmla="*/ 3741713 w 33"/>
                  <a:gd name="T9" fmla="*/ 105358790 h 31"/>
                  <a:gd name="T10" fmla="*/ 3741713 w 33"/>
                  <a:gd name="T11" fmla="*/ 0 h 31"/>
                  <a:gd name="T12" fmla="*/ 3061524 w 33"/>
                  <a:gd name="T13" fmla="*/ 0 h 31"/>
                  <a:gd name="T14" fmla="*/ 2154381 w 33"/>
                  <a:gd name="T15" fmla="*/ 0 h 31"/>
                  <a:gd name="T16" fmla="*/ 1133761 w 33"/>
                  <a:gd name="T17" fmla="*/ 0 h 31"/>
                  <a:gd name="T18" fmla="*/ 0 w 33"/>
                  <a:gd name="T19" fmla="*/ 0 h 31"/>
                  <a:gd name="T20" fmla="*/ 0 w 33"/>
                  <a:gd name="T21" fmla="*/ 20391489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6"/>
                    </a:moveTo>
                    <a:lnTo>
                      <a:pt x="4" y="21"/>
                    </a:lnTo>
                    <a:lnTo>
                      <a:pt x="7" y="31"/>
                    </a:lnTo>
                    <a:lnTo>
                      <a:pt x="22" y="31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7" y="0"/>
                    </a:lnTo>
                    <a:lnTo>
                      <a:pt x="19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6" name="Freeform 331">
                <a:extLst>
                  <a:ext uri="{FF2B5EF4-FFF2-40B4-BE49-F238E27FC236}">
                    <a16:creationId xmlns:a16="http://schemas.microsoft.com/office/drawing/2014/main" id="{D11E8F0C-659E-4A45-B752-436808414913}"/>
                  </a:ext>
                </a:extLst>
              </p:cNvPr>
              <p:cNvSpPr>
                <a:spLocks/>
              </p:cNvSpPr>
              <p:nvPr>
                <p:custDataLst>
                  <p:tags r:id="rId234"/>
                </p:custDataLst>
              </p:nvPr>
            </p:nvSpPr>
            <p:spPr bwMode="auto">
              <a:xfrm>
                <a:off x="8152397" y="4758489"/>
                <a:ext cx="34386" cy="61528"/>
              </a:xfrm>
              <a:custGeom>
                <a:avLst/>
                <a:gdLst>
                  <a:gd name="T0" fmla="*/ 3672107 w 65"/>
                  <a:gd name="T1" fmla="*/ 45400691 h 68"/>
                  <a:gd name="T2" fmla="*/ 3092255 w 65"/>
                  <a:gd name="T3" fmla="*/ 45400691 h 68"/>
                  <a:gd name="T4" fmla="*/ 2705833 w 65"/>
                  <a:gd name="T5" fmla="*/ 44065545 h 68"/>
                  <a:gd name="T6" fmla="*/ 2125980 w 65"/>
                  <a:gd name="T7" fmla="*/ 42730398 h 68"/>
                  <a:gd name="T8" fmla="*/ 1352697 w 65"/>
                  <a:gd name="T9" fmla="*/ 40726862 h 68"/>
                  <a:gd name="T10" fmla="*/ 772844 w 65"/>
                  <a:gd name="T11" fmla="*/ 39391716 h 68"/>
                  <a:gd name="T12" fmla="*/ 386422 w 65"/>
                  <a:gd name="T13" fmla="*/ 36721423 h 68"/>
                  <a:gd name="T14" fmla="*/ 0 w 65"/>
                  <a:gd name="T15" fmla="*/ 34717887 h 68"/>
                  <a:gd name="T16" fmla="*/ 0 w 65"/>
                  <a:gd name="T17" fmla="*/ 32715168 h 68"/>
                  <a:gd name="T18" fmla="*/ 0 w 65"/>
                  <a:gd name="T19" fmla="*/ 25371046 h 68"/>
                  <a:gd name="T20" fmla="*/ 386422 w 65"/>
                  <a:gd name="T21" fmla="*/ 19362071 h 68"/>
                  <a:gd name="T22" fmla="*/ 966275 w 65"/>
                  <a:gd name="T23" fmla="*/ 14020669 h 68"/>
                  <a:gd name="T24" fmla="*/ 1739558 w 65"/>
                  <a:gd name="T25" fmla="*/ 9346841 h 68"/>
                  <a:gd name="T26" fmla="*/ 2898824 w 65"/>
                  <a:gd name="T27" fmla="*/ 5341402 h 68"/>
                  <a:gd name="T28" fmla="*/ 4251960 w 65"/>
                  <a:gd name="T29" fmla="*/ 2670292 h 68"/>
                  <a:gd name="T30" fmla="*/ 5797648 w 65"/>
                  <a:gd name="T31" fmla="*/ 1335146 h 68"/>
                  <a:gd name="T32" fmla="*/ 7537206 w 65"/>
                  <a:gd name="T33" fmla="*/ 0 h 68"/>
                  <a:gd name="T34" fmla="*/ 10049608 w 65"/>
                  <a:gd name="T35" fmla="*/ 0 h 68"/>
                  <a:gd name="T36" fmla="*/ 12562010 w 65"/>
                  <a:gd name="T37" fmla="*/ 0 h 68"/>
                  <a:gd name="T38" fmla="*/ 12562010 w 65"/>
                  <a:gd name="T39" fmla="*/ 28708912 h 68"/>
                  <a:gd name="T40" fmla="*/ 10822452 w 65"/>
                  <a:gd name="T41" fmla="*/ 34717887 h 68"/>
                  <a:gd name="T42" fmla="*/ 8696911 w 65"/>
                  <a:gd name="T43" fmla="*/ 40726862 h 68"/>
                  <a:gd name="T44" fmla="*/ 7537206 w 65"/>
                  <a:gd name="T45" fmla="*/ 42730398 h 68"/>
                  <a:gd name="T46" fmla="*/ 6570931 w 65"/>
                  <a:gd name="T47" fmla="*/ 44065545 h 68"/>
                  <a:gd name="T48" fmla="*/ 5218235 w 65"/>
                  <a:gd name="T49" fmla="*/ 45400691 h 68"/>
                  <a:gd name="T50" fmla="*/ 3672107 w 65"/>
                  <a:gd name="T51" fmla="*/ 45400691 h 68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65" h="68">
                    <a:moveTo>
                      <a:pt x="19" y="68"/>
                    </a:moveTo>
                    <a:lnTo>
                      <a:pt x="16" y="68"/>
                    </a:lnTo>
                    <a:lnTo>
                      <a:pt x="14" y="66"/>
                    </a:lnTo>
                    <a:lnTo>
                      <a:pt x="11" y="64"/>
                    </a:lnTo>
                    <a:lnTo>
                      <a:pt x="7" y="61"/>
                    </a:lnTo>
                    <a:lnTo>
                      <a:pt x="4" y="59"/>
                    </a:lnTo>
                    <a:lnTo>
                      <a:pt x="2" y="55"/>
                    </a:lnTo>
                    <a:lnTo>
                      <a:pt x="0" y="52"/>
                    </a:lnTo>
                    <a:lnTo>
                      <a:pt x="0" y="49"/>
                    </a:lnTo>
                    <a:lnTo>
                      <a:pt x="0" y="38"/>
                    </a:lnTo>
                    <a:lnTo>
                      <a:pt x="2" y="29"/>
                    </a:lnTo>
                    <a:lnTo>
                      <a:pt x="5" y="21"/>
                    </a:lnTo>
                    <a:lnTo>
                      <a:pt x="9" y="14"/>
                    </a:lnTo>
                    <a:lnTo>
                      <a:pt x="15" y="8"/>
                    </a:lnTo>
                    <a:lnTo>
                      <a:pt x="22" y="4"/>
                    </a:lnTo>
                    <a:lnTo>
                      <a:pt x="30" y="2"/>
                    </a:lnTo>
                    <a:lnTo>
                      <a:pt x="39" y="0"/>
                    </a:lnTo>
                    <a:lnTo>
                      <a:pt x="52" y="0"/>
                    </a:lnTo>
                    <a:lnTo>
                      <a:pt x="65" y="0"/>
                    </a:lnTo>
                    <a:lnTo>
                      <a:pt x="65" y="43"/>
                    </a:lnTo>
                    <a:lnTo>
                      <a:pt x="56" y="52"/>
                    </a:lnTo>
                    <a:lnTo>
                      <a:pt x="45" y="61"/>
                    </a:lnTo>
                    <a:lnTo>
                      <a:pt x="39" y="64"/>
                    </a:lnTo>
                    <a:lnTo>
                      <a:pt x="34" y="66"/>
                    </a:lnTo>
                    <a:lnTo>
                      <a:pt x="27" y="68"/>
                    </a:lnTo>
                    <a:lnTo>
                      <a:pt x="19" y="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7" name="Freeform 332">
                <a:extLst>
                  <a:ext uri="{FF2B5EF4-FFF2-40B4-BE49-F238E27FC236}">
                    <a16:creationId xmlns:a16="http://schemas.microsoft.com/office/drawing/2014/main" id="{81D6DD1B-4FD2-4D12-A545-3DB0F086F892}"/>
                  </a:ext>
                </a:extLst>
              </p:cNvPr>
              <p:cNvSpPr>
                <a:spLocks/>
              </p:cNvSpPr>
              <p:nvPr>
                <p:custDataLst>
                  <p:tags r:id="rId235"/>
                </p:custDataLst>
              </p:nvPr>
            </p:nvSpPr>
            <p:spPr bwMode="auto">
              <a:xfrm>
                <a:off x="6871040" y="4289110"/>
                <a:ext cx="331198" cy="413124"/>
              </a:xfrm>
              <a:custGeom>
                <a:avLst/>
                <a:gdLst>
                  <a:gd name="T0" fmla="*/ 96930602 w 625"/>
                  <a:gd name="T1" fmla="*/ 94910485 h 694"/>
                  <a:gd name="T2" fmla="*/ 93455236 w 625"/>
                  <a:gd name="T3" fmla="*/ 96037144 h 694"/>
                  <a:gd name="T4" fmla="*/ 92489832 w 625"/>
                  <a:gd name="T5" fmla="*/ 107583933 h 694"/>
                  <a:gd name="T6" fmla="*/ 99441004 w 625"/>
                  <a:gd name="T7" fmla="*/ 113779757 h 694"/>
                  <a:gd name="T8" fmla="*/ 103109715 w 625"/>
                  <a:gd name="T9" fmla="*/ 114061555 h 694"/>
                  <a:gd name="T10" fmla="*/ 106199272 w 625"/>
                  <a:gd name="T11" fmla="*/ 119412519 h 694"/>
                  <a:gd name="T12" fmla="*/ 108130080 w 625"/>
                  <a:gd name="T13" fmla="*/ 129269585 h 694"/>
                  <a:gd name="T14" fmla="*/ 110447137 w 625"/>
                  <a:gd name="T15" fmla="*/ 133494421 h 694"/>
                  <a:gd name="T16" fmla="*/ 113536254 w 625"/>
                  <a:gd name="T17" fmla="*/ 136029005 h 694"/>
                  <a:gd name="T18" fmla="*/ 118556618 w 625"/>
                  <a:gd name="T19" fmla="*/ 137155663 h 694"/>
                  <a:gd name="T20" fmla="*/ 120680771 w 625"/>
                  <a:gd name="T21" fmla="*/ 142224830 h 694"/>
                  <a:gd name="T22" fmla="*/ 120680771 w 625"/>
                  <a:gd name="T23" fmla="*/ 151800630 h 694"/>
                  <a:gd name="T24" fmla="*/ 119329117 w 625"/>
                  <a:gd name="T25" fmla="*/ 169825040 h 694"/>
                  <a:gd name="T26" fmla="*/ 117977464 w 625"/>
                  <a:gd name="T27" fmla="*/ 189257907 h 694"/>
                  <a:gd name="T28" fmla="*/ 108516329 w 625"/>
                  <a:gd name="T29" fmla="*/ 195171935 h 694"/>
                  <a:gd name="T30" fmla="*/ 104075119 w 625"/>
                  <a:gd name="T31" fmla="*/ 195171935 h 694"/>
                  <a:gd name="T32" fmla="*/ 76077086 w 625"/>
                  <a:gd name="T33" fmla="*/ 158841316 h 694"/>
                  <a:gd name="T34" fmla="*/ 76656240 w 625"/>
                  <a:gd name="T35" fmla="*/ 155461871 h 694"/>
                  <a:gd name="T36" fmla="*/ 76077086 w 625"/>
                  <a:gd name="T37" fmla="*/ 151800630 h 694"/>
                  <a:gd name="T38" fmla="*/ 65264297 w 625"/>
                  <a:gd name="T39" fmla="*/ 137437460 h 694"/>
                  <a:gd name="T40" fmla="*/ 58892279 w 625"/>
                  <a:gd name="T41" fmla="*/ 127579863 h 694"/>
                  <a:gd name="T42" fmla="*/ 56575222 w 625"/>
                  <a:gd name="T43" fmla="*/ 118004594 h 694"/>
                  <a:gd name="T44" fmla="*/ 56188973 w 625"/>
                  <a:gd name="T45" fmla="*/ 107302666 h 694"/>
                  <a:gd name="T46" fmla="*/ 55030224 w 625"/>
                  <a:gd name="T47" fmla="*/ 101388108 h 694"/>
                  <a:gd name="T48" fmla="*/ 51747763 w 625"/>
                  <a:gd name="T49" fmla="*/ 96318941 h 694"/>
                  <a:gd name="T50" fmla="*/ 46534493 w 625"/>
                  <a:gd name="T51" fmla="*/ 87306205 h 694"/>
                  <a:gd name="T52" fmla="*/ 43252032 w 625"/>
                  <a:gd name="T53" fmla="*/ 75759416 h 694"/>
                  <a:gd name="T54" fmla="*/ 41127879 w 625"/>
                  <a:gd name="T55" fmla="*/ 67029008 h 694"/>
                  <a:gd name="T56" fmla="*/ 36687109 w 625"/>
                  <a:gd name="T57" fmla="*/ 59706525 h 694"/>
                  <a:gd name="T58" fmla="*/ 28963438 w 625"/>
                  <a:gd name="T59" fmla="*/ 48159205 h 694"/>
                  <a:gd name="T60" fmla="*/ 26260131 w 625"/>
                  <a:gd name="T61" fmla="*/ 41118519 h 694"/>
                  <a:gd name="T62" fmla="*/ 21626016 w 625"/>
                  <a:gd name="T63" fmla="*/ 37175480 h 694"/>
                  <a:gd name="T64" fmla="*/ 15447343 w 625"/>
                  <a:gd name="T65" fmla="*/ 31824516 h 694"/>
                  <a:gd name="T66" fmla="*/ 9461574 w 625"/>
                  <a:gd name="T67" fmla="*/ 23938969 h 694"/>
                  <a:gd name="T68" fmla="*/ 4441210 w 625"/>
                  <a:gd name="T69" fmla="*/ 14363169 h 694"/>
                  <a:gd name="T70" fmla="*/ 965404 w 625"/>
                  <a:gd name="T71" fmla="*/ 5350964 h 694"/>
                  <a:gd name="T72" fmla="*/ 1930808 w 625"/>
                  <a:gd name="T73" fmla="*/ 1126658 h 694"/>
                  <a:gd name="T74" fmla="*/ 7144517 w 625"/>
                  <a:gd name="T75" fmla="*/ 3661242 h 694"/>
                  <a:gd name="T76" fmla="*/ 16219402 w 625"/>
                  <a:gd name="T77" fmla="*/ 4506103 h 694"/>
                  <a:gd name="T78" fmla="*/ 22398515 w 625"/>
                  <a:gd name="T79" fmla="*/ 5632761 h 694"/>
                  <a:gd name="T80" fmla="*/ 26646380 w 625"/>
                  <a:gd name="T81" fmla="*/ 7604281 h 694"/>
                  <a:gd name="T82" fmla="*/ 30121747 w 625"/>
                  <a:gd name="T83" fmla="*/ 11828586 h 694"/>
                  <a:gd name="T84" fmla="*/ 39390416 w 625"/>
                  <a:gd name="T85" fmla="*/ 30697858 h 694"/>
                  <a:gd name="T86" fmla="*/ 49044456 w 625"/>
                  <a:gd name="T87" fmla="*/ 45906419 h 694"/>
                  <a:gd name="T88" fmla="*/ 57733531 w 625"/>
                  <a:gd name="T89" fmla="*/ 56890144 h 694"/>
                  <a:gd name="T90" fmla="*/ 63526394 w 625"/>
                  <a:gd name="T91" fmla="*/ 61677513 h 694"/>
                  <a:gd name="T92" fmla="*/ 70670472 w 625"/>
                  <a:gd name="T93" fmla="*/ 63930830 h 694"/>
                  <a:gd name="T94" fmla="*/ 74918777 w 625"/>
                  <a:gd name="T95" fmla="*/ 64775691 h 694"/>
                  <a:gd name="T96" fmla="*/ 77428739 w 625"/>
                  <a:gd name="T97" fmla="*/ 67873869 h 694"/>
                  <a:gd name="T98" fmla="*/ 80324951 w 625"/>
                  <a:gd name="T99" fmla="*/ 73224833 h 694"/>
                  <a:gd name="T100" fmla="*/ 82449103 w 625"/>
                  <a:gd name="T101" fmla="*/ 74632758 h 694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625" h="694">
                    <a:moveTo>
                      <a:pt x="433" y="265"/>
                    </a:moveTo>
                    <a:lnTo>
                      <a:pt x="512" y="333"/>
                    </a:lnTo>
                    <a:lnTo>
                      <a:pt x="502" y="337"/>
                    </a:lnTo>
                    <a:lnTo>
                      <a:pt x="493" y="341"/>
                    </a:lnTo>
                    <a:lnTo>
                      <a:pt x="489" y="341"/>
                    </a:lnTo>
                    <a:lnTo>
                      <a:pt x="484" y="341"/>
                    </a:lnTo>
                    <a:lnTo>
                      <a:pt x="481" y="341"/>
                    </a:lnTo>
                    <a:lnTo>
                      <a:pt x="479" y="339"/>
                    </a:lnTo>
                    <a:lnTo>
                      <a:pt x="479" y="382"/>
                    </a:lnTo>
                    <a:lnTo>
                      <a:pt x="493" y="392"/>
                    </a:lnTo>
                    <a:lnTo>
                      <a:pt x="507" y="402"/>
                    </a:lnTo>
                    <a:lnTo>
                      <a:pt x="515" y="404"/>
                    </a:lnTo>
                    <a:lnTo>
                      <a:pt x="524" y="406"/>
                    </a:lnTo>
                    <a:lnTo>
                      <a:pt x="528" y="405"/>
                    </a:lnTo>
                    <a:lnTo>
                      <a:pt x="534" y="405"/>
                    </a:lnTo>
                    <a:lnTo>
                      <a:pt x="539" y="403"/>
                    </a:lnTo>
                    <a:lnTo>
                      <a:pt x="545" y="402"/>
                    </a:lnTo>
                    <a:lnTo>
                      <a:pt x="550" y="424"/>
                    </a:lnTo>
                    <a:lnTo>
                      <a:pt x="554" y="443"/>
                    </a:lnTo>
                    <a:lnTo>
                      <a:pt x="558" y="451"/>
                    </a:lnTo>
                    <a:lnTo>
                      <a:pt x="560" y="459"/>
                    </a:lnTo>
                    <a:lnTo>
                      <a:pt x="563" y="465"/>
                    </a:lnTo>
                    <a:lnTo>
                      <a:pt x="568" y="470"/>
                    </a:lnTo>
                    <a:lnTo>
                      <a:pt x="572" y="474"/>
                    </a:lnTo>
                    <a:lnTo>
                      <a:pt x="576" y="478"/>
                    </a:lnTo>
                    <a:lnTo>
                      <a:pt x="582" y="481"/>
                    </a:lnTo>
                    <a:lnTo>
                      <a:pt x="588" y="483"/>
                    </a:lnTo>
                    <a:lnTo>
                      <a:pt x="596" y="485"/>
                    </a:lnTo>
                    <a:lnTo>
                      <a:pt x="605" y="486"/>
                    </a:lnTo>
                    <a:lnTo>
                      <a:pt x="614" y="487"/>
                    </a:lnTo>
                    <a:lnTo>
                      <a:pt x="625" y="487"/>
                    </a:lnTo>
                    <a:lnTo>
                      <a:pt x="625" y="496"/>
                    </a:lnTo>
                    <a:lnTo>
                      <a:pt x="625" y="505"/>
                    </a:lnTo>
                    <a:lnTo>
                      <a:pt x="625" y="515"/>
                    </a:lnTo>
                    <a:lnTo>
                      <a:pt x="625" y="525"/>
                    </a:lnTo>
                    <a:lnTo>
                      <a:pt x="625" y="539"/>
                    </a:lnTo>
                    <a:lnTo>
                      <a:pt x="622" y="557"/>
                    </a:lnTo>
                    <a:lnTo>
                      <a:pt x="620" y="579"/>
                    </a:lnTo>
                    <a:lnTo>
                      <a:pt x="618" y="603"/>
                    </a:lnTo>
                    <a:lnTo>
                      <a:pt x="616" y="628"/>
                    </a:lnTo>
                    <a:lnTo>
                      <a:pt x="614" y="651"/>
                    </a:lnTo>
                    <a:lnTo>
                      <a:pt x="611" y="672"/>
                    </a:lnTo>
                    <a:lnTo>
                      <a:pt x="611" y="691"/>
                    </a:lnTo>
                    <a:lnTo>
                      <a:pt x="582" y="692"/>
                    </a:lnTo>
                    <a:lnTo>
                      <a:pt x="562" y="693"/>
                    </a:lnTo>
                    <a:lnTo>
                      <a:pt x="553" y="694"/>
                    </a:lnTo>
                    <a:lnTo>
                      <a:pt x="546" y="693"/>
                    </a:lnTo>
                    <a:lnTo>
                      <a:pt x="539" y="693"/>
                    </a:lnTo>
                    <a:lnTo>
                      <a:pt x="531" y="691"/>
                    </a:lnTo>
                    <a:lnTo>
                      <a:pt x="392" y="567"/>
                    </a:lnTo>
                    <a:lnTo>
                      <a:pt x="394" y="564"/>
                    </a:lnTo>
                    <a:lnTo>
                      <a:pt x="396" y="560"/>
                    </a:lnTo>
                    <a:lnTo>
                      <a:pt x="397" y="556"/>
                    </a:lnTo>
                    <a:lnTo>
                      <a:pt x="397" y="552"/>
                    </a:lnTo>
                    <a:lnTo>
                      <a:pt x="397" y="547"/>
                    </a:lnTo>
                    <a:lnTo>
                      <a:pt x="396" y="543"/>
                    </a:lnTo>
                    <a:lnTo>
                      <a:pt x="394" y="539"/>
                    </a:lnTo>
                    <a:lnTo>
                      <a:pt x="392" y="537"/>
                    </a:lnTo>
                    <a:lnTo>
                      <a:pt x="366" y="513"/>
                    </a:lnTo>
                    <a:lnTo>
                      <a:pt x="338" y="488"/>
                    </a:lnTo>
                    <a:lnTo>
                      <a:pt x="326" y="476"/>
                    </a:lnTo>
                    <a:lnTo>
                      <a:pt x="315" y="465"/>
                    </a:lnTo>
                    <a:lnTo>
                      <a:pt x="305" y="453"/>
                    </a:lnTo>
                    <a:lnTo>
                      <a:pt x="300" y="444"/>
                    </a:lnTo>
                    <a:lnTo>
                      <a:pt x="295" y="432"/>
                    </a:lnTo>
                    <a:lnTo>
                      <a:pt x="293" y="419"/>
                    </a:lnTo>
                    <a:lnTo>
                      <a:pt x="292" y="407"/>
                    </a:lnTo>
                    <a:lnTo>
                      <a:pt x="292" y="393"/>
                    </a:lnTo>
                    <a:lnTo>
                      <a:pt x="291" y="381"/>
                    </a:lnTo>
                    <a:lnTo>
                      <a:pt x="289" y="370"/>
                    </a:lnTo>
                    <a:lnTo>
                      <a:pt x="288" y="365"/>
                    </a:lnTo>
                    <a:lnTo>
                      <a:pt x="285" y="360"/>
                    </a:lnTo>
                    <a:lnTo>
                      <a:pt x="282" y="356"/>
                    </a:lnTo>
                    <a:lnTo>
                      <a:pt x="279" y="352"/>
                    </a:lnTo>
                    <a:lnTo>
                      <a:pt x="268" y="342"/>
                    </a:lnTo>
                    <a:lnTo>
                      <a:pt x="258" y="332"/>
                    </a:lnTo>
                    <a:lnTo>
                      <a:pt x="249" y="321"/>
                    </a:lnTo>
                    <a:lnTo>
                      <a:pt x="241" y="310"/>
                    </a:lnTo>
                    <a:lnTo>
                      <a:pt x="235" y="297"/>
                    </a:lnTo>
                    <a:lnTo>
                      <a:pt x="229" y="283"/>
                    </a:lnTo>
                    <a:lnTo>
                      <a:pt x="224" y="269"/>
                    </a:lnTo>
                    <a:lnTo>
                      <a:pt x="220" y="253"/>
                    </a:lnTo>
                    <a:lnTo>
                      <a:pt x="216" y="246"/>
                    </a:lnTo>
                    <a:lnTo>
                      <a:pt x="213" y="238"/>
                    </a:lnTo>
                    <a:lnTo>
                      <a:pt x="207" y="231"/>
                    </a:lnTo>
                    <a:lnTo>
                      <a:pt x="202" y="224"/>
                    </a:lnTo>
                    <a:lnTo>
                      <a:pt x="190" y="212"/>
                    </a:lnTo>
                    <a:lnTo>
                      <a:pt x="177" y="199"/>
                    </a:lnTo>
                    <a:lnTo>
                      <a:pt x="162" y="187"/>
                    </a:lnTo>
                    <a:lnTo>
                      <a:pt x="150" y="171"/>
                    </a:lnTo>
                    <a:lnTo>
                      <a:pt x="145" y="164"/>
                    </a:lnTo>
                    <a:lnTo>
                      <a:pt x="140" y="155"/>
                    </a:lnTo>
                    <a:lnTo>
                      <a:pt x="136" y="146"/>
                    </a:lnTo>
                    <a:lnTo>
                      <a:pt x="133" y="136"/>
                    </a:lnTo>
                    <a:lnTo>
                      <a:pt x="123" y="135"/>
                    </a:lnTo>
                    <a:lnTo>
                      <a:pt x="112" y="132"/>
                    </a:lnTo>
                    <a:lnTo>
                      <a:pt x="102" y="128"/>
                    </a:lnTo>
                    <a:lnTo>
                      <a:pt x="91" y="121"/>
                    </a:lnTo>
                    <a:lnTo>
                      <a:pt x="80" y="113"/>
                    </a:lnTo>
                    <a:lnTo>
                      <a:pt x="69" y="104"/>
                    </a:lnTo>
                    <a:lnTo>
                      <a:pt x="59" y="95"/>
                    </a:lnTo>
                    <a:lnTo>
                      <a:pt x="49" y="85"/>
                    </a:lnTo>
                    <a:lnTo>
                      <a:pt x="39" y="74"/>
                    </a:lnTo>
                    <a:lnTo>
                      <a:pt x="31" y="62"/>
                    </a:lnTo>
                    <a:lnTo>
                      <a:pt x="23" y="51"/>
                    </a:lnTo>
                    <a:lnTo>
                      <a:pt x="16" y="40"/>
                    </a:lnTo>
                    <a:lnTo>
                      <a:pt x="10" y="29"/>
                    </a:lnTo>
                    <a:lnTo>
                      <a:pt x="5" y="19"/>
                    </a:lnTo>
                    <a:lnTo>
                      <a:pt x="2" y="9"/>
                    </a:lnTo>
                    <a:lnTo>
                      <a:pt x="0" y="0"/>
                    </a:lnTo>
                    <a:lnTo>
                      <a:pt x="10" y="4"/>
                    </a:lnTo>
                    <a:lnTo>
                      <a:pt x="20" y="7"/>
                    </a:lnTo>
                    <a:lnTo>
                      <a:pt x="28" y="10"/>
                    </a:lnTo>
                    <a:lnTo>
                      <a:pt x="37" y="13"/>
                    </a:lnTo>
                    <a:lnTo>
                      <a:pt x="54" y="15"/>
                    </a:lnTo>
                    <a:lnTo>
                      <a:pt x="69" y="16"/>
                    </a:lnTo>
                    <a:lnTo>
                      <a:pt x="84" y="16"/>
                    </a:lnTo>
                    <a:lnTo>
                      <a:pt x="100" y="17"/>
                    </a:lnTo>
                    <a:lnTo>
                      <a:pt x="108" y="19"/>
                    </a:lnTo>
                    <a:lnTo>
                      <a:pt x="116" y="20"/>
                    </a:lnTo>
                    <a:lnTo>
                      <a:pt x="124" y="22"/>
                    </a:lnTo>
                    <a:lnTo>
                      <a:pt x="133" y="25"/>
                    </a:lnTo>
                    <a:lnTo>
                      <a:pt x="138" y="27"/>
                    </a:lnTo>
                    <a:lnTo>
                      <a:pt x="144" y="31"/>
                    </a:lnTo>
                    <a:lnTo>
                      <a:pt x="149" y="36"/>
                    </a:lnTo>
                    <a:lnTo>
                      <a:pt x="156" y="42"/>
                    </a:lnTo>
                    <a:lnTo>
                      <a:pt x="169" y="57"/>
                    </a:lnTo>
                    <a:lnTo>
                      <a:pt x="181" y="76"/>
                    </a:lnTo>
                    <a:lnTo>
                      <a:pt x="204" y="109"/>
                    </a:lnTo>
                    <a:lnTo>
                      <a:pt x="220" y="130"/>
                    </a:lnTo>
                    <a:lnTo>
                      <a:pt x="237" y="147"/>
                    </a:lnTo>
                    <a:lnTo>
                      <a:pt x="254" y="163"/>
                    </a:lnTo>
                    <a:lnTo>
                      <a:pt x="271" y="181"/>
                    </a:lnTo>
                    <a:lnTo>
                      <a:pt x="289" y="196"/>
                    </a:lnTo>
                    <a:lnTo>
                      <a:pt x="299" y="202"/>
                    </a:lnTo>
                    <a:lnTo>
                      <a:pt x="308" y="209"/>
                    </a:lnTo>
                    <a:lnTo>
                      <a:pt x="318" y="214"/>
                    </a:lnTo>
                    <a:lnTo>
                      <a:pt x="329" y="219"/>
                    </a:lnTo>
                    <a:lnTo>
                      <a:pt x="341" y="223"/>
                    </a:lnTo>
                    <a:lnTo>
                      <a:pt x="353" y="226"/>
                    </a:lnTo>
                    <a:lnTo>
                      <a:pt x="366" y="227"/>
                    </a:lnTo>
                    <a:lnTo>
                      <a:pt x="379" y="228"/>
                    </a:lnTo>
                    <a:lnTo>
                      <a:pt x="383" y="229"/>
                    </a:lnTo>
                    <a:lnTo>
                      <a:pt x="388" y="230"/>
                    </a:lnTo>
                    <a:lnTo>
                      <a:pt x="392" y="231"/>
                    </a:lnTo>
                    <a:lnTo>
                      <a:pt x="395" y="235"/>
                    </a:lnTo>
                    <a:lnTo>
                      <a:pt x="401" y="241"/>
                    </a:lnTo>
                    <a:lnTo>
                      <a:pt x="405" y="247"/>
                    </a:lnTo>
                    <a:lnTo>
                      <a:pt x="411" y="254"/>
                    </a:lnTo>
                    <a:lnTo>
                      <a:pt x="416" y="260"/>
                    </a:lnTo>
                    <a:lnTo>
                      <a:pt x="419" y="262"/>
                    </a:lnTo>
                    <a:lnTo>
                      <a:pt x="423" y="264"/>
                    </a:lnTo>
                    <a:lnTo>
                      <a:pt x="427" y="265"/>
                    </a:lnTo>
                    <a:lnTo>
                      <a:pt x="433" y="26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8" name="Freeform 333">
                <a:extLst>
                  <a:ext uri="{FF2B5EF4-FFF2-40B4-BE49-F238E27FC236}">
                    <a16:creationId xmlns:a16="http://schemas.microsoft.com/office/drawing/2014/main" id="{49FFC792-EC83-46A6-8273-17DA5C6C26A2}"/>
                  </a:ext>
                </a:extLst>
              </p:cNvPr>
              <p:cNvSpPr>
                <a:spLocks/>
              </p:cNvSpPr>
              <p:nvPr>
                <p:custDataLst>
                  <p:tags r:id="rId236"/>
                </p:custDataLst>
              </p:nvPr>
            </p:nvSpPr>
            <p:spPr bwMode="auto">
              <a:xfrm>
                <a:off x="7283680" y="4343607"/>
                <a:ext cx="305860" cy="290065"/>
              </a:xfrm>
              <a:custGeom>
                <a:avLst/>
                <a:gdLst>
                  <a:gd name="T0" fmla="*/ 97275921 w 585"/>
                  <a:gd name="T1" fmla="*/ 7619266 h 493"/>
                  <a:gd name="T2" fmla="*/ 93316995 w 585"/>
                  <a:gd name="T3" fmla="*/ 14966750 h 493"/>
                  <a:gd name="T4" fmla="*/ 96521737 w 585"/>
                  <a:gd name="T5" fmla="*/ 25307481 h 493"/>
                  <a:gd name="T6" fmla="*/ 100669101 w 585"/>
                  <a:gd name="T7" fmla="*/ 35375908 h 493"/>
                  <a:gd name="T8" fmla="*/ 108021641 w 585"/>
                  <a:gd name="T9" fmla="*/ 48165800 h 493"/>
                  <a:gd name="T10" fmla="*/ 109341138 w 585"/>
                  <a:gd name="T11" fmla="*/ 55785066 h 493"/>
                  <a:gd name="T12" fmla="*/ 103120092 w 585"/>
                  <a:gd name="T13" fmla="*/ 55512763 h 493"/>
                  <a:gd name="T14" fmla="*/ 97275921 w 585"/>
                  <a:gd name="T15" fmla="*/ 63404331 h 493"/>
                  <a:gd name="T16" fmla="*/ 95390677 w 585"/>
                  <a:gd name="T17" fmla="*/ 66942183 h 493"/>
                  <a:gd name="T18" fmla="*/ 97652797 w 585"/>
                  <a:gd name="T19" fmla="*/ 73745062 h 493"/>
                  <a:gd name="T20" fmla="*/ 98972728 w 585"/>
                  <a:gd name="T21" fmla="*/ 80003856 h 493"/>
                  <a:gd name="T22" fmla="*/ 95202239 w 585"/>
                  <a:gd name="T23" fmla="*/ 83813489 h 493"/>
                  <a:gd name="T24" fmla="*/ 86530202 w 585"/>
                  <a:gd name="T25" fmla="*/ 87895425 h 493"/>
                  <a:gd name="T26" fmla="*/ 83513897 w 585"/>
                  <a:gd name="T27" fmla="*/ 96331078 h 493"/>
                  <a:gd name="T28" fmla="*/ 83891207 w 585"/>
                  <a:gd name="T29" fmla="*/ 112930603 h 493"/>
                  <a:gd name="T30" fmla="*/ 81063340 w 585"/>
                  <a:gd name="T31" fmla="*/ 123543636 h 493"/>
                  <a:gd name="T32" fmla="*/ 75407607 w 585"/>
                  <a:gd name="T33" fmla="*/ 128441437 h 493"/>
                  <a:gd name="T34" fmla="*/ 69752308 w 585"/>
                  <a:gd name="T35" fmla="*/ 132795676 h 493"/>
                  <a:gd name="T36" fmla="*/ 64285012 w 585"/>
                  <a:gd name="T37" fmla="*/ 134156147 h 493"/>
                  <a:gd name="T38" fmla="*/ 62022892 w 585"/>
                  <a:gd name="T39" fmla="*/ 132523373 h 493"/>
                  <a:gd name="T40" fmla="*/ 61645583 w 585"/>
                  <a:gd name="T41" fmla="*/ 128169656 h 493"/>
                  <a:gd name="T42" fmla="*/ 57309781 w 585"/>
                  <a:gd name="T43" fmla="*/ 122727249 h 493"/>
                  <a:gd name="T44" fmla="*/ 47318246 w 585"/>
                  <a:gd name="T45" fmla="*/ 123543636 h 493"/>
                  <a:gd name="T46" fmla="*/ 41285638 w 585"/>
                  <a:gd name="T47" fmla="*/ 125720494 h 493"/>
                  <a:gd name="T48" fmla="*/ 33179347 w 585"/>
                  <a:gd name="T49" fmla="*/ 119733481 h 493"/>
                  <a:gd name="T50" fmla="*/ 22999374 w 585"/>
                  <a:gd name="T51" fmla="*/ 118645313 h 493"/>
                  <a:gd name="T52" fmla="*/ 17909388 w 585"/>
                  <a:gd name="T53" fmla="*/ 116740235 h 493"/>
                  <a:gd name="T54" fmla="*/ 15269959 w 585"/>
                  <a:gd name="T55" fmla="*/ 99596627 h 493"/>
                  <a:gd name="T56" fmla="*/ 10934157 w 585"/>
                  <a:gd name="T57" fmla="*/ 84357573 h 493"/>
                  <a:gd name="T58" fmla="*/ 6598356 w 585"/>
                  <a:gd name="T59" fmla="*/ 79459772 h 493"/>
                  <a:gd name="T60" fmla="*/ 2262120 w 585"/>
                  <a:gd name="T61" fmla="*/ 70751816 h 493"/>
                  <a:gd name="T62" fmla="*/ 942622 w 585"/>
                  <a:gd name="T63" fmla="*/ 55512763 h 493"/>
                  <a:gd name="T64" fmla="*/ 5844171 w 585"/>
                  <a:gd name="T65" fmla="*/ 41634702 h 493"/>
                  <a:gd name="T66" fmla="*/ 10179973 w 585"/>
                  <a:gd name="T67" fmla="*/ 38369154 h 493"/>
                  <a:gd name="T68" fmla="*/ 14138899 w 585"/>
                  <a:gd name="T69" fmla="*/ 41362399 h 493"/>
                  <a:gd name="T70" fmla="*/ 18286263 w 585"/>
                  <a:gd name="T71" fmla="*/ 50886743 h 493"/>
                  <a:gd name="T72" fmla="*/ 24318872 w 585"/>
                  <a:gd name="T73" fmla="*/ 58234227 h 493"/>
                  <a:gd name="T74" fmla="*/ 32048287 w 585"/>
                  <a:gd name="T75" fmla="*/ 57961924 h 493"/>
                  <a:gd name="T76" fmla="*/ 41662947 w 585"/>
                  <a:gd name="T77" fmla="*/ 51430827 h 493"/>
                  <a:gd name="T78" fmla="*/ 43925067 w 585"/>
                  <a:gd name="T79" fmla="*/ 46804807 h 493"/>
                  <a:gd name="T80" fmla="*/ 54293477 w 585"/>
                  <a:gd name="T81" fmla="*/ 48437581 h 493"/>
                  <a:gd name="T82" fmla="*/ 61457145 w 585"/>
                  <a:gd name="T83" fmla="*/ 49253968 h 493"/>
                  <a:gd name="T84" fmla="*/ 63530827 w 585"/>
                  <a:gd name="T85" fmla="*/ 46260722 h 493"/>
                  <a:gd name="T86" fmla="*/ 68243938 w 585"/>
                  <a:gd name="T87" fmla="*/ 42995174 h 493"/>
                  <a:gd name="T88" fmla="*/ 72202865 w 585"/>
                  <a:gd name="T89" fmla="*/ 37008682 h 493"/>
                  <a:gd name="T90" fmla="*/ 78235474 w 585"/>
                  <a:gd name="T91" fmla="*/ 21497848 h 493"/>
                  <a:gd name="T92" fmla="*/ 80497593 w 585"/>
                  <a:gd name="T93" fmla="*/ 6802879 h 493"/>
                  <a:gd name="T94" fmla="*/ 84268082 w 585"/>
                  <a:gd name="T95" fmla="*/ 1632774 h 493"/>
                  <a:gd name="T96" fmla="*/ 90300691 w 585"/>
                  <a:gd name="T97" fmla="*/ 544084 h 49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585" h="493">
                    <a:moveTo>
                      <a:pt x="525" y="12"/>
                    </a:moveTo>
                    <a:lnTo>
                      <a:pt x="524" y="17"/>
                    </a:lnTo>
                    <a:lnTo>
                      <a:pt x="520" y="22"/>
                    </a:lnTo>
                    <a:lnTo>
                      <a:pt x="516" y="28"/>
                    </a:lnTo>
                    <a:lnTo>
                      <a:pt x="510" y="33"/>
                    </a:lnTo>
                    <a:lnTo>
                      <a:pt x="497" y="45"/>
                    </a:lnTo>
                    <a:lnTo>
                      <a:pt x="485" y="55"/>
                    </a:lnTo>
                    <a:lnTo>
                      <a:pt x="495" y="55"/>
                    </a:lnTo>
                    <a:lnTo>
                      <a:pt x="505" y="55"/>
                    </a:lnTo>
                    <a:lnTo>
                      <a:pt x="506" y="68"/>
                    </a:lnTo>
                    <a:lnTo>
                      <a:pt x="508" y="81"/>
                    </a:lnTo>
                    <a:lnTo>
                      <a:pt x="512" y="93"/>
                    </a:lnTo>
                    <a:lnTo>
                      <a:pt x="516" y="103"/>
                    </a:lnTo>
                    <a:lnTo>
                      <a:pt x="520" y="112"/>
                    </a:lnTo>
                    <a:lnTo>
                      <a:pt x="527" y="121"/>
                    </a:lnTo>
                    <a:lnTo>
                      <a:pt x="534" y="130"/>
                    </a:lnTo>
                    <a:lnTo>
                      <a:pt x="540" y="138"/>
                    </a:lnTo>
                    <a:lnTo>
                      <a:pt x="553" y="155"/>
                    </a:lnTo>
                    <a:lnTo>
                      <a:pt x="566" y="170"/>
                    </a:lnTo>
                    <a:lnTo>
                      <a:pt x="573" y="177"/>
                    </a:lnTo>
                    <a:lnTo>
                      <a:pt x="577" y="185"/>
                    </a:lnTo>
                    <a:lnTo>
                      <a:pt x="582" y="194"/>
                    </a:lnTo>
                    <a:lnTo>
                      <a:pt x="585" y="204"/>
                    </a:lnTo>
                    <a:lnTo>
                      <a:pt x="580" y="205"/>
                    </a:lnTo>
                    <a:lnTo>
                      <a:pt x="574" y="206"/>
                    </a:lnTo>
                    <a:lnTo>
                      <a:pt x="568" y="206"/>
                    </a:lnTo>
                    <a:lnTo>
                      <a:pt x="561" y="206"/>
                    </a:lnTo>
                    <a:lnTo>
                      <a:pt x="547" y="204"/>
                    </a:lnTo>
                    <a:lnTo>
                      <a:pt x="531" y="204"/>
                    </a:lnTo>
                    <a:lnTo>
                      <a:pt x="524" y="217"/>
                    </a:lnTo>
                    <a:lnTo>
                      <a:pt x="518" y="229"/>
                    </a:lnTo>
                    <a:lnTo>
                      <a:pt x="516" y="233"/>
                    </a:lnTo>
                    <a:lnTo>
                      <a:pt x="513" y="237"/>
                    </a:lnTo>
                    <a:lnTo>
                      <a:pt x="509" y="239"/>
                    </a:lnTo>
                    <a:lnTo>
                      <a:pt x="505" y="240"/>
                    </a:lnTo>
                    <a:lnTo>
                      <a:pt x="506" y="246"/>
                    </a:lnTo>
                    <a:lnTo>
                      <a:pt x="508" y="253"/>
                    </a:lnTo>
                    <a:lnTo>
                      <a:pt x="512" y="259"/>
                    </a:lnTo>
                    <a:lnTo>
                      <a:pt x="515" y="265"/>
                    </a:lnTo>
                    <a:lnTo>
                      <a:pt x="518" y="271"/>
                    </a:lnTo>
                    <a:lnTo>
                      <a:pt x="521" y="277"/>
                    </a:lnTo>
                    <a:lnTo>
                      <a:pt x="524" y="283"/>
                    </a:lnTo>
                    <a:lnTo>
                      <a:pt x="525" y="289"/>
                    </a:lnTo>
                    <a:lnTo>
                      <a:pt x="525" y="294"/>
                    </a:lnTo>
                    <a:lnTo>
                      <a:pt x="523" y="297"/>
                    </a:lnTo>
                    <a:lnTo>
                      <a:pt x="519" y="301"/>
                    </a:lnTo>
                    <a:lnTo>
                      <a:pt x="516" y="304"/>
                    </a:lnTo>
                    <a:lnTo>
                      <a:pt x="505" y="308"/>
                    </a:lnTo>
                    <a:lnTo>
                      <a:pt x="494" y="312"/>
                    </a:lnTo>
                    <a:lnTo>
                      <a:pt x="481" y="316"/>
                    </a:lnTo>
                    <a:lnTo>
                      <a:pt x="469" y="319"/>
                    </a:lnTo>
                    <a:lnTo>
                      <a:pt x="459" y="323"/>
                    </a:lnTo>
                    <a:lnTo>
                      <a:pt x="452" y="327"/>
                    </a:lnTo>
                    <a:lnTo>
                      <a:pt x="448" y="334"/>
                    </a:lnTo>
                    <a:lnTo>
                      <a:pt x="446" y="344"/>
                    </a:lnTo>
                    <a:lnTo>
                      <a:pt x="443" y="354"/>
                    </a:lnTo>
                    <a:lnTo>
                      <a:pt x="443" y="365"/>
                    </a:lnTo>
                    <a:lnTo>
                      <a:pt x="445" y="386"/>
                    </a:lnTo>
                    <a:lnTo>
                      <a:pt x="446" y="400"/>
                    </a:lnTo>
                    <a:lnTo>
                      <a:pt x="445" y="415"/>
                    </a:lnTo>
                    <a:lnTo>
                      <a:pt x="442" y="428"/>
                    </a:lnTo>
                    <a:lnTo>
                      <a:pt x="439" y="439"/>
                    </a:lnTo>
                    <a:lnTo>
                      <a:pt x="436" y="447"/>
                    </a:lnTo>
                    <a:lnTo>
                      <a:pt x="430" y="454"/>
                    </a:lnTo>
                    <a:lnTo>
                      <a:pt x="425" y="459"/>
                    </a:lnTo>
                    <a:lnTo>
                      <a:pt x="419" y="464"/>
                    </a:lnTo>
                    <a:lnTo>
                      <a:pt x="413" y="467"/>
                    </a:lnTo>
                    <a:lnTo>
                      <a:pt x="400" y="472"/>
                    </a:lnTo>
                    <a:lnTo>
                      <a:pt x="386" y="477"/>
                    </a:lnTo>
                    <a:lnTo>
                      <a:pt x="380" y="480"/>
                    </a:lnTo>
                    <a:lnTo>
                      <a:pt x="374" y="484"/>
                    </a:lnTo>
                    <a:lnTo>
                      <a:pt x="370" y="488"/>
                    </a:lnTo>
                    <a:lnTo>
                      <a:pt x="366" y="493"/>
                    </a:lnTo>
                    <a:lnTo>
                      <a:pt x="356" y="493"/>
                    </a:lnTo>
                    <a:lnTo>
                      <a:pt x="346" y="493"/>
                    </a:lnTo>
                    <a:lnTo>
                      <a:pt x="341" y="493"/>
                    </a:lnTo>
                    <a:lnTo>
                      <a:pt x="337" y="492"/>
                    </a:lnTo>
                    <a:lnTo>
                      <a:pt x="334" y="491"/>
                    </a:lnTo>
                    <a:lnTo>
                      <a:pt x="331" y="489"/>
                    </a:lnTo>
                    <a:lnTo>
                      <a:pt x="329" y="487"/>
                    </a:lnTo>
                    <a:lnTo>
                      <a:pt x="328" y="484"/>
                    </a:lnTo>
                    <a:lnTo>
                      <a:pt x="327" y="482"/>
                    </a:lnTo>
                    <a:lnTo>
                      <a:pt x="326" y="478"/>
                    </a:lnTo>
                    <a:lnTo>
                      <a:pt x="327" y="471"/>
                    </a:lnTo>
                    <a:lnTo>
                      <a:pt x="328" y="464"/>
                    </a:lnTo>
                    <a:lnTo>
                      <a:pt x="330" y="457"/>
                    </a:lnTo>
                    <a:lnTo>
                      <a:pt x="333" y="450"/>
                    </a:lnTo>
                    <a:lnTo>
                      <a:pt x="304" y="451"/>
                    </a:lnTo>
                    <a:lnTo>
                      <a:pt x="279" y="454"/>
                    </a:lnTo>
                    <a:lnTo>
                      <a:pt x="267" y="455"/>
                    </a:lnTo>
                    <a:lnTo>
                      <a:pt x="257" y="455"/>
                    </a:lnTo>
                    <a:lnTo>
                      <a:pt x="251" y="454"/>
                    </a:lnTo>
                    <a:lnTo>
                      <a:pt x="247" y="453"/>
                    </a:lnTo>
                    <a:lnTo>
                      <a:pt x="244" y="452"/>
                    </a:lnTo>
                    <a:lnTo>
                      <a:pt x="239" y="450"/>
                    </a:lnTo>
                    <a:lnTo>
                      <a:pt x="219" y="462"/>
                    </a:lnTo>
                    <a:lnTo>
                      <a:pt x="207" y="455"/>
                    </a:lnTo>
                    <a:lnTo>
                      <a:pt x="192" y="447"/>
                    </a:lnTo>
                    <a:lnTo>
                      <a:pt x="183" y="444"/>
                    </a:lnTo>
                    <a:lnTo>
                      <a:pt x="176" y="440"/>
                    </a:lnTo>
                    <a:lnTo>
                      <a:pt x="168" y="438"/>
                    </a:lnTo>
                    <a:lnTo>
                      <a:pt x="159" y="438"/>
                    </a:lnTo>
                    <a:lnTo>
                      <a:pt x="144" y="437"/>
                    </a:lnTo>
                    <a:lnTo>
                      <a:pt x="122" y="436"/>
                    </a:lnTo>
                    <a:lnTo>
                      <a:pt x="111" y="435"/>
                    </a:lnTo>
                    <a:lnTo>
                      <a:pt x="102" y="432"/>
                    </a:lnTo>
                    <a:lnTo>
                      <a:pt x="98" y="431"/>
                    </a:lnTo>
                    <a:lnTo>
                      <a:pt x="95" y="429"/>
                    </a:lnTo>
                    <a:lnTo>
                      <a:pt x="93" y="428"/>
                    </a:lnTo>
                    <a:lnTo>
                      <a:pt x="93" y="424"/>
                    </a:lnTo>
                    <a:lnTo>
                      <a:pt x="87" y="393"/>
                    </a:lnTo>
                    <a:lnTo>
                      <a:pt x="81" y="366"/>
                    </a:lnTo>
                    <a:lnTo>
                      <a:pt x="75" y="346"/>
                    </a:lnTo>
                    <a:lnTo>
                      <a:pt x="69" y="331"/>
                    </a:lnTo>
                    <a:lnTo>
                      <a:pt x="64" y="320"/>
                    </a:lnTo>
                    <a:lnTo>
                      <a:pt x="58" y="310"/>
                    </a:lnTo>
                    <a:lnTo>
                      <a:pt x="53" y="304"/>
                    </a:lnTo>
                    <a:lnTo>
                      <a:pt x="47" y="300"/>
                    </a:lnTo>
                    <a:lnTo>
                      <a:pt x="41" y="296"/>
                    </a:lnTo>
                    <a:lnTo>
                      <a:pt x="35" y="292"/>
                    </a:lnTo>
                    <a:lnTo>
                      <a:pt x="30" y="288"/>
                    </a:lnTo>
                    <a:lnTo>
                      <a:pt x="24" y="281"/>
                    </a:lnTo>
                    <a:lnTo>
                      <a:pt x="19" y="272"/>
                    </a:lnTo>
                    <a:lnTo>
                      <a:pt x="12" y="260"/>
                    </a:lnTo>
                    <a:lnTo>
                      <a:pt x="6" y="243"/>
                    </a:lnTo>
                    <a:lnTo>
                      <a:pt x="0" y="222"/>
                    </a:lnTo>
                    <a:lnTo>
                      <a:pt x="2" y="215"/>
                    </a:lnTo>
                    <a:lnTo>
                      <a:pt x="5" y="204"/>
                    </a:lnTo>
                    <a:lnTo>
                      <a:pt x="11" y="191"/>
                    </a:lnTo>
                    <a:lnTo>
                      <a:pt x="17" y="177"/>
                    </a:lnTo>
                    <a:lnTo>
                      <a:pt x="24" y="164"/>
                    </a:lnTo>
                    <a:lnTo>
                      <a:pt x="31" y="153"/>
                    </a:lnTo>
                    <a:lnTo>
                      <a:pt x="36" y="144"/>
                    </a:lnTo>
                    <a:lnTo>
                      <a:pt x="41" y="141"/>
                    </a:lnTo>
                    <a:lnTo>
                      <a:pt x="46" y="141"/>
                    </a:lnTo>
                    <a:lnTo>
                      <a:pt x="54" y="141"/>
                    </a:lnTo>
                    <a:lnTo>
                      <a:pt x="64" y="141"/>
                    </a:lnTo>
                    <a:lnTo>
                      <a:pt x="73" y="141"/>
                    </a:lnTo>
                    <a:lnTo>
                      <a:pt x="73" y="146"/>
                    </a:lnTo>
                    <a:lnTo>
                      <a:pt x="75" y="152"/>
                    </a:lnTo>
                    <a:lnTo>
                      <a:pt x="77" y="158"/>
                    </a:lnTo>
                    <a:lnTo>
                      <a:pt x="80" y="164"/>
                    </a:lnTo>
                    <a:lnTo>
                      <a:pt x="88" y="176"/>
                    </a:lnTo>
                    <a:lnTo>
                      <a:pt x="97" y="187"/>
                    </a:lnTo>
                    <a:lnTo>
                      <a:pt x="107" y="198"/>
                    </a:lnTo>
                    <a:lnTo>
                      <a:pt x="118" y="208"/>
                    </a:lnTo>
                    <a:lnTo>
                      <a:pt x="124" y="211"/>
                    </a:lnTo>
                    <a:lnTo>
                      <a:pt x="129" y="214"/>
                    </a:lnTo>
                    <a:lnTo>
                      <a:pt x="135" y="215"/>
                    </a:lnTo>
                    <a:lnTo>
                      <a:pt x="139" y="216"/>
                    </a:lnTo>
                    <a:lnTo>
                      <a:pt x="155" y="215"/>
                    </a:lnTo>
                    <a:lnTo>
                      <a:pt x="170" y="213"/>
                    </a:lnTo>
                    <a:lnTo>
                      <a:pt x="184" y="209"/>
                    </a:lnTo>
                    <a:lnTo>
                      <a:pt x="199" y="204"/>
                    </a:lnTo>
                    <a:lnTo>
                      <a:pt x="211" y="196"/>
                    </a:lnTo>
                    <a:lnTo>
                      <a:pt x="221" y="189"/>
                    </a:lnTo>
                    <a:lnTo>
                      <a:pt x="225" y="185"/>
                    </a:lnTo>
                    <a:lnTo>
                      <a:pt x="228" y="181"/>
                    </a:lnTo>
                    <a:lnTo>
                      <a:pt x="230" y="177"/>
                    </a:lnTo>
                    <a:lnTo>
                      <a:pt x="233" y="172"/>
                    </a:lnTo>
                    <a:lnTo>
                      <a:pt x="256" y="175"/>
                    </a:lnTo>
                    <a:lnTo>
                      <a:pt x="273" y="176"/>
                    </a:lnTo>
                    <a:lnTo>
                      <a:pt x="281" y="177"/>
                    </a:lnTo>
                    <a:lnTo>
                      <a:pt x="288" y="178"/>
                    </a:lnTo>
                    <a:lnTo>
                      <a:pt x="294" y="181"/>
                    </a:lnTo>
                    <a:lnTo>
                      <a:pt x="300" y="184"/>
                    </a:lnTo>
                    <a:lnTo>
                      <a:pt x="326" y="184"/>
                    </a:lnTo>
                    <a:lnTo>
                      <a:pt x="326" y="181"/>
                    </a:lnTo>
                    <a:lnTo>
                      <a:pt x="327" y="178"/>
                    </a:lnTo>
                    <a:lnTo>
                      <a:pt x="329" y="176"/>
                    </a:lnTo>
                    <a:lnTo>
                      <a:pt x="331" y="174"/>
                    </a:lnTo>
                    <a:lnTo>
                      <a:pt x="337" y="170"/>
                    </a:lnTo>
                    <a:lnTo>
                      <a:pt x="344" y="167"/>
                    </a:lnTo>
                    <a:lnTo>
                      <a:pt x="350" y="164"/>
                    </a:lnTo>
                    <a:lnTo>
                      <a:pt x="357" y="162"/>
                    </a:lnTo>
                    <a:lnTo>
                      <a:pt x="362" y="158"/>
                    </a:lnTo>
                    <a:lnTo>
                      <a:pt x="366" y="154"/>
                    </a:lnTo>
                    <a:lnTo>
                      <a:pt x="372" y="149"/>
                    </a:lnTo>
                    <a:lnTo>
                      <a:pt x="378" y="143"/>
                    </a:lnTo>
                    <a:lnTo>
                      <a:pt x="383" y="136"/>
                    </a:lnTo>
                    <a:lnTo>
                      <a:pt x="389" y="129"/>
                    </a:lnTo>
                    <a:lnTo>
                      <a:pt x="400" y="114"/>
                    </a:lnTo>
                    <a:lnTo>
                      <a:pt x="408" y="97"/>
                    </a:lnTo>
                    <a:lnTo>
                      <a:pt x="415" y="79"/>
                    </a:lnTo>
                    <a:lnTo>
                      <a:pt x="420" y="62"/>
                    </a:lnTo>
                    <a:lnTo>
                      <a:pt x="424" y="46"/>
                    </a:lnTo>
                    <a:lnTo>
                      <a:pt x="426" y="30"/>
                    </a:lnTo>
                    <a:lnTo>
                      <a:pt x="427" y="25"/>
                    </a:lnTo>
                    <a:lnTo>
                      <a:pt x="429" y="20"/>
                    </a:lnTo>
                    <a:lnTo>
                      <a:pt x="435" y="15"/>
                    </a:lnTo>
                    <a:lnTo>
                      <a:pt x="440" y="11"/>
                    </a:lnTo>
                    <a:lnTo>
                      <a:pt x="447" y="6"/>
                    </a:lnTo>
                    <a:lnTo>
                      <a:pt x="453" y="3"/>
                    </a:lnTo>
                    <a:lnTo>
                      <a:pt x="460" y="1"/>
                    </a:lnTo>
                    <a:lnTo>
                      <a:pt x="465" y="0"/>
                    </a:lnTo>
                    <a:lnTo>
                      <a:pt x="479" y="2"/>
                    </a:lnTo>
                    <a:lnTo>
                      <a:pt x="495" y="6"/>
                    </a:lnTo>
                    <a:lnTo>
                      <a:pt x="512" y="10"/>
                    </a:lnTo>
                    <a:lnTo>
                      <a:pt x="525" y="12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799" name="Freeform 334">
                <a:extLst>
                  <a:ext uri="{FF2B5EF4-FFF2-40B4-BE49-F238E27FC236}">
                    <a16:creationId xmlns:a16="http://schemas.microsoft.com/office/drawing/2014/main" id="{7E05EB19-C3E2-42FC-A9B8-908DF06750FB}"/>
                  </a:ext>
                </a:extLst>
              </p:cNvPr>
              <p:cNvSpPr>
                <a:spLocks/>
              </p:cNvSpPr>
              <p:nvPr>
                <p:custDataLst>
                  <p:tags r:id="rId237"/>
                </p:custDataLst>
              </p:nvPr>
            </p:nvSpPr>
            <p:spPr bwMode="auto">
              <a:xfrm>
                <a:off x="7712609" y="4800680"/>
                <a:ext cx="110400" cy="65044"/>
              </a:xfrm>
              <a:custGeom>
                <a:avLst/>
                <a:gdLst>
                  <a:gd name="T0" fmla="*/ 0 w 212"/>
                  <a:gd name="T1" fmla="*/ 31105929 h 105"/>
                  <a:gd name="T2" fmla="*/ 3018062 w 212"/>
                  <a:gd name="T3" fmla="*/ 25180834 h 105"/>
                  <a:gd name="T4" fmla="*/ 6602038 w 212"/>
                  <a:gd name="T5" fmla="*/ 20144559 h 105"/>
                  <a:gd name="T6" fmla="*/ 8299779 w 212"/>
                  <a:gd name="T7" fmla="*/ 17774739 h 105"/>
                  <a:gd name="T8" fmla="*/ 10186014 w 212"/>
                  <a:gd name="T9" fmla="*/ 15701010 h 105"/>
                  <a:gd name="T10" fmla="*/ 12072249 w 212"/>
                  <a:gd name="T11" fmla="*/ 13627281 h 105"/>
                  <a:gd name="T12" fmla="*/ 13769990 w 212"/>
                  <a:gd name="T13" fmla="*/ 11257461 h 105"/>
                  <a:gd name="T14" fmla="*/ 15656225 w 212"/>
                  <a:gd name="T15" fmla="*/ 9479824 h 105"/>
                  <a:gd name="T16" fmla="*/ 17731387 w 212"/>
                  <a:gd name="T17" fmla="*/ 7998823 h 105"/>
                  <a:gd name="T18" fmla="*/ 19995042 w 212"/>
                  <a:gd name="T19" fmla="*/ 6221186 h 105"/>
                  <a:gd name="T20" fmla="*/ 22258263 w 212"/>
                  <a:gd name="T21" fmla="*/ 4740184 h 105"/>
                  <a:gd name="T22" fmla="*/ 27162994 w 212"/>
                  <a:gd name="T23" fmla="*/ 2369820 h 105"/>
                  <a:gd name="T24" fmla="*/ 32444277 w 212"/>
                  <a:gd name="T25" fmla="*/ 0 h 105"/>
                  <a:gd name="T26" fmla="*/ 39989649 w 212"/>
                  <a:gd name="T27" fmla="*/ 0 h 105"/>
                  <a:gd name="T28" fmla="*/ 38103415 w 212"/>
                  <a:gd name="T29" fmla="*/ 2666456 h 105"/>
                  <a:gd name="T30" fmla="*/ 35839759 w 212"/>
                  <a:gd name="T31" fmla="*/ 5332367 h 105"/>
                  <a:gd name="T32" fmla="*/ 33576104 w 212"/>
                  <a:gd name="T33" fmla="*/ 7998823 h 105"/>
                  <a:gd name="T34" fmla="*/ 31123956 w 212"/>
                  <a:gd name="T35" fmla="*/ 10368643 h 105"/>
                  <a:gd name="T36" fmla="*/ 25842239 w 212"/>
                  <a:gd name="T37" fmla="*/ 15404919 h 105"/>
                  <a:gd name="T38" fmla="*/ 20560521 w 212"/>
                  <a:gd name="T39" fmla="*/ 19552376 h 105"/>
                  <a:gd name="T40" fmla="*/ 14901818 w 212"/>
                  <a:gd name="T41" fmla="*/ 23403741 h 105"/>
                  <a:gd name="T42" fmla="*/ 9431607 w 212"/>
                  <a:gd name="T43" fmla="*/ 26662380 h 105"/>
                  <a:gd name="T44" fmla="*/ 4338383 w 212"/>
                  <a:gd name="T45" fmla="*/ 29328291 h 105"/>
                  <a:gd name="T46" fmla="*/ 0 w 212"/>
                  <a:gd name="T47" fmla="*/ 31105929 h 10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212" h="105">
                    <a:moveTo>
                      <a:pt x="0" y="105"/>
                    </a:moveTo>
                    <a:lnTo>
                      <a:pt x="16" y="85"/>
                    </a:lnTo>
                    <a:lnTo>
                      <a:pt x="35" y="68"/>
                    </a:lnTo>
                    <a:lnTo>
                      <a:pt x="44" y="60"/>
                    </a:lnTo>
                    <a:lnTo>
                      <a:pt x="54" y="53"/>
                    </a:lnTo>
                    <a:lnTo>
                      <a:pt x="64" y="46"/>
                    </a:lnTo>
                    <a:lnTo>
                      <a:pt x="73" y="38"/>
                    </a:lnTo>
                    <a:lnTo>
                      <a:pt x="83" y="32"/>
                    </a:lnTo>
                    <a:lnTo>
                      <a:pt x="94" y="27"/>
                    </a:lnTo>
                    <a:lnTo>
                      <a:pt x="106" y="21"/>
                    </a:lnTo>
                    <a:lnTo>
                      <a:pt x="118" y="16"/>
                    </a:lnTo>
                    <a:lnTo>
                      <a:pt x="144" y="8"/>
                    </a:lnTo>
                    <a:lnTo>
                      <a:pt x="172" y="0"/>
                    </a:lnTo>
                    <a:lnTo>
                      <a:pt x="212" y="0"/>
                    </a:lnTo>
                    <a:lnTo>
                      <a:pt x="202" y="9"/>
                    </a:lnTo>
                    <a:lnTo>
                      <a:pt x="190" y="18"/>
                    </a:lnTo>
                    <a:lnTo>
                      <a:pt x="178" y="27"/>
                    </a:lnTo>
                    <a:lnTo>
                      <a:pt x="165" y="35"/>
                    </a:lnTo>
                    <a:lnTo>
                      <a:pt x="137" y="52"/>
                    </a:lnTo>
                    <a:lnTo>
                      <a:pt x="109" y="66"/>
                    </a:lnTo>
                    <a:lnTo>
                      <a:pt x="79" y="79"/>
                    </a:lnTo>
                    <a:lnTo>
                      <a:pt x="50" y="90"/>
                    </a:lnTo>
                    <a:lnTo>
                      <a:pt x="23" y="99"/>
                    </a:lnTo>
                    <a:lnTo>
                      <a:pt x="0" y="10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0" name="Freeform 335">
                <a:extLst>
                  <a:ext uri="{FF2B5EF4-FFF2-40B4-BE49-F238E27FC236}">
                    <a16:creationId xmlns:a16="http://schemas.microsoft.com/office/drawing/2014/main" id="{584FAA17-6C6E-43B5-9604-27512E7E4AF9}"/>
                  </a:ext>
                </a:extLst>
              </p:cNvPr>
              <p:cNvSpPr>
                <a:spLocks/>
              </p:cNvSpPr>
              <p:nvPr>
                <p:custDataLst>
                  <p:tags r:id="rId238"/>
                </p:custDataLst>
              </p:nvPr>
            </p:nvSpPr>
            <p:spPr bwMode="auto">
              <a:xfrm>
                <a:off x="7851966" y="4426232"/>
                <a:ext cx="50675" cy="100205"/>
              </a:xfrm>
              <a:custGeom>
                <a:avLst/>
                <a:gdLst>
                  <a:gd name="T0" fmla="*/ 0 w 92"/>
                  <a:gd name="T1" fmla="*/ 23231284 h 166"/>
                  <a:gd name="T2" fmla="*/ 0 w 92"/>
                  <a:gd name="T3" fmla="*/ 42447072 h 166"/>
                  <a:gd name="T4" fmla="*/ 1085061 w 92"/>
                  <a:gd name="T5" fmla="*/ 41299941 h 166"/>
                  <a:gd name="T6" fmla="*/ 2604798 w 92"/>
                  <a:gd name="T7" fmla="*/ 39865759 h 166"/>
                  <a:gd name="T8" fmla="*/ 3038543 w 92"/>
                  <a:gd name="T9" fmla="*/ 39292193 h 166"/>
                  <a:gd name="T10" fmla="*/ 3689859 w 92"/>
                  <a:gd name="T11" fmla="*/ 38718628 h 166"/>
                  <a:gd name="T12" fmla="*/ 3906964 w 92"/>
                  <a:gd name="T13" fmla="*/ 37858547 h 166"/>
                  <a:gd name="T14" fmla="*/ 4124070 w 92"/>
                  <a:gd name="T15" fmla="*/ 37284446 h 166"/>
                  <a:gd name="T16" fmla="*/ 4341175 w 92"/>
                  <a:gd name="T17" fmla="*/ 39579244 h 166"/>
                  <a:gd name="T18" fmla="*/ 5209131 w 92"/>
                  <a:gd name="T19" fmla="*/ 42447072 h 166"/>
                  <a:gd name="T20" fmla="*/ 5860447 w 92"/>
                  <a:gd name="T21" fmla="*/ 44167769 h 166"/>
                  <a:gd name="T22" fmla="*/ 6511763 w 92"/>
                  <a:gd name="T23" fmla="*/ 45601951 h 166"/>
                  <a:gd name="T24" fmla="*/ 7596824 w 92"/>
                  <a:gd name="T25" fmla="*/ 46749083 h 166"/>
                  <a:gd name="T26" fmla="*/ 8465245 w 92"/>
                  <a:gd name="T27" fmla="*/ 47609699 h 166"/>
                  <a:gd name="T28" fmla="*/ 8899456 w 92"/>
                  <a:gd name="T29" fmla="*/ 45315436 h 166"/>
                  <a:gd name="T30" fmla="*/ 8899456 w 92"/>
                  <a:gd name="T31" fmla="*/ 42447072 h 166"/>
                  <a:gd name="T32" fmla="*/ 8899456 w 92"/>
                  <a:gd name="T33" fmla="*/ 39292193 h 166"/>
                  <a:gd name="T34" fmla="*/ 8899456 w 92"/>
                  <a:gd name="T35" fmla="*/ 36137314 h 166"/>
                  <a:gd name="T36" fmla="*/ 8682350 w 92"/>
                  <a:gd name="T37" fmla="*/ 30688173 h 166"/>
                  <a:gd name="T38" fmla="*/ 8465245 w 92"/>
                  <a:gd name="T39" fmla="*/ 28393910 h 166"/>
                  <a:gd name="T40" fmla="*/ 10418727 w 92"/>
                  <a:gd name="T41" fmla="*/ 28680425 h 166"/>
                  <a:gd name="T42" fmla="*/ 12372209 w 92"/>
                  <a:gd name="T43" fmla="*/ 29253991 h 166"/>
                  <a:gd name="T44" fmla="*/ 13891481 w 92"/>
                  <a:gd name="T45" fmla="*/ 30114607 h 166"/>
                  <a:gd name="T46" fmla="*/ 15410753 w 92"/>
                  <a:gd name="T47" fmla="*/ 30975223 h 166"/>
                  <a:gd name="T48" fmla="*/ 16496279 w 92"/>
                  <a:gd name="T49" fmla="*/ 31835304 h 166"/>
                  <a:gd name="T50" fmla="*/ 17798446 w 92"/>
                  <a:gd name="T51" fmla="*/ 32695920 h 166"/>
                  <a:gd name="T52" fmla="*/ 18883972 w 92"/>
                  <a:gd name="T53" fmla="*/ 33269486 h 166"/>
                  <a:gd name="T54" fmla="*/ 19969033 w 92"/>
                  <a:gd name="T55" fmla="*/ 33843052 h 166"/>
                  <a:gd name="T56" fmla="*/ 18449762 w 92"/>
                  <a:gd name="T57" fmla="*/ 29541042 h 166"/>
                  <a:gd name="T58" fmla="*/ 17581340 w 92"/>
                  <a:gd name="T59" fmla="*/ 25525546 h 166"/>
                  <a:gd name="T60" fmla="*/ 16496279 w 92"/>
                  <a:gd name="T61" fmla="*/ 21510587 h 166"/>
                  <a:gd name="T62" fmla="*/ 15844963 w 92"/>
                  <a:gd name="T63" fmla="*/ 17208577 h 166"/>
                  <a:gd name="T64" fmla="*/ 15193647 w 92"/>
                  <a:gd name="T65" fmla="*/ 13479596 h 166"/>
                  <a:gd name="T66" fmla="*/ 14542797 w 92"/>
                  <a:gd name="T67" fmla="*/ 9751152 h 166"/>
                  <a:gd name="T68" fmla="*/ 13674376 w 92"/>
                  <a:gd name="T69" fmla="*/ 6596273 h 166"/>
                  <a:gd name="T70" fmla="*/ 12806420 w 92"/>
                  <a:gd name="T71" fmla="*/ 3728445 h 166"/>
                  <a:gd name="T72" fmla="*/ 12806420 w 92"/>
                  <a:gd name="T73" fmla="*/ 5449142 h 166"/>
                  <a:gd name="T74" fmla="*/ 12806420 w 92"/>
                  <a:gd name="T75" fmla="*/ 7170374 h 166"/>
                  <a:gd name="T76" fmla="*/ 10852938 w 92"/>
                  <a:gd name="T77" fmla="*/ 6596273 h 166"/>
                  <a:gd name="T78" fmla="*/ 9116095 w 92"/>
                  <a:gd name="T79" fmla="*/ 5449142 h 166"/>
                  <a:gd name="T80" fmla="*/ 7596824 w 92"/>
                  <a:gd name="T81" fmla="*/ 4302010 h 166"/>
                  <a:gd name="T82" fmla="*/ 6294657 w 92"/>
                  <a:gd name="T83" fmla="*/ 3154879 h 166"/>
                  <a:gd name="T84" fmla="*/ 4992491 w 92"/>
                  <a:gd name="T85" fmla="*/ 2007748 h 166"/>
                  <a:gd name="T86" fmla="*/ 3472754 w 92"/>
                  <a:gd name="T87" fmla="*/ 860616 h 166"/>
                  <a:gd name="T88" fmla="*/ 1736377 w 92"/>
                  <a:gd name="T89" fmla="*/ 287051 h 166"/>
                  <a:gd name="T90" fmla="*/ 0 w 92"/>
                  <a:gd name="T91" fmla="*/ 0 h 166"/>
                  <a:gd name="T92" fmla="*/ 0 w 92"/>
                  <a:gd name="T93" fmla="*/ 2867828 h 166"/>
                  <a:gd name="T94" fmla="*/ 0 w 92"/>
                  <a:gd name="T95" fmla="*/ 5449142 h 166"/>
                  <a:gd name="T96" fmla="*/ 0 w 92"/>
                  <a:gd name="T97" fmla="*/ 9464637 h 166"/>
                  <a:gd name="T98" fmla="*/ 0 w 92"/>
                  <a:gd name="T99" fmla="*/ 14913778 h 166"/>
                  <a:gd name="T100" fmla="*/ 0 w 92"/>
                  <a:gd name="T101" fmla="*/ 20076405 h 166"/>
                  <a:gd name="T102" fmla="*/ 0 w 92"/>
                  <a:gd name="T103" fmla="*/ 23231284 h 16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2" h="166">
                    <a:moveTo>
                      <a:pt x="0" y="81"/>
                    </a:moveTo>
                    <a:lnTo>
                      <a:pt x="0" y="148"/>
                    </a:lnTo>
                    <a:lnTo>
                      <a:pt x="5" y="144"/>
                    </a:lnTo>
                    <a:lnTo>
                      <a:pt x="12" y="139"/>
                    </a:lnTo>
                    <a:lnTo>
                      <a:pt x="14" y="137"/>
                    </a:lnTo>
                    <a:lnTo>
                      <a:pt x="17" y="135"/>
                    </a:lnTo>
                    <a:lnTo>
                      <a:pt x="18" y="132"/>
                    </a:lnTo>
                    <a:lnTo>
                      <a:pt x="19" y="130"/>
                    </a:lnTo>
                    <a:lnTo>
                      <a:pt x="20" y="138"/>
                    </a:lnTo>
                    <a:lnTo>
                      <a:pt x="24" y="148"/>
                    </a:lnTo>
                    <a:lnTo>
                      <a:pt x="27" y="154"/>
                    </a:lnTo>
                    <a:lnTo>
                      <a:pt x="30" y="159"/>
                    </a:lnTo>
                    <a:lnTo>
                      <a:pt x="35" y="163"/>
                    </a:lnTo>
                    <a:lnTo>
                      <a:pt x="39" y="166"/>
                    </a:lnTo>
                    <a:lnTo>
                      <a:pt x="41" y="158"/>
                    </a:lnTo>
                    <a:lnTo>
                      <a:pt x="41" y="148"/>
                    </a:lnTo>
                    <a:lnTo>
                      <a:pt x="41" y="137"/>
                    </a:lnTo>
                    <a:lnTo>
                      <a:pt x="41" y="126"/>
                    </a:lnTo>
                    <a:lnTo>
                      <a:pt x="40" y="107"/>
                    </a:lnTo>
                    <a:lnTo>
                      <a:pt x="39" y="99"/>
                    </a:lnTo>
                    <a:lnTo>
                      <a:pt x="48" y="100"/>
                    </a:lnTo>
                    <a:lnTo>
                      <a:pt x="57" y="102"/>
                    </a:lnTo>
                    <a:lnTo>
                      <a:pt x="64" y="105"/>
                    </a:lnTo>
                    <a:lnTo>
                      <a:pt x="71" y="108"/>
                    </a:lnTo>
                    <a:lnTo>
                      <a:pt x="76" y="111"/>
                    </a:lnTo>
                    <a:lnTo>
                      <a:pt x="82" y="114"/>
                    </a:lnTo>
                    <a:lnTo>
                      <a:pt x="87" y="116"/>
                    </a:lnTo>
                    <a:lnTo>
                      <a:pt x="92" y="118"/>
                    </a:lnTo>
                    <a:lnTo>
                      <a:pt x="85" y="103"/>
                    </a:lnTo>
                    <a:lnTo>
                      <a:pt x="81" y="89"/>
                    </a:lnTo>
                    <a:lnTo>
                      <a:pt x="76" y="75"/>
                    </a:lnTo>
                    <a:lnTo>
                      <a:pt x="73" y="60"/>
                    </a:lnTo>
                    <a:lnTo>
                      <a:pt x="70" y="47"/>
                    </a:lnTo>
                    <a:lnTo>
                      <a:pt x="67" y="34"/>
                    </a:lnTo>
                    <a:lnTo>
                      <a:pt x="63" y="23"/>
                    </a:lnTo>
                    <a:lnTo>
                      <a:pt x="59" y="13"/>
                    </a:lnTo>
                    <a:lnTo>
                      <a:pt x="59" y="19"/>
                    </a:lnTo>
                    <a:lnTo>
                      <a:pt x="59" y="25"/>
                    </a:lnTo>
                    <a:lnTo>
                      <a:pt x="50" y="23"/>
                    </a:lnTo>
                    <a:lnTo>
                      <a:pt x="42" y="19"/>
                    </a:lnTo>
                    <a:lnTo>
                      <a:pt x="35" y="15"/>
                    </a:lnTo>
                    <a:lnTo>
                      <a:pt x="29" y="11"/>
                    </a:lnTo>
                    <a:lnTo>
                      <a:pt x="23" y="7"/>
                    </a:lnTo>
                    <a:lnTo>
                      <a:pt x="16" y="3"/>
                    </a:lnTo>
                    <a:lnTo>
                      <a:pt x="8" y="1"/>
                    </a:lnTo>
                    <a:lnTo>
                      <a:pt x="0" y="0"/>
                    </a:lnTo>
                    <a:lnTo>
                      <a:pt x="0" y="10"/>
                    </a:lnTo>
                    <a:lnTo>
                      <a:pt x="0" y="19"/>
                    </a:lnTo>
                    <a:lnTo>
                      <a:pt x="0" y="33"/>
                    </a:lnTo>
                    <a:lnTo>
                      <a:pt x="0" y="52"/>
                    </a:lnTo>
                    <a:lnTo>
                      <a:pt x="0" y="70"/>
                    </a:lnTo>
                    <a:lnTo>
                      <a:pt x="0" y="8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1" name="Freeform 336">
                <a:extLst>
                  <a:ext uri="{FF2B5EF4-FFF2-40B4-BE49-F238E27FC236}">
                    <a16:creationId xmlns:a16="http://schemas.microsoft.com/office/drawing/2014/main" id="{08F333E0-CCA2-480A-809E-4F31D5399612}"/>
                  </a:ext>
                </a:extLst>
              </p:cNvPr>
              <p:cNvSpPr>
                <a:spLocks/>
              </p:cNvSpPr>
              <p:nvPr>
                <p:custDataLst>
                  <p:tags r:id="rId239"/>
                </p:custDataLst>
              </p:nvPr>
            </p:nvSpPr>
            <p:spPr bwMode="auto">
              <a:xfrm>
                <a:off x="7866444" y="4587965"/>
                <a:ext cx="86872" cy="63287"/>
              </a:xfrm>
              <a:custGeom>
                <a:avLst/>
                <a:gdLst>
                  <a:gd name="T0" fmla="*/ 1296194 w 166"/>
                  <a:gd name="T1" fmla="*/ 0 h 62"/>
                  <a:gd name="T2" fmla="*/ 2592819 w 166"/>
                  <a:gd name="T3" fmla="*/ 2408882 h 62"/>
                  <a:gd name="T4" fmla="*/ 4074491 w 166"/>
                  <a:gd name="T5" fmla="*/ 4818659 h 62"/>
                  <a:gd name="T6" fmla="*/ 5555733 w 166"/>
                  <a:gd name="T7" fmla="*/ 5621620 h 62"/>
                  <a:gd name="T8" fmla="*/ 6666880 w 166"/>
                  <a:gd name="T9" fmla="*/ 6424580 h 62"/>
                  <a:gd name="T10" fmla="*/ 8889173 w 166"/>
                  <a:gd name="T11" fmla="*/ 6424580 h 62"/>
                  <a:gd name="T12" fmla="*/ 10741371 w 166"/>
                  <a:gd name="T13" fmla="*/ 5621620 h 62"/>
                  <a:gd name="T14" fmla="*/ 12778616 w 166"/>
                  <a:gd name="T15" fmla="*/ 4015699 h 62"/>
                  <a:gd name="T16" fmla="*/ 14815431 w 166"/>
                  <a:gd name="T17" fmla="*/ 2408882 h 62"/>
                  <a:gd name="T18" fmla="*/ 17038155 w 166"/>
                  <a:gd name="T19" fmla="*/ 802961 h 62"/>
                  <a:gd name="T20" fmla="*/ 19630543 w 166"/>
                  <a:gd name="T21" fmla="*/ 0 h 62"/>
                  <a:gd name="T22" fmla="*/ 20556642 w 166"/>
                  <a:gd name="T23" fmla="*/ 802961 h 62"/>
                  <a:gd name="T24" fmla="*/ 21297263 w 166"/>
                  <a:gd name="T25" fmla="*/ 1605921 h 62"/>
                  <a:gd name="T26" fmla="*/ 22223362 w 166"/>
                  <a:gd name="T27" fmla="*/ 4015699 h 62"/>
                  <a:gd name="T28" fmla="*/ 22964413 w 166"/>
                  <a:gd name="T29" fmla="*/ 6424580 h 62"/>
                  <a:gd name="T30" fmla="*/ 24445655 w 166"/>
                  <a:gd name="T31" fmla="*/ 13653017 h 62"/>
                  <a:gd name="T32" fmla="*/ 25556802 w 166"/>
                  <a:gd name="T33" fmla="*/ 20880558 h 62"/>
                  <a:gd name="T34" fmla="*/ 26853427 w 166"/>
                  <a:gd name="T35" fmla="*/ 28911956 h 62"/>
                  <a:gd name="T36" fmla="*/ 27964573 w 166"/>
                  <a:gd name="T37" fmla="*/ 36139496 h 62"/>
                  <a:gd name="T38" fmla="*/ 28705194 w 166"/>
                  <a:gd name="T39" fmla="*/ 39352235 h 62"/>
                  <a:gd name="T40" fmla="*/ 29260767 w 166"/>
                  <a:gd name="T41" fmla="*/ 41761116 h 62"/>
                  <a:gd name="T42" fmla="*/ 30001819 w 166"/>
                  <a:gd name="T43" fmla="*/ 43367933 h 62"/>
                  <a:gd name="T44" fmla="*/ 30742440 w 166"/>
                  <a:gd name="T45" fmla="*/ 44973854 h 62"/>
                  <a:gd name="T46" fmla="*/ 29446245 w 166"/>
                  <a:gd name="T47" fmla="*/ 45776815 h 62"/>
                  <a:gd name="T48" fmla="*/ 27964573 w 166"/>
                  <a:gd name="T49" fmla="*/ 47383632 h 62"/>
                  <a:gd name="T50" fmla="*/ 26482901 w 166"/>
                  <a:gd name="T51" fmla="*/ 48989553 h 62"/>
                  <a:gd name="T52" fmla="*/ 24631133 w 166"/>
                  <a:gd name="T53" fmla="*/ 49792514 h 62"/>
                  <a:gd name="T54" fmla="*/ 23149461 w 166"/>
                  <a:gd name="T55" fmla="*/ 48989553 h 62"/>
                  <a:gd name="T56" fmla="*/ 22038315 w 166"/>
                  <a:gd name="T57" fmla="*/ 46579775 h 62"/>
                  <a:gd name="T58" fmla="*/ 20741690 w 166"/>
                  <a:gd name="T59" fmla="*/ 43367933 h 62"/>
                  <a:gd name="T60" fmla="*/ 19630543 w 166"/>
                  <a:gd name="T61" fmla="*/ 40155195 h 62"/>
                  <a:gd name="T62" fmla="*/ 18519397 w 166"/>
                  <a:gd name="T63" fmla="*/ 36139496 h 62"/>
                  <a:gd name="T64" fmla="*/ 17223202 w 166"/>
                  <a:gd name="T65" fmla="*/ 32927654 h 62"/>
                  <a:gd name="T66" fmla="*/ 16112056 w 166"/>
                  <a:gd name="T67" fmla="*/ 31320837 h 62"/>
                  <a:gd name="T68" fmla="*/ 14630384 w 166"/>
                  <a:gd name="T69" fmla="*/ 30517877 h 62"/>
                  <a:gd name="T70" fmla="*/ 10370845 w 166"/>
                  <a:gd name="T71" fmla="*/ 30517877 h 62"/>
                  <a:gd name="T72" fmla="*/ 6481832 w 166"/>
                  <a:gd name="T73" fmla="*/ 31320837 h 62"/>
                  <a:gd name="T74" fmla="*/ 4815112 w 166"/>
                  <a:gd name="T75" fmla="*/ 32927654 h 62"/>
                  <a:gd name="T76" fmla="*/ 3518918 w 166"/>
                  <a:gd name="T77" fmla="*/ 34533575 h 62"/>
                  <a:gd name="T78" fmla="*/ 2222293 w 166"/>
                  <a:gd name="T79" fmla="*/ 36942457 h 62"/>
                  <a:gd name="T80" fmla="*/ 1296194 w 166"/>
                  <a:gd name="T81" fmla="*/ 40155195 h 62"/>
                  <a:gd name="T82" fmla="*/ 370526 w 166"/>
                  <a:gd name="T83" fmla="*/ 36139496 h 62"/>
                  <a:gd name="T84" fmla="*/ 185048 w 166"/>
                  <a:gd name="T85" fmla="*/ 32123798 h 62"/>
                  <a:gd name="T86" fmla="*/ 0 w 166"/>
                  <a:gd name="T87" fmla="*/ 27305138 h 62"/>
                  <a:gd name="T88" fmla="*/ 185048 w 166"/>
                  <a:gd name="T89" fmla="*/ 22487375 h 62"/>
                  <a:gd name="T90" fmla="*/ 740621 w 166"/>
                  <a:gd name="T91" fmla="*/ 12046200 h 62"/>
                  <a:gd name="T92" fmla="*/ 1296194 w 166"/>
                  <a:gd name="T93" fmla="*/ 0 h 6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166" h="62">
                    <a:moveTo>
                      <a:pt x="7" y="0"/>
                    </a:moveTo>
                    <a:lnTo>
                      <a:pt x="14" y="3"/>
                    </a:lnTo>
                    <a:lnTo>
                      <a:pt x="22" y="6"/>
                    </a:lnTo>
                    <a:lnTo>
                      <a:pt x="30" y="7"/>
                    </a:lnTo>
                    <a:lnTo>
                      <a:pt x="36" y="8"/>
                    </a:lnTo>
                    <a:lnTo>
                      <a:pt x="48" y="8"/>
                    </a:lnTo>
                    <a:lnTo>
                      <a:pt x="58" y="7"/>
                    </a:lnTo>
                    <a:lnTo>
                      <a:pt x="69" y="5"/>
                    </a:lnTo>
                    <a:lnTo>
                      <a:pt x="80" y="3"/>
                    </a:lnTo>
                    <a:lnTo>
                      <a:pt x="92" y="1"/>
                    </a:lnTo>
                    <a:lnTo>
                      <a:pt x="106" y="0"/>
                    </a:lnTo>
                    <a:lnTo>
                      <a:pt x="111" y="1"/>
                    </a:lnTo>
                    <a:lnTo>
                      <a:pt x="115" y="2"/>
                    </a:lnTo>
                    <a:lnTo>
                      <a:pt x="120" y="5"/>
                    </a:lnTo>
                    <a:lnTo>
                      <a:pt x="124" y="8"/>
                    </a:lnTo>
                    <a:lnTo>
                      <a:pt x="132" y="17"/>
                    </a:lnTo>
                    <a:lnTo>
                      <a:pt x="138" y="26"/>
                    </a:lnTo>
                    <a:lnTo>
                      <a:pt x="145" y="36"/>
                    </a:lnTo>
                    <a:lnTo>
                      <a:pt x="151" y="45"/>
                    </a:lnTo>
                    <a:lnTo>
                      <a:pt x="155" y="49"/>
                    </a:lnTo>
                    <a:lnTo>
                      <a:pt x="158" y="52"/>
                    </a:lnTo>
                    <a:lnTo>
                      <a:pt x="162" y="54"/>
                    </a:lnTo>
                    <a:lnTo>
                      <a:pt x="166" y="56"/>
                    </a:lnTo>
                    <a:lnTo>
                      <a:pt x="159" y="57"/>
                    </a:lnTo>
                    <a:lnTo>
                      <a:pt x="151" y="59"/>
                    </a:lnTo>
                    <a:lnTo>
                      <a:pt x="143" y="61"/>
                    </a:lnTo>
                    <a:lnTo>
                      <a:pt x="133" y="62"/>
                    </a:lnTo>
                    <a:lnTo>
                      <a:pt x="125" y="61"/>
                    </a:lnTo>
                    <a:lnTo>
                      <a:pt x="119" y="58"/>
                    </a:lnTo>
                    <a:lnTo>
                      <a:pt x="112" y="54"/>
                    </a:lnTo>
                    <a:lnTo>
                      <a:pt x="106" y="50"/>
                    </a:lnTo>
                    <a:lnTo>
                      <a:pt x="100" y="45"/>
                    </a:lnTo>
                    <a:lnTo>
                      <a:pt x="93" y="41"/>
                    </a:lnTo>
                    <a:lnTo>
                      <a:pt x="87" y="39"/>
                    </a:lnTo>
                    <a:lnTo>
                      <a:pt x="79" y="38"/>
                    </a:lnTo>
                    <a:lnTo>
                      <a:pt x="56" y="38"/>
                    </a:lnTo>
                    <a:lnTo>
                      <a:pt x="35" y="39"/>
                    </a:lnTo>
                    <a:lnTo>
                      <a:pt x="26" y="41"/>
                    </a:lnTo>
                    <a:lnTo>
                      <a:pt x="19" y="43"/>
                    </a:lnTo>
                    <a:lnTo>
                      <a:pt x="12" y="46"/>
                    </a:lnTo>
                    <a:lnTo>
                      <a:pt x="7" y="50"/>
                    </a:lnTo>
                    <a:lnTo>
                      <a:pt x="2" y="45"/>
                    </a:lnTo>
                    <a:lnTo>
                      <a:pt x="1" y="40"/>
                    </a:lnTo>
                    <a:lnTo>
                      <a:pt x="0" y="34"/>
                    </a:lnTo>
                    <a:lnTo>
                      <a:pt x="1" y="28"/>
                    </a:lnTo>
                    <a:lnTo>
                      <a:pt x="4" y="15"/>
                    </a:lnTo>
                    <a:lnTo>
                      <a:pt x="7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2" name="Freeform 337">
                <a:extLst>
                  <a:ext uri="{FF2B5EF4-FFF2-40B4-BE49-F238E27FC236}">
                    <a16:creationId xmlns:a16="http://schemas.microsoft.com/office/drawing/2014/main" id="{A4372113-950D-4DC6-A38C-419AB1090A5E}"/>
                  </a:ext>
                </a:extLst>
              </p:cNvPr>
              <p:cNvSpPr>
                <a:spLocks/>
              </p:cNvSpPr>
              <p:nvPr>
                <p:custDataLst>
                  <p:tags r:id="rId240"/>
                </p:custDataLst>
              </p:nvPr>
            </p:nvSpPr>
            <p:spPr bwMode="auto">
              <a:xfrm>
                <a:off x="7958745" y="4503582"/>
                <a:ext cx="103161" cy="70319"/>
              </a:xfrm>
              <a:custGeom>
                <a:avLst/>
                <a:gdLst>
                  <a:gd name="T0" fmla="*/ 6510658 w 193"/>
                  <a:gd name="T1" fmla="*/ 9639405 h 121"/>
                  <a:gd name="T2" fmla="*/ 9469725 w 193"/>
                  <a:gd name="T3" fmla="*/ 6885289 h 121"/>
                  <a:gd name="T4" fmla="*/ 13415740 w 193"/>
                  <a:gd name="T5" fmla="*/ 3305149 h 121"/>
                  <a:gd name="T6" fmla="*/ 16572019 w 193"/>
                  <a:gd name="T7" fmla="*/ 1101541 h 121"/>
                  <a:gd name="T8" fmla="*/ 18545027 w 193"/>
                  <a:gd name="T9" fmla="*/ 275517 h 121"/>
                  <a:gd name="T10" fmla="*/ 20715246 w 193"/>
                  <a:gd name="T11" fmla="*/ 275517 h 121"/>
                  <a:gd name="T12" fmla="*/ 22885466 w 193"/>
                  <a:gd name="T13" fmla="*/ 826025 h 121"/>
                  <a:gd name="T14" fmla="*/ 25844533 w 193"/>
                  <a:gd name="T15" fmla="*/ 2754116 h 121"/>
                  <a:gd name="T16" fmla="*/ 29198468 w 193"/>
                  <a:gd name="T17" fmla="*/ 5783748 h 121"/>
                  <a:gd name="T18" fmla="*/ 31960767 w 193"/>
                  <a:gd name="T19" fmla="*/ 7711314 h 121"/>
                  <a:gd name="T20" fmla="*/ 34130987 w 193"/>
                  <a:gd name="T21" fmla="*/ 8262347 h 121"/>
                  <a:gd name="T22" fmla="*/ 35314702 w 193"/>
                  <a:gd name="T23" fmla="*/ 13219545 h 121"/>
                  <a:gd name="T24" fmla="*/ 35117046 w 193"/>
                  <a:gd name="T25" fmla="*/ 18176744 h 121"/>
                  <a:gd name="T26" fmla="*/ 35906338 w 193"/>
                  <a:gd name="T27" fmla="*/ 20655868 h 121"/>
                  <a:gd name="T28" fmla="*/ 36892842 w 193"/>
                  <a:gd name="T29" fmla="*/ 24511525 h 121"/>
                  <a:gd name="T30" fmla="*/ 37090054 w 193"/>
                  <a:gd name="T31" fmla="*/ 28091665 h 121"/>
                  <a:gd name="T32" fmla="*/ 37682134 w 193"/>
                  <a:gd name="T33" fmla="*/ 30019231 h 121"/>
                  <a:gd name="T34" fmla="*/ 37090054 w 193"/>
                  <a:gd name="T35" fmla="*/ 31396289 h 121"/>
                  <a:gd name="T36" fmla="*/ 34919834 w 193"/>
                  <a:gd name="T37" fmla="*/ 32498355 h 121"/>
                  <a:gd name="T38" fmla="*/ 31368687 w 193"/>
                  <a:gd name="T39" fmla="*/ 33324380 h 121"/>
                  <a:gd name="T40" fmla="*/ 22885466 w 193"/>
                  <a:gd name="T41" fmla="*/ 32773347 h 121"/>
                  <a:gd name="T42" fmla="*/ 14204588 w 193"/>
                  <a:gd name="T43" fmla="*/ 31947322 h 121"/>
                  <a:gd name="T44" fmla="*/ 12429237 w 193"/>
                  <a:gd name="T45" fmla="*/ 30294748 h 121"/>
                  <a:gd name="T46" fmla="*/ 11048309 w 193"/>
                  <a:gd name="T47" fmla="*/ 27540632 h 121"/>
                  <a:gd name="T48" fmla="*/ 10653441 w 193"/>
                  <a:gd name="T49" fmla="*/ 23960492 h 121"/>
                  <a:gd name="T50" fmla="*/ 9272513 w 193"/>
                  <a:gd name="T51" fmla="*/ 21757409 h 121"/>
                  <a:gd name="T52" fmla="*/ 6115790 w 193"/>
                  <a:gd name="T53" fmla="*/ 20655868 h 121"/>
                  <a:gd name="T54" fmla="*/ 2564643 w 193"/>
                  <a:gd name="T55" fmla="*/ 19003293 h 121"/>
                  <a:gd name="T56" fmla="*/ 592080 w 193"/>
                  <a:gd name="T57" fmla="*/ 17075202 h 121"/>
                  <a:gd name="T58" fmla="*/ 0 w 193"/>
                  <a:gd name="T59" fmla="*/ 15973661 h 121"/>
                  <a:gd name="T60" fmla="*/ 197212 w 193"/>
                  <a:gd name="T61" fmla="*/ 14045570 h 121"/>
                  <a:gd name="T62" fmla="*/ 1380928 w 193"/>
                  <a:gd name="T63" fmla="*/ 12393521 h 121"/>
                  <a:gd name="T64" fmla="*/ 3945571 w 193"/>
                  <a:gd name="T65" fmla="*/ 10465430 h 12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93" h="121">
                    <a:moveTo>
                      <a:pt x="26" y="36"/>
                    </a:moveTo>
                    <a:lnTo>
                      <a:pt x="33" y="35"/>
                    </a:lnTo>
                    <a:lnTo>
                      <a:pt x="39" y="31"/>
                    </a:lnTo>
                    <a:lnTo>
                      <a:pt x="48" y="25"/>
                    </a:lnTo>
                    <a:lnTo>
                      <a:pt x="58" y="18"/>
                    </a:lnTo>
                    <a:lnTo>
                      <a:pt x="68" y="12"/>
                    </a:lnTo>
                    <a:lnTo>
                      <a:pt x="79" y="6"/>
                    </a:lnTo>
                    <a:lnTo>
                      <a:pt x="84" y="4"/>
                    </a:lnTo>
                    <a:lnTo>
                      <a:pt x="90" y="2"/>
                    </a:lnTo>
                    <a:lnTo>
                      <a:pt x="94" y="1"/>
                    </a:lnTo>
                    <a:lnTo>
                      <a:pt x="100" y="0"/>
                    </a:lnTo>
                    <a:lnTo>
                      <a:pt x="105" y="1"/>
                    </a:lnTo>
                    <a:lnTo>
                      <a:pt x="111" y="1"/>
                    </a:lnTo>
                    <a:lnTo>
                      <a:pt x="116" y="3"/>
                    </a:lnTo>
                    <a:lnTo>
                      <a:pt x="122" y="5"/>
                    </a:lnTo>
                    <a:lnTo>
                      <a:pt x="131" y="10"/>
                    </a:lnTo>
                    <a:lnTo>
                      <a:pt x="139" y="15"/>
                    </a:lnTo>
                    <a:lnTo>
                      <a:pt x="148" y="21"/>
                    </a:lnTo>
                    <a:lnTo>
                      <a:pt x="158" y="26"/>
                    </a:lnTo>
                    <a:lnTo>
                      <a:pt x="162" y="28"/>
                    </a:lnTo>
                    <a:lnTo>
                      <a:pt x="168" y="29"/>
                    </a:lnTo>
                    <a:lnTo>
                      <a:pt x="173" y="30"/>
                    </a:lnTo>
                    <a:lnTo>
                      <a:pt x="179" y="30"/>
                    </a:lnTo>
                    <a:lnTo>
                      <a:pt x="179" y="48"/>
                    </a:lnTo>
                    <a:lnTo>
                      <a:pt x="178" y="60"/>
                    </a:lnTo>
                    <a:lnTo>
                      <a:pt x="178" y="66"/>
                    </a:lnTo>
                    <a:lnTo>
                      <a:pt x="179" y="71"/>
                    </a:lnTo>
                    <a:lnTo>
                      <a:pt x="182" y="75"/>
                    </a:lnTo>
                    <a:lnTo>
                      <a:pt x="187" y="80"/>
                    </a:lnTo>
                    <a:lnTo>
                      <a:pt x="187" y="89"/>
                    </a:lnTo>
                    <a:lnTo>
                      <a:pt x="187" y="97"/>
                    </a:lnTo>
                    <a:lnTo>
                      <a:pt x="188" y="102"/>
                    </a:lnTo>
                    <a:lnTo>
                      <a:pt x="189" y="106"/>
                    </a:lnTo>
                    <a:lnTo>
                      <a:pt x="191" y="109"/>
                    </a:lnTo>
                    <a:lnTo>
                      <a:pt x="193" y="111"/>
                    </a:lnTo>
                    <a:lnTo>
                      <a:pt x="188" y="114"/>
                    </a:lnTo>
                    <a:lnTo>
                      <a:pt x="182" y="117"/>
                    </a:lnTo>
                    <a:lnTo>
                      <a:pt x="177" y="118"/>
                    </a:lnTo>
                    <a:lnTo>
                      <a:pt x="171" y="120"/>
                    </a:lnTo>
                    <a:lnTo>
                      <a:pt x="159" y="121"/>
                    </a:lnTo>
                    <a:lnTo>
                      <a:pt x="146" y="121"/>
                    </a:lnTo>
                    <a:lnTo>
                      <a:pt x="116" y="119"/>
                    </a:lnTo>
                    <a:lnTo>
                      <a:pt x="80" y="117"/>
                    </a:lnTo>
                    <a:lnTo>
                      <a:pt x="72" y="116"/>
                    </a:lnTo>
                    <a:lnTo>
                      <a:pt x="67" y="114"/>
                    </a:lnTo>
                    <a:lnTo>
                      <a:pt x="63" y="110"/>
                    </a:lnTo>
                    <a:lnTo>
                      <a:pt x="59" y="106"/>
                    </a:lnTo>
                    <a:lnTo>
                      <a:pt x="56" y="100"/>
                    </a:lnTo>
                    <a:lnTo>
                      <a:pt x="55" y="93"/>
                    </a:lnTo>
                    <a:lnTo>
                      <a:pt x="54" y="87"/>
                    </a:lnTo>
                    <a:lnTo>
                      <a:pt x="54" y="80"/>
                    </a:lnTo>
                    <a:lnTo>
                      <a:pt x="47" y="79"/>
                    </a:lnTo>
                    <a:lnTo>
                      <a:pt x="39" y="78"/>
                    </a:lnTo>
                    <a:lnTo>
                      <a:pt x="31" y="75"/>
                    </a:lnTo>
                    <a:lnTo>
                      <a:pt x="22" y="72"/>
                    </a:lnTo>
                    <a:lnTo>
                      <a:pt x="13" y="69"/>
                    </a:lnTo>
                    <a:lnTo>
                      <a:pt x="7" y="65"/>
                    </a:lnTo>
                    <a:lnTo>
                      <a:pt x="3" y="62"/>
                    </a:lnTo>
                    <a:lnTo>
                      <a:pt x="2" y="60"/>
                    </a:lnTo>
                    <a:lnTo>
                      <a:pt x="0" y="58"/>
                    </a:lnTo>
                    <a:lnTo>
                      <a:pt x="0" y="56"/>
                    </a:lnTo>
                    <a:lnTo>
                      <a:pt x="1" y="51"/>
                    </a:lnTo>
                    <a:lnTo>
                      <a:pt x="3" y="48"/>
                    </a:lnTo>
                    <a:lnTo>
                      <a:pt x="7" y="45"/>
                    </a:lnTo>
                    <a:lnTo>
                      <a:pt x="11" y="41"/>
                    </a:lnTo>
                    <a:lnTo>
                      <a:pt x="20" y="38"/>
                    </a:lnTo>
                    <a:lnTo>
                      <a:pt x="26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3" name="Freeform 338">
                <a:extLst>
                  <a:ext uri="{FF2B5EF4-FFF2-40B4-BE49-F238E27FC236}">
                    <a16:creationId xmlns:a16="http://schemas.microsoft.com/office/drawing/2014/main" id="{5BD7607A-EF4C-4D32-BF12-04389A4D7EDD}"/>
                  </a:ext>
                </a:extLst>
              </p:cNvPr>
              <p:cNvSpPr>
                <a:spLocks/>
              </p:cNvSpPr>
              <p:nvPr>
                <p:custDataLst>
                  <p:tags r:id="rId241"/>
                </p:custDataLst>
              </p:nvPr>
            </p:nvSpPr>
            <p:spPr bwMode="auto">
              <a:xfrm>
                <a:off x="7584112" y="4433264"/>
                <a:ext cx="200890" cy="258423"/>
              </a:xfrm>
              <a:custGeom>
                <a:avLst/>
                <a:gdLst>
                  <a:gd name="T0" fmla="*/ 7156986 w 379"/>
                  <a:gd name="T1" fmla="*/ 116256528 h 437"/>
                  <a:gd name="T2" fmla="*/ 8897743 w 379"/>
                  <a:gd name="T3" fmla="*/ 112926967 h 437"/>
                  <a:gd name="T4" fmla="*/ 4642167 w 379"/>
                  <a:gd name="T5" fmla="*/ 86290475 h 437"/>
                  <a:gd name="T6" fmla="*/ 387031 w 379"/>
                  <a:gd name="T7" fmla="*/ 81573465 h 437"/>
                  <a:gd name="T8" fmla="*/ 2901409 w 379"/>
                  <a:gd name="T9" fmla="*/ 74914342 h 437"/>
                  <a:gd name="T10" fmla="*/ 5996334 w 379"/>
                  <a:gd name="T11" fmla="*/ 61319028 h 437"/>
                  <a:gd name="T12" fmla="*/ 7543576 w 379"/>
                  <a:gd name="T13" fmla="*/ 47723187 h 437"/>
                  <a:gd name="T14" fmla="*/ 11025531 w 379"/>
                  <a:gd name="T15" fmla="*/ 44116557 h 437"/>
                  <a:gd name="T16" fmla="*/ 12572774 w 379"/>
                  <a:gd name="T17" fmla="*/ 36069986 h 437"/>
                  <a:gd name="T18" fmla="*/ 14700562 w 379"/>
                  <a:gd name="T19" fmla="*/ 21641886 h 437"/>
                  <a:gd name="T20" fmla="*/ 17408896 w 379"/>
                  <a:gd name="T21" fmla="*/ 14150504 h 437"/>
                  <a:gd name="T22" fmla="*/ 22244578 w 379"/>
                  <a:gd name="T23" fmla="*/ 8601235 h 437"/>
                  <a:gd name="T24" fmla="*/ 29595079 w 379"/>
                  <a:gd name="T25" fmla="*/ 6936718 h 437"/>
                  <a:gd name="T26" fmla="*/ 41974337 w 379"/>
                  <a:gd name="T27" fmla="*/ 10543348 h 437"/>
                  <a:gd name="T28" fmla="*/ 50679005 w 379"/>
                  <a:gd name="T29" fmla="*/ 13318246 h 437"/>
                  <a:gd name="T30" fmla="*/ 58609612 w 379"/>
                  <a:gd name="T31" fmla="*/ 12485987 h 437"/>
                  <a:gd name="T32" fmla="*/ 63638810 w 379"/>
                  <a:gd name="T33" fmla="*/ 8601235 h 437"/>
                  <a:gd name="T34" fmla="*/ 68861083 w 379"/>
                  <a:gd name="T35" fmla="*/ 1942112 h 437"/>
                  <a:gd name="T36" fmla="*/ 72343038 w 379"/>
                  <a:gd name="T37" fmla="*/ 2497303 h 437"/>
                  <a:gd name="T38" fmla="*/ 71956007 w 379"/>
                  <a:gd name="T39" fmla="*/ 9711089 h 437"/>
                  <a:gd name="T40" fmla="*/ 63638810 w 379"/>
                  <a:gd name="T41" fmla="*/ 22197076 h 437"/>
                  <a:gd name="T42" fmla="*/ 56481824 w 379"/>
                  <a:gd name="T43" fmla="*/ 26913560 h 437"/>
                  <a:gd name="T44" fmla="*/ 52419763 w 379"/>
                  <a:gd name="T45" fmla="*/ 26081301 h 437"/>
                  <a:gd name="T46" fmla="*/ 46036399 w 379"/>
                  <a:gd name="T47" fmla="*/ 19144583 h 437"/>
                  <a:gd name="T48" fmla="*/ 41007201 w 379"/>
                  <a:gd name="T49" fmla="*/ 15537953 h 437"/>
                  <a:gd name="T50" fmla="*/ 34237246 w 379"/>
                  <a:gd name="T51" fmla="*/ 15537953 h 437"/>
                  <a:gd name="T52" fmla="*/ 26693230 w 379"/>
                  <a:gd name="T53" fmla="*/ 16925402 h 437"/>
                  <a:gd name="T54" fmla="*/ 22051063 w 379"/>
                  <a:gd name="T55" fmla="*/ 21919481 h 437"/>
                  <a:gd name="T56" fmla="*/ 15281108 w 379"/>
                  <a:gd name="T57" fmla="*/ 44671221 h 437"/>
                  <a:gd name="T58" fmla="*/ 23018199 w 379"/>
                  <a:gd name="T59" fmla="*/ 46890929 h 437"/>
                  <a:gd name="T60" fmla="*/ 25726093 w 379"/>
                  <a:gd name="T61" fmla="*/ 52994861 h 437"/>
                  <a:gd name="T62" fmla="*/ 29981670 w 379"/>
                  <a:gd name="T63" fmla="*/ 46613333 h 437"/>
                  <a:gd name="T64" fmla="*/ 33270109 w 379"/>
                  <a:gd name="T65" fmla="*/ 42451513 h 437"/>
                  <a:gd name="T66" fmla="*/ 42747959 w 379"/>
                  <a:gd name="T67" fmla="*/ 41619255 h 437"/>
                  <a:gd name="T68" fmla="*/ 48357702 w 379"/>
                  <a:gd name="T69" fmla="*/ 40786996 h 437"/>
                  <a:gd name="T70" fmla="*/ 52806354 w 379"/>
                  <a:gd name="T71" fmla="*/ 48000782 h 437"/>
                  <a:gd name="T72" fmla="*/ 53967005 w 379"/>
                  <a:gd name="T73" fmla="*/ 56324423 h 437"/>
                  <a:gd name="T74" fmla="*/ 47584081 w 379"/>
                  <a:gd name="T75" fmla="*/ 53272456 h 437"/>
                  <a:gd name="T76" fmla="*/ 42167853 w 379"/>
                  <a:gd name="T77" fmla="*/ 51330344 h 437"/>
                  <a:gd name="T78" fmla="*/ 37138655 w 379"/>
                  <a:gd name="T79" fmla="*/ 54104715 h 437"/>
                  <a:gd name="T80" fmla="*/ 35978004 w 379"/>
                  <a:gd name="T81" fmla="*/ 57989467 h 437"/>
                  <a:gd name="T82" fmla="*/ 37138655 w 379"/>
                  <a:gd name="T83" fmla="*/ 64648590 h 437"/>
                  <a:gd name="T84" fmla="*/ 42554883 w 379"/>
                  <a:gd name="T85" fmla="*/ 75469532 h 437"/>
                  <a:gd name="T86" fmla="*/ 43522020 w 379"/>
                  <a:gd name="T87" fmla="*/ 82128655 h 437"/>
                  <a:gd name="T88" fmla="*/ 41587747 w 379"/>
                  <a:gd name="T89" fmla="*/ 89342442 h 437"/>
                  <a:gd name="T90" fmla="*/ 39653474 w 379"/>
                  <a:gd name="T91" fmla="*/ 95723970 h 437"/>
                  <a:gd name="T92" fmla="*/ 40620610 w 379"/>
                  <a:gd name="T93" fmla="*/ 98776463 h 437"/>
                  <a:gd name="T94" fmla="*/ 45649808 w 379"/>
                  <a:gd name="T95" fmla="*/ 102106024 h 437"/>
                  <a:gd name="T96" fmla="*/ 48744293 w 379"/>
                  <a:gd name="T97" fmla="*/ 110984328 h 437"/>
                  <a:gd name="T98" fmla="*/ 46229914 w 379"/>
                  <a:gd name="T99" fmla="*/ 119030900 h 437"/>
                  <a:gd name="T100" fmla="*/ 42747959 w 379"/>
                  <a:gd name="T101" fmla="*/ 116811192 h 437"/>
                  <a:gd name="T102" fmla="*/ 39072928 w 379"/>
                  <a:gd name="T103" fmla="*/ 115701338 h 437"/>
                  <a:gd name="T104" fmla="*/ 34237246 w 379"/>
                  <a:gd name="T105" fmla="*/ 110984328 h 437"/>
                  <a:gd name="T106" fmla="*/ 29595079 w 379"/>
                  <a:gd name="T107" fmla="*/ 98776463 h 437"/>
                  <a:gd name="T108" fmla="*/ 26500154 w 379"/>
                  <a:gd name="T109" fmla="*/ 84348363 h 437"/>
                  <a:gd name="T110" fmla="*/ 22051063 w 379"/>
                  <a:gd name="T111" fmla="*/ 72972230 h 437"/>
                  <a:gd name="T112" fmla="*/ 18762623 w 379"/>
                  <a:gd name="T113" fmla="*/ 71862376 h 437"/>
                  <a:gd name="T114" fmla="*/ 20310305 w 379"/>
                  <a:gd name="T115" fmla="*/ 105712654 h 437"/>
                  <a:gd name="T116" fmla="*/ 17989002 w 379"/>
                  <a:gd name="T117" fmla="*/ 112094182 h 437"/>
                  <a:gd name="T118" fmla="*/ 11025531 w 379"/>
                  <a:gd name="T119" fmla="*/ 118198641 h 437"/>
                  <a:gd name="T120" fmla="*/ 11412562 w 379"/>
                  <a:gd name="T121" fmla="*/ 121250607 h 437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379" h="437">
                    <a:moveTo>
                      <a:pt x="59" y="437"/>
                    </a:moveTo>
                    <a:lnTo>
                      <a:pt x="33" y="437"/>
                    </a:lnTo>
                    <a:lnTo>
                      <a:pt x="34" y="430"/>
                    </a:lnTo>
                    <a:lnTo>
                      <a:pt x="37" y="419"/>
                    </a:lnTo>
                    <a:lnTo>
                      <a:pt x="38" y="415"/>
                    </a:lnTo>
                    <a:lnTo>
                      <a:pt x="41" y="410"/>
                    </a:lnTo>
                    <a:lnTo>
                      <a:pt x="44" y="408"/>
                    </a:lnTo>
                    <a:lnTo>
                      <a:pt x="46" y="407"/>
                    </a:lnTo>
                    <a:lnTo>
                      <a:pt x="46" y="320"/>
                    </a:lnTo>
                    <a:lnTo>
                      <a:pt x="38" y="317"/>
                    </a:lnTo>
                    <a:lnTo>
                      <a:pt x="32" y="314"/>
                    </a:lnTo>
                    <a:lnTo>
                      <a:pt x="24" y="311"/>
                    </a:lnTo>
                    <a:lnTo>
                      <a:pt x="18" y="307"/>
                    </a:lnTo>
                    <a:lnTo>
                      <a:pt x="12" y="303"/>
                    </a:lnTo>
                    <a:lnTo>
                      <a:pt x="7" y="299"/>
                    </a:lnTo>
                    <a:lnTo>
                      <a:pt x="2" y="294"/>
                    </a:lnTo>
                    <a:lnTo>
                      <a:pt x="0" y="290"/>
                    </a:lnTo>
                    <a:lnTo>
                      <a:pt x="5" y="284"/>
                    </a:lnTo>
                    <a:lnTo>
                      <a:pt x="11" y="278"/>
                    </a:lnTo>
                    <a:lnTo>
                      <a:pt x="15" y="270"/>
                    </a:lnTo>
                    <a:lnTo>
                      <a:pt x="19" y="264"/>
                    </a:lnTo>
                    <a:lnTo>
                      <a:pt x="24" y="250"/>
                    </a:lnTo>
                    <a:lnTo>
                      <a:pt x="28" y="236"/>
                    </a:lnTo>
                    <a:lnTo>
                      <a:pt x="31" y="221"/>
                    </a:lnTo>
                    <a:lnTo>
                      <a:pt x="32" y="204"/>
                    </a:lnTo>
                    <a:lnTo>
                      <a:pt x="33" y="189"/>
                    </a:lnTo>
                    <a:lnTo>
                      <a:pt x="33" y="173"/>
                    </a:lnTo>
                    <a:lnTo>
                      <a:pt x="39" y="172"/>
                    </a:lnTo>
                    <a:lnTo>
                      <a:pt x="45" y="170"/>
                    </a:lnTo>
                    <a:lnTo>
                      <a:pt x="50" y="168"/>
                    </a:lnTo>
                    <a:lnTo>
                      <a:pt x="54" y="164"/>
                    </a:lnTo>
                    <a:lnTo>
                      <a:pt x="57" y="159"/>
                    </a:lnTo>
                    <a:lnTo>
                      <a:pt x="59" y="154"/>
                    </a:lnTo>
                    <a:lnTo>
                      <a:pt x="61" y="149"/>
                    </a:lnTo>
                    <a:lnTo>
                      <a:pt x="63" y="143"/>
                    </a:lnTo>
                    <a:lnTo>
                      <a:pt x="65" y="130"/>
                    </a:lnTo>
                    <a:lnTo>
                      <a:pt x="66" y="115"/>
                    </a:lnTo>
                    <a:lnTo>
                      <a:pt x="69" y="100"/>
                    </a:lnTo>
                    <a:lnTo>
                      <a:pt x="72" y="86"/>
                    </a:lnTo>
                    <a:lnTo>
                      <a:pt x="76" y="78"/>
                    </a:lnTo>
                    <a:lnTo>
                      <a:pt x="78" y="71"/>
                    </a:lnTo>
                    <a:lnTo>
                      <a:pt x="81" y="64"/>
                    </a:lnTo>
                    <a:lnTo>
                      <a:pt x="86" y="57"/>
                    </a:lnTo>
                    <a:lnTo>
                      <a:pt x="90" y="51"/>
                    </a:lnTo>
                    <a:lnTo>
                      <a:pt x="95" y="44"/>
                    </a:lnTo>
                    <a:lnTo>
                      <a:pt x="101" y="39"/>
                    </a:lnTo>
                    <a:lnTo>
                      <a:pt x="108" y="35"/>
                    </a:lnTo>
                    <a:lnTo>
                      <a:pt x="115" y="31"/>
                    </a:lnTo>
                    <a:lnTo>
                      <a:pt x="123" y="29"/>
                    </a:lnTo>
                    <a:lnTo>
                      <a:pt x="132" y="27"/>
                    </a:lnTo>
                    <a:lnTo>
                      <a:pt x="142" y="25"/>
                    </a:lnTo>
                    <a:lnTo>
                      <a:pt x="153" y="25"/>
                    </a:lnTo>
                    <a:lnTo>
                      <a:pt x="165" y="26"/>
                    </a:lnTo>
                    <a:lnTo>
                      <a:pt x="178" y="28"/>
                    </a:lnTo>
                    <a:lnTo>
                      <a:pt x="192" y="30"/>
                    </a:lnTo>
                    <a:lnTo>
                      <a:pt x="217" y="38"/>
                    </a:lnTo>
                    <a:lnTo>
                      <a:pt x="237" y="44"/>
                    </a:lnTo>
                    <a:lnTo>
                      <a:pt x="246" y="46"/>
                    </a:lnTo>
                    <a:lnTo>
                      <a:pt x="254" y="47"/>
                    </a:lnTo>
                    <a:lnTo>
                      <a:pt x="262" y="48"/>
                    </a:lnTo>
                    <a:lnTo>
                      <a:pt x="272" y="50"/>
                    </a:lnTo>
                    <a:lnTo>
                      <a:pt x="283" y="48"/>
                    </a:lnTo>
                    <a:lnTo>
                      <a:pt x="294" y="47"/>
                    </a:lnTo>
                    <a:lnTo>
                      <a:pt x="303" y="45"/>
                    </a:lnTo>
                    <a:lnTo>
                      <a:pt x="311" y="42"/>
                    </a:lnTo>
                    <a:lnTo>
                      <a:pt x="317" y="39"/>
                    </a:lnTo>
                    <a:lnTo>
                      <a:pt x="324" y="35"/>
                    </a:lnTo>
                    <a:lnTo>
                      <a:pt x="329" y="31"/>
                    </a:lnTo>
                    <a:lnTo>
                      <a:pt x="334" y="27"/>
                    </a:lnTo>
                    <a:lnTo>
                      <a:pt x="343" y="18"/>
                    </a:lnTo>
                    <a:lnTo>
                      <a:pt x="351" y="10"/>
                    </a:lnTo>
                    <a:lnTo>
                      <a:pt x="356" y="7"/>
                    </a:lnTo>
                    <a:lnTo>
                      <a:pt x="360" y="4"/>
                    </a:lnTo>
                    <a:lnTo>
                      <a:pt x="366" y="2"/>
                    </a:lnTo>
                    <a:lnTo>
                      <a:pt x="371" y="0"/>
                    </a:lnTo>
                    <a:lnTo>
                      <a:pt x="374" y="9"/>
                    </a:lnTo>
                    <a:lnTo>
                      <a:pt x="379" y="18"/>
                    </a:lnTo>
                    <a:lnTo>
                      <a:pt x="378" y="23"/>
                    </a:lnTo>
                    <a:lnTo>
                      <a:pt x="375" y="29"/>
                    </a:lnTo>
                    <a:lnTo>
                      <a:pt x="372" y="35"/>
                    </a:lnTo>
                    <a:lnTo>
                      <a:pt x="369" y="41"/>
                    </a:lnTo>
                    <a:lnTo>
                      <a:pt x="358" y="55"/>
                    </a:lnTo>
                    <a:lnTo>
                      <a:pt x="344" y="68"/>
                    </a:lnTo>
                    <a:lnTo>
                      <a:pt x="329" y="80"/>
                    </a:lnTo>
                    <a:lnTo>
                      <a:pt x="314" y="89"/>
                    </a:lnTo>
                    <a:lnTo>
                      <a:pt x="306" y="93"/>
                    </a:lnTo>
                    <a:lnTo>
                      <a:pt x="299" y="96"/>
                    </a:lnTo>
                    <a:lnTo>
                      <a:pt x="292" y="97"/>
                    </a:lnTo>
                    <a:lnTo>
                      <a:pt x="285" y="98"/>
                    </a:lnTo>
                    <a:lnTo>
                      <a:pt x="280" y="98"/>
                    </a:lnTo>
                    <a:lnTo>
                      <a:pt x="276" y="96"/>
                    </a:lnTo>
                    <a:lnTo>
                      <a:pt x="271" y="94"/>
                    </a:lnTo>
                    <a:lnTo>
                      <a:pt x="266" y="91"/>
                    </a:lnTo>
                    <a:lnTo>
                      <a:pt x="257" y="85"/>
                    </a:lnTo>
                    <a:lnTo>
                      <a:pt x="248" y="77"/>
                    </a:lnTo>
                    <a:lnTo>
                      <a:pt x="238" y="69"/>
                    </a:lnTo>
                    <a:lnTo>
                      <a:pt x="228" y="62"/>
                    </a:lnTo>
                    <a:lnTo>
                      <a:pt x="223" y="60"/>
                    </a:lnTo>
                    <a:lnTo>
                      <a:pt x="217" y="57"/>
                    </a:lnTo>
                    <a:lnTo>
                      <a:pt x="212" y="56"/>
                    </a:lnTo>
                    <a:lnTo>
                      <a:pt x="205" y="56"/>
                    </a:lnTo>
                    <a:lnTo>
                      <a:pt x="199" y="56"/>
                    </a:lnTo>
                    <a:lnTo>
                      <a:pt x="190" y="56"/>
                    </a:lnTo>
                    <a:lnTo>
                      <a:pt x="177" y="56"/>
                    </a:lnTo>
                    <a:lnTo>
                      <a:pt x="159" y="56"/>
                    </a:lnTo>
                    <a:lnTo>
                      <a:pt x="151" y="56"/>
                    </a:lnTo>
                    <a:lnTo>
                      <a:pt x="145" y="58"/>
                    </a:lnTo>
                    <a:lnTo>
                      <a:pt x="138" y="61"/>
                    </a:lnTo>
                    <a:lnTo>
                      <a:pt x="132" y="64"/>
                    </a:lnTo>
                    <a:lnTo>
                      <a:pt x="125" y="69"/>
                    </a:lnTo>
                    <a:lnTo>
                      <a:pt x="120" y="74"/>
                    </a:lnTo>
                    <a:lnTo>
                      <a:pt x="114" y="79"/>
                    </a:lnTo>
                    <a:lnTo>
                      <a:pt x="109" y="85"/>
                    </a:lnTo>
                    <a:lnTo>
                      <a:pt x="92" y="110"/>
                    </a:lnTo>
                    <a:lnTo>
                      <a:pt x="79" y="129"/>
                    </a:lnTo>
                    <a:lnTo>
                      <a:pt x="79" y="161"/>
                    </a:lnTo>
                    <a:lnTo>
                      <a:pt x="91" y="161"/>
                    </a:lnTo>
                    <a:lnTo>
                      <a:pt x="102" y="163"/>
                    </a:lnTo>
                    <a:lnTo>
                      <a:pt x="111" y="165"/>
                    </a:lnTo>
                    <a:lnTo>
                      <a:pt x="119" y="169"/>
                    </a:lnTo>
                    <a:lnTo>
                      <a:pt x="124" y="173"/>
                    </a:lnTo>
                    <a:lnTo>
                      <a:pt x="128" y="178"/>
                    </a:lnTo>
                    <a:lnTo>
                      <a:pt x="132" y="184"/>
                    </a:lnTo>
                    <a:lnTo>
                      <a:pt x="133" y="191"/>
                    </a:lnTo>
                    <a:lnTo>
                      <a:pt x="139" y="186"/>
                    </a:lnTo>
                    <a:lnTo>
                      <a:pt x="145" y="180"/>
                    </a:lnTo>
                    <a:lnTo>
                      <a:pt x="150" y="174"/>
                    </a:lnTo>
                    <a:lnTo>
                      <a:pt x="155" y="168"/>
                    </a:lnTo>
                    <a:lnTo>
                      <a:pt x="159" y="163"/>
                    </a:lnTo>
                    <a:lnTo>
                      <a:pt x="164" y="157"/>
                    </a:lnTo>
                    <a:lnTo>
                      <a:pt x="168" y="155"/>
                    </a:lnTo>
                    <a:lnTo>
                      <a:pt x="172" y="153"/>
                    </a:lnTo>
                    <a:lnTo>
                      <a:pt x="184" y="150"/>
                    </a:lnTo>
                    <a:lnTo>
                      <a:pt x="196" y="149"/>
                    </a:lnTo>
                    <a:lnTo>
                      <a:pt x="209" y="149"/>
                    </a:lnTo>
                    <a:lnTo>
                      <a:pt x="221" y="150"/>
                    </a:lnTo>
                    <a:lnTo>
                      <a:pt x="232" y="150"/>
                    </a:lnTo>
                    <a:lnTo>
                      <a:pt x="242" y="149"/>
                    </a:lnTo>
                    <a:lnTo>
                      <a:pt x="246" y="148"/>
                    </a:lnTo>
                    <a:lnTo>
                      <a:pt x="250" y="147"/>
                    </a:lnTo>
                    <a:lnTo>
                      <a:pt x="255" y="144"/>
                    </a:lnTo>
                    <a:lnTo>
                      <a:pt x="259" y="141"/>
                    </a:lnTo>
                    <a:lnTo>
                      <a:pt x="268" y="158"/>
                    </a:lnTo>
                    <a:lnTo>
                      <a:pt x="273" y="173"/>
                    </a:lnTo>
                    <a:lnTo>
                      <a:pt x="276" y="179"/>
                    </a:lnTo>
                    <a:lnTo>
                      <a:pt x="278" y="187"/>
                    </a:lnTo>
                    <a:lnTo>
                      <a:pt x="278" y="194"/>
                    </a:lnTo>
                    <a:lnTo>
                      <a:pt x="279" y="203"/>
                    </a:lnTo>
                    <a:lnTo>
                      <a:pt x="268" y="200"/>
                    </a:lnTo>
                    <a:lnTo>
                      <a:pt x="259" y="198"/>
                    </a:lnTo>
                    <a:lnTo>
                      <a:pt x="252" y="195"/>
                    </a:lnTo>
                    <a:lnTo>
                      <a:pt x="246" y="192"/>
                    </a:lnTo>
                    <a:lnTo>
                      <a:pt x="240" y="189"/>
                    </a:lnTo>
                    <a:lnTo>
                      <a:pt x="235" y="187"/>
                    </a:lnTo>
                    <a:lnTo>
                      <a:pt x="227" y="185"/>
                    </a:lnTo>
                    <a:lnTo>
                      <a:pt x="218" y="185"/>
                    </a:lnTo>
                    <a:lnTo>
                      <a:pt x="210" y="186"/>
                    </a:lnTo>
                    <a:lnTo>
                      <a:pt x="202" y="188"/>
                    </a:lnTo>
                    <a:lnTo>
                      <a:pt x="196" y="191"/>
                    </a:lnTo>
                    <a:lnTo>
                      <a:pt x="192" y="195"/>
                    </a:lnTo>
                    <a:lnTo>
                      <a:pt x="189" y="199"/>
                    </a:lnTo>
                    <a:lnTo>
                      <a:pt x="187" y="203"/>
                    </a:lnTo>
                    <a:lnTo>
                      <a:pt x="186" y="206"/>
                    </a:lnTo>
                    <a:lnTo>
                      <a:pt x="186" y="209"/>
                    </a:lnTo>
                    <a:lnTo>
                      <a:pt x="186" y="215"/>
                    </a:lnTo>
                    <a:lnTo>
                      <a:pt x="188" y="223"/>
                    </a:lnTo>
                    <a:lnTo>
                      <a:pt x="189" y="228"/>
                    </a:lnTo>
                    <a:lnTo>
                      <a:pt x="192" y="233"/>
                    </a:lnTo>
                    <a:lnTo>
                      <a:pt x="198" y="243"/>
                    </a:lnTo>
                    <a:lnTo>
                      <a:pt x="205" y="252"/>
                    </a:lnTo>
                    <a:lnTo>
                      <a:pt x="213" y="261"/>
                    </a:lnTo>
                    <a:lnTo>
                      <a:pt x="220" y="272"/>
                    </a:lnTo>
                    <a:lnTo>
                      <a:pt x="222" y="277"/>
                    </a:lnTo>
                    <a:lnTo>
                      <a:pt x="224" y="283"/>
                    </a:lnTo>
                    <a:lnTo>
                      <a:pt x="225" y="289"/>
                    </a:lnTo>
                    <a:lnTo>
                      <a:pt x="225" y="296"/>
                    </a:lnTo>
                    <a:lnTo>
                      <a:pt x="225" y="302"/>
                    </a:lnTo>
                    <a:lnTo>
                      <a:pt x="222" y="309"/>
                    </a:lnTo>
                    <a:lnTo>
                      <a:pt x="220" y="316"/>
                    </a:lnTo>
                    <a:lnTo>
                      <a:pt x="215" y="322"/>
                    </a:lnTo>
                    <a:lnTo>
                      <a:pt x="212" y="329"/>
                    </a:lnTo>
                    <a:lnTo>
                      <a:pt x="209" y="335"/>
                    </a:lnTo>
                    <a:lnTo>
                      <a:pt x="206" y="340"/>
                    </a:lnTo>
                    <a:lnTo>
                      <a:pt x="205" y="345"/>
                    </a:lnTo>
                    <a:lnTo>
                      <a:pt x="205" y="348"/>
                    </a:lnTo>
                    <a:lnTo>
                      <a:pt x="206" y="351"/>
                    </a:lnTo>
                    <a:lnTo>
                      <a:pt x="209" y="354"/>
                    </a:lnTo>
                    <a:lnTo>
                      <a:pt x="210" y="356"/>
                    </a:lnTo>
                    <a:lnTo>
                      <a:pt x="215" y="361"/>
                    </a:lnTo>
                    <a:lnTo>
                      <a:pt x="222" y="364"/>
                    </a:lnTo>
                    <a:lnTo>
                      <a:pt x="228" y="366"/>
                    </a:lnTo>
                    <a:lnTo>
                      <a:pt x="236" y="368"/>
                    </a:lnTo>
                    <a:lnTo>
                      <a:pt x="244" y="369"/>
                    </a:lnTo>
                    <a:lnTo>
                      <a:pt x="252" y="369"/>
                    </a:lnTo>
                    <a:lnTo>
                      <a:pt x="252" y="390"/>
                    </a:lnTo>
                    <a:lnTo>
                      <a:pt x="252" y="400"/>
                    </a:lnTo>
                    <a:lnTo>
                      <a:pt x="252" y="411"/>
                    </a:lnTo>
                    <a:lnTo>
                      <a:pt x="252" y="431"/>
                    </a:lnTo>
                    <a:lnTo>
                      <a:pt x="245" y="430"/>
                    </a:lnTo>
                    <a:lnTo>
                      <a:pt x="239" y="429"/>
                    </a:lnTo>
                    <a:lnTo>
                      <a:pt x="234" y="427"/>
                    </a:lnTo>
                    <a:lnTo>
                      <a:pt x="229" y="425"/>
                    </a:lnTo>
                    <a:lnTo>
                      <a:pt x="225" y="423"/>
                    </a:lnTo>
                    <a:lnTo>
                      <a:pt x="221" y="421"/>
                    </a:lnTo>
                    <a:lnTo>
                      <a:pt x="217" y="419"/>
                    </a:lnTo>
                    <a:lnTo>
                      <a:pt x="212" y="419"/>
                    </a:lnTo>
                    <a:lnTo>
                      <a:pt x="207" y="418"/>
                    </a:lnTo>
                    <a:lnTo>
                      <a:pt x="202" y="417"/>
                    </a:lnTo>
                    <a:lnTo>
                      <a:pt x="198" y="416"/>
                    </a:lnTo>
                    <a:lnTo>
                      <a:pt x="193" y="414"/>
                    </a:lnTo>
                    <a:lnTo>
                      <a:pt x="186" y="408"/>
                    </a:lnTo>
                    <a:lnTo>
                      <a:pt x="177" y="400"/>
                    </a:lnTo>
                    <a:lnTo>
                      <a:pt x="170" y="391"/>
                    </a:lnTo>
                    <a:lnTo>
                      <a:pt x="164" y="379"/>
                    </a:lnTo>
                    <a:lnTo>
                      <a:pt x="158" y="368"/>
                    </a:lnTo>
                    <a:lnTo>
                      <a:pt x="153" y="356"/>
                    </a:lnTo>
                    <a:lnTo>
                      <a:pt x="148" y="343"/>
                    </a:lnTo>
                    <a:lnTo>
                      <a:pt x="144" y="330"/>
                    </a:lnTo>
                    <a:lnTo>
                      <a:pt x="140" y="317"/>
                    </a:lnTo>
                    <a:lnTo>
                      <a:pt x="137" y="304"/>
                    </a:lnTo>
                    <a:lnTo>
                      <a:pt x="134" y="282"/>
                    </a:lnTo>
                    <a:lnTo>
                      <a:pt x="133" y="264"/>
                    </a:lnTo>
                    <a:lnTo>
                      <a:pt x="122" y="264"/>
                    </a:lnTo>
                    <a:lnTo>
                      <a:pt x="114" y="263"/>
                    </a:lnTo>
                    <a:lnTo>
                      <a:pt x="109" y="261"/>
                    </a:lnTo>
                    <a:lnTo>
                      <a:pt x="104" y="260"/>
                    </a:lnTo>
                    <a:lnTo>
                      <a:pt x="101" y="259"/>
                    </a:lnTo>
                    <a:lnTo>
                      <a:pt x="97" y="259"/>
                    </a:lnTo>
                    <a:lnTo>
                      <a:pt x="92" y="261"/>
                    </a:lnTo>
                    <a:lnTo>
                      <a:pt x="86" y="264"/>
                    </a:lnTo>
                    <a:lnTo>
                      <a:pt x="86" y="296"/>
                    </a:lnTo>
                    <a:lnTo>
                      <a:pt x="105" y="381"/>
                    </a:lnTo>
                    <a:lnTo>
                      <a:pt x="104" y="389"/>
                    </a:lnTo>
                    <a:lnTo>
                      <a:pt x="101" y="394"/>
                    </a:lnTo>
                    <a:lnTo>
                      <a:pt x="98" y="399"/>
                    </a:lnTo>
                    <a:lnTo>
                      <a:pt x="93" y="404"/>
                    </a:lnTo>
                    <a:lnTo>
                      <a:pt x="83" y="411"/>
                    </a:lnTo>
                    <a:lnTo>
                      <a:pt x="72" y="416"/>
                    </a:lnTo>
                    <a:lnTo>
                      <a:pt x="64" y="421"/>
                    </a:lnTo>
                    <a:lnTo>
                      <a:pt x="57" y="426"/>
                    </a:lnTo>
                    <a:lnTo>
                      <a:pt x="56" y="428"/>
                    </a:lnTo>
                    <a:lnTo>
                      <a:pt x="55" y="431"/>
                    </a:lnTo>
                    <a:lnTo>
                      <a:pt x="56" y="434"/>
                    </a:lnTo>
                    <a:lnTo>
                      <a:pt x="59" y="4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4" name="Freeform 339">
                <a:extLst>
                  <a:ext uri="{FF2B5EF4-FFF2-40B4-BE49-F238E27FC236}">
                    <a16:creationId xmlns:a16="http://schemas.microsoft.com/office/drawing/2014/main" id="{DBB2340C-EB05-4FF4-8033-F35586D2AB32}"/>
                  </a:ext>
                </a:extLst>
              </p:cNvPr>
              <p:cNvSpPr>
                <a:spLocks/>
              </p:cNvSpPr>
              <p:nvPr>
                <p:custDataLst>
                  <p:tags r:id="rId242"/>
                </p:custDataLst>
              </p:nvPr>
            </p:nvSpPr>
            <p:spPr bwMode="auto">
              <a:xfrm>
                <a:off x="7180520" y="4703991"/>
                <a:ext cx="302241" cy="107237"/>
              </a:xfrm>
              <a:custGeom>
                <a:avLst/>
                <a:gdLst>
                  <a:gd name="T0" fmla="*/ 2071259 w 578"/>
                  <a:gd name="T1" fmla="*/ 13398673 h 184"/>
                  <a:gd name="T2" fmla="*/ 4519623 w 578"/>
                  <a:gd name="T3" fmla="*/ 8575088 h 184"/>
                  <a:gd name="T4" fmla="*/ 7720897 w 578"/>
                  <a:gd name="T5" fmla="*/ 1876011 h 184"/>
                  <a:gd name="T6" fmla="*/ 10168827 w 578"/>
                  <a:gd name="T7" fmla="*/ 0 h 184"/>
                  <a:gd name="T8" fmla="*/ 14876787 w 578"/>
                  <a:gd name="T9" fmla="*/ 535781 h 184"/>
                  <a:gd name="T10" fmla="*/ 17890158 w 578"/>
                  <a:gd name="T11" fmla="*/ 535781 h 184"/>
                  <a:gd name="T12" fmla="*/ 19019739 w 578"/>
                  <a:gd name="T13" fmla="*/ 1339712 h 184"/>
                  <a:gd name="T14" fmla="*/ 21656439 w 578"/>
                  <a:gd name="T15" fmla="*/ 4019654 h 184"/>
                  <a:gd name="T16" fmla="*/ 27682314 w 578"/>
                  <a:gd name="T17" fmla="*/ 7235376 h 184"/>
                  <a:gd name="T18" fmla="*/ 31636930 w 578"/>
                  <a:gd name="T19" fmla="*/ 9915318 h 184"/>
                  <a:gd name="T20" fmla="*/ 33520288 w 578"/>
                  <a:gd name="T21" fmla="*/ 14202603 h 184"/>
                  <a:gd name="T22" fmla="*/ 36156554 w 578"/>
                  <a:gd name="T23" fmla="*/ 16346246 h 184"/>
                  <a:gd name="T24" fmla="*/ 43500779 w 578"/>
                  <a:gd name="T25" fmla="*/ 16078614 h 184"/>
                  <a:gd name="T26" fmla="*/ 52163355 w 578"/>
                  <a:gd name="T27" fmla="*/ 13666822 h 184"/>
                  <a:gd name="T28" fmla="*/ 56306307 w 578"/>
                  <a:gd name="T29" fmla="*/ 10451099 h 184"/>
                  <a:gd name="T30" fmla="*/ 59130909 w 578"/>
                  <a:gd name="T31" fmla="*/ 9111387 h 184"/>
                  <a:gd name="T32" fmla="*/ 61579273 w 578"/>
                  <a:gd name="T33" fmla="*/ 9379019 h 184"/>
                  <a:gd name="T34" fmla="*/ 63838868 w 578"/>
                  <a:gd name="T35" fmla="*/ 8307457 h 184"/>
                  <a:gd name="T36" fmla="*/ 68923499 w 578"/>
                  <a:gd name="T37" fmla="*/ 9111387 h 184"/>
                  <a:gd name="T38" fmla="*/ 75137710 w 578"/>
                  <a:gd name="T39" fmla="*/ 15810465 h 184"/>
                  <a:gd name="T40" fmla="*/ 80599012 w 578"/>
                  <a:gd name="T41" fmla="*/ 23849772 h 184"/>
                  <a:gd name="T42" fmla="*/ 85871978 w 578"/>
                  <a:gd name="T43" fmla="*/ 28137575 h 184"/>
                  <a:gd name="T44" fmla="*/ 90203266 w 578"/>
                  <a:gd name="T45" fmla="*/ 28673356 h 184"/>
                  <a:gd name="T46" fmla="*/ 92839532 w 578"/>
                  <a:gd name="T47" fmla="*/ 28941505 h 184"/>
                  <a:gd name="T48" fmla="*/ 95099127 w 578"/>
                  <a:gd name="T49" fmla="*/ 33496940 h 184"/>
                  <a:gd name="T50" fmla="*/ 98300834 w 578"/>
                  <a:gd name="T51" fmla="*/ 37516594 h 184"/>
                  <a:gd name="T52" fmla="*/ 100560429 w 578"/>
                  <a:gd name="T53" fmla="*/ 37248444 h 184"/>
                  <a:gd name="T54" fmla="*/ 102820024 w 578"/>
                  <a:gd name="T55" fmla="*/ 34300871 h 184"/>
                  <a:gd name="T56" fmla="*/ 105080053 w 578"/>
                  <a:gd name="T57" fmla="*/ 35908732 h 184"/>
                  <a:gd name="T58" fmla="*/ 107527983 w 578"/>
                  <a:gd name="T59" fmla="*/ 38856306 h 184"/>
                  <a:gd name="T60" fmla="*/ 108846333 w 578"/>
                  <a:gd name="T61" fmla="*/ 42875959 h 184"/>
                  <a:gd name="T62" fmla="*/ 108281326 w 578"/>
                  <a:gd name="T63" fmla="*/ 46359832 h 184"/>
                  <a:gd name="T64" fmla="*/ 106775074 w 578"/>
                  <a:gd name="T65" fmla="*/ 48771624 h 184"/>
                  <a:gd name="T66" fmla="*/ 103761703 w 578"/>
                  <a:gd name="T67" fmla="*/ 47699543 h 184"/>
                  <a:gd name="T68" fmla="*/ 99053743 w 578"/>
                  <a:gd name="T69" fmla="*/ 45555901 h 184"/>
                  <a:gd name="T70" fmla="*/ 92462861 w 578"/>
                  <a:gd name="T71" fmla="*/ 46091682 h 184"/>
                  <a:gd name="T72" fmla="*/ 87001559 w 578"/>
                  <a:gd name="T73" fmla="*/ 45555901 h 184"/>
                  <a:gd name="T74" fmla="*/ 84930300 w 578"/>
                  <a:gd name="T75" fmla="*/ 42875959 h 184"/>
                  <a:gd name="T76" fmla="*/ 82482369 w 578"/>
                  <a:gd name="T77" fmla="*/ 41268098 h 184"/>
                  <a:gd name="T78" fmla="*/ 80222340 w 578"/>
                  <a:gd name="T79" fmla="*/ 42875959 h 184"/>
                  <a:gd name="T80" fmla="*/ 78339417 w 578"/>
                  <a:gd name="T81" fmla="*/ 45555901 h 184"/>
                  <a:gd name="T82" fmla="*/ 74949374 w 578"/>
                  <a:gd name="T83" fmla="*/ 45823533 h 184"/>
                  <a:gd name="T84" fmla="*/ 61767609 w 578"/>
                  <a:gd name="T85" fmla="*/ 40999948 h 184"/>
                  <a:gd name="T86" fmla="*/ 52163355 w 578"/>
                  <a:gd name="T87" fmla="*/ 35372951 h 184"/>
                  <a:gd name="T88" fmla="*/ 50092096 w 578"/>
                  <a:gd name="T89" fmla="*/ 32961159 h 184"/>
                  <a:gd name="T90" fmla="*/ 43312444 w 578"/>
                  <a:gd name="T91" fmla="*/ 31889079 h 184"/>
                  <a:gd name="T92" fmla="*/ 37851575 w 578"/>
                  <a:gd name="T93" fmla="*/ 30281217 h 184"/>
                  <a:gd name="T94" fmla="*/ 31636930 w 578"/>
                  <a:gd name="T95" fmla="*/ 29745436 h 184"/>
                  <a:gd name="T96" fmla="*/ 27493978 w 578"/>
                  <a:gd name="T97" fmla="*/ 29745436 h 184"/>
                  <a:gd name="T98" fmla="*/ 23351026 w 578"/>
                  <a:gd name="T99" fmla="*/ 28137575 h 184"/>
                  <a:gd name="T100" fmla="*/ 22597683 w 578"/>
                  <a:gd name="T101" fmla="*/ 26529713 h 184"/>
                  <a:gd name="T102" fmla="*/ 12993863 w 578"/>
                  <a:gd name="T103" fmla="*/ 25993414 h 184"/>
                  <a:gd name="T104" fmla="*/ 8662576 w 578"/>
                  <a:gd name="T105" fmla="*/ 23581622 h 184"/>
                  <a:gd name="T106" fmla="*/ 0 w 578"/>
                  <a:gd name="T107" fmla="*/ 14738385 h 18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578" h="184">
                    <a:moveTo>
                      <a:pt x="0" y="55"/>
                    </a:moveTo>
                    <a:lnTo>
                      <a:pt x="6" y="53"/>
                    </a:lnTo>
                    <a:lnTo>
                      <a:pt x="11" y="50"/>
                    </a:lnTo>
                    <a:lnTo>
                      <a:pt x="14" y="46"/>
                    </a:lnTo>
                    <a:lnTo>
                      <a:pt x="19" y="42"/>
                    </a:lnTo>
                    <a:lnTo>
                      <a:pt x="24" y="32"/>
                    </a:lnTo>
                    <a:lnTo>
                      <a:pt x="30" y="23"/>
                    </a:lnTo>
                    <a:lnTo>
                      <a:pt x="35" y="14"/>
                    </a:lnTo>
                    <a:lnTo>
                      <a:pt x="41" y="7"/>
                    </a:lnTo>
                    <a:lnTo>
                      <a:pt x="44" y="4"/>
                    </a:lnTo>
                    <a:lnTo>
                      <a:pt x="48" y="2"/>
                    </a:lnTo>
                    <a:lnTo>
                      <a:pt x="54" y="0"/>
                    </a:lnTo>
                    <a:lnTo>
                      <a:pt x="59" y="0"/>
                    </a:lnTo>
                    <a:lnTo>
                      <a:pt x="69" y="1"/>
                    </a:lnTo>
                    <a:lnTo>
                      <a:pt x="79" y="2"/>
                    </a:lnTo>
                    <a:lnTo>
                      <a:pt x="85" y="3"/>
                    </a:lnTo>
                    <a:lnTo>
                      <a:pt x="89" y="3"/>
                    </a:lnTo>
                    <a:lnTo>
                      <a:pt x="95" y="2"/>
                    </a:lnTo>
                    <a:lnTo>
                      <a:pt x="99" y="0"/>
                    </a:lnTo>
                    <a:lnTo>
                      <a:pt x="100" y="2"/>
                    </a:lnTo>
                    <a:lnTo>
                      <a:pt x="101" y="5"/>
                    </a:lnTo>
                    <a:lnTo>
                      <a:pt x="103" y="7"/>
                    </a:lnTo>
                    <a:lnTo>
                      <a:pt x="107" y="10"/>
                    </a:lnTo>
                    <a:lnTo>
                      <a:pt x="115" y="15"/>
                    </a:lnTo>
                    <a:lnTo>
                      <a:pt x="125" y="20"/>
                    </a:lnTo>
                    <a:lnTo>
                      <a:pt x="136" y="24"/>
                    </a:lnTo>
                    <a:lnTo>
                      <a:pt x="147" y="27"/>
                    </a:lnTo>
                    <a:lnTo>
                      <a:pt x="157" y="29"/>
                    </a:lnTo>
                    <a:lnTo>
                      <a:pt x="166" y="30"/>
                    </a:lnTo>
                    <a:lnTo>
                      <a:pt x="168" y="37"/>
                    </a:lnTo>
                    <a:lnTo>
                      <a:pt x="171" y="44"/>
                    </a:lnTo>
                    <a:lnTo>
                      <a:pt x="174" y="49"/>
                    </a:lnTo>
                    <a:lnTo>
                      <a:pt x="178" y="53"/>
                    </a:lnTo>
                    <a:lnTo>
                      <a:pt x="181" y="57"/>
                    </a:lnTo>
                    <a:lnTo>
                      <a:pt x="187" y="59"/>
                    </a:lnTo>
                    <a:lnTo>
                      <a:pt x="192" y="61"/>
                    </a:lnTo>
                    <a:lnTo>
                      <a:pt x="199" y="61"/>
                    </a:lnTo>
                    <a:lnTo>
                      <a:pt x="214" y="61"/>
                    </a:lnTo>
                    <a:lnTo>
                      <a:pt x="231" y="60"/>
                    </a:lnTo>
                    <a:lnTo>
                      <a:pt x="247" y="58"/>
                    </a:lnTo>
                    <a:lnTo>
                      <a:pt x="263" y="55"/>
                    </a:lnTo>
                    <a:lnTo>
                      <a:pt x="277" y="51"/>
                    </a:lnTo>
                    <a:lnTo>
                      <a:pt x="289" y="46"/>
                    </a:lnTo>
                    <a:lnTo>
                      <a:pt x="294" y="43"/>
                    </a:lnTo>
                    <a:lnTo>
                      <a:pt x="299" y="39"/>
                    </a:lnTo>
                    <a:lnTo>
                      <a:pt x="302" y="35"/>
                    </a:lnTo>
                    <a:lnTo>
                      <a:pt x="305" y="30"/>
                    </a:lnTo>
                    <a:lnTo>
                      <a:pt x="314" y="34"/>
                    </a:lnTo>
                    <a:lnTo>
                      <a:pt x="320" y="35"/>
                    </a:lnTo>
                    <a:lnTo>
                      <a:pt x="324" y="36"/>
                    </a:lnTo>
                    <a:lnTo>
                      <a:pt x="327" y="35"/>
                    </a:lnTo>
                    <a:lnTo>
                      <a:pt x="331" y="33"/>
                    </a:lnTo>
                    <a:lnTo>
                      <a:pt x="334" y="32"/>
                    </a:lnTo>
                    <a:lnTo>
                      <a:pt x="339" y="31"/>
                    </a:lnTo>
                    <a:lnTo>
                      <a:pt x="345" y="30"/>
                    </a:lnTo>
                    <a:lnTo>
                      <a:pt x="356" y="31"/>
                    </a:lnTo>
                    <a:lnTo>
                      <a:pt x="366" y="34"/>
                    </a:lnTo>
                    <a:lnTo>
                      <a:pt x="375" y="39"/>
                    </a:lnTo>
                    <a:lnTo>
                      <a:pt x="383" y="45"/>
                    </a:lnTo>
                    <a:lnTo>
                      <a:pt x="399" y="59"/>
                    </a:lnTo>
                    <a:lnTo>
                      <a:pt x="413" y="74"/>
                    </a:lnTo>
                    <a:lnTo>
                      <a:pt x="421" y="82"/>
                    </a:lnTo>
                    <a:lnTo>
                      <a:pt x="428" y="89"/>
                    </a:lnTo>
                    <a:lnTo>
                      <a:pt x="437" y="96"/>
                    </a:lnTo>
                    <a:lnTo>
                      <a:pt x="446" y="101"/>
                    </a:lnTo>
                    <a:lnTo>
                      <a:pt x="456" y="105"/>
                    </a:lnTo>
                    <a:lnTo>
                      <a:pt x="467" y="107"/>
                    </a:lnTo>
                    <a:lnTo>
                      <a:pt x="472" y="107"/>
                    </a:lnTo>
                    <a:lnTo>
                      <a:pt x="479" y="107"/>
                    </a:lnTo>
                    <a:lnTo>
                      <a:pt x="484" y="106"/>
                    </a:lnTo>
                    <a:lnTo>
                      <a:pt x="491" y="105"/>
                    </a:lnTo>
                    <a:lnTo>
                      <a:pt x="493" y="108"/>
                    </a:lnTo>
                    <a:lnTo>
                      <a:pt x="495" y="113"/>
                    </a:lnTo>
                    <a:lnTo>
                      <a:pt x="500" y="119"/>
                    </a:lnTo>
                    <a:lnTo>
                      <a:pt x="505" y="125"/>
                    </a:lnTo>
                    <a:lnTo>
                      <a:pt x="511" y="131"/>
                    </a:lnTo>
                    <a:lnTo>
                      <a:pt x="516" y="136"/>
                    </a:lnTo>
                    <a:lnTo>
                      <a:pt x="522" y="140"/>
                    </a:lnTo>
                    <a:lnTo>
                      <a:pt x="525" y="141"/>
                    </a:lnTo>
                    <a:lnTo>
                      <a:pt x="529" y="141"/>
                    </a:lnTo>
                    <a:lnTo>
                      <a:pt x="534" y="139"/>
                    </a:lnTo>
                    <a:lnTo>
                      <a:pt x="537" y="137"/>
                    </a:lnTo>
                    <a:lnTo>
                      <a:pt x="540" y="134"/>
                    </a:lnTo>
                    <a:lnTo>
                      <a:pt x="546" y="128"/>
                    </a:lnTo>
                    <a:lnTo>
                      <a:pt x="551" y="123"/>
                    </a:lnTo>
                    <a:lnTo>
                      <a:pt x="555" y="129"/>
                    </a:lnTo>
                    <a:lnTo>
                      <a:pt x="558" y="134"/>
                    </a:lnTo>
                    <a:lnTo>
                      <a:pt x="562" y="138"/>
                    </a:lnTo>
                    <a:lnTo>
                      <a:pt x="567" y="141"/>
                    </a:lnTo>
                    <a:lnTo>
                      <a:pt x="571" y="145"/>
                    </a:lnTo>
                    <a:lnTo>
                      <a:pt x="574" y="150"/>
                    </a:lnTo>
                    <a:lnTo>
                      <a:pt x="577" y="154"/>
                    </a:lnTo>
                    <a:lnTo>
                      <a:pt x="578" y="160"/>
                    </a:lnTo>
                    <a:lnTo>
                      <a:pt x="578" y="165"/>
                    </a:lnTo>
                    <a:lnTo>
                      <a:pt x="577" y="169"/>
                    </a:lnTo>
                    <a:lnTo>
                      <a:pt x="575" y="173"/>
                    </a:lnTo>
                    <a:lnTo>
                      <a:pt x="573" y="177"/>
                    </a:lnTo>
                    <a:lnTo>
                      <a:pt x="570" y="180"/>
                    </a:lnTo>
                    <a:lnTo>
                      <a:pt x="567" y="182"/>
                    </a:lnTo>
                    <a:lnTo>
                      <a:pt x="562" y="184"/>
                    </a:lnTo>
                    <a:lnTo>
                      <a:pt x="558" y="184"/>
                    </a:lnTo>
                    <a:lnTo>
                      <a:pt x="551" y="178"/>
                    </a:lnTo>
                    <a:lnTo>
                      <a:pt x="545" y="172"/>
                    </a:lnTo>
                    <a:lnTo>
                      <a:pt x="535" y="171"/>
                    </a:lnTo>
                    <a:lnTo>
                      <a:pt x="526" y="170"/>
                    </a:lnTo>
                    <a:lnTo>
                      <a:pt x="517" y="170"/>
                    </a:lnTo>
                    <a:lnTo>
                      <a:pt x="509" y="170"/>
                    </a:lnTo>
                    <a:lnTo>
                      <a:pt x="491" y="172"/>
                    </a:lnTo>
                    <a:lnTo>
                      <a:pt x="471" y="172"/>
                    </a:lnTo>
                    <a:lnTo>
                      <a:pt x="467" y="172"/>
                    </a:lnTo>
                    <a:lnTo>
                      <a:pt x="462" y="170"/>
                    </a:lnTo>
                    <a:lnTo>
                      <a:pt x="459" y="167"/>
                    </a:lnTo>
                    <a:lnTo>
                      <a:pt x="455" y="163"/>
                    </a:lnTo>
                    <a:lnTo>
                      <a:pt x="451" y="160"/>
                    </a:lnTo>
                    <a:lnTo>
                      <a:pt x="447" y="157"/>
                    </a:lnTo>
                    <a:lnTo>
                      <a:pt x="443" y="155"/>
                    </a:lnTo>
                    <a:lnTo>
                      <a:pt x="438" y="154"/>
                    </a:lnTo>
                    <a:lnTo>
                      <a:pt x="434" y="155"/>
                    </a:lnTo>
                    <a:lnTo>
                      <a:pt x="429" y="157"/>
                    </a:lnTo>
                    <a:lnTo>
                      <a:pt x="426" y="160"/>
                    </a:lnTo>
                    <a:lnTo>
                      <a:pt x="423" y="163"/>
                    </a:lnTo>
                    <a:lnTo>
                      <a:pt x="420" y="167"/>
                    </a:lnTo>
                    <a:lnTo>
                      <a:pt x="416" y="170"/>
                    </a:lnTo>
                    <a:lnTo>
                      <a:pt x="414" y="172"/>
                    </a:lnTo>
                    <a:lnTo>
                      <a:pt x="412" y="172"/>
                    </a:lnTo>
                    <a:lnTo>
                      <a:pt x="398" y="171"/>
                    </a:lnTo>
                    <a:lnTo>
                      <a:pt x="378" y="167"/>
                    </a:lnTo>
                    <a:lnTo>
                      <a:pt x="354" y="160"/>
                    </a:lnTo>
                    <a:lnTo>
                      <a:pt x="328" y="153"/>
                    </a:lnTo>
                    <a:lnTo>
                      <a:pt x="304" y="144"/>
                    </a:lnTo>
                    <a:lnTo>
                      <a:pt x="285" y="136"/>
                    </a:lnTo>
                    <a:lnTo>
                      <a:pt x="277" y="132"/>
                    </a:lnTo>
                    <a:lnTo>
                      <a:pt x="270" y="129"/>
                    </a:lnTo>
                    <a:lnTo>
                      <a:pt x="267" y="126"/>
                    </a:lnTo>
                    <a:lnTo>
                      <a:pt x="266" y="123"/>
                    </a:lnTo>
                    <a:lnTo>
                      <a:pt x="252" y="122"/>
                    </a:lnTo>
                    <a:lnTo>
                      <a:pt x="240" y="121"/>
                    </a:lnTo>
                    <a:lnTo>
                      <a:pt x="230" y="119"/>
                    </a:lnTo>
                    <a:lnTo>
                      <a:pt x="220" y="117"/>
                    </a:lnTo>
                    <a:lnTo>
                      <a:pt x="211" y="115"/>
                    </a:lnTo>
                    <a:lnTo>
                      <a:pt x="201" y="113"/>
                    </a:lnTo>
                    <a:lnTo>
                      <a:pt x="191" y="111"/>
                    </a:lnTo>
                    <a:lnTo>
                      <a:pt x="179" y="111"/>
                    </a:lnTo>
                    <a:lnTo>
                      <a:pt x="168" y="111"/>
                    </a:lnTo>
                    <a:lnTo>
                      <a:pt x="157" y="111"/>
                    </a:lnTo>
                    <a:lnTo>
                      <a:pt x="149" y="111"/>
                    </a:lnTo>
                    <a:lnTo>
                      <a:pt x="146" y="111"/>
                    </a:lnTo>
                    <a:lnTo>
                      <a:pt x="136" y="110"/>
                    </a:lnTo>
                    <a:lnTo>
                      <a:pt x="128" y="107"/>
                    </a:lnTo>
                    <a:lnTo>
                      <a:pt x="124" y="105"/>
                    </a:lnTo>
                    <a:lnTo>
                      <a:pt x="122" y="103"/>
                    </a:lnTo>
                    <a:lnTo>
                      <a:pt x="120" y="101"/>
                    </a:lnTo>
                    <a:lnTo>
                      <a:pt x="120" y="99"/>
                    </a:lnTo>
                    <a:lnTo>
                      <a:pt x="79" y="99"/>
                    </a:lnTo>
                    <a:lnTo>
                      <a:pt x="75" y="98"/>
                    </a:lnTo>
                    <a:lnTo>
                      <a:pt x="69" y="97"/>
                    </a:lnTo>
                    <a:lnTo>
                      <a:pt x="64" y="96"/>
                    </a:lnTo>
                    <a:lnTo>
                      <a:pt x="57" y="94"/>
                    </a:lnTo>
                    <a:lnTo>
                      <a:pt x="46" y="88"/>
                    </a:lnTo>
                    <a:lnTo>
                      <a:pt x="34" y="81"/>
                    </a:lnTo>
                    <a:lnTo>
                      <a:pt x="14" y="67"/>
                    </a:lnTo>
                    <a:lnTo>
                      <a:pt x="0" y="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5" name="Freeform 340">
                <a:extLst>
                  <a:ext uri="{FF2B5EF4-FFF2-40B4-BE49-F238E27FC236}">
                    <a16:creationId xmlns:a16="http://schemas.microsoft.com/office/drawing/2014/main" id="{79681832-9479-4CF6-B971-5617414CE0E0}"/>
                  </a:ext>
                </a:extLst>
              </p:cNvPr>
              <p:cNvSpPr>
                <a:spLocks/>
              </p:cNvSpPr>
              <p:nvPr>
                <p:custDataLst>
                  <p:tags r:id="rId243"/>
                </p:custDataLst>
              </p:nvPr>
            </p:nvSpPr>
            <p:spPr bwMode="auto">
              <a:xfrm>
                <a:off x="8000372" y="4544016"/>
                <a:ext cx="258805" cy="284792"/>
              </a:xfrm>
              <a:custGeom>
                <a:avLst/>
                <a:gdLst>
                  <a:gd name="T0" fmla="*/ 91828545 w 491"/>
                  <a:gd name="T1" fmla="*/ 131907046 h 481"/>
                  <a:gd name="T2" fmla="*/ 87065669 w 491"/>
                  <a:gd name="T3" fmla="*/ 128052106 h 481"/>
                  <a:gd name="T4" fmla="*/ 80397554 w 491"/>
                  <a:gd name="T5" fmla="*/ 119515194 h 481"/>
                  <a:gd name="T6" fmla="*/ 78492316 w 491"/>
                  <a:gd name="T7" fmla="*/ 114833746 h 481"/>
                  <a:gd name="T8" fmla="*/ 71633895 w 491"/>
                  <a:gd name="T9" fmla="*/ 112906277 h 481"/>
                  <a:gd name="T10" fmla="*/ 68585514 w 491"/>
                  <a:gd name="T11" fmla="*/ 111804266 h 481"/>
                  <a:gd name="T12" fmla="*/ 66680276 w 491"/>
                  <a:gd name="T13" fmla="*/ 109050812 h 481"/>
                  <a:gd name="T14" fmla="*/ 65918181 w 491"/>
                  <a:gd name="T15" fmla="*/ 102992376 h 481"/>
                  <a:gd name="T16" fmla="*/ 65156086 w 491"/>
                  <a:gd name="T17" fmla="*/ 91426507 h 481"/>
                  <a:gd name="T18" fmla="*/ 62298447 w 491"/>
                  <a:gd name="T19" fmla="*/ 83440076 h 481"/>
                  <a:gd name="T20" fmla="*/ 60774257 w 491"/>
                  <a:gd name="T21" fmla="*/ 76280678 h 481"/>
                  <a:gd name="T22" fmla="*/ 59821856 w 491"/>
                  <a:gd name="T23" fmla="*/ 67192760 h 481"/>
                  <a:gd name="T24" fmla="*/ 55630332 w 491"/>
                  <a:gd name="T25" fmla="*/ 61409826 h 481"/>
                  <a:gd name="T26" fmla="*/ 49534007 w 491"/>
                  <a:gd name="T27" fmla="*/ 56452876 h 481"/>
                  <a:gd name="T28" fmla="*/ 42103797 w 491"/>
                  <a:gd name="T29" fmla="*/ 52322434 h 481"/>
                  <a:gd name="T30" fmla="*/ 33911928 w 491"/>
                  <a:gd name="T31" fmla="*/ 49843958 h 481"/>
                  <a:gd name="T32" fmla="*/ 25338575 w 491"/>
                  <a:gd name="T33" fmla="*/ 49017975 h 481"/>
                  <a:gd name="T34" fmla="*/ 25338575 w 491"/>
                  <a:gd name="T35" fmla="*/ 42959538 h 481"/>
                  <a:gd name="T36" fmla="*/ 20956746 w 491"/>
                  <a:gd name="T37" fmla="*/ 39930057 h 481"/>
                  <a:gd name="T38" fmla="*/ 16193869 w 491"/>
                  <a:gd name="T39" fmla="*/ 35799615 h 481"/>
                  <a:gd name="T40" fmla="*/ 12574135 w 491"/>
                  <a:gd name="T41" fmla="*/ 30567162 h 481"/>
                  <a:gd name="T42" fmla="*/ 13907583 w 491"/>
                  <a:gd name="T43" fmla="*/ 36625599 h 481"/>
                  <a:gd name="T44" fmla="*/ 10287849 w 491"/>
                  <a:gd name="T45" fmla="*/ 40481063 h 481"/>
                  <a:gd name="T46" fmla="*/ 7620516 w 491"/>
                  <a:gd name="T47" fmla="*/ 49017975 h 481"/>
                  <a:gd name="T48" fmla="*/ 4572571 w 491"/>
                  <a:gd name="T49" fmla="*/ 60583843 h 481"/>
                  <a:gd name="T50" fmla="*/ 2476591 w 491"/>
                  <a:gd name="T51" fmla="*/ 72975694 h 481"/>
                  <a:gd name="T52" fmla="*/ 2667333 w 491"/>
                  <a:gd name="T53" fmla="*/ 65265291 h 481"/>
                  <a:gd name="T54" fmla="*/ 4381829 w 491"/>
                  <a:gd name="T55" fmla="*/ 57554362 h 481"/>
                  <a:gd name="T56" fmla="*/ 6096325 w 491"/>
                  <a:gd name="T57" fmla="*/ 49843958 h 481"/>
                  <a:gd name="T58" fmla="*/ 5715278 w 491"/>
                  <a:gd name="T59" fmla="*/ 39379577 h 481"/>
                  <a:gd name="T60" fmla="*/ 3238686 w 491"/>
                  <a:gd name="T61" fmla="*/ 30567162 h 481"/>
                  <a:gd name="T62" fmla="*/ 0 w 491"/>
                  <a:gd name="T63" fmla="*/ 20102780 h 481"/>
                  <a:gd name="T64" fmla="*/ 6477373 w 491"/>
                  <a:gd name="T65" fmla="*/ 16247316 h 481"/>
                  <a:gd name="T66" fmla="*/ 11240250 w 491"/>
                  <a:gd name="T67" fmla="*/ 15145830 h 481"/>
                  <a:gd name="T68" fmla="*/ 16003127 w 491"/>
                  <a:gd name="T69" fmla="*/ 15971813 h 481"/>
                  <a:gd name="T70" fmla="*/ 19432555 w 491"/>
                  <a:gd name="T71" fmla="*/ 18175310 h 481"/>
                  <a:gd name="T72" fmla="*/ 23052289 w 491"/>
                  <a:gd name="T73" fmla="*/ 22581255 h 481"/>
                  <a:gd name="T74" fmla="*/ 26672023 w 491"/>
                  <a:gd name="T75" fmla="*/ 30567162 h 481"/>
                  <a:gd name="T76" fmla="*/ 34864329 w 491"/>
                  <a:gd name="T77" fmla="*/ 28364189 h 481"/>
                  <a:gd name="T78" fmla="*/ 37340920 w 491"/>
                  <a:gd name="T79" fmla="*/ 26436720 h 481"/>
                  <a:gd name="T80" fmla="*/ 38103015 w 491"/>
                  <a:gd name="T81" fmla="*/ 24784228 h 481"/>
                  <a:gd name="T82" fmla="*/ 39436463 w 491"/>
                  <a:gd name="T83" fmla="*/ 20102780 h 481"/>
                  <a:gd name="T84" fmla="*/ 44199777 w 491"/>
                  <a:gd name="T85" fmla="*/ 14870327 h 481"/>
                  <a:gd name="T86" fmla="*/ 48390864 w 491"/>
                  <a:gd name="T87" fmla="*/ 13493863 h 481"/>
                  <a:gd name="T88" fmla="*/ 50105360 w 491"/>
                  <a:gd name="T89" fmla="*/ 8261409 h 481"/>
                  <a:gd name="T90" fmla="*/ 53344483 w 491"/>
                  <a:gd name="T91" fmla="*/ 2478475 h 481"/>
                  <a:gd name="T92" fmla="*/ 57154522 w 491"/>
                  <a:gd name="T93" fmla="*/ 275503 h 481"/>
                  <a:gd name="T94" fmla="*/ 61536352 w 491"/>
                  <a:gd name="T95" fmla="*/ 0 h 481"/>
                  <a:gd name="T96" fmla="*/ 66871018 w 491"/>
                  <a:gd name="T97" fmla="*/ 2202973 h 481"/>
                  <a:gd name="T98" fmla="*/ 76015724 w 491"/>
                  <a:gd name="T99" fmla="*/ 10464382 h 481"/>
                  <a:gd name="T100" fmla="*/ 81540696 w 491"/>
                  <a:gd name="T101" fmla="*/ 14595349 h 481"/>
                  <a:gd name="T102" fmla="*/ 87446716 w 491"/>
                  <a:gd name="T103" fmla="*/ 16522819 h 481"/>
                  <a:gd name="T104" fmla="*/ 93543041 w 491"/>
                  <a:gd name="T105" fmla="*/ 18450288 h 481"/>
                  <a:gd name="T106" fmla="*/ 93543041 w 491"/>
                  <a:gd name="T107" fmla="*/ 89774016 h 481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491" h="481">
                    <a:moveTo>
                      <a:pt x="491" y="481"/>
                    </a:moveTo>
                    <a:lnTo>
                      <a:pt x="488" y="480"/>
                    </a:lnTo>
                    <a:lnTo>
                      <a:pt x="482" y="479"/>
                    </a:lnTo>
                    <a:lnTo>
                      <a:pt x="477" y="477"/>
                    </a:lnTo>
                    <a:lnTo>
                      <a:pt x="470" y="473"/>
                    </a:lnTo>
                    <a:lnTo>
                      <a:pt x="457" y="465"/>
                    </a:lnTo>
                    <a:lnTo>
                      <a:pt x="444" y="455"/>
                    </a:lnTo>
                    <a:lnTo>
                      <a:pt x="432" y="445"/>
                    </a:lnTo>
                    <a:lnTo>
                      <a:pt x="422" y="434"/>
                    </a:lnTo>
                    <a:lnTo>
                      <a:pt x="417" y="428"/>
                    </a:lnTo>
                    <a:lnTo>
                      <a:pt x="414" y="423"/>
                    </a:lnTo>
                    <a:lnTo>
                      <a:pt x="412" y="417"/>
                    </a:lnTo>
                    <a:lnTo>
                      <a:pt x="412" y="412"/>
                    </a:lnTo>
                    <a:lnTo>
                      <a:pt x="392" y="412"/>
                    </a:lnTo>
                    <a:lnTo>
                      <a:pt x="376" y="410"/>
                    </a:lnTo>
                    <a:lnTo>
                      <a:pt x="370" y="409"/>
                    </a:lnTo>
                    <a:lnTo>
                      <a:pt x="365" y="408"/>
                    </a:lnTo>
                    <a:lnTo>
                      <a:pt x="360" y="406"/>
                    </a:lnTo>
                    <a:lnTo>
                      <a:pt x="356" y="403"/>
                    </a:lnTo>
                    <a:lnTo>
                      <a:pt x="353" y="400"/>
                    </a:lnTo>
                    <a:lnTo>
                      <a:pt x="350" y="396"/>
                    </a:lnTo>
                    <a:lnTo>
                      <a:pt x="348" y="392"/>
                    </a:lnTo>
                    <a:lnTo>
                      <a:pt x="347" y="387"/>
                    </a:lnTo>
                    <a:lnTo>
                      <a:pt x="346" y="374"/>
                    </a:lnTo>
                    <a:lnTo>
                      <a:pt x="345" y="357"/>
                    </a:lnTo>
                    <a:lnTo>
                      <a:pt x="344" y="344"/>
                    </a:lnTo>
                    <a:lnTo>
                      <a:pt x="342" y="332"/>
                    </a:lnTo>
                    <a:lnTo>
                      <a:pt x="337" y="322"/>
                    </a:lnTo>
                    <a:lnTo>
                      <a:pt x="332" y="313"/>
                    </a:lnTo>
                    <a:lnTo>
                      <a:pt x="327" y="303"/>
                    </a:lnTo>
                    <a:lnTo>
                      <a:pt x="323" y="294"/>
                    </a:lnTo>
                    <a:lnTo>
                      <a:pt x="320" y="286"/>
                    </a:lnTo>
                    <a:lnTo>
                      <a:pt x="319" y="277"/>
                    </a:lnTo>
                    <a:lnTo>
                      <a:pt x="319" y="267"/>
                    </a:lnTo>
                    <a:lnTo>
                      <a:pt x="319" y="252"/>
                    </a:lnTo>
                    <a:lnTo>
                      <a:pt x="314" y="244"/>
                    </a:lnTo>
                    <a:lnTo>
                      <a:pt x="309" y="237"/>
                    </a:lnTo>
                    <a:lnTo>
                      <a:pt x="301" y="229"/>
                    </a:lnTo>
                    <a:lnTo>
                      <a:pt x="292" y="223"/>
                    </a:lnTo>
                    <a:lnTo>
                      <a:pt x="282" y="216"/>
                    </a:lnTo>
                    <a:lnTo>
                      <a:pt x="272" y="210"/>
                    </a:lnTo>
                    <a:lnTo>
                      <a:pt x="260" y="205"/>
                    </a:lnTo>
                    <a:lnTo>
                      <a:pt x="248" y="200"/>
                    </a:lnTo>
                    <a:lnTo>
                      <a:pt x="235" y="194"/>
                    </a:lnTo>
                    <a:lnTo>
                      <a:pt x="221" y="190"/>
                    </a:lnTo>
                    <a:lnTo>
                      <a:pt x="208" y="187"/>
                    </a:lnTo>
                    <a:lnTo>
                      <a:pt x="192" y="184"/>
                    </a:lnTo>
                    <a:lnTo>
                      <a:pt x="178" y="181"/>
                    </a:lnTo>
                    <a:lnTo>
                      <a:pt x="163" y="180"/>
                    </a:lnTo>
                    <a:lnTo>
                      <a:pt x="147" y="179"/>
                    </a:lnTo>
                    <a:lnTo>
                      <a:pt x="133" y="178"/>
                    </a:lnTo>
                    <a:lnTo>
                      <a:pt x="133" y="170"/>
                    </a:lnTo>
                    <a:lnTo>
                      <a:pt x="133" y="163"/>
                    </a:lnTo>
                    <a:lnTo>
                      <a:pt x="133" y="156"/>
                    </a:lnTo>
                    <a:lnTo>
                      <a:pt x="133" y="148"/>
                    </a:lnTo>
                    <a:lnTo>
                      <a:pt x="121" y="147"/>
                    </a:lnTo>
                    <a:lnTo>
                      <a:pt x="110" y="145"/>
                    </a:lnTo>
                    <a:lnTo>
                      <a:pt x="100" y="140"/>
                    </a:lnTo>
                    <a:lnTo>
                      <a:pt x="92" y="136"/>
                    </a:lnTo>
                    <a:lnTo>
                      <a:pt x="85" y="130"/>
                    </a:lnTo>
                    <a:lnTo>
                      <a:pt x="77" y="124"/>
                    </a:lnTo>
                    <a:lnTo>
                      <a:pt x="71" y="117"/>
                    </a:lnTo>
                    <a:lnTo>
                      <a:pt x="66" y="111"/>
                    </a:lnTo>
                    <a:lnTo>
                      <a:pt x="92" y="111"/>
                    </a:lnTo>
                    <a:lnTo>
                      <a:pt x="82" y="121"/>
                    </a:lnTo>
                    <a:lnTo>
                      <a:pt x="73" y="133"/>
                    </a:lnTo>
                    <a:lnTo>
                      <a:pt x="66" y="139"/>
                    </a:lnTo>
                    <a:lnTo>
                      <a:pt x="60" y="144"/>
                    </a:lnTo>
                    <a:lnTo>
                      <a:pt x="54" y="147"/>
                    </a:lnTo>
                    <a:lnTo>
                      <a:pt x="46" y="148"/>
                    </a:lnTo>
                    <a:lnTo>
                      <a:pt x="43" y="163"/>
                    </a:lnTo>
                    <a:lnTo>
                      <a:pt x="40" y="178"/>
                    </a:lnTo>
                    <a:lnTo>
                      <a:pt x="34" y="192"/>
                    </a:lnTo>
                    <a:lnTo>
                      <a:pt x="30" y="206"/>
                    </a:lnTo>
                    <a:lnTo>
                      <a:pt x="24" y="220"/>
                    </a:lnTo>
                    <a:lnTo>
                      <a:pt x="20" y="234"/>
                    </a:lnTo>
                    <a:lnTo>
                      <a:pt x="17" y="249"/>
                    </a:lnTo>
                    <a:lnTo>
                      <a:pt x="13" y="265"/>
                    </a:lnTo>
                    <a:lnTo>
                      <a:pt x="13" y="256"/>
                    </a:lnTo>
                    <a:lnTo>
                      <a:pt x="13" y="246"/>
                    </a:lnTo>
                    <a:lnTo>
                      <a:pt x="14" y="237"/>
                    </a:lnTo>
                    <a:lnTo>
                      <a:pt x="17" y="228"/>
                    </a:lnTo>
                    <a:lnTo>
                      <a:pt x="20" y="219"/>
                    </a:lnTo>
                    <a:lnTo>
                      <a:pt x="23" y="209"/>
                    </a:lnTo>
                    <a:lnTo>
                      <a:pt x="26" y="200"/>
                    </a:lnTo>
                    <a:lnTo>
                      <a:pt x="30" y="190"/>
                    </a:lnTo>
                    <a:lnTo>
                      <a:pt x="32" y="181"/>
                    </a:lnTo>
                    <a:lnTo>
                      <a:pt x="33" y="172"/>
                    </a:lnTo>
                    <a:lnTo>
                      <a:pt x="32" y="156"/>
                    </a:lnTo>
                    <a:lnTo>
                      <a:pt x="30" y="143"/>
                    </a:lnTo>
                    <a:lnTo>
                      <a:pt x="26" y="130"/>
                    </a:lnTo>
                    <a:lnTo>
                      <a:pt x="21" y="120"/>
                    </a:lnTo>
                    <a:lnTo>
                      <a:pt x="17" y="111"/>
                    </a:lnTo>
                    <a:lnTo>
                      <a:pt x="11" y="101"/>
                    </a:lnTo>
                    <a:lnTo>
                      <a:pt x="4" y="89"/>
                    </a:lnTo>
                    <a:lnTo>
                      <a:pt x="0" y="73"/>
                    </a:lnTo>
                    <a:lnTo>
                      <a:pt x="13" y="68"/>
                    </a:lnTo>
                    <a:lnTo>
                      <a:pt x="28" y="62"/>
                    </a:lnTo>
                    <a:lnTo>
                      <a:pt x="34" y="59"/>
                    </a:lnTo>
                    <a:lnTo>
                      <a:pt x="42" y="57"/>
                    </a:lnTo>
                    <a:lnTo>
                      <a:pt x="51" y="56"/>
                    </a:lnTo>
                    <a:lnTo>
                      <a:pt x="59" y="55"/>
                    </a:lnTo>
                    <a:lnTo>
                      <a:pt x="68" y="56"/>
                    </a:lnTo>
                    <a:lnTo>
                      <a:pt x="76" y="57"/>
                    </a:lnTo>
                    <a:lnTo>
                      <a:pt x="84" y="58"/>
                    </a:lnTo>
                    <a:lnTo>
                      <a:pt x="90" y="60"/>
                    </a:lnTo>
                    <a:lnTo>
                      <a:pt x="96" y="63"/>
                    </a:lnTo>
                    <a:lnTo>
                      <a:pt x="102" y="66"/>
                    </a:lnTo>
                    <a:lnTo>
                      <a:pt x="107" y="70"/>
                    </a:lnTo>
                    <a:lnTo>
                      <a:pt x="112" y="73"/>
                    </a:lnTo>
                    <a:lnTo>
                      <a:pt x="121" y="82"/>
                    </a:lnTo>
                    <a:lnTo>
                      <a:pt x="127" y="92"/>
                    </a:lnTo>
                    <a:lnTo>
                      <a:pt x="134" y="101"/>
                    </a:lnTo>
                    <a:lnTo>
                      <a:pt x="140" y="111"/>
                    </a:lnTo>
                    <a:lnTo>
                      <a:pt x="179" y="111"/>
                    </a:lnTo>
                    <a:lnTo>
                      <a:pt x="180" y="107"/>
                    </a:lnTo>
                    <a:lnTo>
                      <a:pt x="183" y="103"/>
                    </a:lnTo>
                    <a:lnTo>
                      <a:pt x="187" y="101"/>
                    </a:lnTo>
                    <a:lnTo>
                      <a:pt x="191" y="99"/>
                    </a:lnTo>
                    <a:lnTo>
                      <a:pt x="196" y="96"/>
                    </a:lnTo>
                    <a:lnTo>
                      <a:pt x="199" y="94"/>
                    </a:lnTo>
                    <a:lnTo>
                      <a:pt x="200" y="92"/>
                    </a:lnTo>
                    <a:lnTo>
                      <a:pt x="200" y="90"/>
                    </a:lnTo>
                    <a:lnTo>
                      <a:pt x="200" y="89"/>
                    </a:lnTo>
                    <a:lnTo>
                      <a:pt x="199" y="85"/>
                    </a:lnTo>
                    <a:lnTo>
                      <a:pt x="207" y="73"/>
                    </a:lnTo>
                    <a:lnTo>
                      <a:pt x="215" y="64"/>
                    </a:lnTo>
                    <a:lnTo>
                      <a:pt x="223" y="58"/>
                    </a:lnTo>
                    <a:lnTo>
                      <a:pt x="232" y="54"/>
                    </a:lnTo>
                    <a:lnTo>
                      <a:pt x="239" y="51"/>
                    </a:lnTo>
                    <a:lnTo>
                      <a:pt x="247" y="50"/>
                    </a:lnTo>
                    <a:lnTo>
                      <a:pt x="254" y="49"/>
                    </a:lnTo>
                    <a:lnTo>
                      <a:pt x="259" y="49"/>
                    </a:lnTo>
                    <a:lnTo>
                      <a:pt x="260" y="40"/>
                    </a:lnTo>
                    <a:lnTo>
                      <a:pt x="263" y="30"/>
                    </a:lnTo>
                    <a:lnTo>
                      <a:pt x="267" y="22"/>
                    </a:lnTo>
                    <a:lnTo>
                      <a:pt x="273" y="15"/>
                    </a:lnTo>
                    <a:lnTo>
                      <a:pt x="280" y="9"/>
                    </a:lnTo>
                    <a:lnTo>
                      <a:pt x="290" y="4"/>
                    </a:lnTo>
                    <a:lnTo>
                      <a:pt x="294" y="2"/>
                    </a:lnTo>
                    <a:lnTo>
                      <a:pt x="300" y="1"/>
                    </a:lnTo>
                    <a:lnTo>
                      <a:pt x="306" y="0"/>
                    </a:lnTo>
                    <a:lnTo>
                      <a:pt x="312" y="0"/>
                    </a:lnTo>
                    <a:lnTo>
                      <a:pt x="323" y="0"/>
                    </a:lnTo>
                    <a:lnTo>
                      <a:pt x="333" y="2"/>
                    </a:lnTo>
                    <a:lnTo>
                      <a:pt x="343" y="5"/>
                    </a:lnTo>
                    <a:lnTo>
                      <a:pt x="351" y="8"/>
                    </a:lnTo>
                    <a:lnTo>
                      <a:pt x="368" y="17"/>
                    </a:lnTo>
                    <a:lnTo>
                      <a:pt x="383" y="27"/>
                    </a:lnTo>
                    <a:lnTo>
                      <a:pt x="399" y="38"/>
                    </a:lnTo>
                    <a:lnTo>
                      <a:pt x="413" y="47"/>
                    </a:lnTo>
                    <a:lnTo>
                      <a:pt x="421" y="50"/>
                    </a:lnTo>
                    <a:lnTo>
                      <a:pt x="428" y="53"/>
                    </a:lnTo>
                    <a:lnTo>
                      <a:pt x="436" y="55"/>
                    </a:lnTo>
                    <a:lnTo>
                      <a:pt x="445" y="55"/>
                    </a:lnTo>
                    <a:lnTo>
                      <a:pt x="459" y="60"/>
                    </a:lnTo>
                    <a:lnTo>
                      <a:pt x="471" y="64"/>
                    </a:lnTo>
                    <a:lnTo>
                      <a:pt x="481" y="66"/>
                    </a:lnTo>
                    <a:lnTo>
                      <a:pt x="491" y="67"/>
                    </a:lnTo>
                    <a:lnTo>
                      <a:pt x="491" y="289"/>
                    </a:lnTo>
                    <a:lnTo>
                      <a:pt x="471" y="301"/>
                    </a:lnTo>
                    <a:lnTo>
                      <a:pt x="491" y="326"/>
                    </a:lnTo>
                    <a:lnTo>
                      <a:pt x="491" y="474"/>
                    </a:lnTo>
                    <a:lnTo>
                      <a:pt x="491" y="48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6" name="Freeform 341">
                <a:extLst>
                  <a:ext uri="{FF2B5EF4-FFF2-40B4-BE49-F238E27FC236}">
                    <a16:creationId xmlns:a16="http://schemas.microsoft.com/office/drawing/2014/main" id="{467D93CB-DA8B-40C5-AB58-D3DDAFEC05A9}"/>
                  </a:ext>
                </a:extLst>
              </p:cNvPr>
              <p:cNvSpPr>
                <a:spLocks/>
              </p:cNvSpPr>
              <p:nvPr>
                <p:custDataLst>
                  <p:tags r:id="rId244"/>
                </p:custDataLst>
              </p:nvPr>
            </p:nvSpPr>
            <p:spPr bwMode="auto">
              <a:xfrm>
                <a:off x="6230362" y="3230810"/>
                <a:ext cx="65154" cy="66803"/>
              </a:xfrm>
              <a:custGeom>
                <a:avLst/>
                <a:gdLst>
                  <a:gd name="T0" fmla="*/ 0 w 133"/>
                  <a:gd name="T1" fmla="*/ 5050801 h 117"/>
                  <a:gd name="T2" fmla="*/ 11858267 w 133"/>
                  <a:gd name="T3" fmla="*/ 0 h 117"/>
                  <a:gd name="T4" fmla="*/ 13340347 w 133"/>
                  <a:gd name="T5" fmla="*/ 1595261 h 117"/>
                  <a:gd name="T6" fmla="*/ 14987194 w 133"/>
                  <a:gd name="T7" fmla="*/ 3721588 h 117"/>
                  <a:gd name="T8" fmla="*/ 16634446 w 133"/>
                  <a:gd name="T9" fmla="*/ 6646062 h 117"/>
                  <a:gd name="T10" fmla="*/ 17951760 w 133"/>
                  <a:gd name="T11" fmla="*/ 9836069 h 117"/>
                  <a:gd name="T12" fmla="*/ 19434247 w 133"/>
                  <a:gd name="T13" fmla="*/ 13026075 h 117"/>
                  <a:gd name="T14" fmla="*/ 20751561 w 133"/>
                  <a:gd name="T15" fmla="*/ 16482131 h 117"/>
                  <a:gd name="T16" fmla="*/ 21081093 w 133"/>
                  <a:gd name="T17" fmla="*/ 18077392 h 117"/>
                  <a:gd name="T18" fmla="*/ 21410624 w 133"/>
                  <a:gd name="T19" fmla="*/ 19672137 h 117"/>
                  <a:gd name="T20" fmla="*/ 21574984 w 133"/>
                  <a:gd name="T21" fmla="*/ 21267398 h 117"/>
                  <a:gd name="T22" fmla="*/ 21904516 w 133"/>
                  <a:gd name="T23" fmla="*/ 22862144 h 117"/>
                  <a:gd name="T24" fmla="*/ 21574984 w 133"/>
                  <a:gd name="T25" fmla="*/ 24457405 h 117"/>
                  <a:gd name="T26" fmla="*/ 21081093 w 133"/>
                  <a:gd name="T27" fmla="*/ 25786617 h 117"/>
                  <a:gd name="T28" fmla="*/ 20422436 w 133"/>
                  <a:gd name="T29" fmla="*/ 27115830 h 117"/>
                  <a:gd name="T30" fmla="*/ 19434247 w 133"/>
                  <a:gd name="T31" fmla="*/ 28445042 h 117"/>
                  <a:gd name="T32" fmla="*/ 18610418 w 133"/>
                  <a:gd name="T33" fmla="*/ 29508206 h 117"/>
                  <a:gd name="T34" fmla="*/ 17622229 w 133"/>
                  <a:gd name="T35" fmla="*/ 30305836 h 117"/>
                  <a:gd name="T36" fmla="*/ 16963571 w 133"/>
                  <a:gd name="T37" fmla="*/ 31103467 h 117"/>
                  <a:gd name="T38" fmla="*/ 16469680 w 133"/>
                  <a:gd name="T39" fmla="*/ 31103467 h 117"/>
                  <a:gd name="T40" fmla="*/ 11858267 w 133"/>
                  <a:gd name="T41" fmla="*/ 25255035 h 117"/>
                  <a:gd name="T42" fmla="*/ 7411214 w 133"/>
                  <a:gd name="T43" fmla="*/ 18608974 h 117"/>
                  <a:gd name="T44" fmla="*/ 5270070 w 133"/>
                  <a:gd name="T45" fmla="*/ 15418967 h 117"/>
                  <a:gd name="T46" fmla="*/ 2964567 w 133"/>
                  <a:gd name="T47" fmla="*/ 12228960 h 117"/>
                  <a:gd name="T48" fmla="*/ 1317720 w 133"/>
                  <a:gd name="T49" fmla="*/ 8772905 h 117"/>
                  <a:gd name="T50" fmla="*/ 0 w 133"/>
                  <a:gd name="T51" fmla="*/ 5050801 h 117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33" h="117">
                    <a:moveTo>
                      <a:pt x="0" y="19"/>
                    </a:moveTo>
                    <a:lnTo>
                      <a:pt x="72" y="0"/>
                    </a:lnTo>
                    <a:lnTo>
                      <a:pt x="81" y="6"/>
                    </a:lnTo>
                    <a:lnTo>
                      <a:pt x="91" y="14"/>
                    </a:lnTo>
                    <a:lnTo>
                      <a:pt x="101" y="25"/>
                    </a:lnTo>
                    <a:lnTo>
                      <a:pt x="109" y="37"/>
                    </a:lnTo>
                    <a:lnTo>
                      <a:pt x="118" y="49"/>
                    </a:lnTo>
                    <a:lnTo>
                      <a:pt x="126" y="62"/>
                    </a:lnTo>
                    <a:lnTo>
                      <a:pt x="128" y="68"/>
                    </a:lnTo>
                    <a:lnTo>
                      <a:pt x="130" y="74"/>
                    </a:lnTo>
                    <a:lnTo>
                      <a:pt x="131" y="80"/>
                    </a:lnTo>
                    <a:lnTo>
                      <a:pt x="133" y="86"/>
                    </a:lnTo>
                    <a:lnTo>
                      <a:pt x="131" y="92"/>
                    </a:lnTo>
                    <a:lnTo>
                      <a:pt x="128" y="97"/>
                    </a:lnTo>
                    <a:lnTo>
                      <a:pt x="124" y="102"/>
                    </a:lnTo>
                    <a:lnTo>
                      <a:pt x="118" y="107"/>
                    </a:lnTo>
                    <a:lnTo>
                      <a:pt x="113" y="111"/>
                    </a:lnTo>
                    <a:lnTo>
                      <a:pt x="107" y="114"/>
                    </a:lnTo>
                    <a:lnTo>
                      <a:pt x="103" y="117"/>
                    </a:lnTo>
                    <a:lnTo>
                      <a:pt x="100" y="117"/>
                    </a:lnTo>
                    <a:lnTo>
                      <a:pt x="72" y="95"/>
                    </a:lnTo>
                    <a:lnTo>
                      <a:pt x="45" y="70"/>
                    </a:lnTo>
                    <a:lnTo>
                      <a:pt x="32" y="58"/>
                    </a:lnTo>
                    <a:lnTo>
                      <a:pt x="18" y="46"/>
                    </a:lnTo>
                    <a:lnTo>
                      <a:pt x="8" y="33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7" name="Freeform 342">
                <a:extLst>
                  <a:ext uri="{FF2B5EF4-FFF2-40B4-BE49-F238E27FC236}">
                    <a16:creationId xmlns:a16="http://schemas.microsoft.com/office/drawing/2014/main" id="{803DF0A8-C926-4636-9736-24603B1118EB}"/>
                  </a:ext>
                </a:extLst>
              </p:cNvPr>
              <p:cNvSpPr>
                <a:spLocks/>
              </p:cNvSpPr>
              <p:nvPr>
                <p:custDataLst>
                  <p:tags r:id="rId245"/>
                </p:custDataLst>
              </p:nvPr>
            </p:nvSpPr>
            <p:spPr bwMode="auto">
              <a:xfrm>
                <a:off x="4369861" y="2561023"/>
                <a:ext cx="266044" cy="200409"/>
              </a:xfrm>
              <a:custGeom>
                <a:avLst/>
                <a:gdLst>
                  <a:gd name="T0" fmla="*/ 51933146 w 505"/>
                  <a:gd name="T1" fmla="*/ 9902778 h 339"/>
                  <a:gd name="T2" fmla="*/ 92410606 w 505"/>
                  <a:gd name="T3" fmla="*/ 23657365 h 339"/>
                  <a:gd name="T4" fmla="*/ 91264906 w 505"/>
                  <a:gd name="T5" fmla="*/ 29984213 h 339"/>
                  <a:gd name="T6" fmla="*/ 89928256 w 505"/>
                  <a:gd name="T7" fmla="*/ 35485523 h 339"/>
                  <a:gd name="T8" fmla="*/ 88019194 w 505"/>
                  <a:gd name="T9" fmla="*/ 39886991 h 339"/>
                  <a:gd name="T10" fmla="*/ 86109694 w 505"/>
                  <a:gd name="T11" fmla="*/ 42087725 h 339"/>
                  <a:gd name="T12" fmla="*/ 88019194 w 505"/>
                  <a:gd name="T13" fmla="*/ 50615307 h 339"/>
                  <a:gd name="T14" fmla="*/ 91073956 w 505"/>
                  <a:gd name="T15" fmla="*/ 59142888 h 339"/>
                  <a:gd name="T16" fmla="*/ 96420118 w 505"/>
                  <a:gd name="T17" fmla="*/ 70971571 h 339"/>
                  <a:gd name="T18" fmla="*/ 94129155 w 505"/>
                  <a:gd name="T19" fmla="*/ 74547501 h 339"/>
                  <a:gd name="T20" fmla="*/ 91455856 w 505"/>
                  <a:gd name="T21" fmla="*/ 80324166 h 339"/>
                  <a:gd name="T22" fmla="*/ 89355843 w 505"/>
                  <a:gd name="T23" fmla="*/ 86376184 h 339"/>
                  <a:gd name="T24" fmla="*/ 88592043 w 505"/>
                  <a:gd name="T25" fmla="*/ 93253215 h 339"/>
                  <a:gd name="T26" fmla="*/ 84582531 w 505"/>
                  <a:gd name="T27" fmla="*/ 92978386 h 339"/>
                  <a:gd name="T28" fmla="*/ 79045419 w 505"/>
                  <a:gd name="T29" fmla="*/ 92152848 h 339"/>
                  <a:gd name="T30" fmla="*/ 73508307 w 505"/>
                  <a:gd name="T31" fmla="*/ 91052481 h 339"/>
                  <a:gd name="T32" fmla="*/ 68353095 w 505"/>
                  <a:gd name="T33" fmla="*/ 89677285 h 339"/>
                  <a:gd name="T34" fmla="*/ 58043108 w 505"/>
                  <a:gd name="T35" fmla="*/ 89401931 h 339"/>
                  <a:gd name="T36" fmla="*/ 50405547 w 505"/>
                  <a:gd name="T37" fmla="*/ 88301564 h 339"/>
                  <a:gd name="T38" fmla="*/ 47350784 w 505"/>
                  <a:gd name="T39" fmla="*/ 87201197 h 339"/>
                  <a:gd name="T40" fmla="*/ 44296022 w 505"/>
                  <a:gd name="T41" fmla="*/ 85275817 h 339"/>
                  <a:gd name="T42" fmla="*/ 40668409 w 505"/>
                  <a:gd name="T43" fmla="*/ 82524900 h 339"/>
                  <a:gd name="T44" fmla="*/ 34367498 w 505"/>
                  <a:gd name="T45" fmla="*/ 79499153 h 339"/>
                  <a:gd name="T46" fmla="*/ 27876073 w 505"/>
                  <a:gd name="T47" fmla="*/ 75097685 h 339"/>
                  <a:gd name="T48" fmla="*/ 18711348 w 505"/>
                  <a:gd name="T49" fmla="*/ 68495483 h 339"/>
                  <a:gd name="T50" fmla="*/ 11837587 w 505"/>
                  <a:gd name="T51" fmla="*/ 56667325 h 339"/>
                  <a:gd name="T52" fmla="*/ 9928524 w 505"/>
                  <a:gd name="T53" fmla="*/ 46489193 h 339"/>
                  <a:gd name="T54" fmla="*/ 6873325 w 505"/>
                  <a:gd name="T55" fmla="*/ 34110327 h 339"/>
                  <a:gd name="T56" fmla="*/ 2863812 w 505"/>
                  <a:gd name="T57" fmla="*/ 22831828 h 339"/>
                  <a:gd name="T58" fmla="*/ 381900 w 505"/>
                  <a:gd name="T59" fmla="*/ 17605347 h 339"/>
                  <a:gd name="T60" fmla="*/ 954750 w 505"/>
                  <a:gd name="T61" fmla="*/ 16780334 h 339"/>
                  <a:gd name="T62" fmla="*/ 2100450 w 505"/>
                  <a:gd name="T63" fmla="*/ 15404613 h 339"/>
                  <a:gd name="T64" fmla="*/ 2100450 w 505"/>
                  <a:gd name="T65" fmla="*/ 13203879 h 339"/>
                  <a:gd name="T66" fmla="*/ 2100450 w 505"/>
                  <a:gd name="T67" fmla="*/ 11828683 h 339"/>
                  <a:gd name="T68" fmla="*/ 6491862 w 505"/>
                  <a:gd name="T69" fmla="*/ 9352595 h 339"/>
                  <a:gd name="T70" fmla="*/ 13938036 w 505"/>
                  <a:gd name="T71" fmla="*/ 6052018 h 339"/>
                  <a:gd name="T72" fmla="*/ 24438973 w 505"/>
                  <a:gd name="T73" fmla="*/ 2200734 h 339"/>
                  <a:gd name="T74" fmla="*/ 33030848 w 505"/>
                  <a:gd name="T75" fmla="*/ 3025747 h 339"/>
                  <a:gd name="T76" fmla="*/ 35895097 w 505"/>
                  <a:gd name="T77" fmla="*/ 7702569 h 339"/>
                  <a:gd name="T78" fmla="*/ 38377010 w 505"/>
                  <a:gd name="T79" fmla="*/ 9627949 h 339"/>
                  <a:gd name="T80" fmla="*/ 41813672 w 505"/>
                  <a:gd name="T81" fmla="*/ 9902778 h 339"/>
                  <a:gd name="T82" fmla="*/ 45632671 w 505"/>
                  <a:gd name="T83" fmla="*/ 9902778 h 339"/>
                  <a:gd name="T84" fmla="*/ 49451234 w 505"/>
                  <a:gd name="T85" fmla="*/ 6602202 h 339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505" h="339">
                    <a:moveTo>
                      <a:pt x="259" y="24"/>
                    </a:moveTo>
                    <a:lnTo>
                      <a:pt x="272" y="36"/>
                    </a:lnTo>
                    <a:lnTo>
                      <a:pt x="444" y="48"/>
                    </a:lnTo>
                    <a:lnTo>
                      <a:pt x="484" y="86"/>
                    </a:lnTo>
                    <a:lnTo>
                      <a:pt x="482" y="97"/>
                    </a:lnTo>
                    <a:lnTo>
                      <a:pt x="478" y="109"/>
                    </a:lnTo>
                    <a:lnTo>
                      <a:pt x="474" y="120"/>
                    </a:lnTo>
                    <a:lnTo>
                      <a:pt x="471" y="129"/>
                    </a:lnTo>
                    <a:lnTo>
                      <a:pt x="465" y="138"/>
                    </a:lnTo>
                    <a:lnTo>
                      <a:pt x="461" y="145"/>
                    </a:lnTo>
                    <a:lnTo>
                      <a:pt x="456" y="150"/>
                    </a:lnTo>
                    <a:lnTo>
                      <a:pt x="451" y="153"/>
                    </a:lnTo>
                    <a:lnTo>
                      <a:pt x="455" y="169"/>
                    </a:lnTo>
                    <a:lnTo>
                      <a:pt x="461" y="184"/>
                    </a:lnTo>
                    <a:lnTo>
                      <a:pt x="470" y="200"/>
                    </a:lnTo>
                    <a:lnTo>
                      <a:pt x="477" y="215"/>
                    </a:lnTo>
                    <a:lnTo>
                      <a:pt x="494" y="242"/>
                    </a:lnTo>
                    <a:lnTo>
                      <a:pt x="505" y="258"/>
                    </a:lnTo>
                    <a:lnTo>
                      <a:pt x="499" y="264"/>
                    </a:lnTo>
                    <a:lnTo>
                      <a:pt x="493" y="271"/>
                    </a:lnTo>
                    <a:lnTo>
                      <a:pt x="486" y="281"/>
                    </a:lnTo>
                    <a:lnTo>
                      <a:pt x="479" y="292"/>
                    </a:lnTo>
                    <a:lnTo>
                      <a:pt x="474" y="303"/>
                    </a:lnTo>
                    <a:lnTo>
                      <a:pt x="468" y="314"/>
                    </a:lnTo>
                    <a:lnTo>
                      <a:pt x="465" y="326"/>
                    </a:lnTo>
                    <a:lnTo>
                      <a:pt x="464" y="339"/>
                    </a:lnTo>
                    <a:lnTo>
                      <a:pt x="457" y="339"/>
                    </a:lnTo>
                    <a:lnTo>
                      <a:pt x="443" y="338"/>
                    </a:lnTo>
                    <a:lnTo>
                      <a:pt x="428" y="337"/>
                    </a:lnTo>
                    <a:lnTo>
                      <a:pt x="414" y="335"/>
                    </a:lnTo>
                    <a:lnTo>
                      <a:pt x="399" y="333"/>
                    </a:lnTo>
                    <a:lnTo>
                      <a:pt x="385" y="331"/>
                    </a:lnTo>
                    <a:lnTo>
                      <a:pt x="371" y="328"/>
                    </a:lnTo>
                    <a:lnTo>
                      <a:pt x="358" y="326"/>
                    </a:lnTo>
                    <a:lnTo>
                      <a:pt x="344" y="326"/>
                    </a:lnTo>
                    <a:lnTo>
                      <a:pt x="304" y="325"/>
                    </a:lnTo>
                    <a:lnTo>
                      <a:pt x="275" y="323"/>
                    </a:lnTo>
                    <a:lnTo>
                      <a:pt x="264" y="321"/>
                    </a:lnTo>
                    <a:lnTo>
                      <a:pt x="255" y="319"/>
                    </a:lnTo>
                    <a:lnTo>
                      <a:pt x="248" y="317"/>
                    </a:lnTo>
                    <a:lnTo>
                      <a:pt x="242" y="315"/>
                    </a:lnTo>
                    <a:lnTo>
                      <a:pt x="232" y="310"/>
                    </a:lnTo>
                    <a:lnTo>
                      <a:pt x="224" y="305"/>
                    </a:lnTo>
                    <a:lnTo>
                      <a:pt x="213" y="300"/>
                    </a:lnTo>
                    <a:lnTo>
                      <a:pt x="198" y="295"/>
                    </a:lnTo>
                    <a:lnTo>
                      <a:pt x="180" y="289"/>
                    </a:lnTo>
                    <a:lnTo>
                      <a:pt x="162" y="282"/>
                    </a:lnTo>
                    <a:lnTo>
                      <a:pt x="146" y="273"/>
                    </a:lnTo>
                    <a:lnTo>
                      <a:pt x="130" y="266"/>
                    </a:lnTo>
                    <a:lnTo>
                      <a:pt x="98" y="249"/>
                    </a:lnTo>
                    <a:lnTo>
                      <a:pt x="65" y="228"/>
                    </a:lnTo>
                    <a:lnTo>
                      <a:pt x="62" y="206"/>
                    </a:lnTo>
                    <a:lnTo>
                      <a:pt x="57" y="187"/>
                    </a:lnTo>
                    <a:lnTo>
                      <a:pt x="52" y="169"/>
                    </a:lnTo>
                    <a:lnTo>
                      <a:pt x="47" y="152"/>
                    </a:lnTo>
                    <a:lnTo>
                      <a:pt x="36" y="124"/>
                    </a:lnTo>
                    <a:lnTo>
                      <a:pt x="25" y="100"/>
                    </a:lnTo>
                    <a:lnTo>
                      <a:pt x="15" y="83"/>
                    </a:lnTo>
                    <a:lnTo>
                      <a:pt x="7" y="71"/>
                    </a:lnTo>
                    <a:lnTo>
                      <a:pt x="2" y="64"/>
                    </a:lnTo>
                    <a:lnTo>
                      <a:pt x="0" y="62"/>
                    </a:lnTo>
                    <a:lnTo>
                      <a:pt x="5" y="61"/>
                    </a:lnTo>
                    <a:lnTo>
                      <a:pt x="8" y="59"/>
                    </a:lnTo>
                    <a:lnTo>
                      <a:pt x="11" y="56"/>
                    </a:lnTo>
                    <a:lnTo>
                      <a:pt x="11" y="51"/>
                    </a:lnTo>
                    <a:lnTo>
                      <a:pt x="11" y="48"/>
                    </a:lnTo>
                    <a:lnTo>
                      <a:pt x="11" y="45"/>
                    </a:lnTo>
                    <a:lnTo>
                      <a:pt x="11" y="43"/>
                    </a:lnTo>
                    <a:lnTo>
                      <a:pt x="13" y="42"/>
                    </a:lnTo>
                    <a:lnTo>
                      <a:pt x="34" y="34"/>
                    </a:lnTo>
                    <a:lnTo>
                      <a:pt x="55" y="27"/>
                    </a:lnTo>
                    <a:lnTo>
                      <a:pt x="73" y="22"/>
                    </a:lnTo>
                    <a:lnTo>
                      <a:pt x="92" y="17"/>
                    </a:lnTo>
                    <a:lnTo>
                      <a:pt x="128" y="8"/>
                    </a:lnTo>
                    <a:lnTo>
                      <a:pt x="165" y="0"/>
                    </a:lnTo>
                    <a:lnTo>
                      <a:pt x="173" y="11"/>
                    </a:lnTo>
                    <a:lnTo>
                      <a:pt x="183" y="23"/>
                    </a:lnTo>
                    <a:lnTo>
                      <a:pt x="188" y="28"/>
                    </a:lnTo>
                    <a:lnTo>
                      <a:pt x="194" y="32"/>
                    </a:lnTo>
                    <a:lnTo>
                      <a:pt x="201" y="35"/>
                    </a:lnTo>
                    <a:lnTo>
                      <a:pt x="205" y="36"/>
                    </a:lnTo>
                    <a:lnTo>
                      <a:pt x="219" y="36"/>
                    </a:lnTo>
                    <a:lnTo>
                      <a:pt x="230" y="36"/>
                    </a:lnTo>
                    <a:lnTo>
                      <a:pt x="239" y="36"/>
                    </a:lnTo>
                    <a:lnTo>
                      <a:pt x="246" y="36"/>
                    </a:lnTo>
                    <a:lnTo>
                      <a:pt x="259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8" name="Freeform 343">
                <a:extLst>
                  <a:ext uri="{FF2B5EF4-FFF2-40B4-BE49-F238E27FC236}">
                    <a16:creationId xmlns:a16="http://schemas.microsoft.com/office/drawing/2014/main" id="{2D7B3C39-D391-40A0-88D7-C970210AE0EF}"/>
                  </a:ext>
                </a:extLst>
              </p:cNvPr>
              <p:cNvSpPr>
                <a:spLocks/>
              </p:cNvSpPr>
              <p:nvPr>
                <p:custDataLst>
                  <p:tags r:id="rId246"/>
                </p:custDataLst>
              </p:nvPr>
            </p:nvSpPr>
            <p:spPr bwMode="auto">
              <a:xfrm>
                <a:off x="4445873" y="2791317"/>
                <a:ext cx="175553" cy="80867"/>
              </a:xfrm>
              <a:custGeom>
                <a:avLst/>
                <a:gdLst>
                  <a:gd name="T0" fmla="*/ 58253641 w 338"/>
                  <a:gd name="T1" fmla="*/ 0 h 141"/>
                  <a:gd name="T2" fmla="*/ 34728357 w 338"/>
                  <a:gd name="T3" fmla="*/ 0 h 141"/>
                  <a:gd name="T4" fmla="*/ 31367478 w 338"/>
                  <a:gd name="T5" fmla="*/ 2053463 h 141"/>
                  <a:gd name="T6" fmla="*/ 26886163 w 338"/>
                  <a:gd name="T7" fmla="*/ 5390782 h 141"/>
                  <a:gd name="T8" fmla="*/ 24645721 w 338"/>
                  <a:gd name="T9" fmla="*/ 6931006 h 141"/>
                  <a:gd name="T10" fmla="*/ 22218612 w 338"/>
                  <a:gd name="T11" fmla="*/ 8214357 h 141"/>
                  <a:gd name="T12" fmla="*/ 20911508 w 338"/>
                  <a:gd name="T13" fmla="*/ 8727596 h 141"/>
                  <a:gd name="T14" fmla="*/ 19604836 w 338"/>
                  <a:gd name="T15" fmla="*/ 8984468 h 141"/>
                  <a:gd name="T16" fmla="*/ 18484399 w 338"/>
                  <a:gd name="T17" fmla="*/ 9240835 h 141"/>
                  <a:gd name="T18" fmla="*/ 17363962 w 338"/>
                  <a:gd name="T19" fmla="*/ 9497707 h 141"/>
                  <a:gd name="T20" fmla="*/ 16430625 w 338"/>
                  <a:gd name="T21" fmla="*/ 9240835 h 141"/>
                  <a:gd name="T22" fmla="*/ 15683523 w 338"/>
                  <a:gd name="T23" fmla="*/ 8984468 h 141"/>
                  <a:gd name="T24" fmla="*/ 14563518 w 338"/>
                  <a:gd name="T25" fmla="*/ 8214357 h 141"/>
                  <a:gd name="T26" fmla="*/ 13816416 w 338"/>
                  <a:gd name="T27" fmla="*/ 7701118 h 141"/>
                  <a:gd name="T28" fmla="*/ 12323077 w 338"/>
                  <a:gd name="T29" fmla="*/ 6160894 h 141"/>
                  <a:gd name="T30" fmla="*/ 11015972 w 338"/>
                  <a:gd name="T31" fmla="*/ 4620671 h 141"/>
                  <a:gd name="T32" fmla="*/ 9148866 w 338"/>
                  <a:gd name="T33" fmla="*/ 8727596 h 141"/>
                  <a:gd name="T34" fmla="*/ 6908424 w 338"/>
                  <a:gd name="T35" fmla="*/ 13091393 h 141"/>
                  <a:gd name="T36" fmla="*/ 5601320 w 338"/>
                  <a:gd name="T37" fmla="*/ 15401729 h 141"/>
                  <a:gd name="T38" fmla="*/ 3920881 w 338"/>
                  <a:gd name="T39" fmla="*/ 17455191 h 141"/>
                  <a:gd name="T40" fmla="*/ 2053774 w 338"/>
                  <a:gd name="T41" fmla="*/ 19252288 h 141"/>
                  <a:gd name="T42" fmla="*/ 0 w 338"/>
                  <a:gd name="T43" fmla="*/ 20535638 h 141"/>
                  <a:gd name="T44" fmla="*/ 2240442 w 338"/>
                  <a:gd name="T45" fmla="*/ 23102847 h 141"/>
                  <a:gd name="T46" fmla="*/ 4294216 w 338"/>
                  <a:gd name="T47" fmla="*/ 25669548 h 141"/>
                  <a:gd name="T48" fmla="*/ 6161322 w 338"/>
                  <a:gd name="T49" fmla="*/ 27723011 h 141"/>
                  <a:gd name="T50" fmla="*/ 8215096 w 338"/>
                  <a:gd name="T51" fmla="*/ 29776980 h 141"/>
                  <a:gd name="T52" fmla="*/ 10269303 w 338"/>
                  <a:gd name="T53" fmla="*/ 31317203 h 141"/>
                  <a:gd name="T54" fmla="*/ 12323077 w 338"/>
                  <a:gd name="T55" fmla="*/ 33113793 h 141"/>
                  <a:gd name="T56" fmla="*/ 14750186 w 338"/>
                  <a:gd name="T57" fmla="*/ 34654016 h 141"/>
                  <a:gd name="T58" fmla="*/ 17363962 w 338"/>
                  <a:gd name="T59" fmla="*/ 36194240 h 141"/>
                  <a:gd name="T60" fmla="*/ 48358106 w 338"/>
                  <a:gd name="T61" fmla="*/ 36194240 h 141"/>
                  <a:gd name="T62" fmla="*/ 50225212 w 338"/>
                  <a:gd name="T63" fmla="*/ 31830442 h 141"/>
                  <a:gd name="T64" fmla="*/ 52465654 w 338"/>
                  <a:gd name="T65" fmla="*/ 27466644 h 141"/>
                  <a:gd name="T66" fmla="*/ 54519428 w 338"/>
                  <a:gd name="T67" fmla="*/ 23616086 h 141"/>
                  <a:gd name="T68" fmla="*/ 56760302 w 338"/>
                  <a:gd name="T69" fmla="*/ 20022399 h 141"/>
                  <a:gd name="T70" fmla="*/ 58814076 w 338"/>
                  <a:gd name="T71" fmla="*/ 16428713 h 141"/>
                  <a:gd name="T72" fmla="*/ 60494515 w 338"/>
                  <a:gd name="T73" fmla="*/ 12321282 h 141"/>
                  <a:gd name="T74" fmla="*/ 62174522 w 338"/>
                  <a:gd name="T75" fmla="*/ 8727596 h 141"/>
                  <a:gd name="T76" fmla="*/ 63108291 w 338"/>
                  <a:gd name="T77" fmla="*/ 4620671 h 141"/>
                  <a:gd name="T78" fmla="*/ 58253641 w 338"/>
                  <a:gd name="T79" fmla="*/ 0 h 141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338" h="141">
                    <a:moveTo>
                      <a:pt x="312" y="0"/>
                    </a:moveTo>
                    <a:lnTo>
                      <a:pt x="186" y="0"/>
                    </a:lnTo>
                    <a:lnTo>
                      <a:pt x="168" y="8"/>
                    </a:lnTo>
                    <a:lnTo>
                      <a:pt x="144" y="21"/>
                    </a:lnTo>
                    <a:lnTo>
                      <a:pt x="132" y="27"/>
                    </a:lnTo>
                    <a:lnTo>
                      <a:pt x="119" y="32"/>
                    </a:lnTo>
                    <a:lnTo>
                      <a:pt x="112" y="34"/>
                    </a:lnTo>
                    <a:lnTo>
                      <a:pt x="105" y="35"/>
                    </a:lnTo>
                    <a:lnTo>
                      <a:pt x="99" y="36"/>
                    </a:lnTo>
                    <a:lnTo>
                      <a:pt x="93" y="37"/>
                    </a:lnTo>
                    <a:lnTo>
                      <a:pt x="88" y="36"/>
                    </a:lnTo>
                    <a:lnTo>
                      <a:pt x="84" y="35"/>
                    </a:lnTo>
                    <a:lnTo>
                      <a:pt x="78" y="32"/>
                    </a:lnTo>
                    <a:lnTo>
                      <a:pt x="74" y="30"/>
                    </a:lnTo>
                    <a:lnTo>
                      <a:pt x="66" y="24"/>
                    </a:lnTo>
                    <a:lnTo>
                      <a:pt x="59" y="18"/>
                    </a:lnTo>
                    <a:lnTo>
                      <a:pt x="49" y="34"/>
                    </a:lnTo>
                    <a:lnTo>
                      <a:pt x="37" y="51"/>
                    </a:lnTo>
                    <a:lnTo>
                      <a:pt x="30" y="60"/>
                    </a:lnTo>
                    <a:lnTo>
                      <a:pt x="21" y="68"/>
                    </a:lnTo>
                    <a:lnTo>
                      <a:pt x="11" y="75"/>
                    </a:lnTo>
                    <a:lnTo>
                      <a:pt x="0" y="80"/>
                    </a:lnTo>
                    <a:lnTo>
                      <a:pt x="12" y="90"/>
                    </a:lnTo>
                    <a:lnTo>
                      <a:pt x="23" y="100"/>
                    </a:lnTo>
                    <a:lnTo>
                      <a:pt x="33" y="108"/>
                    </a:lnTo>
                    <a:lnTo>
                      <a:pt x="44" y="116"/>
                    </a:lnTo>
                    <a:lnTo>
                      <a:pt x="55" y="122"/>
                    </a:lnTo>
                    <a:lnTo>
                      <a:pt x="66" y="129"/>
                    </a:lnTo>
                    <a:lnTo>
                      <a:pt x="79" y="135"/>
                    </a:lnTo>
                    <a:lnTo>
                      <a:pt x="93" y="141"/>
                    </a:lnTo>
                    <a:lnTo>
                      <a:pt x="259" y="141"/>
                    </a:lnTo>
                    <a:lnTo>
                      <a:pt x="269" y="124"/>
                    </a:lnTo>
                    <a:lnTo>
                      <a:pt x="281" y="107"/>
                    </a:lnTo>
                    <a:lnTo>
                      <a:pt x="292" y="92"/>
                    </a:lnTo>
                    <a:lnTo>
                      <a:pt x="304" y="78"/>
                    </a:lnTo>
                    <a:lnTo>
                      <a:pt x="315" y="64"/>
                    </a:lnTo>
                    <a:lnTo>
                      <a:pt x="324" y="48"/>
                    </a:lnTo>
                    <a:lnTo>
                      <a:pt x="333" y="34"/>
                    </a:lnTo>
                    <a:lnTo>
                      <a:pt x="338" y="18"/>
                    </a:lnTo>
                    <a:lnTo>
                      <a:pt x="312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09" name="Freeform 344">
                <a:extLst>
                  <a:ext uri="{FF2B5EF4-FFF2-40B4-BE49-F238E27FC236}">
                    <a16:creationId xmlns:a16="http://schemas.microsoft.com/office/drawing/2014/main" id="{11111195-D27F-4C4C-A2C5-1CB2104D0C1C}"/>
                  </a:ext>
                </a:extLst>
              </p:cNvPr>
              <p:cNvSpPr>
                <a:spLocks/>
              </p:cNvSpPr>
              <p:nvPr>
                <p:custDataLst>
                  <p:tags r:id="rId247"/>
                </p:custDataLst>
              </p:nvPr>
            </p:nvSpPr>
            <p:spPr bwMode="auto">
              <a:xfrm>
                <a:off x="4567131" y="2404563"/>
                <a:ext cx="133927" cy="72077"/>
              </a:xfrm>
              <a:custGeom>
                <a:avLst/>
                <a:gdLst>
                  <a:gd name="T0" fmla="*/ 47678632 w 259"/>
                  <a:gd name="T1" fmla="*/ 32839671 h 129"/>
                  <a:gd name="T2" fmla="*/ 46942375 w 259"/>
                  <a:gd name="T3" fmla="*/ 25966181 h 129"/>
                  <a:gd name="T4" fmla="*/ 46390182 w 259"/>
                  <a:gd name="T5" fmla="*/ 20365672 h 129"/>
                  <a:gd name="T6" fmla="*/ 46390182 w 259"/>
                  <a:gd name="T7" fmla="*/ 16038143 h 129"/>
                  <a:gd name="T8" fmla="*/ 46574247 w 259"/>
                  <a:gd name="T9" fmla="*/ 12728797 h 129"/>
                  <a:gd name="T10" fmla="*/ 47310503 w 259"/>
                  <a:gd name="T11" fmla="*/ 7382581 h 129"/>
                  <a:gd name="T12" fmla="*/ 47678632 w 259"/>
                  <a:gd name="T13" fmla="*/ 3055053 h 129"/>
                  <a:gd name="T14" fmla="*/ 47494568 w 259"/>
                  <a:gd name="T15" fmla="*/ 3564144 h 129"/>
                  <a:gd name="T16" fmla="*/ 47126439 w 259"/>
                  <a:gd name="T17" fmla="*/ 4073235 h 129"/>
                  <a:gd name="T18" fmla="*/ 46574247 w 259"/>
                  <a:gd name="T19" fmla="*/ 4327529 h 129"/>
                  <a:gd name="T20" fmla="*/ 45837561 w 259"/>
                  <a:gd name="T21" fmla="*/ 4582327 h 129"/>
                  <a:gd name="T22" fmla="*/ 43996919 w 259"/>
                  <a:gd name="T23" fmla="*/ 4836620 h 129"/>
                  <a:gd name="T24" fmla="*/ 41971784 w 259"/>
                  <a:gd name="T25" fmla="*/ 4836620 h 129"/>
                  <a:gd name="T26" fmla="*/ 37737878 w 259"/>
                  <a:gd name="T27" fmla="*/ 4836620 h 129"/>
                  <a:gd name="T28" fmla="*/ 35344615 w 259"/>
                  <a:gd name="T29" fmla="*/ 4582327 h 129"/>
                  <a:gd name="T30" fmla="*/ 33319909 w 259"/>
                  <a:gd name="T31" fmla="*/ 4327529 h 129"/>
                  <a:gd name="T32" fmla="*/ 31662902 w 259"/>
                  <a:gd name="T33" fmla="*/ 3818437 h 129"/>
                  <a:gd name="T34" fmla="*/ 30006324 w 259"/>
                  <a:gd name="T35" fmla="*/ 3055053 h 129"/>
                  <a:gd name="T36" fmla="*/ 28717446 w 259"/>
                  <a:gd name="T37" fmla="*/ 2291163 h 129"/>
                  <a:gd name="T38" fmla="*/ 26876804 w 259"/>
                  <a:gd name="T39" fmla="*/ 1527274 h 129"/>
                  <a:gd name="T40" fmla="*/ 24667605 w 259"/>
                  <a:gd name="T41" fmla="*/ 763889 h 129"/>
                  <a:gd name="T42" fmla="*/ 21722149 w 259"/>
                  <a:gd name="T43" fmla="*/ 254798 h 129"/>
                  <a:gd name="T44" fmla="*/ 18224500 w 259"/>
                  <a:gd name="T45" fmla="*/ 0 h 129"/>
                  <a:gd name="T46" fmla="*/ 15279044 w 259"/>
                  <a:gd name="T47" fmla="*/ 0 h 129"/>
                  <a:gd name="T48" fmla="*/ 12334017 w 259"/>
                  <a:gd name="T49" fmla="*/ 0 h 129"/>
                  <a:gd name="T50" fmla="*/ 9204497 w 259"/>
                  <a:gd name="T51" fmla="*/ 0 h 129"/>
                  <a:gd name="T52" fmla="*/ 6259041 w 259"/>
                  <a:gd name="T53" fmla="*/ 509091 h 129"/>
                  <a:gd name="T54" fmla="*/ 4970162 w 259"/>
                  <a:gd name="T55" fmla="*/ 1018183 h 129"/>
                  <a:gd name="T56" fmla="*/ 3865777 w 259"/>
                  <a:gd name="T57" fmla="*/ 1527274 h 129"/>
                  <a:gd name="T58" fmla="*/ 2577328 w 259"/>
                  <a:gd name="T59" fmla="*/ 2291163 h 129"/>
                  <a:gd name="T60" fmla="*/ 1841071 w 259"/>
                  <a:gd name="T61" fmla="*/ 3309346 h 129"/>
                  <a:gd name="T62" fmla="*/ 920321 w 259"/>
                  <a:gd name="T63" fmla="*/ 4327529 h 129"/>
                  <a:gd name="T64" fmla="*/ 368128 w 259"/>
                  <a:gd name="T65" fmla="*/ 5600509 h 129"/>
                  <a:gd name="T66" fmla="*/ 0 w 259"/>
                  <a:gd name="T67" fmla="*/ 7382581 h 129"/>
                  <a:gd name="T68" fmla="*/ 0 w 259"/>
                  <a:gd name="T69" fmla="*/ 9164653 h 129"/>
                  <a:gd name="T70" fmla="*/ 0 w 259"/>
                  <a:gd name="T71" fmla="*/ 12219201 h 129"/>
                  <a:gd name="T72" fmla="*/ 552193 w 259"/>
                  <a:gd name="T73" fmla="*/ 14765163 h 129"/>
                  <a:gd name="T74" fmla="*/ 1104385 w 259"/>
                  <a:gd name="T75" fmla="*/ 16547235 h 129"/>
                  <a:gd name="T76" fmla="*/ 2209199 w 259"/>
                  <a:gd name="T77" fmla="*/ 18074509 h 129"/>
                  <a:gd name="T78" fmla="*/ 3129520 w 259"/>
                  <a:gd name="T79" fmla="*/ 19347489 h 129"/>
                  <a:gd name="T80" fmla="*/ 4417970 w 259"/>
                  <a:gd name="T81" fmla="*/ 20365672 h 129"/>
                  <a:gd name="T82" fmla="*/ 5706848 w 259"/>
                  <a:gd name="T83" fmla="*/ 21129561 h 129"/>
                  <a:gd name="T84" fmla="*/ 6811233 w 259"/>
                  <a:gd name="T85" fmla="*/ 21638652 h 129"/>
                  <a:gd name="T86" fmla="*/ 9204497 w 259"/>
                  <a:gd name="T87" fmla="*/ 22402037 h 129"/>
                  <a:gd name="T88" fmla="*/ 11229203 w 259"/>
                  <a:gd name="T89" fmla="*/ 23420724 h 129"/>
                  <a:gd name="T90" fmla="*/ 11965889 w 259"/>
                  <a:gd name="T91" fmla="*/ 24184109 h 129"/>
                  <a:gd name="T92" fmla="*/ 12334017 w 259"/>
                  <a:gd name="T93" fmla="*/ 25202292 h 129"/>
                  <a:gd name="T94" fmla="*/ 12334017 w 259"/>
                  <a:gd name="T95" fmla="*/ 26730070 h 129"/>
                  <a:gd name="T96" fmla="*/ 12149953 w 259"/>
                  <a:gd name="T97" fmla="*/ 28257344 h 129"/>
                  <a:gd name="T98" fmla="*/ 14910916 w 259"/>
                  <a:gd name="T99" fmla="*/ 28003051 h 129"/>
                  <a:gd name="T100" fmla="*/ 16751986 w 259"/>
                  <a:gd name="T101" fmla="*/ 27493455 h 129"/>
                  <a:gd name="T102" fmla="*/ 18040436 w 259"/>
                  <a:gd name="T103" fmla="*/ 26984364 h 129"/>
                  <a:gd name="T104" fmla="*/ 19329314 w 259"/>
                  <a:gd name="T105" fmla="*/ 26730070 h 129"/>
                  <a:gd name="T106" fmla="*/ 22090277 w 259"/>
                  <a:gd name="T107" fmla="*/ 26984364 h 129"/>
                  <a:gd name="T108" fmla="*/ 25772419 w 259"/>
                  <a:gd name="T109" fmla="*/ 27493455 h 129"/>
                  <a:gd name="T110" fmla="*/ 30558517 w 259"/>
                  <a:gd name="T111" fmla="*/ 28512142 h 129"/>
                  <a:gd name="T112" fmla="*/ 35344615 w 259"/>
                  <a:gd name="T113" fmla="*/ 29784618 h 129"/>
                  <a:gd name="T114" fmla="*/ 43812855 w 259"/>
                  <a:gd name="T115" fmla="*/ 31821488 h 129"/>
                  <a:gd name="T116" fmla="*/ 47678632 w 259"/>
                  <a:gd name="T117" fmla="*/ 32839671 h 129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259" h="129">
                    <a:moveTo>
                      <a:pt x="259" y="129"/>
                    </a:moveTo>
                    <a:lnTo>
                      <a:pt x="255" y="102"/>
                    </a:lnTo>
                    <a:lnTo>
                      <a:pt x="252" y="80"/>
                    </a:lnTo>
                    <a:lnTo>
                      <a:pt x="252" y="63"/>
                    </a:lnTo>
                    <a:lnTo>
                      <a:pt x="253" y="50"/>
                    </a:lnTo>
                    <a:lnTo>
                      <a:pt x="257" y="29"/>
                    </a:lnTo>
                    <a:lnTo>
                      <a:pt x="259" y="12"/>
                    </a:lnTo>
                    <a:lnTo>
                      <a:pt x="258" y="14"/>
                    </a:lnTo>
                    <a:lnTo>
                      <a:pt x="256" y="16"/>
                    </a:lnTo>
                    <a:lnTo>
                      <a:pt x="253" y="17"/>
                    </a:lnTo>
                    <a:lnTo>
                      <a:pt x="249" y="18"/>
                    </a:lnTo>
                    <a:lnTo>
                      <a:pt x="239" y="19"/>
                    </a:lnTo>
                    <a:lnTo>
                      <a:pt x="228" y="19"/>
                    </a:lnTo>
                    <a:lnTo>
                      <a:pt x="205" y="19"/>
                    </a:lnTo>
                    <a:lnTo>
                      <a:pt x="192" y="18"/>
                    </a:lnTo>
                    <a:lnTo>
                      <a:pt x="181" y="17"/>
                    </a:lnTo>
                    <a:lnTo>
                      <a:pt x="172" y="15"/>
                    </a:lnTo>
                    <a:lnTo>
                      <a:pt x="163" y="12"/>
                    </a:lnTo>
                    <a:lnTo>
                      <a:pt x="156" y="9"/>
                    </a:lnTo>
                    <a:lnTo>
                      <a:pt x="146" y="6"/>
                    </a:lnTo>
                    <a:lnTo>
                      <a:pt x="134" y="3"/>
                    </a:lnTo>
                    <a:lnTo>
                      <a:pt x="118" y="1"/>
                    </a:lnTo>
                    <a:lnTo>
                      <a:pt x="99" y="0"/>
                    </a:lnTo>
                    <a:lnTo>
                      <a:pt x="83" y="0"/>
                    </a:lnTo>
                    <a:lnTo>
                      <a:pt x="67" y="0"/>
                    </a:lnTo>
                    <a:lnTo>
                      <a:pt x="50" y="0"/>
                    </a:lnTo>
                    <a:lnTo>
                      <a:pt x="34" y="2"/>
                    </a:lnTo>
                    <a:lnTo>
                      <a:pt x="27" y="4"/>
                    </a:lnTo>
                    <a:lnTo>
                      <a:pt x="21" y="6"/>
                    </a:lnTo>
                    <a:lnTo>
                      <a:pt x="14" y="9"/>
                    </a:lnTo>
                    <a:lnTo>
                      <a:pt x="10" y="13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9"/>
                    </a:lnTo>
                    <a:lnTo>
                      <a:pt x="0" y="36"/>
                    </a:lnTo>
                    <a:lnTo>
                      <a:pt x="0" y="48"/>
                    </a:lnTo>
                    <a:lnTo>
                      <a:pt x="3" y="58"/>
                    </a:lnTo>
                    <a:lnTo>
                      <a:pt x="6" y="65"/>
                    </a:lnTo>
                    <a:lnTo>
                      <a:pt x="12" y="71"/>
                    </a:lnTo>
                    <a:lnTo>
                      <a:pt x="17" y="76"/>
                    </a:lnTo>
                    <a:lnTo>
                      <a:pt x="24" y="80"/>
                    </a:lnTo>
                    <a:lnTo>
                      <a:pt x="31" y="83"/>
                    </a:lnTo>
                    <a:lnTo>
                      <a:pt x="37" y="85"/>
                    </a:lnTo>
                    <a:lnTo>
                      <a:pt x="50" y="88"/>
                    </a:lnTo>
                    <a:lnTo>
                      <a:pt x="61" y="92"/>
                    </a:lnTo>
                    <a:lnTo>
                      <a:pt x="65" y="95"/>
                    </a:lnTo>
                    <a:lnTo>
                      <a:pt x="67" y="99"/>
                    </a:lnTo>
                    <a:lnTo>
                      <a:pt x="67" y="105"/>
                    </a:lnTo>
                    <a:lnTo>
                      <a:pt x="66" y="111"/>
                    </a:lnTo>
                    <a:lnTo>
                      <a:pt x="81" y="110"/>
                    </a:lnTo>
                    <a:lnTo>
                      <a:pt x="91" y="108"/>
                    </a:lnTo>
                    <a:lnTo>
                      <a:pt x="98" y="106"/>
                    </a:lnTo>
                    <a:lnTo>
                      <a:pt x="105" y="105"/>
                    </a:lnTo>
                    <a:lnTo>
                      <a:pt x="120" y="106"/>
                    </a:lnTo>
                    <a:lnTo>
                      <a:pt x="140" y="108"/>
                    </a:lnTo>
                    <a:lnTo>
                      <a:pt x="166" y="112"/>
                    </a:lnTo>
                    <a:lnTo>
                      <a:pt x="192" y="117"/>
                    </a:lnTo>
                    <a:lnTo>
                      <a:pt x="238" y="125"/>
                    </a:lnTo>
                    <a:lnTo>
                      <a:pt x="259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0" name="Freeform 345">
                <a:extLst>
                  <a:ext uri="{FF2B5EF4-FFF2-40B4-BE49-F238E27FC236}">
                    <a16:creationId xmlns:a16="http://schemas.microsoft.com/office/drawing/2014/main" id="{5157E1CE-4B39-4171-92DB-6E3E360F1F13}"/>
                  </a:ext>
                </a:extLst>
              </p:cNvPr>
              <p:cNvSpPr>
                <a:spLocks/>
              </p:cNvSpPr>
              <p:nvPr>
                <p:custDataLst>
                  <p:tags r:id="rId248"/>
                </p:custDataLst>
              </p:nvPr>
            </p:nvSpPr>
            <p:spPr bwMode="auto">
              <a:xfrm>
                <a:off x="4581610" y="2794833"/>
                <a:ext cx="217179" cy="159976"/>
              </a:xfrm>
              <a:custGeom>
                <a:avLst/>
                <a:gdLst>
                  <a:gd name="T0" fmla="*/ 74469664 w 425"/>
                  <a:gd name="T1" fmla="*/ 46905547 h 272"/>
                  <a:gd name="T2" fmla="*/ 70906827 w 425"/>
                  <a:gd name="T3" fmla="*/ 51872029 h 272"/>
                  <a:gd name="T4" fmla="*/ 68234172 w 425"/>
                  <a:gd name="T5" fmla="*/ 56838511 h 272"/>
                  <a:gd name="T6" fmla="*/ 68412293 w 425"/>
                  <a:gd name="T7" fmla="*/ 60977159 h 272"/>
                  <a:gd name="T8" fmla="*/ 69303318 w 425"/>
                  <a:gd name="T9" fmla="*/ 65391576 h 272"/>
                  <a:gd name="T10" fmla="*/ 66809206 w 425"/>
                  <a:gd name="T11" fmla="*/ 67323015 h 272"/>
                  <a:gd name="T12" fmla="*/ 61820559 w 425"/>
                  <a:gd name="T13" fmla="*/ 65667871 h 272"/>
                  <a:gd name="T14" fmla="*/ 57722938 w 425"/>
                  <a:gd name="T15" fmla="*/ 64840037 h 272"/>
                  <a:gd name="T16" fmla="*/ 52556592 w 425"/>
                  <a:gd name="T17" fmla="*/ 64840037 h 272"/>
                  <a:gd name="T18" fmla="*/ 46855462 w 425"/>
                  <a:gd name="T19" fmla="*/ 67047245 h 272"/>
                  <a:gd name="T20" fmla="*/ 41332453 w 425"/>
                  <a:gd name="T21" fmla="*/ 70082289 h 272"/>
                  <a:gd name="T22" fmla="*/ 35096961 w 425"/>
                  <a:gd name="T23" fmla="*/ 73669397 h 272"/>
                  <a:gd name="T24" fmla="*/ 17815873 w 425"/>
                  <a:gd name="T25" fmla="*/ 66219411 h 272"/>
                  <a:gd name="T26" fmla="*/ 15143217 w 425"/>
                  <a:gd name="T27" fmla="*/ 62356533 h 272"/>
                  <a:gd name="T28" fmla="*/ 12470984 w 425"/>
                  <a:gd name="T29" fmla="*/ 59045720 h 272"/>
                  <a:gd name="T30" fmla="*/ 6591734 w 425"/>
                  <a:gd name="T31" fmla="*/ 52975634 h 272"/>
                  <a:gd name="T32" fmla="*/ 3919500 w 425"/>
                  <a:gd name="T33" fmla="*/ 49664821 h 272"/>
                  <a:gd name="T34" fmla="*/ 1959750 w 425"/>
                  <a:gd name="T35" fmla="*/ 46077713 h 272"/>
                  <a:gd name="T36" fmla="*/ 356241 w 425"/>
                  <a:gd name="T37" fmla="*/ 41387000 h 272"/>
                  <a:gd name="T38" fmla="*/ 0 w 425"/>
                  <a:gd name="T39" fmla="*/ 35593209 h 272"/>
                  <a:gd name="T40" fmla="*/ 8907725 w 425"/>
                  <a:gd name="T41" fmla="*/ 18210259 h 272"/>
                  <a:gd name="T42" fmla="*/ 12649105 w 425"/>
                  <a:gd name="T43" fmla="*/ 9932964 h 272"/>
                  <a:gd name="T44" fmla="*/ 14252614 w 425"/>
                  <a:gd name="T45" fmla="*/ 6070086 h 272"/>
                  <a:gd name="T46" fmla="*/ 15143217 w 425"/>
                  <a:gd name="T47" fmla="*/ 1655669 h 272"/>
                  <a:gd name="T48" fmla="*/ 21913494 w 425"/>
                  <a:gd name="T49" fmla="*/ 2759273 h 272"/>
                  <a:gd name="T50" fmla="*/ 27257960 w 425"/>
                  <a:gd name="T51" fmla="*/ 4966482 h 272"/>
                  <a:gd name="T52" fmla="*/ 32068486 w 425"/>
                  <a:gd name="T53" fmla="*/ 7449460 h 272"/>
                  <a:gd name="T54" fmla="*/ 36522349 w 425"/>
                  <a:gd name="T55" fmla="*/ 8553590 h 272"/>
                  <a:gd name="T56" fmla="*/ 38125858 w 425"/>
                  <a:gd name="T57" fmla="*/ 8001525 h 272"/>
                  <a:gd name="T58" fmla="*/ 39372703 w 425"/>
                  <a:gd name="T59" fmla="*/ 7173691 h 272"/>
                  <a:gd name="T60" fmla="*/ 41332453 w 425"/>
                  <a:gd name="T61" fmla="*/ 4138648 h 272"/>
                  <a:gd name="T62" fmla="*/ 43114083 w 425"/>
                  <a:gd name="T63" fmla="*/ 1379374 h 272"/>
                  <a:gd name="T64" fmla="*/ 44539471 w 425"/>
                  <a:gd name="T65" fmla="*/ 552065 h 272"/>
                  <a:gd name="T66" fmla="*/ 46142979 w 425"/>
                  <a:gd name="T67" fmla="*/ 0 h 272"/>
                  <a:gd name="T68" fmla="*/ 48993333 w 425"/>
                  <a:gd name="T69" fmla="*/ 552065 h 272"/>
                  <a:gd name="T70" fmla="*/ 51487446 w 425"/>
                  <a:gd name="T71" fmla="*/ 1931439 h 272"/>
                  <a:gd name="T72" fmla="*/ 53803437 w 425"/>
                  <a:gd name="T73" fmla="*/ 4138648 h 272"/>
                  <a:gd name="T74" fmla="*/ 55228825 w 425"/>
                  <a:gd name="T75" fmla="*/ 7173691 h 272"/>
                  <a:gd name="T76" fmla="*/ 57901059 w 425"/>
                  <a:gd name="T77" fmla="*/ 14623676 h 272"/>
                  <a:gd name="T78" fmla="*/ 60038930 w 425"/>
                  <a:gd name="T79" fmla="*/ 22625202 h 272"/>
                  <a:gd name="T80" fmla="*/ 62176800 w 425"/>
                  <a:gd name="T81" fmla="*/ 31178267 h 272"/>
                  <a:gd name="T82" fmla="*/ 63424068 w 425"/>
                  <a:gd name="T83" fmla="*/ 34765375 h 272"/>
                  <a:gd name="T84" fmla="*/ 65027576 w 425"/>
                  <a:gd name="T85" fmla="*/ 38076188 h 272"/>
                  <a:gd name="T86" fmla="*/ 66987327 w 425"/>
                  <a:gd name="T87" fmla="*/ 40559691 h 272"/>
                  <a:gd name="T88" fmla="*/ 69303318 w 425"/>
                  <a:gd name="T89" fmla="*/ 43042670 h 272"/>
                  <a:gd name="T90" fmla="*/ 72153672 w 425"/>
                  <a:gd name="T91" fmla="*/ 44146274 h 272"/>
                  <a:gd name="T92" fmla="*/ 75716931 w 425"/>
                  <a:gd name="T93" fmla="*/ 44422044 h 27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25" h="272">
                    <a:moveTo>
                      <a:pt x="425" y="161"/>
                    </a:moveTo>
                    <a:lnTo>
                      <a:pt x="418" y="170"/>
                    </a:lnTo>
                    <a:lnTo>
                      <a:pt x="409" y="179"/>
                    </a:lnTo>
                    <a:lnTo>
                      <a:pt x="398" y="188"/>
                    </a:lnTo>
                    <a:lnTo>
                      <a:pt x="385" y="197"/>
                    </a:lnTo>
                    <a:lnTo>
                      <a:pt x="383" y="206"/>
                    </a:lnTo>
                    <a:lnTo>
                      <a:pt x="383" y="214"/>
                    </a:lnTo>
                    <a:lnTo>
                      <a:pt x="384" y="221"/>
                    </a:lnTo>
                    <a:lnTo>
                      <a:pt x="385" y="227"/>
                    </a:lnTo>
                    <a:lnTo>
                      <a:pt x="389" y="237"/>
                    </a:lnTo>
                    <a:lnTo>
                      <a:pt x="392" y="246"/>
                    </a:lnTo>
                    <a:lnTo>
                      <a:pt x="375" y="244"/>
                    </a:lnTo>
                    <a:lnTo>
                      <a:pt x="356" y="240"/>
                    </a:lnTo>
                    <a:lnTo>
                      <a:pt x="347" y="238"/>
                    </a:lnTo>
                    <a:lnTo>
                      <a:pt x="336" y="236"/>
                    </a:lnTo>
                    <a:lnTo>
                      <a:pt x="324" y="235"/>
                    </a:lnTo>
                    <a:lnTo>
                      <a:pt x="311" y="234"/>
                    </a:lnTo>
                    <a:lnTo>
                      <a:pt x="295" y="235"/>
                    </a:lnTo>
                    <a:lnTo>
                      <a:pt x="278" y="238"/>
                    </a:lnTo>
                    <a:lnTo>
                      <a:pt x="263" y="243"/>
                    </a:lnTo>
                    <a:lnTo>
                      <a:pt x="248" y="248"/>
                    </a:lnTo>
                    <a:lnTo>
                      <a:pt x="232" y="254"/>
                    </a:lnTo>
                    <a:lnTo>
                      <a:pt x="215" y="260"/>
                    </a:lnTo>
                    <a:lnTo>
                      <a:pt x="197" y="267"/>
                    </a:lnTo>
                    <a:lnTo>
                      <a:pt x="179" y="272"/>
                    </a:lnTo>
                    <a:lnTo>
                      <a:pt x="100" y="240"/>
                    </a:lnTo>
                    <a:lnTo>
                      <a:pt x="92" y="233"/>
                    </a:lnTo>
                    <a:lnTo>
                      <a:pt x="85" y="226"/>
                    </a:lnTo>
                    <a:lnTo>
                      <a:pt x="78" y="220"/>
                    </a:lnTo>
                    <a:lnTo>
                      <a:pt x="70" y="214"/>
                    </a:lnTo>
                    <a:lnTo>
                      <a:pt x="52" y="202"/>
                    </a:lnTo>
                    <a:lnTo>
                      <a:pt x="37" y="192"/>
                    </a:lnTo>
                    <a:lnTo>
                      <a:pt x="29" y="186"/>
                    </a:lnTo>
                    <a:lnTo>
                      <a:pt x="22" y="180"/>
                    </a:lnTo>
                    <a:lnTo>
                      <a:pt x="16" y="174"/>
                    </a:lnTo>
                    <a:lnTo>
                      <a:pt x="11" y="167"/>
                    </a:lnTo>
                    <a:lnTo>
                      <a:pt x="6" y="159"/>
                    </a:lnTo>
                    <a:lnTo>
                      <a:pt x="2" y="150"/>
                    </a:lnTo>
                    <a:lnTo>
                      <a:pt x="0" y="140"/>
                    </a:lnTo>
                    <a:lnTo>
                      <a:pt x="0" y="129"/>
                    </a:lnTo>
                    <a:lnTo>
                      <a:pt x="25" y="95"/>
                    </a:lnTo>
                    <a:lnTo>
                      <a:pt x="50" y="66"/>
                    </a:lnTo>
                    <a:lnTo>
                      <a:pt x="61" y="52"/>
                    </a:lnTo>
                    <a:lnTo>
                      <a:pt x="71" y="36"/>
                    </a:lnTo>
                    <a:lnTo>
                      <a:pt x="75" y="29"/>
                    </a:lnTo>
                    <a:lnTo>
                      <a:pt x="80" y="22"/>
                    </a:lnTo>
                    <a:lnTo>
                      <a:pt x="83" y="14"/>
                    </a:lnTo>
                    <a:lnTo>
                      <a:pt x="85" y="6"/>
                    </a:lnTo>
                    <a:lnTo>
                      <a:pt x="105" y="7"/>
                    </a:lnTo>
                    <a:lnTo>
                      <a:pt x="123" y="10"/>
                    </a:lnTo>
                    <a:lnTo>
                      <a:pt x="138" y="14"/>
                    </a:lnTo>
                    <a:lnTo>
                      <a:pt x="153" y="18"/>
                    </a:lnTo>
                    <a:lnTo>
                      <a:pt x="166" y="23"/>
                    </a:lnTo>
                    <a:lnTo>
                      <a:pt x="180" y="27"/>
                    </a:lnTo>
                    <a:lnTo>
                      <a:pt x="193" y="30"/>
                    </a:lnTo>
                    <a:lnTo>
                      <a:pt x="205" y="31"/>
                    </a:lnTo>
                    <a:lnTo>
                      <a:pt x="210" y="30"/>
                    </a:lnTo>
                    <a:lnTo>
                      <a:pt x="214" y="29"/>
                    </a:lnTo>
                    <a:lnTo>
                      <a:pt x="218" y="28"/>
                    </a:lnTo>
                    <a:lnTo>
                      <a:pt x="221" y="26"/>
                    </a:lnTo>
                    <a:lnTo>
                      <a:pt x="227" y="21"/>
                    </a:lnTo>
                    <a:lnTo>
                      <a:pt x="232" y="15"/>
                    </a:lnTo>
                    <a:lnTo>
                      <a:pt x="237" y="10"/>
                    </a:lnTo>
                    <a:lnTo>
                      <a:pt x="242" y="5"/>
                    </a:lnTo>
                    <a:lnTo>
                      <a:pt x="246" y="3"/>
                    </a:lnTo>
                    <a:lnTo>
                      <a:pt x="250" y="2"/>
                    </a:lnTo>
                    <a:lnTo>
                      <a:pt x="253" y="1"/>
                    </a:lnTo>
                    <a:lnTo>
                      <a:pt x="259" y="0"/>
                    </a:lnTo>
                    <a:lnTo>
                      <a:pt x="268" y="1"/>
                    </a:lnTo>
                    <a:lnTo>
                      <a:pt x="275" y="2"/>
                    </a:lnTo>
                    <a:lnTo>
                      <a:pt x="283" y="4"/>
                    </a:lnTo>
                    <a:lnTo>
                      <a:pt x="289" y="7"/>
                    </a:lnTo>
                    <a:lnTo>
                      <a:pt x="296" y="11"/>
                    </a:lnTo>
                    <a:lnTo>
                      <a:pt x="302" y="15"/>
                    </a:lnTo>
                    <a:lnTo>
                      <a:pt x="306" y="20"/>
                    </a:lnTo>
                    <a:lnTo>
                      <a:pt x="310" y="26"/>
                    </a:lnTo>
                    <a:lnTo>
                      <a:pt x="318" y="38"/>
                    </a:lnTo>
                    <a:lnTo>
                      <a:pt x="325" y="53"/>
                    </a:lnTo>
                    <a:lnTo>
                      <a:pt x="331" y="67"/>
                    </a:lnTo>
                    <a:lnTo>
                      <a:pt x="337" y="82"/>
                    </a:lnTo>
                    <a:lnTo>
                      <a:pt x="342" y="98"/>
                    </a:lnTo>
                    <a:lnTo>
                      <a:pt x="349" y="113"/>
                    </a:lnTo>
                    <a:lnTo>
                      <a:pt x="352" y="119"/>
                    </a:lnTo>
                    <a:lnTo>
                      <a:pt x="356" y="126"/>
                    </a:lnTo>
                    <a:lnTo>
                      <a:pt x="360" y="132"/>
                    </a:lnTo>
                    <a:lnTo>
                      <a:pt x="365" y="138"/>
                    </a:lnTo>
                    <a:lnTo>
                      <a:pt x="370" y="143"/>
                    </a:lnTo>
                    <a:lnTo>
                      <a:pt x="376" y="147"/>
                    </a:lnTo>
                    <a:lnTo>
                      <a:pt x="382" y="151"/>
                    </a:lnTo>
                    <a:lnTo>
                      <a:pt x="389" y="156"/>
                    </a:lnTo>
                    <a:lnTo>
                      <a:pt x="397" y="158"/>
                    </a:lnTo>
                    <a:lnTo>
                      <a:pt x="405" y="160"/>
                    </a:lnTo>
                    <a:lnTo>
                      <a:pt x="415" y="161"/>
                    </a:lnTo>
                    <a:lnTo>
                      <a:pt x="425" y="16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1" name="Freeform 346">
                <a:extLst>
                  <a:ext uri="{FF2B5EF4-FFF2-40B4-BE49-F238E27FC236}">
                    <a16:creationId xmlns:a16="http://schemas.microsoft.com/office/drawing/2014/main" id="{96374411-E0EF-4CE1-BAE9-9FCE8947E0C6}"/>
                  </a:ext>
                </a:extLst>
              </p:cNvPr>
              <p:cNvSpPr>
                <a:spLocks/>
              </p:cNvSpPr>
              <p:nvPr>
                <p:custDataLst>
                  <p:tags r:id="rId249"/>
                </p:custDataLst>
              </p:nvPr>
            </p:nvSpPr>
            <p:spPr bwMode="auto">
              <a:xfrm>
                <a:off x="2170922" y="3962127"/>
                <a:ext cx="16289" cy="63287"/>
              </a:xfrm>
              <a:custGeom>
                <a:avLst/>
                <a:gdLst>
                  <a:gd name="T0" fmla="*/ 2436583 w 33"/>
                  <a:gd name="T1" fmla="*/ 19274984 h 31"/>
                  <a:gd name="T2" fmla="*/ 0 w 33"/>
                  <a:gd name="T3" fmla="*/ 61038644 h 31"/>
                  <a:gd name="T4" fmla="*/ 937314 w 33"/>
                  <a:gd name="T5" fmla="*/ 67462444 h 31"/>
                  <a:gd name="T6" fmla="*/ 2624046 w 33"/>
                  <a:gd name="T7" fmla="*/ 80313628 h 31"/>
                  <a:gd name="T8" fmla="*/ 3561359 w 33"/>
                  <a:gd name="T9" fmla="*/ 86739220 h 31"/>
                  <a:gd name="T10" fmla="*/ 4311210 w 33"/>
                  <a:gd name="T11" fmla="*/ 93163020 h 31"/>
                  <a:gd name="T12" fmla="*/ 5060629 w 33"/>
                  <a:gd name="T13" fmla="*/ 96376712 h 31"/>
                  <a:gd name="T14" fmla="*/ 6185405 w 33"/>
                  <a:gd name="T15" fmla="*/ 99588612 h 31"/>
                  <a:gd name="T16" fmla="*/ 6185405 w 33"/>
                  <a:gd name="T17" fmla="*/ 0 h 31"/>
                  <a:gd name="T18" fmla="*/ 3748822 w 33"/>
                  <a:gd name="T19" fmla="*/ 0 h 31"/>
                  <a:gd name="T20" fmla="*/ 2436583 w 33"/>
                  <a:gd name="T21" fmla="*/ 19274984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13" y="6"/>
                    </a:moveTo>
                    <a:lnTo>
                      <a:pt x="0" y="19"/>
                    </a:lnTo>
                    <a:lnTo>
                      <a:pt x="5" y="21"/>
                    </a:lnTo>
                    <a:lnTo>
                      <a:pt x="14" y="25"/>
                    </a:lnTo>
                    <a:lnTo>
                      <a:pt x="19" y="27"/>
                    </a:lnTo>
                    <a:lnTo>
                      <a:pt x="23" y="29"/>
                    </a:lnTo>
                    <a:lnTo>
                      <a:pt x="27" y="30"/>
                    </a:lnTo>
                    <a:lnTo>
                      <a:pt x="33" y="31"/>
                    </a:lnTo>
                    <a:lnTo>
                      <a:pt x="33" y="0"/>
                    </a:lnTo>
                    <a:lnTo>
                      <a:pt x="20" y="0"/>
                    </a:lnTo>
                    <a:lnTo>
                      <a:pt x="13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2" name="Freeform 347">
                <a:extLst>
                  <a:ext uri="{FF2B5EF4-FFF2-40B4-BE49-F238E27FC236}">
                    <a16:creationId xmlns:a16="http://schemas.microsoft.com/office/drawing/2014/main" id="{7DC284FB-6590-416D-85B5-BB8EC271F0C6}"/>
                  </a:ext>
                </a:extLst>
              </p:cNvPr>
              <p:cNvSpPr>
                <a:spLocks/>
              </p:cNvSpPr>
              <p:nvPr>
                <p:custDataLst>
                  <p:tags r:id="rId250"/>
                </p:custDataLst>
              </p:nvPr>
            </p:nvSpPr>
            <p:spPr bwMode="auto">
              <a:xfrm>
                <a:off x="4708298" y="2786044"/>
                <a:ext cx="103161" cy="89656"/>
              </a:xfrm>
              <a:custGeom>
                <a:avLst/>
                <a:gdLst>
                  <a:gd name="T0" fmla="*/ 1196132 w 192"/>
                  <a:gd name="T1" fmla="*/ 5047528 h 154"/>
                  <a:gd name="T2" fmla="*/ 10366028 w 192"/>
                  <a:gd name="T3" fmla="*/ 0 h 154"/>
                  <a:gd name="T4" fmla="*/ 18340239 w 192"/>
                  <a:gd name="T5" fmla="*/ 5047528 h 154"/>
                  <a:gd name="T6" fmla="*/ 23722608 w 192"/>
                  <a:gd name="T7" fmla="*/ 8235414 h 154"/>
                  <a:gd name="T8" fmla="*/ 29104977 w 192"/>
                  <a:gd name="T9" fmla="*/ 16736786 h 154"/>
                  <a:gd name="T10" fmla="*/ 33091636 w 192"/>
                  <a:gd name="T11" fmla="*/ 24706242 h 154"/>
                  <a:gd name="T12" fmla="*/ 38274873 w 192"/>
                  <a:gd name="T13" fmla="*/ 31347971 h 154"/>
                  <a:gd name="T14" fmla="*/ 30301109 w 192"/>
                  <a:gd name="T15" fmla="*/ 32941656 h 154"/>
                  <a:gd name="T16" fmla="*/ 25117871 w 192"/>
                  <a:gd name="T17" fmla="*/ 34535856 h 154"/>
                  <a:gd name="T18" fmla="*/ 25117871 w 192"/>
                  <a:gd name="T19" fmla="*/ 40911627 h 154"/>
                  <a:gd name="T20" fmla="*/ 21130766 w 192"/>
                  <a:gd name="T21" fmla="*/ 40911627 h 154"/>
                  <a:gd name="T22" fmla="*/ 19735502 w 192"/>
                  <a:gd name="T23" fmla="*/ 38786542 h 154"/>
                  <a:gd name="T24" fmla="*/ 18539371 w 192"/>
                  <a:gd name="T25" fmla="*/ 36395499 h 154"/>
                  <a:gd name="T26" fmla="*/ 17542818 w 192"/>
                  <a:gd name="T27" fmla="*/ 33473056 h 154"/>
                  <a:gd name="T28" fmla="*/ 16346686 w 192"/>
                  <a:gd name="T29" fmla="*/ 30551128 h 154"/>
                  <a:gd name="T30" fmla="*/ 14751844 w 192"/>
                  <a:gd name="T31" fmla="*/ 24706242 h 154"/>
                  <a:gd name="T32" fmla="*/ 12957423 w 192"/>
                  <a:gd name="T33" fmla="*/ 18861871 h 154"/>
                  <a:gd name="T34" fmla="*/ 11960870 w 192"/>
                  <a:gd name="T35" fmla="*/ 16205386 h 154"/>
                  <a:gd name="T36" fmla="*/ 10964317 w 192"/>
                  <a:gd name="T37" fmla="*/ 13282942 h 154"/>
                  <a:gd name="T38" fmla="*/ 9568607 w 192"/>
                  <a:gd name="T39" fmla="*/ 11157857 h 154"/>
                  <a:gd name="T40" fmla="*/ 8173343 w 192"/>
                  <a:gd name="T41" fmla="*/ 9032256 h 154"/>
                  <a:gd name="T42" fmla="*/ 6578501 w 192"/>
                  <a:gd name="T43" fmla="*/ 7438571 h 154"/>
                  <a:gd name="T44" fmla="*/ 4784527 w 192"/>
                  <a:gd name="T45" fmla="*/ 6110329 h 154"/>
                  <a:gd name="T46" fmla="*/ 3588395 w 192"/>
                  <a:gd name="T47" fmla="*/ 5844371 h 154"/>
                  <a:gd name="T48" fmla="*/ 2392263 w 192"/>
                  <a:gd name="T49" fmla="*/ 5312971 h 154"/>
                  <a:gd name="T50" fmla="*/ 1196132 w 192"/>
                  <a:gd name="T51" fmla="*/ 5312971 h 154"/>
                  <a:gd name="T52" fmla="*/ 0 w 192"/>
                  <a:gd name="T53" fmla="*/ 5047528 h 154"/>
                  <a:gd name="T54" fmla="*/ 1196132 w 192"/>
                  <a:gd name="T55" fmla="*/ 5047528 h 154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0" t="0" r="r" b="b"/>
                <a:pathLst>
                  <a:path w="192" h="154">
                    <a:moveTo>
                      <a:pt x="6" y="19"/>
                    </a:moveTo>
                    <a:lnTo>
                      <a:pt x="52" y="0"/>
                    </a:lnTo>
                    <a:lnTo>
                      <a:pt x="92" y="19"/>
                    </a:lnTo>
                    <a:lnTo>
                      <a:pt x="119" y="31"/>
                    </a:lnTo>
                    <a:lnTo>
                      <a:pt x="146" y="63"/>
                    </a:lnTo>
                    <a:lnTo>
                      <a:pt x="166" y="93"/>
                    </a:lnTo>
                    <a:lnTo>
                      <a:pt x="192" y="118"/>
                    </a:lnTo>
                    <a:lnTo>
                      <a:pt x="152" y="124"/>
                    </a:lnTo>
                    <a:lnTo>
                      <a:pt x="126" y="130"/>
                    </a:lnTo>
                    <a:lnTo>
                      <a:pt x="126" y="154"/>
                    </a:lnTo>
                    <a:lnTo>
                      <a:pt x="106" y="154"/>
                    </a:lnTo>
                    <a:lnTo>
                      <a:pt x="99" y="146"/>
                    </a:lnTo>
                    <a:lnTo>
                      <a:pt x="93" y="137"/>
                    </a:lnTo>
                    <a:lnTo>
                      <a:pt x="88" y="126"/>
                    </a:lnTo>
                    <a:lnTo>
                      <a:pt x="82" y="115"/>
                    </a:lnTo>
                    <a:lnTo>
                      <a:pt x="74" y="93"/>
                    </a:lnTo>
                    <a:lnTo>
                      <a:pt x="65" y="71"/>
                    </a:lnTo>
                    <a:lnTo>
                      <a:pt x="60" y="61"/>
                    </a:lnTo>
                    <a:lnTo>
                      <a:pt x="55" y="50"/>
                    </a:lnTo>
                    <a:lnTo>
                      <a:pt x="48" y="42"/>
                    </a:lnTo>
                    <a:lnTo>
                      <a:pt x="41" y="34"/>
                    </a:lnTo>
                    <a:lnTo>
                      <a:pt x="33" y="28"/>
                    </a:lnTo>
                    <a:lnTo>
                      <a:pt x="24" y="23"/>
                    </a:lnTo>
                    <a:lnTo>
                      <a:pt x="18" y="22"/>
                    </a:lnTo>
                    <a:lnTo>
                      <a:pt x="12" y="20"/>
                    </a:lnTo>
                    <a:lnTo>
                      <a:pt x="6" y="20"/>
                    </a:lnTo>
                    <a:lnTo>
                      <a:pt x="0" y="19"/>
                    </a:lnTo>
                    <a:lnTo>
                      <a:pt x="6" y="19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3" name="Freeform 348">
                <a:extLst>
                  <a:ext uri="{FF2B5EF4-FFF2-40B4-BE49-F238E27FC236}">
                    <a16:creationId xmlns:a16="http://schemas.microsoft.com/office/drawing/2014/main" id="{ACF6884C-6D45-4379-A191-5AF46BCA44DE}"/>
                  </a:ext>
                </a:extLst>
              </p:cNvPr>
              <p:cNvSpPr>
                <a:spLocks/>
              </p:cNvSpPr>
              <p:nvPr>
                <p:custDataLst>
                  <p:tags r:id="rId251"/>
                </p:custDataLst>
              </p:nvPr>
            </p:nvSpPr>
            <p:spPr bwMode="auto">
              <a:xfrm>
                <a:off x="4608758" y="2654195"/>
                <a:ext cx="459696" cy="277760"/>
              </a:xfrm>
              <a:custGeom>
                <a:avLst/>
                <a:gdLst>
                  <a:gd name="T0" fmla="*/ 73983944 w 877"/>
                  <a:gd name="T1" fmla="*/ 94800314 h 469"/>
                  <a:gd name="T2" fmla="*/ 60206254 w 877"/>
                  <a:gd name="T3" fmla="*/ 70542759 h 469"/>
                  <a:gd name="T4" fmla="*/ 38879377 w 877"/>
                  <a:gd name="T5" fmla="*/ 67196580 h 469"/>
                  <a:gd name="T6" fmla="*/ 36048161 w 877"/>
                  <a:gd name="T7" fmla="*/ 67754189 h 469"/>
                  <a:gd name="T8" fmla="*/ 33594903 w 877"/>
                  <a:gd name="T9" fmla="*/ 69985151 h 469"/>
                  <a:gd name="T10" fmla="*/ 30575141 w 877"/>
                  <a:gd name="T11" fmla="*/ 74446019 h 469"/>
                  <a:gd name="T12" fmla="*/ 28498974 w 877"/>
                  <a:gd name="T13" fmla="*/ 75561236 h 469"/>
                  <a:gd name="T14" fmla="*/ 22836975 w 877"/>
                  <a:gd name="T15" fmla="*/ 74724823 h 469"/>
                  <a:gd name="T16" fmla="*/ 14909829 w 877"/>
                  <a:gd name="T17" fmla="*/ 71100368 h 469"/>
                  <a:gd name="T18" fmla="*/ 4906950 w 877"/>
                  <a:gd name="T19" fmla="*/ 68869406 h 469"/>
                  <a:gd name="T20" fmla="*/ 1509664 w 877"/>
                  <a:gd name="T21" fmla="*/ 59110728 h 469"/>
                  <a:gd name="T22" fmla="*/ 2453692 w 877"/>
                  <a:gd name="T23" fmla="*/ 52140094 h 469"/>
                  <a:gd name="T24" fmla="*/ 2453692 w 877"/>
                  <a:gd name="T25" fmla="*/ 50188464 h 469"/>
                  <a:gd name="T26" fmla="*/ 4340880 w 877"/>
                  <a:gd name="T27" fmla="*/ 40150982 h 469"/>
                  <a:gd name="T28" fmla="*/ 8304236 w 877"/>
                  <a:gd name="T29" fmla="*/ 31228190 h 469"/>
                  <a:gd name="T30" fmla="*/ 10191859 w 877"/>
                  <a:gd name="T31" fmla="*/ 25652104 h 469"/>
                  <a:gd name="T32" fmla="*/ 4906950 w 877"/>
                  <a:gd name="T33" fmla="*/ 13941269 h 469"/>
                  <a:gd name="T34" fmla="*/ 32650875 w 877"/>
                  <a:gd name="T35" fmla="*/ 7249439 h 469"/>
                  <a:gd name="T36" fmla="*/ 63981065 w 877"/>
                  <a:gd name="T37" fmla="*/ 13941269 h 469"/>
                  <a:gd name="T38" fmla="*/ 73983944 w 877"/>
                  <a:gd name="T39" fmla="*/ 3624455 h 469"/>
                  <a:gd name="T40" fmla="*/ 91536010 w 877"/>
                  <a:gd name="T41" fmla="*/ 0 h 469"/>
                  <a:gd name="T42" fmla="*/ 109277056 w 877"/>
                  <a:gd name="T43" fmla="*/ 10595090 h 469"/>
                  <a:gd name="T44" fmla="*/ 120412509 w 877"/>
                  <a:gd name="T45" fmla="*/ 30949386 h 469"/>
                  <a:gd name="T46" fmla="*/ 136832436 w 877"/>
                  <a:gd name="T47" fmla="*/ 30949386 h 469"/>
                  <a:gd name="T48" fmla="*/ 158159312 w 877"/>
                  <a:gd name="T49" fmla="*/ 43217829 h 469"/>
                  <a:gd name="T50" fmla="*/ 163066262 w 877"/>
                  <a:gd name="T51" fmla="*/ 65523754 h 469"/>
                  <a:gd name="T52" fmla="*/ 151742265 w 877"/>
                  <a:gd name="T53" fmla="*/ 75840040 h 469"/>
                  <a:gd name="T54" fmla="*/ 142305455 w 877"/>
                  <a:gd name="T55" fmla="*/ 87272071 h 469"/>
                  <a:gd name="T56" fmla="*/ 129849318 w 877"/>
                  <a:gd name="T57" fmla="*/ 92012272 h 469"/>
                  <a:gd name="T58" fmla="*/ 125130913 w 877"/>
                  <a:gd name="T59" fmla="*/ 95636727 h 469"/>
                  <a:gd name="T60" fmla="*/ 122299697 w 877"/>
                  <a:gd name="T61" fmla="*/ 99819319 h 469"/>
                  <a:gd name="T62" fmla="*/ 121922172 w 877"/>
                  <a:gd name="T63" fmla="*/ 104558992 h 469"/>
                  <a:gd name="T64" fmla="*/ 123243291 w 877"/>
                  <a:gd name="T65" fmla="*/ 108741584 h 469"/>
                  <a:gd name="T66" fmla="*/ 125696983 w 877"/>
                  <a:gd name="T67" fmla="*/ 111808431 h 469"/>
                  <a:gd name="T68" fmla="*/ 134190198 w 877"/>
                  <a:gd name="T69" fmla="*/ 110414409 h 469"/>
                  <a:gd name="T70" fmla="*/ 139852197 w 877"/>
                  <a:gd name="T71" fmla="*/ 109856801 h 469"/>
                  <a:gd name="T72" fmla="*/ 138531079 w 877"/>
                  <a:gd name="T73" fmla="*/ 112366039 h 469"/>
                  <a:gd name="T74" fmla="*/ 135133792 w 877"/>
                  <a:gd name="T75" fmla="*/ 117385044 h 469"/>
                  <a:gd name="T76" fmla="*/ 131736506 w 877"/>
                  <a:gd name="T77" fmla="*/ 122125244 h 469"/>
                  <a:gd name="T78" fmla="*/ 130037863 w 877"/>
                  <a:gd name="T79" fmla="*/ 116827435 h 469"/>
                  <a:gd name="T80" fmla="*/ 126640577 w 877"/>
                  <a:gd name="T81" fmla="*/ 113760588 h 469"/>
                  <a:gd name="T82" fmla="*/ 125696983 w 877"/>
                  <a:gd name="T83" fmla="*/ 117942652 h 469"/>
                  <a:gd name="T84" fmla="*/ 121356103 w 877"/>
                  <a:gd name="T85" fmla="*/ 123240462 h 469"/>
                  <a:gd name="T86" fmla="*/ 116826677 w 877"/>
                  <a:gd name="T87" fmla="*/ 128259466 h 469"/>
                  <a:gd name="T88" fmla="*/ 115316579 w 877"/>
                  <a:gd name="T89" fmla="*/ 130768705 h 469"/>
                  <a:gd name="T90" fmla="*/ 112296818 w 877"/>
                  <a:gd name="T91" fmla="*/ 129374683 h 469"/>
                  <a:gd name="T92" fmla="*/ 110220650 w 877"/>
                  <a:gd name="T93" fmla="*/ 126864917 h 469"/>
                  <a:gd name="T94" fmla="*/ 108522007 w 877"/>
                  <a:gd name="T95" fmla="*/ 122404049 h 469"/>
                  <a:gd name="T96" fmla="*/ 107955937 w 877"/>
                  <a:gd name="T97" fmla="*/ 113760588 h 469"/>
                  <a:gd name="T98" fmla="*/ 103426512 w 877"/>
                  <a:gd name="T99" fmla="*/ 112645371 h 469"/>
                  <a:gd name="T100" fmla="*/ 97764513 w 877"/>
                  <a:gd name="T101" fmla="*/ 108462779 h 469"/>
                  <a:gd name="T102" fmla="*/ 105502245 w 877"/>
                  <a:gd name="T103" fmla="*/ 105674737 h 469"/>
                  <a:gd name="T104" fmla="*/ 117958816 w 877"/>
                  <a:gd name="T105" fmla="*/ 103164970 h 469"/>
                  <a:gd name="T106" fmla="*/ 93046108 w 877"/>
                  <a:gd name="T107" fmla="*/ 98704102 h 469"/>
                  <a:gd name="T108" fmla="*/ 83986823 w 877"/>
                  <a:gd name="T109" fmla="*/ 92848685 h 469"/>
                  <a:gd name="T110" fmla="*/ 75116083 w 877"/>
                  <a:gd name="T111" fmla="*/ 102886166 h 469"/>
                  <a:gd name="T112" fmla="*/ 71719231 w 877"/>
                  <a:gd name="T113" fmla="*/ 110135605 h 469"/>
                  <a:gd name="T114" fmla="*/ 66623302 w 877"/>
                  <a:gd name="T115" fmla="*/ 111529626 h 469"/>
                  <a:gd name="T116" fmla="*/ 61904897 w 877"/>
                  <a:gd name="T117" fmla="*/ 109299192 h 469"/>
                  <a:gd name="T118" fmla="*/ 57752562 w 877"/>
                  <a:gd name="T119" fmla="*/ 104837796 h 46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877" h="469">
                    <a:moveTo>
                      <a:pt x="326" y="352"/>
                    </a:moveTo>
                    <a:lnTo>
                      <a:pt x="352" y="346"/>
                    </a:lnTo>
                    <a:lnTo>
                      <a:pt x="392" y="340"/>
                    </a:lnTo>
                    <a:lnTo>
                      <a:pt x="366" y="315"/>
                    </a:lnTo>
                    <a:lnTo>
                      <a:pt x="346" y="285"/>
                    </a:lnTo>
                    <a:lnTo>
                      <a:pt x="319" y="253"/>
                    </a:lnTo>
                    <a:lnTo>
                      <a:pt x="292" y="241"/>
                    </a:lnTo>
                    <a:lnTo>
                      <a:pt x="252" y="222"/>
                    </a:lnTo>
                    <a:lnTo>
                      <a:pt x="206" y="241"/>
                    </a:lnTo>
                    <a:lnTo>
                      <a:pt x="200" y="241"/>
                    </a:lnTo>
                    <a:lnTo>
                      <a:pt x="194" y="242"/>
                    </a:lnTo>
                    <a:lnTo>
                      <a:pt x="191" y="243"/>
                    </a:lnTo>
                    <a:lnTo>
                      <a:pt x="187" y="244"/>
                    </a:lnTo>
                    <a:lnTo>
                      <a:pt x="183" y="246"/>
                    </a:lnTo>
                    <a:lnTo>
                      <a:pt x="178" y="251"/>
                    </a:lnTo>
                    <a:lnTo>
                      <a:pt x="173" y="256"/>
                    </a:lnTo>
                    <a:lnTo>
                      <a:pt x="168" y="262"/>
                    </a:lnTo>
                    <a:lnTo>
                      <a:pt x="162" y="267"/>
                    </a:lnTo>
                    <a:lnTo>
                      <a:pt x="159" y="269"/>
                    </a:lnTo>
                    <a:lnTo>
                      <a:pt x="155" y="270"/>
                    </a:lnTo>
                    <a:lnTo>
                      <a:pt x="151" y="271"/>
                    </a:lnTo>
                    <a:lnTo>
                      <a:pt x="146" y="272"/>
                    </a:lnTo>
                    <a:lnTo>
                      <a:pt x="134" y="271"/>
                    </a:lnTo>
                    <a:lnTo>
                      <a:pt x="121" y="268"/>
                    </a:lnTo>
                    <a:lnTo>
                      <a:pt x="107" y="264"/>
                    </a:lnTo>
                    <a:lnTo>
                      <a:pt x="94" y="259"/>
                    </a:lnTo>
                    <a:lnTo>
                      <a:pt x="79" y="255"/>
                    </a:lnTo>
                    <a:lnTo>
                      <a:pt x="64" y="251"/>
                    </a:lnTo>
                    <a:lnTo>
                      <a:pt x="46" y="248"/>
                    </a:lnTo>
                    <a:lnTo>
                      <a:pt x="26" y="247"/>
                    </a:lnTo>
                    <a:lnTo>
                      <a:pt x="0" y="222"/>
                    </a:lnTo>
                    <a:lnTo>
                      <a:pt x="4" y="217"/>
                    </a:lnTo>
                    <a:lnTo>
                      <a:pt x="8" y="212"/>
                    </a:lnTo>
                    <a:lnTo>
                      <a:pt x="10" y="206"/>
                    </a:lnTo>
                    <a:lnTo>
                      <a:pt x="12" y="200"/>
                    </a:lnTo>
                    <a:lnTo>
                      <a:pt x="13" y="187"/>
                    </a:lnTo>
                    <a:lnTo>
                      <a:pt x="13" y="174"/>
                    </a:lnTo>
                    <a:lnTo>
                      <a:pt x="6" y="174"/>
                    </a:lnTo>
                    <a:lnTo>
                      <a:pt x="13" y="180"/>
                    </a:lnTo>
                    <a:lnTo>
                      <a:pt x="14" y="167"/>
                    </a:lnTo>
                    <a:lnTo>
                      <a:pt x="17" y="155"/>
                    </a:lnTo>
                    <a:lnTo>
                      <a:pt x="23" y="144"/>
                    </a:lnTo>
                    <a:lnTo>
                      <a:pt x="30" y="133"/>
                    </a:lnTo>
                    <a:lnTo>
                      <a:pt x="36" y="122"/>
                    </a:lnTo>
                    <a:lnTo>
                      <a:pt x="44" y="112"/>
                    </a:lnTo>
                    <a:lnTo>
                      <a:pt x="53" y="105"/>
                    </a:lnTo>
                    <a:lnTo>
                      <a:pt x="60" y="99"/>
                    </a:lnTo>
                    <a:lnTo>
                      <a:pt x="54" y="92"/>
                    </a:lnTo>
                    <a:lnTo>
                      <a:pt x="46" y="82"/>
                    </a:lnTo>
                    <a:lnTo>
                      <a:pt x="36" y="68"/>
                    </a:lnTo>
                    <a:lnTo>
                      <a:pt x="26" y="50"/>
                    </a:lnTo>
                    <a:lnTo>
                      <a:pt x="60" y="38"/>
                    </a:lnTo>
                    <a:lnTo>
                      <a:pt x="113" y="26"/>
                    </a:lnTo>
                    <a:lnTo>
                      <a:pt x="173" y="26"/>
                    </a:lnTo>
                    <a:lnTo>
                      <a:pt x="239" y="44"/>
                    </a:lnTo>
                    <a:lnTo>
                      <a:pt x="285" y="38"/>
                    </a:lnTo>
                    <a:lnTo>
                      <a:pt x="339" y="50"/>
                    </a:lnTo>
                    <a:lnTo>
                      <a:pt x="385" y="63"/>
                    </a:lnTo>
                    <a:lnTo>
                      <a:pt x="385" y="38"/>
                    </a:lnTo>
                    <a:lnTo>
                      <a:pt x="392" y="13"/>
                    </a:lnTo>
                    <a:lnTo>
                      <a:pt x="433" y="13"/>
                    </a:lnTo>
                    <a:lnTo>
                      <a:pt x="465" y="13"/>
                    </a:lnTo>
                    <a:lnTo>
                      <a:pt x="485" y="0"/>
                    </a:lnTo>
                    <a:lnTo>
                      <a:pt x="531" y="0"/>
                    </a:lnTo>
                    <a:lnTo>
                      <a:pt x="551" y="13"/>
                    </a:lnTo>
                    <a:lnTo>
                      <a:pt x="579" y="38"/>
                    </a:lnTo>
                    <a:lnTo>
                      <a:pt x="565" y="63"/>
                    </a:lnTo>
                    <a:lnTo>
                      <a:pt x="618" y="63"/>
                    </a:lnTo>
                    <a:lnTo>
                      <a:pt x="638" y="111"/>
                    </a:lnTo>
                    <a:lnTo>
                      <a:pt x="664" y="105"/>
                    </a:lnTo>
                    <a:lnTo>
                      <a:pt x="692" y="124"/>
                    </a:lnTo>
                    <a:lnTo>
                      <a:pt x="725" y="111"/>
                    </a:lnTo>
                    <a:lnTo>
                      <a:pt x="758" y="136"/>
                    </a:lnTo>
                    <a:lnTo>
                      <a:pt x="797" y="136"/>
                    </a:lnTo>
                    <a:lnTo>
                      <a:pt x="838" y="155"/>
                    </a:lnTo>
                    <a:lnTo>
                      <a:pt x="877" y="167"/>
                    </a:lnTo>
                    <a:lnTo>
                      <a:pt x="871" y="198"/>
                    </a:lnTo>
                    <a:lnTo>
                      <a:pt x="864" y="235"/>
                    </a:lnTo>
                    <a:lnTo>
                      <a:pt x="877" y="259"/>
                    </a:lnTo>
                    <a:lnTo>
                      <a:pt x="844" y="259"/>
                    </a:lnTo>
                    <a:lnTo>
                      <a:pt x="804" y="272"/>
                    </a:lnTo>
                    <a:lnTo>
                      <a:pt x="797" y="303"/>
                    </a:lnTo>
                    <a:lnTo>
                      <a:pt x="777" y="309"/>
                    </a:lnTo>
                    <a:lnTo>
                      <a:pt x="754" y="313"/>
                    </a:lnTo>
                    <a:lnTo>
                      <a:pt x="731" y="318"/>
                    </a:lnTo>
                    <a:lnTo>
                      <a:pt x="709" y="324"/>
                    </a:lnTo>
                    <a:lnTo>
                      <a:pt x="688" y="330"/>
                    </a:lnTo>
                    <a:lnTo>
                      <a:pt x="680" y="334"/>
                    </a:lnTo>
                    <a:lnTo>
                      <a:pt x="671" y="337"/>
                    </a:lnTo>
                    <a:lnTo>
                      <a:pt x="663" y="343"/>
                    </a:lnTo>
                    <a:lnTo>
                      <a:pt x="656" y="347"/>
                    </a:lnTo>
                    <a:lnTo>
                      <a:pt x="652" y="352"/>
                    </a:lnTo>
                    <a:lnTo>
                      <a:pt x="648" y="358"/>
                    </a:lnTo>
                    <a:lnTo>
                      <a:pt x="646" y="364"/>
                    </a:lnTo>
                    <a:lnTo>
                      <a:pt x="644" y="370"/>
                    </a:lnTo>
                    <a:lnTo>
                      <a:pt x="646" y="375"/>
                    </a:lnTo>
                    <a:lnTo>
                      <a:pt x="647" y="380"/>
                    </a:lnTo>
                    <a:lnTo>
                      <a:pt x="650" y="385"/>
                    </a:lnTo>
                    <a:lnTo>
                      <a:pt x="653" y="390"/>
                    </a:lnTo>
                    <a:lnTo>
                      <a:pt x="656" y="395"/>
                    </a:lnTo>
                    <a:lnTo>
                      <a:pt x="661" y="399"/>
                    </a:lnTo>
                    <a:lnTo>
                      <a:pt x="666" y="401"/>
                    </a:lnTo>
                    <a:lnTo>
                      <a:pt x="671" y="402"/>
                    </a:lnTo>
                    <a:lnTo>
                      <a:pt x="692" y="400"/>
                    </a:lnTo>
                    <a:lnTo>
                      <a:pt x="711" y="396"/>
                    </a:lnTo>
                    <a:lnTo>
                      <a:pt x="721" y="395"/>
                    </a:lnTo>
                    <a:lnTo>
                      <a:pt x="731" y="394"/>
                    </a:lnTo>
                    <a:lnTo>
                      <a:pt x="741" y="394"/>
                    </a:lnTo>
                    <a:lnTo>
                      <a:pt x="751" y="396"/>
                    </a:lnTo>
                    <a:lnTo>
                      <a:pt x="742" y="399"/>
                    </a:lnTo>
                    <a:lnTo>
                      <a:pt x="734" y="403"/>
                    </a:lnTo>
                    <a:lnTo>
                      <a:pt x="728" y="408"/>
                    </a:lnTo>
                    <a:lnTo>
                      <a:pt x="721" y="414"/>
                    </a:lnTo>
                    <a:lnTo>
                      <a:pt x="716" y="421"/>
                    </a:lnTo>
                    <a:lnTo>
                      <a:pt x="710" y="427"/>
                    </a:lnTo>
                    <a:lnTo>
                      <a:pt x="705" y="433"/>
                    </a:lnTo>
                    <a:lnTo>
                      <a:pt x="698" y="438"/>
                    </a:lnTo>
                    <a:lnTo>
                      <a:pt x="695" y="430"/>
                    </a:lnTo>
                    <a:lnTo>
                      <a:pt x="693" y="424"/>
                    </a:lnTo>
                    <a:lnTo>
                      <a:pt x="689" y="419"/>
                    </a:lnTo>
                    <a:lnTo>
                      <a:pt x="687" y="416"/>
                    </a:lnTo>
                    <a:lnTo>
                      <a:pt x="680" y="412"/>
                    </a:lnTo>
                    <a:lnTo>
                      <a:pt x="671" y="408"/>
                    </a:lnTo>
                    <a:lnTo>
                      <a:pt x="671" y="413"/>
                    </a:lnTo>
                    <a:lnTo>
                      <a:pt x="669" y="418"/>
                    </a:lnTo>
                    <a:lnTo>
                      <a:pt x="666" y="423"/>
                    </a:lnTo>
                    <a:lnTo>
                      <a:pt x="663" y="427"/>
                    </a:lnTo>
                    <a:lnTo>
                      <a:pt x="654" y="435"/>
                    </a:lnTo>
                    <a:lnTo>
                      <a:pt x="643" y="442"/>
                    </a:lnTo>
                    <a:lnTo>
                      <a:pt x="633" y="450"/>
                    </a:lnTo>
                    <a:lnTo>
                      <a:pt x="624" y="456"/>
                    </a:lnTo>
                    <a:lnTo>
                      <a:pt x="619" y="460"/>
                    </a:lnTo>
                    <a:lnTo>
                      <a:pt x="616" y="463"/>
                    </a:lnTo>
                    <a:lnTo>
                      <a:pt x="613" y="466"/>
                    </a:lnTo>
                    <a:lnTo>
                      <a:pt x="611" y="469"/>
                    </a:lnTo>
                    <a:lnTo>
                      <a:pt x="605" y="468"/>
                    </a:lnTo>
                    <a:lnTo>
                      <a:pt x="600" y="466"/>
                    </a:lnTo>
                    <a:lnTo>
                      <a:pt x="595" y="464"/>
                    </a:lnTo>
                    <a:lnTo>
                      <a:pt x="591" y="461"/>
                    </a:lnTo>
                    <a:lnTo>
                      <a:pt x="587" y="459"/>
                    </a:lnTo>
                    <a:lnTo>
                      <a:pt x="584" y="455"/>
                    </a:lnTo>
                    <a:lnTo>
                      <a:pt x="582" y="452"/>
                    </a:lnTo>
                    <a:lnTo>
                      <a:pt x="579" y="447"/>
                    </a:lnTo>
                    <a:lnTo>
                      <a:pt x="575" y="439"/>
                    </a:lnTo>
                    <a:lnTo>
                      <a:pt x="573" y="429"/>
                    </a:lnTo>
                    <a:lnTo>
                      <a:pt x="572" y="419"/>
                    </a:lnTo>
                    <a:lnTo>
                      <a:pt x="572" y="408"/>
                    </a:lnTo>
                    <a:lnTo>
                      <a:pt x="563" y="407"/>
                    </a:lnTo>
                    <a:lnTo>
                      <a:pt x="555" y="406"/>
                    </a:lnTo>
                    <a:lnTo>
                      <a:pt x="548" y="404"/>
                    </a:lnTo>
                    <a:lnTo>
                      <a:pt x="540" y="401"/>
                    </a:lnTo>
                    <a:lnTo>
                      <a:pt x="527" y="395"/>
                    </a:lnTo>
                    <a:lnTo>
                      <a:pt x="518" y="389"/>
                    </a:lnTo>
                    <a:lnTo>
                      <a:pt x="532" y="385"/>
                    </a:lnTo>
                    <a:lnTo>
                      <a:pt x="547" y="381"/>
                    </a:lnTo>
                    <a:lnTo>
                      <a:pt x="559" y="379"/>
                    </a:lnTo>
                    <a:lnTo>
                      <a:pt x="572" y="377"/>
                    </a:lnTo>
                    <a:lnTo>
                      <a:pt x="597" y="374"/>
                    </a:lnTo>
                    <a:lnTo>
                      <a:pt x="625" y="370"/>
                    </a:lnTo>
                    <a:lnTo>
                      <a:pt x="512" y="370"/>
                    </a:lnTo>
                    <a:lnTo>
                      <a:pt x="503" y="362"/>
                    </a:lnTo>
                    <a:lnTo>
                      <a:pt x="493" y="354"/>
                    </a:lnTo>
                    <a:lnTo>
                      <a:pt x="481" y="348"/>
                    </a:lnTo>
                    <a:lnTo>
                      <a:pt x="469" y="342"/>
                    </a:lnTo>
                    <a:lnTo>
                      <a:pt x="445" y="333"/>
                    </a:lnTo>
                    <a:lnTo>
                      <a:pt x="425" y="327"/>
                    </a:lnTo>
                    <a:lnTo>
                      <a:pt x="412" y="350"/>
                    </a:lnTo>
                    <a:lnTo>
                      <a:pt x="398" y="369"/>
                    </a:lnTo>
                    <a:lnTo>
                      <a:pt x="393" y="378"/>
                    </a:lnTo>
                    <a:lnTo>
                      <a:pt x="386" y="386"/>
                    </a:lnTo>
                    <a:lnTo>
                      <a:pt x="380" y="395"/>
                    </a:lnTo>
                    <a:lnTo>
                      <a:pt x="372" y="402"/>
                    </a:lnTo>
                    <a:lnTo>
                      <a:pt x="362" y="401"/>
                    </a:lnTo>
                    <a:lnTo>
                      <a:pt x="353" y="400"/>
                    </a:lnTo>
                    <a:lnTo>
                      <a:pt x="345" y="399"/>
                    </a:lnTo>
                    <a:lnTo>
                      <a:pt x="337" y="396"/>
                    </a:lnTo>
                    <a:lnTo>
                      <a:pt x="328" y="392"/>
                    </a:lnTo>
                    <a:lnTo>
                      <a:pt x="321" y="388"/>
                    </a:lnTo>
                    <a:lnTo>
                      <a:pt x="313" y="383"/>
                    </a:lnTo>
                    <a:lnTo>
                      <a:pt x="306" y="376"/>
                    </a:lnTo>
                    <a:lnTo>
                      <a:pt x="326" y="35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4" name="Freeform 349">
                <a:extLst>
                  <a:ext uri="{FF2B5EF4-FFF2-40B4-BE49-F238E27FC236}">
                    <a16:creationId xmlns:a16="http://schemas.microsoft.com/office/drawing/2014/main" id="{3F692445-C216-400B-9BFD-6A9D83AB17A3}"/>
                  </a:ext>
                </a:extLst>
              </p:cNvPr>
              <p:cNvSpPr>
                <a:spLocks/>
              </p:cNvSpPr>
              <p:nvPr>
                <p:custDataLst>
                  <p:tags r:id="rId252"/>
                </p:custDataLst>
              </p:nvPr>
            </p:nvSpPr>
            <p:spPr bwMode="auto">
              <a:xfrm>
                <a:off x="5225908" y="3039192"/>
                <a:ext cx="56105" cy="72076"/>
              </a:xfrm>
              <a:custGeom>
                <a:avLst/>
                <a:gdLst>
                  <a:gd name="T0" fmla="*/ 9508977 w 107"/>
                  <a:gd name="T1" fmla="*/ 0 h 123"/>
                  <a:gd name="T2" fmla="*/ 16046954 w 107"/>
                  <a:gd name="T3" fmla="*/ 8262228 h 123"/>
                  <a:gd name="T4" fmla="*/ 18622265 w 107"/>
                  <a:gd name="T5" fmla="*/ 17856923 h 123"/>
                  <a:gd name="T6" fmla="*/ 21197576 w 107"/>
                  <a:gd name="T7" fmla="*/ 22920919 h 123"/>
                  <a:gd name="T8" fmla="*/ 21197576 w 107"/>
                  <a:gd name="T9" fmla="*/ 31183146 h 123"/>
                  <a:gd name="T10" fmla="*/ 21197576 w 107"/>
                  <a:gd name="T11" fmla="*/ 32782520 h 123"/>
                  <a:gd name="T12" fmla="*/ 17433421 w 107"/>
                  <a:gd name="T13" fmla="*/ 30383976 h 123"/>
                  <a:gd name="T14" fmla="*/ 14461977 w 107"/>
                  <a:gd name="T15" fmla="*/ 27984915 h 123"/>
                  <a:gd name="T16" fmla="*/ 12084732 w 107"/>
                  <a:gd name="T17" fmla="*/ 26119150 h 123"/>
                  <a:gd name="T18" fmla="*/ 10697821 w 107"/>
                  <a:gd name="T19" fmla="*/ 24520293 h 123"/>
                  <a:gd name="T20" fmla="*/ 10103621 w 107"/>
                  <a:gd name="T21" fmla="*/ 22121748 h 123"/>
                  <a:gd name="T22" fmla="*/ 9508977 w 107"/>
                  <a:gd name="T23" fmla="*/ 19456297 h 123"/>
                  <a:gd name="T24" fmla="*/ 7726377 w 107"/>
                  <a:gd name="T25" fmla="*/ 19722687 h 123"/>
                  <a:gd name="T26" fmla="*/ 6339466 w 107"/>
                  <a:gd name="T27" fmla="*/ 19456297 h 123"/>
                  <a:gd name="T28" fmla="*/ 5150621 w 107"/>
                  <a:gd name="T29" fmla="*/ 19189907 h 123"/>
                  <a:gd name="T30" fmla="*/ 4160289 w 107"/>
                  <a:gd name="T31" fmla="*/ 18656610 h 123"/>
                  <a:gd name="T32" fmla="*/ 3368022 w 107"/>
                  <a:gd name="T33" fmla="*/ 17856923 h 123"/>
                  <a:gd name="T34" fmla="*/ 2773377 w 107"/>
                  <a:gd name="T35" fmla="*/ 16790846 h 123"/>
                  <a:gd name="T36" fmla="*/ 2179178 w 107"/>
                  <a:gd name="T37" fmla="*/ 15724768 h 123"/>
                  <a:gd name="T38" fmla="*/ 1783044 w 107"/>
                  <a:gd name="T39" fmla="*/ 14392301 h 123"/>
                  <a:gd name="T40" fmla="*/ 792266 w 107"/>
                  <a:gd name="T41" fmla="*/ 8262228 h 123"/>
                  <a:gd name="T42" fmla="*/ 0 w 107"/>
                  <a:gd name="T43" fmla="*/ 1599374 h 123"/>
                  <a:gd name="T44" fmla="*/ 6735599 w 107"/>
                  <a:gd name="T45" fmla="*/ 0 h 123"/>
                  <a:gd name="T46" fmla="*/ 9508977 w 107"/>
                  <a:gd name="T47" fmla="*/ 0 h 123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107" h="123">
                    <a:moveTo>
                      <a:pt x="48" y="0"/>
                    </a:moveTo>
                    <a:lnTo>
                      <a:pt x="81" y="31"/>
                    </a:lnTo>
                    <a:lnTo>
                      <a:pt x="94" y="67"/>
                    </a:lnTo>
                    <a:lnTo>
                      <a:pt x="107" y="86"/>
                    </a:lnTo>
                    <a:lnTo>
                      <a:pt x="107" y="117"/>
                    </a:lnTo>
                    <a:lnTo>
                      <a:pt x="107" y="123"/>
                    </a:lnTo>
                    <a:lnTo>
                      <a:pt x="88" y="114"/>
                    </a:lnTo>
                    <a:lnTo>
                      <a:pt x="73" y="105"/>
                    </a:lnTo>
                    <a:lnTo>
                      <a:pt x="61" y="98"/>
                    </a:lnTo>
                    <a:lnTo>
                      <a:pt x="54" y="92"/>
                    </a:lnTo>
                    <a:lnTo>
                      <a:pt x="51" y="83"/>
                    </a:lnTo>
                    <a:lnTo>
                      <a:pt x="48" y="73"/>
                    </a:lnTo>
                    <a:lnTo>
                      <a:pt x="39" y="74"/>
                    </a:lnTo>
                    <a:lnTo>
                      <a:pt x="32" y="73"/>
                    </a:lnTo>
                    <a:lnTo>
                      <a:pt x="26" y="72"/>
                    </a:lnTo>
                    <a:lnTo>
                      <a:pt x="21" y="70"/>
                    </a:lnTo>
                    <a:lnTo>
                      <a:pt x="17" y="67"/>
                    </a:lnTo>
                    <a:lnTo>
                      <a:pt x="14" y="63"/>
                    </a:lnTo>
                    <a:lnTo>
                      <a:pt x="11" y="59"/>
                    </a:lnTo>
                    <a:lnTo>
                      <a:pt x="9" y="54"/>
                    </a:lnTo>
                    <a:lnTo>
                      <a:pt x="4" y="31"/>
                    </a:lnTo>
                    <a:lnTo>
                      <a:pt x="0" y="6"/>
                    </a:lnTo>
                    <a:lnTo>
                      <a:pt x="34" y="0"/>
                    </a:lnTo>
                    <a:lnTo>
                      <a:pt x="48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5" name="Freeform 350">
                <a:extLst>
                  <a:ext uri="{FF2B5EF4-FFF2-40B4-BE49-F238E27FC236}">
                    <a16:creationId xmlns:a16="http://schemas.microsoft.com/office/drawing/2014/main" id="{691F79D3-FC5D-48CD-B658-76A621C0C774}"/>
                  </a:ext>
                </a:extLst>
              </p:cNvPr>
              <p:cNvSpPr>
                <a:spLocks/>
              </p:cNvSpPr>
              <p:nvPr>
                <p:custDataLst>
                  <p:tags r:id="rId253"/>
                </p:custDataLst>
              </p:nvPr>
            </p:nvSpPr>
            <p:spPr bwMode="auto">
              <a:xfrm>
                <a:off x="5879256" y="3055013"/>
                <a:ext cx="251565" cy="137122"/>
              </a:xfrm>
              <a:custGeom>
                <a:avLst/>
                <a:gdLst>
                  <a:gd name="T0" fmla="*/ 20664623 w 471"/>
                  <a:gd name="T1" fmla="*/ 18283462 h 234"/>
                  <a:gd name="T2" fmla="*/ 32361713 w 471"/>
                  <a:gd name="T3" fmla="*/ 23468129 h 234"/>
                  <a:gd name="T4" fmla="*/ 53026778 w 471"/>
                  <a:gd name="T5" fmla="*/ 28652796 h 234"/>
                  <a:gd name="T6" fmla="*/ 72521780 w 471"/>
                  <a:gd name="T7" fmla="*/ 23468129 h 234"/>
                  <a:gd name="T8" fmla="*/ 74666306 w 471"/>
                  <a:gd name="T9" fmla="*/ 25924381 h 234"/>
                  <a:gd name="T10" fmla="*/ 76225800 w 471"/>
                  <a:gd name="T11" fmla="*/ 31109049 h 234"/>
                  <a:gd name="T12" fmla="*/ 79150072 w 471"/>
                  <a:gd name="T13" fmla="*/ 33837986 h 234"/>
                  <a:gd name="T14" fmla="*/ 82659376 w 471"/>
                  <a:gd name="T15" fmla="*/ 35202454 h 234"/>
                  <a:gd name="T16" fmla="*/ 84414028 w 471"/>
                  <a:gd name="T17" fmla="*/ 36566923 h 234"/>
                  <a:gd name="T18" fmla="*/ 85973522 w 471"/>
                  <a:gd name="T19" fmla="*/ 38476761 h 234"/>
                  <a:gd name="T20" fmla="*/ 87338300 w 471"/>
                  <a:gd name="T21" fmla="*/ 41205698 h 234"/>
                  <a:gd name="T22" fmla="*/ 88702637 w 471"/>
                  <a:gd name="T23" fmla="*/ 46390366 h 234"/>
                  <a:gd name="T24" fmla="*/ 91822067 w 471"/>
                  <a:gd name="T25" fmla="*/ 51848240 h 234"/>
                  <a:gd name="T26" fmla="*/ 68233171 w 471"/>
                  <a:gd name="T27" fmla="*/ 55123069 h 234"/>
                  <a:gd name="T28" fmla="*/ 64333994 w 471"/>
                  <a:gd name="T29" fmla="*/ 61126313 h 234"/>
                  <a:gd name="T30" fmla="*/ 61799595 w 471"/>
                  <a:gd name="T31" fmla="*/ 63582566 h 234"/>
                  <a:gd name="T32" fmla="*/ 59655070 w 471"/>
                  <a:gd name="T33" fmla="*/ 63582566 h 234"/>
                  <a:gd name="T34" fmla="*/ 58095576 w 471"/>
                  <a:gd name="T35" fmla="*/ 62763467 h 234"/>
                  <a:gd name="T36" fmla="*/ 56925955 w 471"/>
                  <a:gd name="T37" fmla="*/ 61126313 h 234"/>
                  <a:gd name="T38" fmla="*/ 56340924 w 471"/>
                  <a:gd name="T39" fmla="*/ 58943268 h 234"/>
                  <a:gd name="T40" fmla="*/ 55366019 w 471"/>
                  <a:gd name="T41" fmla="*/ 54304493 h 234"/>
                  <a:gd name="T42" fmla="*/ 54196398 w 471"/>
                  <a:gd name="T43" fmla="*/ 47482150 h 234"/>
                  <a:gd name="T44" fmla="*/ 52441747 w 471"/>
                  <a:gd name="T45" fmla="*/ 42297482 h 234"/>
                  <a:gd name="T46" fmla="*/ 50297221 w 471"/>
                  <a:gd name="T47" fmla="*/ 40387122 h 234"/>
                  <a:gd name="T48" fmla="*/ 47957980 w 471"/>
                  <a:gd name="T49" fmla="*/ 38476761 h 234"/>
                  <a:gd name="T50" fmla="*/ 46008612 w 471"/>
                  <a:gd name="T51" fmla="*/ 36293716 h 234"/>
                  <a:gd name="T52" fmla="*/ 43668929 w 471"/>
                  <a:gd name="T53" fmla="*/ 38204076 h 234"/>
                  <a:gd name="T54" fmla="*/ 40354783 w 471"/>
                  <a:gd name="T55" fmla="*/ 44207320 h 234"/>
                  <a:gd name="T56" fmla="*/ 38990447 w 471"/>
                  <a:gd name="T57" fmla="*/ 48300726 h 234"/>
                  <a:gd name="T58" fmla="*/ 36650764 w 471"/>
                  <a:gd name="T59" fmla="*/ 51848240 h 234"/>
                  <a:gd name="T60" fmla="*/ 32556871 w 471"/>
                  <a:gd name="T61" fmla="*/ 54849862 h 234"/>
                  <a:gd name="T62" fmla="*/ 28657693 w 471"/>
                  <a:gd name="T63" fmla="*/ 58124691 h 234"/>
                  <a:gd name="T64" fmla="*/ 25343547 w 471"/>
                  <a:gd name="T65" fmla="*/ 59761845 h 234"/>
                  <a:gd name="T66" fmla="*/ 22224559 w 471"/>
                  <a:gd name="T67" fmla="*/ 60580421 h 234"/>
                  <a:gd name="T68" fmla="*/ 18910413 w 471"/>
                  <a:gd name="T69" fmla="*/ 60307737 h 234"/>
                  <a:gd name="T70" fmla="*/ 15986140 w 471"/>
                  <a:gd name="T71" fmla="*/ 59215953 h 234"/>
                  <a:gd name="T72" fmla="*/ 12282121 w 471"/>
                  <a:gd name="T73" fmla="*/ 55941646 h 234"/>
                  <a:gd name="T74" fmla="*/ 11501932 w 471"/>
                  <a:gd name="T75" fmla="*/ 53758601 h 234"/>
                  <a:gd name="T76" fmla="*/ 11501932 w 471"/>
                  <a:gd name="T77" fmla="*/ 36839608 h 234"/>
                  <a:gd name="T78" fmla="*/ 0 w 471"/>
                  <a:gd name="T79" fmla="*/ 26742958 h 234"/>
                  <a:gd name="T80" fmla="*/ 10332312 w 471"/>
                  <a:gd name="T81" fmla="*/ 21830975 h 234"/>
                  <a:gd name="T82" fmla="*/ 16765888 w 471"/>
                  <a:gd name="T83" fmla="*/ 8186812 h 234"/>
                  <a:gd name="T84" fmla="*/ 25928579 w 471"/>
                  <a:gd name="T85" fmla="*/ 0 h 234"/>
                  <a:gd name="T86" fmla="*/ 32361713 w 471"/>
                  <a:gd name="T87" fmla="*/ 11461118 h 234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0" t="0" r="r" b="b"/>
                <a:pathLst>
                  <a:path w="471" h="234">
                    <a:moveTo>
                      <a:pt x="159" y="30"/>
                    </a:moveTo>
                    <a:lnTo>
                      <a:pt x="106" y="67"/>
                    </a:lnTo>
                    <a:lnTo>
                      <a:pt x="126" y="86"/>
                    </a:lnTo>
                    <a:lnTo>
                      <a:pt x="166" y="86"/>
                    </a:lnTo>
                    <a:lnTo>
                      <a:pt x="218" y="98"/>
                    </a:lnTo>
                    <a:lnTo>
                      <a:pt x="272" y="105"/>
                    </a:lnTo>
                    <a:lnTo>
                      <a:pt x="325" y="92"/>
                    </a:lnTo>
                    <a:lnTo>
                      <a:pt x="372" y="86"/>
                    </a:lnTo>
                    <a:lnTo>
                      <a:pt x="379" y="86"/>
                    </a:lnTo>
                    <a:lnTo>
                      <a:pt x="383" y="95"/>
                    </a:lnTo>
                    <a:lnTo>
                      <a:pt x="388" y="105"/>
                    </a:lnTo>
                    <a:lnTo>
                      <a:pt x="391" y="114"/>
                    </a:lnTo>
                    <a:lnTo>
                      <a:pt x="392" y="123"/>
                    </a:lnTo>
                    <a:lnTo>
                      <a:pt x="406" y="124"/>
                    </a:lnTo>
                    <a:lnTo>
                      <a:pt x="418" y="126"/>
                    </a:lnTo>
                    <a:lnTo>
                      <a:pt x="424" y="129"/>
                    </a:lnTo>
                    <a:lnTo>
                      <a:pt x="428" y="131"/>
                    </a:lnTo>
                    <a:lnTo>
                      <a:pt x="433" y="134"/>
                    </a:lnTo>
                    <a:lnTo>
                      <a:pt x="437" y="137"/>
                    </a:lnTo>
                    <a:lnTo>
                      <a:pt x="441" y="141"/>
                    </a:lnTo>
                    <a:lnTo>
                      <a:pt x="445" y="146"/>
                    </a:lnTo>
                    <a:lnTo>
                      <a:pt x="448" y="151"/>
                    </a:lnTo>
                    <a:lnTo>
                      <a:pt x="450" y="156"/>
                    </a:lnTo>
                    <a:lnTo>
                      <a:pt x="455" y="170"/>
                    </a:lnTo>
                    <a:lnTo>
                      <a:pt x="458" y="184"/>
                    </a:lnTo>
                    <a:lnTo>
                      <a:pt x="471" y="190"/>
                    </a:lnTo>
                    <a:lnTo>
                      <a:pt x="359" y="190"/>
                    </a:lnTo>
                    <a:lnTo>
                      <a:pt x="350" y="202"/>
                    </a:lnTo>
                    <a:lnTo>
                      <a:pt x="338" y="217"/>
                    </a:lnTo>
                    <a:lnTo>
                      <a:pt x="330" y="224"/>
                    </a:lnTo>
                    <a:lnTo>
                      <a:pt x="324" y="229"/>
                    </a:lnTo>
                    <a:lnTo>
                      <a:pt x="317" y="233"/>
                    </a:lnTo>
                    <a:lnTo>
                      <a:pt x="312" y="234"/>
                    </a:lnTo>
                    <a:lnTo>
                      <a:pt x="306" y="233"/>
                    </a:lnTo>
                    <a:lnTo>
                      <a:pt x="302" y="232"/>
                    </a:lnTo>
                    <a:lnTo>
                      <a:pt x="298" y="230"/>
                    </a:lnTo>
                    <a:lnTo>
                      <a:pt x="294" y="228"/>
                    </a:lnTo>
                    <a:lnTo>
                      <a:pt x="292" y="224"/>
                    </a:lnTo>
                    <a:lnTo>
                      <a:pt x="290" y="220"/>
                    </a:lnTo>
                    <a:lnTo>
                      <a:pt x="289" y="216"/>
                    </a:lnTo>
                    <a:lnTo>
                      <a:pt x="287" y="210"/>
                    </a:lnTo>
                    <a:lnTo>
                      <a:pt x="284" y="199"/>
                    </a:lnTo>
                    <a:lnTo>
                      <a:pt x="282" y="187"/>
                    </a:lnTo>
                    <a:lnTo>
                      <a:pt x="278" y="174"/>
                    </a:lnTo>
                    <a:lnTo>
                      <a:pt x="272" y="160"/>
                    </a:lnTo>
                    <a:lnTo>
                      <a:pt x="269" y="155"/>
                    </a:lnTo>
                    <a:lnTo>
                      <a:pt x="265" y="151"/>
                    </a:lnTo>
                    <a:lnTo>
                      <a:pt x="258" y="148"/>
                    </a:lnTo>
                    <a:lnTo>
                      <a:pt x="253" y="144"/>
                    </a:lnTo>
                    <a:lnTo>
                      <a:pt x="246" y="141"/>
                    </a:lnTo>
                    <a:lnTo>
                      <a:pt x="240" y="137"/>
                    </a:lnTo>
                    <a:lnTo>
                      <a:pt x="236" y="133"/>
                    </a:lnTo>
                    <a:lnTo>
                      <a:pt x="233" y="129"/>
                    </a:lnTo>
                    <a:lnTo>
                      <a:pt x="224" y="140"/>
                    </a:lnTo>
                    <a:lnTo>
                      <a:pt x="213" y="154"/>
                    </a:lnTo>
                    <a:lnTo>
                      <a:pt x="207" y="162"/>
                    </a:lnTo>
                    <a:lnTo>
                      <a:pt x="203" y="170"/>
                    </a:lnTo>
                    <a:lnTo>
                      <a:pt x="200" y="177"/>
                    </a:lnTo>
                    <a:lnTo>
                      <a:pt x="199" y="184"/>
                    </a:lnTo>
                    <a:lnTo>
                      <a:pt x="188" y="190"/>
                    </a:lnTo>
                    <a:lnTo>
                      <a:pt x="177" y="195"/>
                    </a:lnTo>
                    <a:lnTo>
                      <a:pt x="167" y="201"/>
                    </a:lnTo>
                    <a:lnTo>
                      <a:pt x="157" y="207"/>
                    </a:lnTo>
                    <a:lnTo>
                      <a:pt x="147" y="213"/>
                    </a:lnTo>
                    <a:lnTo>
                      <a:pt x="135" y="218"/>
                    </a:lnTo>
                    <a:lnTo>
                      <a:pt x="130" y="219"/>
                    </a:lnTo>
                    <a:lnTo>
                      <a:pt x="122" y="221"/>
                    </a:lnTo>
                    <a:lnTo>
                      <a:pt x="114" y="222"/>
                    </a:lnTo>
                    <a:lnTo>
                      <a:pt x="106" y="222"/>
                    </a:lnTo>
                    <a:lnTo>
                      <a:pt x="97" y="221"/>
                    </a:lnTo>
                    <a:lnTo>
                      <a:pt x="89" y="220"/>
                    </a:lnTo>
                    <a:lnTo>
                      <a:pt x="82" y="217"/>
                    </a:lnTo>
                    <a:lnTo>
                      <a:pt x="76" y="213"/>
                    </a:lnTo>
                    <a:lnTo>
                      <a:pt x="63" y="205"/>
                    </a:lnTo>
                    <a:lnTo>
                      <a:pt x="46" y="197"/>
                    </a:lnTo>
                    <a:lnTo>
                      <a:pt x="59" y="197"/>
                    </a:lnTo>
                    <a:lnTo>
                      <a:pt x="72" y="166"/>
                    </a:lnTo>
                    <a:lnTo>
                      <a:pt x="59" y="135"/>
                    </a:lnTo>
                    <a:lnTo>
                      <a:pt x="39" y="117"/>
                    </a:lnTo>
                    <a:lnTo>
                      <a:pt x="0" y="98"/>
                    </a:lnTo>
                    <a:lnTo>
                      <a:pt x="13" y="86"/>
                    </a:lnTo>
                    <a:lnTo>
                      <a:pt x="53" y="80"/>
                    </a:lnTo>
                    <a:lnTo>
                      <a:pt x="66" y="49"/>
                    </a:lnTo>
                    <a:lnTo>
                      <a:pt x="86" y="30"/>
                    </a:lnTo>
                    <a:lnTo>
                      <a:pt x="93" y="6"/>
                    </a:lnTo>
                    <a:lnTo>
                      <a:pt x="133" y="0"/>
                    </a:lnTo>
                    <a:lnTo>
                      <a:pt x="153" y="12"/>
                    </a:lnTo>
                    <a:lnTo>
                      <a:pt x="166" y="42"/>
                    </a:lnTo>
                    <a:lnTo>
                      <a:pt x="159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6" name="Freeform 351">
                <a:extLst>
                  <a:ext uri="{FF2B5EF4-FFF2-40B4-BE49-F238E27FC236}">
                    <a16:creationId xmlns:a16="http://schemas.microsoft.com/office/drawing/2014/main" id="{4DFE1035-3D4B-4A71-B429-0F9D5B7A062F}"/>
                  </a:ext>
                </a:extLst>
              </p:cNvPr>
              <p:cNvSpPr>
                <a:spLocks/>
              </p:cNvSpPr>
              <p:nvPr>
                <p:custDataLst>
                  <p:tags r:id="rId254"/>
                </p:custDataLst>
              </p:nvPr>
            </p:nvSpPr>
            <p:spPr bwMode="auto">
              <a:xfrm>
                <a:off x="5938979" y="2975905"/>
                <a:ext cx="271474" cy="140638"/>
              </a:xfrm>
              <a:custGeom>
                <a:avLst/>
                <a:gdLst>
                  <a:gd name="T0" fmla="*/ 19542845 w 525"/>
                  <a:gd name="T1" fmla="*/ 50097671 h 241"/>
                  <a:gd name="T2" fmla="*/ 31895705 w 525"/>
                  <a:gd name="T3" fmla="*/ 40077720 h 241"/>
                  <a:gd name="T4" fmla="*/ 17146040 w 525"/>
                  <a:gd name="T5" fmla="*/ 28433658 h 241"/>
                  <a:gd name="T6" fmla="*/ 8665337 w 525"/>
                  <a:gd name="T7" fmla="*/ 31683442 h 241"/>
                  <a:gd name="T8" fmla="*/ 12168227 w 525"/>
                  <a:gd name="T9" fmla="*/ 16518478 h 241"/>
                  <a:gd name="T10" fmla="*/ 7374618 w 525"/>
                  <a:gd name="T11" fmla="*/ 11644062 h 241"/>
                  <a:gd name="T12" fmla="*/ 20649359 w 525"/>
                  <a:gd name="T13" fmla="*/ 6770166 h 241"/>
                  <a:gd name="T14" fmla="*/ 34292510 w 525"/>
                  <a:gd name="T15" fmla="*/ 0 h 241"/>
                  <a:gd name="T16" fmla="*/ 57522878 w 525"/>
                  <a:gd name="T17" fmla="*/ 5145014 h 241"/>
                  <a:gd name="T18" fmla="*/ 80937451 w 525"/>
                  <a:gd name="T19" fmla="*/ 6770166 h 241"/>
                  <a:gd name="T20" fmla="*/ 96793201 w 525"/>
                  <a:gd name="T21" fmla="*/ 14893846 h 241"/>
                  <a:gd name="T22" fmla="*/ 95687116 w 525"/>
                  <a:gd name="T23" fmla="*/ 18684827 h 241"/>
                  <a:gd name="T24" fmla="*/ 94027558 w 525"/>
                  <a:gd name="T25" fmla="*/ 22205209 h 241"/>
                  <a:gd name="T26" fmla="*/ 91999592 w 525"/>
                  <a:gd name="T27" fmla="*/ 24913276 h 241"/>
                  <a:gd name="T28" fmla="*/ 89418583 w 525"/>
                  <a:gd name="T29" fmla="*/ 26809027 h 241"/>
                  <a:gd name="T30" fmla="*/ 81490493 w 525"/>
                  <a:gd name="T31" fmla="*/ 27891941 h 241"/>
                  <a:gd name="T32" fmla="*/ 77065723 w 525"/>
                  <a:gd name="T33" fmla="*/ 28975376 h 241"/>
                  <a:gd name="T34" fmla="*/ 75037756 w 525"/>
                  <a:gd name="T35" fmla="*/ 30058290 h 241"/>
                  <a:gd name="T36" fmla="*/ 73562833 w 525"/>
                  <a:gd name="T37" fmla="*/ 31683442 h 241"/>
                  <a:gd name="T38" fmla="*/ 71350233 w 525"/>
                  <a:gd name="T39" fmla="*/ 36828457 h 241"/>
                  <a:gd name="T40" fmla="*/ 69691105 w 525"/>
                  <a:gd name="T41" fmla="*/ 39807122 h 241"/>
                  <a:gd name="T42" fmla="*/ 67294300 w 525"/>
                  <a:gd name="T43" fmla="*/ 41702872 h 241"/>
                  <a:gd name="T44" fmla="*/ 56232159 w 525"/>
                  <a:gd name="T45" fmla="*/ 44952136 h 241"/>
                  <a:gd name="T46" fmla="*/ 50332465 w 525"/>
                  <a:gd name="T47" fmla="*/ 46847887 h 241"/>
                  <a:gd name="T48" fmla="*/ 47935660 w 525"/>
                  <a:gd name="T49" fmla="*/ 48201920 h 241"/>
                  <a:gd name="T50" fmla="*/ 48119865 w 525"/>
                  <a:gd name="T51" fmla="*/ 51992901 h 241"/>
                  <a:gd name="T52" fmla="*/ 48488703 w 525"/>
                  <a:gd name="T53" fmla="*/ 54971566 h 241"/>
                  <a:gd name="T54" fmla="*/ 50332465 w 525"/>
                  <a:gd name="T55" fmla="*/ 60117101 h 241"/>
                  <a:gd name="T56" fmla="*/ 40376408 w 525"/>
                  <a:gd name="T57" fmla="*/ 61741733 h 241"/>
                  <a:gd name="T58" fmla="*/ 20649359 w 525"/>
                  <a:gd name="T59" fmla="*/ 63366364 h 241"/>
                  <a:gd name="T60" fmla="*/ 3687524 w 525"/>
                  <a:gd name="T61" fmla="*/ 60117101 h 241"/>
                  <a:gd name="T62" fmla="*/ 9771422 w 525"/>
                  <a:gd name="T63" fmla="*/ 44952136 h 24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525" h="241">
                    <a:moveTo>
                      <a:pt x="60" y="178"/>
                    </a:moveTo>
                    <a:lnTo>
                      <a:pt x="106" y="185"/>
                    </a:lnTo>
                    <a:lnTo>
                      <a:pt x="140" y="178"/>
                    </a:lnTo>
                    <a:lnTo>
                      <a:pt x="173" y="148"/>
                    </a:lnTo>
                    <a:lnTo>
                      <a:pt x="133" y="123"/>
                    </a:lnTo>
                    <a:lnTo>
                      <a:pt x="93" y="105"/>
                    </a:lnTo>
                    <a:lnTo>
                      <a:pt x="73" y="123"/>
                    </a:lnTo>
                    <a:lnTo>
                      <a:pt x="47" y="117"/>
                    </a:lnTo>
                    <a:lnTo>
                      <a:pt x="33" y="93"/>
                    </a:lnTo>
                    <a:lnTo>
                      <a:pt x="66" y="61"/>
                    </a:lnTo>
                    <a:lnTo>
                      <a:pt x="40" y="55"/>
                    </a:lnTo>
                    <a:lnTo>
                      <a:pt x="40" y="43"/>
                    </a:lnTo>
                    <a:lnTo>
                      <a:pt x="66" y="19"/>
                    </a:lnTo>
                    <a:lnTo>
                      <a:pt x="112" y="25"/>
                    </a:lnTo>
                    <a:lnTo>
                      <a:pt x="173" y="49"/>
                    </a:lnTo>
                    <a:lnTo>
                      <a:pt x="186" y="0"/>
                    </a:lnTo>
                    <a:lnTo>
                      <a:pt x="232" y="12"/>
                    </a:lnTo>
                    <a:lnTo>
                      <a:pt x="312" y="19"/>
                    </a:lnTo>
                    <a:lnTo>
                      <a:pt x="372" y="25"/>
                    </a:lnTo>
                    <a:lnTo>
                      <a:pt x="439" y="25"/>
                    </a:lnTo>
                    <a:lnTo>
                      <a:pt x="519" y="49"/>
                    </a:lnTo>
                    <a:lnTo>
                      <a:pt x="525" y="55"/>
                    </a:lnTo>
                    <a:lnTo>
                      <a:pt x="522" y="62"/>
                    </a:lnTo>
                    <a:lnTo>
                      <a:pt x="519" y="69"/>
                    </a:lnTo>
                    <a:lnTo>
                      <a:pt x="514" y="76"/>
                    </a:lnTo>
                    <a:lnTo>
                      <a:pt x="510" y="82"/>
                    </a:lnTo>
                    <a:lnTo>
                      <a:pt x="504" y="87"/>
                    </a:lnTo>
                    <a:lnTo>
                      <a:pt x="499" y="92"/>
                    </a:lnTo>
                    <a:lnTo>
                      <a:pt x="492" y="96"/>
                    </a:lnTo>
                    <a:lnTo>
                      <a:pt x="485" y="99"/>
                    </a:lnTo>
                    <a:lnTo>
                      <a:pt x="466" y="101"/>
                    </a:lnTo>
                    <a:lnTo>
                      <a:pt x="442" y="103"/>
                    </a:lnTo>
                    <a:lnTo>
                      <a:pt x="430" y="105"/>
                    </a:lnTo>
                    <a:lnTo>
                      <a:pt x="418" y="107"/>
                    </a:lnTo>
                    <a:lnTo>
                      <a:pt x="412" y="109"/>
                    </a:lnTo>
                    <a:lnTo>
                      <a:pt x="407" y="111"/>
                    </a:lnTo>
                    <a:lnTo>
                      <a:pt x="402" y="114"/>
                    </a:lnTo>
                    <a:lnTo>
                      <a:pt x="399" y="117"/>
                    </a:lnTo>
                    <a:lnTo>
                      <a:pt x="394" y="124"/>
                    </a:lnTo>
                    <a:lnTo>
                      <a:pt x="387" y="136"/>
                    </a:lnTo>
                    <a:lnTo>
                      <a:pt x="383" y="142"/>
                    </a:lnTo>
                    <a:lnTo>
                      <a:pt x="378" y="147"/>
                    </a:lnTo>
                    <a:lnTo>
                      <a:pt x="373" y="151"/>
                    </a:lnTo>
                    <a:lnTo>
                      <a:pt x="365" y="154"/>
                    </a:lnTo>
                    <a:lnTo>
                      <a:pt x="341" y="160"/>
                    </a:lnTo>
                    <a:lnTo>
                      <a:pt x="305" y="166"/>
                    </a:lnTo>
                    <a:lnTo>
                      <a:pt x="287" y="170"/>
                    </a:lnTo>
                    <a:lnTo>
                      <a:pt x="273" y="173"/>
                    </a:lnTo>
                    <a:lnTo>
                      <a:pt x="263" y="176"/>
                    </a:lnTo>
                    <a:lnTo>
                      <a:pt x="260" y="178"/>
                    </a:lnTo>
                    <a:lnTo>
                      <a:pt x="260" y="186"/>
                    </a:lnTo>
                    <a:lnTo>
                      <a:pt x="261" y="192"/>
                    </a:lnTo>
                    <a:lnTo>
                      <a:pt x="262" y="197"/>
                    </a:lnTo>
                    <a:lnTo>
                      <a:pt x="263" y="203"/>
                    </a:lnTo>
                    <a:lnTo>
                      <a:pt x="267" y="212"/>
                    </a:lnTo>
                    <a:lnTo>
                      <a:pt x="273" y="222"/>
                    </a:lnTo>
                    <a:lnTo>
                      <a:pt x="266" y="222"/>
                    </a:lnTo>
                    <a:lnTo>
                      <a:pt x="219" y="228"/>
                    </a:lnTo>
                    <a:lnTo>
                      <a:pt x="166" y="241"/>
                    </a:lnTo>
                    <a:lnTo>
                      <a:pt x="112" y="234"/>
                    </a:lnTo>
                    <a:lnTo>
                      <a:pt x="60" y="222"/>
                    </a:lnTo>
                    <a:lnTo>
                      <a:pt x="20" y="222"/>
                    </a:lnTo>
                    <a:lnTo>
                      <a:pt x="0" y="203"/>
                    </a:lnTo>
                    <a:lnTo>
                      <a:pt x="53" y="166"/>
                    </a:lnTo>
                    <a:lnTo>
                      <a:pt x="60" y="178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7" name="Freeform 352">
                <a:extLst>
                  <a:ext uri="{FF2B5EF4-FFF2-40B4-BE49-F238E27FC236}">
                    <a16:creationId xmlns:a16="http://schemas.microsoft.com/office/drawing/2014/main" id="{0BF48B3A-A9EA-47B3-9325-95865CBA454E}"/>
                  </a:ext>
                </a:extLst>
              </p:cNvPr>
              <p:cNvSpPr>
                <a:spLocks/>
              </p:cNvSpPr>
              <p:nvPr>
                <p:custDataLst>
                  <p:tags r:id="rId255"/>
                </p:custDataLst>
              </p:nvPr>
            </p:nvSpPr>
            <p:spPr bwMode="auto">
              <a:xfrm>
                <a:off x="5464805" y="2993484"/>
                <a:ext cx="412640" cy="254905"/>
              </a:xfrm>
              <a:custGeom>
                <a:avLst/>
                <a:gdLst>
                  <a:gd name="T0" fmla="*/ 146914280 w 784"/>
                  <a:gd name="T1" fmla="*/ 81384858 h 430"/>
                  <a:gd name="T2" fmla="*/ 143662416 w 784"/>
                  <a:gd name="T3" fmla="*/ 81663607 h 430"/>
                  <a:gd name="T4" fmla="*/ 139836282 w 784"/>
                  <a:gd name="T5" fmla="*/ 84171826 h 430"/>
                  <a:gd name="T6" fmla="*/ 138305916 w 784"/>
                  <a:gd name="T7" fmla="*/ 85844324 h 430"/>
                  <a:gd name="T8" fmla="*/ 137158251 w 784"/>
                  <a:gd name="T9" fmla="*/ 92533259 h 430"/>
                  <a:gd name="T10" fmla="*/ 136393286 w 784"/>
                  <a:gd name="T11" fmla="*/ 100337720 h 430"/>
                  <a:gd name="T12" fmla="*/ 134671351 w 784"/>
                  <a:gd name="T13" fmla="*/ 104797186 h 430"/>
                  <a:gd name="T14" fmla="*/ 128358754 w 784"/>
                  <a:gd name="T15" fmla="*/ 112043620 h 430"/>
                  <a:gd name="T16" fmla="*/ 121089624 w 784"/>
                  <a:gd name="T17" fmla="*/ 117060586 h 430"/>
                  <a:gd name="T18" fmla="*/ 117072358 w 784"/>
                  <a:gd name="T19" fmla="*/ 118175056 h 430"/>
                  <a:gd name="T20" fmla="*/ 112290128 w 784"/>
                  <a:gd name="T21" fmla="*/ 119568804 h 430"/>
                  <a:gd name="T22" fmla="*/ 108463994 w 784"/>
                  <a:gd name="T23" fmla="*/ 119290055 h 430"/>
                  <a:gd name="T24" fmla="*/ 104255596 w 784"/>
                  <a:gd name="T25" fmla="*/ 108141654 h 430"/>
                  <a:gd name="T26" fmla="*/ 98516832 w 784"/>
                  <a:gd name="T27" fmla="*/ 95878254 h 430"/>
                  <a:gd name="T28" fmla="*/ 91438834 w 784"/>
                  <a:gd name="T29" fmla="*/ 93090758 h 430"/>
                  <a:gd name="T30" fmla="*/ 85700070 w 784"/>
                  <a:gd name="T31" fmla="*/ 87795043 h 430"/>
                  <a:gd name="T32" fmla="*/ 79769737 w 784"/>
                  <a:gd name="T33" fmla="*/ 81942357 h 430"/>
                  <a:gd name="T34" fmla="*/ 71352941 w 784"/>
                  <a:gd name="T35" fmla="*/ 76367893 h 430"/>
                  <a:gd name="T36" fmla="*/ 58536179 w 784"/>
                  <a:gd name="T37" fmla="*/ 71908427 h 430"/>
                  <a:gd name="T38" fmla="*/ 34815722 w 784"/>
                  <a:gd name="T39" fmla="*/ 78876639 h 430"/>
                  <a:gd name="T40" fmla="*/ 28885389 w 784"/>
                  <a:gd name="T41" fmla="*/ 85286825 h 430"/>
                  <a:gd name="T42" fmla="*/ 24294290 w 784"/>
                  <a:gd name="T43" fmla="*/ 85844324 h 430"/>
                  <a:gd name="T44" fmla="*/ 12625630 w 784"/>
                  <a:gd name="T45" fmla="*/ 70236457 h 430"/>
                  <a:gd name="T46" fmla="*/ 12625630 w 784"/>
                  <a:gd name="T47" fmla="*/ 56858059 h 430"/>
                  <a:gd name="T48" fmla="*/ 7651831 w 784"/>
                  <a:gd name="T49" fmla="*/ 49889847 h 430"/>
                  <a:gd name="T50" fmla="*/ 8034532 w 784"/>
                  <a:gd name="T51" fmla="*/ 55464311 h 430"/>
                  <a:gd name="T52" fmla="*/ 6886429 w 784"/>
                  <a:gd name="T53" fmla="*/ 60760026 h 430"/>
                  <a:gd name="T54" fmla="*/ 5738764 w 784"/>
                  <a:gd name="T55" fmla="*/ 61596275 h 430"/>
                  <a:gd name="T56" fmla="*/ 5930333 w 784"/>
                  <a:gd name="T57" fmla="*/ 56579309 h 430"/>
                  <a:gd name="T58" fmla="*/ 5164931 w 784"/>
                  <a:gd name="T59" fmla="*/ 48496626 h 430"/>
                  <a:gd name="T60" fmla="*/ 6312597 w 784"/>
                  <a:gd name="T61" fmla="*/ 45430381 h 430"/>
                  <a:gd name="T62" fmla="*/ 7651831 w 784"/>
                  <a:gd name="T63" fmla="*/ 42364663 h 430"/>
                  <a:gd name="T64" fmla="*/ 5164931 w 784"/>
                  <a:gd name="T65" fmla="*/ 35954477 h 430"/>
                  <a:gd name="T66" fmla="*/ 1339234 w 784"/>
                  <a:gd name="T67" fmla="*/ 35118228 h 430"/>
                  <a:gd name="T68" fmla="*/ 0 w 784"/>
                  <a:gd name="T69" fmla="*/ 32609482 h 430"/>
                  <a:gd name="T70" fmla="*/ 573833 w 784"/>
                  <a:gd name="T71" fmla="*/ 28986265 h 430"/>
                  <a:gd name="T72" fmla="*/ 2104199 w 784"/>
                  <a:gd name="T73" fmla="*/ 26199297 h 430"/>
                  <a:gd name="T74" fmla="*/ 5164931 w 784"/>
                  <a:gd name="T75" fmla="*/ 25641797 h 430"/>
                  <a:gd name="T76" fmla="*/ 7842963 w 784"/>
                  <a:gd name="T77" fmla="*/ 27593045 h 430"/>
                  <a:gd name="T78" fmla="*/ 10903695 w 784"/>
                  <a:gd name="T79" fmla="*/ 28986265 h 430"/>
                  <a:gd name="T80" fmla="*/ 13581727 w 784"/>
                  <a:gd name="T81" fmla="*/ 25641797 h 430"/>
                  <a:gd name="T82" fmla="*/ 15877495 w 784"/>
                  <a:gd name="T83" fmla="*/ 21461081 h 430"/>
                  <a:gd name="T84" fmla="*/ 16642459 w 784"/>
                  <a:gd name="T85" fmla="*/ 17837864 h 430"/>
                  <a:gd name="T86" fmla="*/ 14920961 w 784"/>
                  <a:gd name="T87" fmla="*/ 15329117 h 430"/>
                  <a:gd name="T88" fmla="*/ 10520994 w 784"/>
                  <a:gd name="T89" fmla="*/ 13657148 h 430"/>
                  <a:gd name="T90" fmla="*/ 8991065 w 784"/>
                  <a:gd name="T91" fmla="*/ 11148401 h 430"/>
                  <a:gd name="T92" fmla="*/ 7842963 w 784"/>
                  <a:gd name="T93" fmla="*/ 7803933 h 430"/>
                  <a:gd name="T94" fmla="*/ 20468593 w 784"/>
                  <a:gd name="T95" fmla="*/ 11984650 h 430"/>
                  <a:gd name="T96" fmla="*/ 41893720 w 784"/>
                  <a:gd name="T97" fmla="*/ 20624832 h 430"/>
                  <a:gd name="T98" fmla="*/ 52223583 w 784"/>
                  <a:gd name="T99" fmla="*/ 0 h 430"/>
                  <a:gd name="T100" fmla="*/ 71352941 w 784"/>
                  <a:gd name="T101" fmla="*/ 11984650 h 430"/>
                  <a:gd name="T102" fmla="*/ 88951934 w 784"/>
                  <a:gd name="T103" fmla="*/ 25641797 h 430"/>
                  <a:gd name="T104" fmla="*/ 113055092 w 784"/>
                  <a:gd name="T105" fmla="*/ 58530029 h 430"/>
                  <a:gd name="T106" fmla="*/ 138497485 w 784"/>
                  <a:gd name="T107" fmla="*/ 73859674 h 430"/>
                  <a:gd name="T108" fmla="*/ 148827347 w 784"/>
                  <a:gd name="T109" fmla="*/ 82221107 h 430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784" h="430">
                    <a:moveTo>
                      <a:pt x="778" y="295"/>
                    </a:moveTo>
                    <a:lnTo>
                      <a:pt x="772" y="294"/>
                    </a:lnTo>
                    <a:lnTo>
                      <a:pt x="768" y="292"/>
                    </a:lnTo>
                    <a:lnTo>
                      <a:pt x="762" y="292"/>
                    </a:lnTo>
                    <a:lnTo>
                      <a:pt x="757" y="292"/>
                    </a:lnTo>
                    <a:lnTo>
                      <a:pt x="751" y="293"/>
                    </a:lnTo>
                    <a:lnTo>
                      <a:pt x="745" y="295"/>
                    </a:lnTo>
                    <a:lnTo>
                      <a:pt x="738" y="298"/>
                    </a:lnTo>
                    <a:lnTo>
                      <a:pt x="731" y="302"/>
                    </a:lnTo>
                    <a:lnTo>
                      <a:pt x="727" y="303"/>
                    </a:lnTo>
                    <a:lnTo>
                      <a:pt x="725" y="305"/>
                    </a:lnTo>
                    <a:lnTo>
                      <a:pt x="723" y="308"/>
                    </a:lnTo>
                    <a:lnTo>
                      <a:pt x="721" y="312"/>
                    </a:lnTo>
                    <a:lnTo>
                      <a:pt x="718" y="322"/>
                    </a:lnTo>
                    <a:lnTo>
                      <a:pt x="717" y="332"/>
                    </a:lnTo>
                    <a:lnTo>
                      <a:pt x="716" y="343"/>
                    </a:lnTo>
                    <a:lnTo>
                      <a:pt x="714" y="354"/>
                    </a:lnTo>
                    <a:lnTo>
                      <a:pt x="713" y="360"/>
                    </a:lnTo>
                    <a:lnTo>
                      <a:pt x="711" y="365"/>
                    </a:lnTo>
                    <a:lnTo>
                      <a:pt x="708" y="370"/>
                    </a:lnTo>
                    <a:lnTo>
                      <a:pt x="704" y="376"/>
                    </a:lnTo>
                    <a:lnTo>
                      <a:pt x="694" y="385"/>
                    </a:lnTo>
                    <a:lnTo>
                      <a:pt x="683" y="394"/>
                    </a:lnTo>
                    <a:lnTo>
                      <a:pt x="671" y="402"/>
                    </a:lnTo>
                    <a:lnTo>
                      <a:pt x="659" y="409"/>
                    </a:lnTo>
                    <a:lnTo>
                      <a:pt x="647" y="416"/>
                    </a:lnTo>
                    <a:lnTo>
                      <a:pt x="633" y="420"/>
                    </a:lnTo>
                    <a:lnTo>
                      <a:pt x="626" y="422"/>
                    </a:lnTo>
                    <a:lnTo>
                      <a:pt x="620" y="424"/>
                    </a:lnTo>
                    <a:lnTo>
                      <a:pt x="612" y="424"/>
                    </a:lnTo>
                    <a:lnTo>
                      <a:pt x="604" y="425"/>
                    </a:lnTo>
                    <a:lnTo>
                      <a:pt x="596" y="426"/>
                    </a:lnTo>
                    <a:lnTo>
                      <a:pt x="587" y="429"/>
                    </a:lnTo>
                    <a:lnTo>
                      <a:pt x="581" y="430"/>
                    </a:lnTo>
                    <a:lnTo>
                      <a:pt x="575" y="430"/>
                    </a:lnTo>
                    <a:lnTo>
                      <a:pt x="567" y="428"/>
                    </a:lnTo>
                    <a:lnTo>
                      <a:pt x="558" y="425"/>
                    </a:lnTo>
                    <a:lnTo>
                      <a:pt x="553" y="406"/>
                    </a:lnTo>
                    <a:lnTo>
                      <a:pt x="545" y="388"/>
                    </a:lnTo>
                    <a:lnTo>
                      <a:pt x="537" y="367"/>
                    </a:lnTo>
                    <a:lnTo>
                      <a:pt x="532" y="345"/>
                    </a:lnTo>
                    <a:lnTo>
                      <a:pt x="515" y="344"/>
                    </a:lnTo>
                    <a:lnTo>
                      <a:pt x="501" y="342"/>
                    </a:lnTo>
                    <a:lnTo>
                      <a:pt x="489" y="339"/>
                    </a:lnTo>
                    <a:lnTo>
                      <a:pt x="478" y="334"/>
                    </a:lnTo>
                    <a:lnTo>
                      <a:pt x="467" y="329"/>
                    </a:lnTo>
                    <a:lnTo>
                      <a:pt x="458" y="323"/>
                    </a:lnTo>
                    <a:lnTo>
                      <a:pt x="448" y="315"/>
                    </a:lnTo>
                    <a:lnTo>
                      <a:pt x="439" y="308"/>
                    </a:lnTo>
                    <a:lnTo>
                      <a:pt x="429" y="301"/>
                    </a:lnTo>
                    <a:lnTo>
                      <a:pt x="417" y="294"/>
                    </a:lnTo>
                    <a:lnTo>
                      <a:pt x="404" y="287"/>
                    </a:lnTo>
                    <a:lnTo>
                      <a:pt x="389" y="280"/>
                    </a:lnTo>
                    <a:lnTo>
                      <a:pt x="373" y="274"/>
                    </a:lnTo>
                    <a:lnTo>
                      <a:pt x="354" y="268"/>
                    </a:lnTo>
                    <a:lnTo>
                      <a:pt x="331" y="262"/>
                    </a:lnTo>
                    <a:lnTo>
                      <a:pt x="306" y="258"/>
                    </a:lnTo>
                    <a:lnTo>
                      <a:pt x="212" y="258"/>
                    </a:lnTo>
                    <a:lnTo>
                      <a:pt x="204" y="267"/>
                    </a:lnTo>
                    <a:lnTo>
                      <a:pt x="182" y="283"/>
                    </a:lnTo>
                    <a:lnTo>
                      <a:pt x="171" y="292"/>
                    </a:lnTo>
                    <a:lnTo>
                      <a:pt x="160" y="300"/>
                    </a:lnTo>
                    <a:lnTo>
                      <a:pt x="151" y="306"/>
                    </a:lnTo>
                    <a:lnTo>
                      <a:pt x="146" y="308"/>
                    </a:lnTo>
                    <a:lnTo>
                      <a:pt x="137" y="308"/>
                    </a:lnTo>
                    <a:lnTo>
                      <a:pt x="127" y="308"/>
                    </a:lnTo>
                    <a:lnTo>
                      <a:pt x="119" y="308"/>
                    </a:lnTo>
                    <a:lnTo>
                      <a:pt x="113" y="308"/>
                    </a:lnTo>
                    <a:lnTo>
                      <a:pt x="66" y="252"/>
                    </a:lnTo>
                    <a:lnTo>
                      <a:pt x="66" y="237"/>
                    </a:lnTo>
                    <a:lnTo>
                      <a:pt x="66" y="223"/>
                    </a:lnTo>
                    <a:lnTo>
                      <a:pt x="66" y="204"/>
                    </a:lnTo>
                    <a:lnTo>
                      <a:pt x="66" y="179"/>
                    </a:lnTo>
                    <a:lnTo>
                      <a:pt x="53" y="179"/>
                    </a:lnTo>
                    <a:lnTo>
                      <a:pt x="40" y="179"/>
                    </a:lnTo>
                    <a:lnTo>
                      <a:pt x="42" y="185"/>
                    </a:lnTo>
                    <a:lnTo>
                      <a:pt x="42" y="192"/>
                    </a:lnTo>
                    <a:lnTo>
                      <a:pt x="42" y="199"/>
                    </a:lnTo>
                    <a:lnTo>
                      <a:pt x="41" y="205"/>
                    </a:lnTo>
                    <a:lnTo>
                      <a:pt x="39" y="212"/>
                    </a:lnTo>
                    <a:lnTo>
                      <a:pt x="36" y="218"/>
                    </a:lnTo>
                    <a:lnTo>
                      <a:pt x="31" y="223"/>
                    </a:lnTo>
                    <a:lnTo>
                      <a:pt x="27" y="228"/>
                    </a:lnTo>
                    <a:lnTo>
                      <a:pt x="30" y="221"/>
                    </a:lnTo>
                    <a:lnTo>
                      <a:pt x="32" y="215"/>
                    </a:lnTo>
                    <a:lnTo>
                      <a:pt x="32" y="208"/>
                    </a:lnTo>
                    <a:lnTo>
                      <a:pt x="31" y="203"/>
                    </a:lnTo>
                    <a:lnTo>
                      <a:pt x="29" y="191"/>
                    </a:lnTo>
                    <a:lnTo>
                      <a:pt x="27" y="179"/>
                    </a:lnTo>
                    <a:lnTo>
                      <a:pt x="27" y="174"/>
                    </a:lnTo>
                    <a:lnTo>
                      <a:pt x="29" y="170"/>
                    </a:lnTo>
                    <a:lnTo>
                      <a:pt x="31" y="167"/>
                    </a:lnTo>
                    <a:lnTo>
                      <a:pt x="33" y="163"/>
                    </a:lnTo>
                    <a:lnTo>
                      <a:pt x="36" y="160"/>
                    </a:lnTo>
                    <a:lnTo>
                      <a:pt x="38" y="156"/>
                    </a:lnTo>
                    <a:lnTo>
                      <a:pt x="40" y="152"/>
                    </a:lnTo>
                    <a:lnTo>
                      <a:pt x="40" y="147"/>
                    </a:lnTo>
                    <a:lnTo>
                      <a:pt x="31" y="136"/>
                    </a:lnTo>
                    <a:lnTo>
                      <a:pt x="27" y="129"/>
                    </a:lnTo>
                    <a:lnTo>
                      <a:pt x="20" y="129"/>
                    </a:lnTo>
                    <a:lnTo>
                      <a:pt x="11" y="128"/>
                    </a:lnTo>
                    <a:lnTo>
                      <a:pt x="7" y="126"/>
                    </a:lnTo>
                    <a:lnTo>
                      <a:pt x="4" y="124"/>
                    </a:lnTo>
                    <a:lnTo>
                      <a:pt x="1" y="121"/>
                    </a:lnTo>
                    <a:lnTo>
                      <a:pt x="0" y="117"/>
                    </a:lnTo>
                    <a:lnTo>
                      <a:pt x="0" y="113"/>
                    </a:lnTo>
                    <a:lnTo>
                      <a:pt x="1" y="108"/>
                    </a:lnTo>
                    <a:lnTo>
                      <a:pt x="3" y="104"/>
                    </a:lnTo>
                    <a:lnTo>
                      <a:pt x="5" y="100"/>
                    </a:lnTo>
                    <a:lnTo>
                      <a:pt x="8" y="96"/>
                    </a:lnTo>
                    <a:lnTo>
                      <a:pt x="11" y="94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7" y="92"/>
                    </a:lnTo>
                    <a:lnTo>
                      <a:pt x="32" y="94"/>
                    </a:lnTo>
                    <a:lnTo>
                      <a:pt x="37" y="96"/>
                    </a:lnTo>
                    <a:lnTo>
                      <a:pt x="41" y="99"/>
                    </a:lnTo>
                    <a:lnTo>
                      <a:pt x="45" y="101"/>
                    </a:lnTo>
                    <a:lnTo>
                      <a:pt x="51" y="103"/>
                    </a:lnTo>
                    <a:lnTo>
                      <a:pt x="57" y="104"/>
                    </a:lnTo>
                    <a:lnTo>
                      <a:pt x="66" y="105"/>
                    </a:lnTo>
                    <a:lnTo>
                      <a:pt x="67" y="99"/>
                    </a:lnTo>
                    <a:lnTo>
                      <a:pt x="71" y="92"/>
                    </a:lnTo>
                    <a:lnTo>
                      <a:pt x="75" y="87"/>
                    </a:lnTo>
                    <a:lnTo>
                      <a:pt x="79" y="82"/>
                    </a:lnTo>
                    <a:lnTo>
                      <a:pt x="83" y="77"/>
                    </a:lnTo>
                    <a:lnTo>
                      <a:pt x="86" y="71"/>
                    </a:lnTo>
                    <a:lnTo>
                      <a:pt x="87" y="67"/>
                    </a:lnTo>
                    <a:lnTo>
                      <a:pt x="87" y="64"/>
                    </a:lnTo>
                    <a:lnTo>
                      <a:pt x="87" y="60"/>
                    </a:lnTo>
                    <a:lnTo>
                      <a:pt x="86" y="56"/>
                    </a:lnTo>
                    <a:lnTo>
                      <a:pt x="78" y="55"/>
                    </a:lnTo>
                    <a:lnTo>
                      <a:pt x="71" y="54"/>
                    </a:lnTo>
                    <a:lnTo>
                      <a:pt x="63" y="52"/>
                    </a:lnTo>
                    <a:lnTo>
                      <a:pt x="55" y="49"/>
                    </a:lnTo>
                    <a:lnTo>
                      <a:pt x="52" y="47"/>
                    </a:lnTo>
                    <a:lnTo>
                      <a:pt x="50" y="44"/>
                    </a:lnTo>
                    <a:lnTo>
                      <a:pt x="47" y="40"/>
                    </a:lnTo>
                    <a:lnTo>
                      <a:pt x="44" y="37"/>
                    </a:lnTo>
                    <a:lnTo>
                      <a:pt x="42" y="33"/>
                    </a:lnTo>
                    <a:lnTo>
                      <a:pt x="41" y="28"/>
                    </a:lnTo>
                    <a:lnTo>
                      <a:pt x="40" y="24"/>
                    </a:lnTo>
                    <a:lnTo>
                      <a:pt x="40" y="18"/>
                    </a:lnTo>
                    <a:lnTo>
                      <a:pt x="107" y="43"/>
                    </a:lnTo>
                    <a:lnTo>
                      <a:pt x="133" y="80"/>
                    </a:lnTo>
                    <a:lnTo>
                      <a:pt x="179" y="86"/>
                    </a:lnTo>
                    <a:lnTo>
                      <a:pt x="219" y="74"/>
                    </a:lnTo>
                    <a:lnTo>
                      <a:pt x="212" y="43"/>
                    </a:lnTo>
                    <a:lnTo>
                      <a:pt x="253" y="24"/>
                    </a:lnTo>
                    <a:lnTo>
                      <a:pt x="273" y="0"/>
                    </a:lnTo>
                    <a:lnTo>
                      <a:pt x="306" y="6"/>
                    </a:lnTo>
                    <a:lnTo>
                      <a:pt x="339" y="24"/>
                    </a:lnTo>
                    <a:lnTo>
                      <a:pt x="373" y="43"/>
                    </a:lnTo>
                    <a:lnTo>
                      <a:pt x="386" y="80"/>
                    </a:lnTo>
                    <a:lnTo>
                      <a:pt x="425" y="92"/>
                    </a:lnTo>
                    <a:lnTo>
                      <a:pt x="465" y="92"/>
                    </a:lnTo>
                    <a:lnTo>
                      <a:pt x="512" y="141"/>
                    </a:lnTo>
                    <a:lnTo>
                      <a:pt x="545" y="179"/>
                    </a:lnTo>
                    <a:lnTo>
                      <a:pt x="591" y="210"/>
                    </a:lnTo>
                    <a:lnTo>
                      <a:pt x="632" y="222"/>
                    </a:lnTo>
                    <a:lnTo>
                      <a:pt x="678" y="252"/>
                    </a:lnTo>
                    <a:lnTo>
                      <a:pt x="724" y="265"/>
                    </a:lnTo>
                    <a:lnTo>
                      <a:pt x="758" y="277"/>
                    </a:lnTo>
                    <a:lnTo>
                      <a:pt x="784" y="289"/>
                    </a:lnTo>
                    <a:lnTo>
                      <a:pt x="778" y="295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8" name="Freeform 353">
                <a:extLst>
                  <a:ext uri="{FF2B5EF4-FFF2-40B4-BE49-F238E27FC236}">
                    <a16:creationId xmlns:a16="http://schemas.microsoft.com/office/drawing/2014/main" id="{4FFCD1BB-6BF8-4AFE-81BD-8AE30522467B}"/>
                  </a:ext>
                </a:extLst>
              </p:cNvPr>
              <p:cNvSpPr>
                <a:spLocks/>
              </p:cNvSpPr>
              <p:nvPr>
                <p:custDataLst>
                  <p:tags r:id="rId256"/>
                </p:custDataLst>
              </p:nvPr>
            </p:nvSpPr>
            <p:spPr bwMode="auto">
              <a:xfrm>
                <a:off x="4511027" y="2866910"/>
                <a:ext cx="130307" cy="167007"/>
              </a:xfrm>
              <a:custGeom>
                <a:avLst/>
                <a:gdLst>
                  <a:gd name="T0" fmla="*/ 5777080 w 246"/>
                  <a:gd name="T1" fmla="*/ 7454419 h 284"/>
                  <a:gd name="T2" fmla="*/ 5391795 w 246"/>
                  <a:gd name="T3" fmla="*/ 6626326 h 284"/>
                  <a:gd name="T4" fmla="*/ 4621664 w 246"/>
                  <a:gd name="T5" fmla="*/ 4693231 h 284"/>
                  <a:gd name="T6" fmla="*/ 6739854 w 246"/>
                  <a:gd name="T7" fmla="*/ 1380331 h 284"/>
                  <a:gd name="T8" fmla="*/ 12901780 w 246"/>
                  <a:gd name="T9" fmla="*/ 275856 h 284"/>
                  <a:gd name="T10" fmla="*/ 24262860 w 246"/>
                  <a:gd name="T11" fmla="*/ 3312900 h 284"/>
                  <a:gd name="T12" fmla="*/ 25226072 w 246"/>
                  <a:gd name="T13" fmla="*/ 8282513 h 284"/>
                  <a:gd name="T14" fmla="*/ 26766334 w 246"/>
                  <a:gd name="T15" fmla="*/ 12699888 h 284"/>
                  <a:gd name="T16" fmla="*/ 29077166 w 246"/>
                  <a:gd name="T17" fmla="*/ 15736932 h 284"/>
                  <a:gd name="T18" fmla="*/ 31772845 w 246"/>
                  <a:gd name="T19" fmla="*/ 18497595 h 284"/>
                  <a:gd name="T20" fmla="*/ 36779794 w 246"/>
                  <a:gd name="T21" fmla="*/ 24019445 h 284"/>
                  <a:gd name="T22" fmla="*/ 39090626 w 246"/>
                  <a:gd name="T23" fmla="*/ 27884583 h 284"/>
                  <a:gd name="T24" fmla="*/ 40823530 w 246"/>
                  <a:gd name="T25" fmla="*/ 32301958 h 284"/>
                  <a:gd name="T26" fmla="*/ 43519648 w 246"/>
                  <a:gd name="T27" fmla="*/ 32301958 h 284"/>
                  <a:gd name="T28" fmla="*/ 42556435 w 246"/>
                  <a:gd name="T29" fmla="*/ 34235052 h 284"/>
                  <a:gd name="T30" fmla="*/ 42556435 w 246"/>
                  <a:gd name="T31" fmla="*/ 35615384 h 284"/>
                  <a:gd name="T32" fmla="*/ 43904494 w 246"/>
                  <a:gd name="T33" fmla="*/ 38652428 h 284"/>
                  <a:gd name="T34" fmla="*/ 46022683 w 246"/>
                  <a:gd name="T35" fmla="*/ 42517565 h 284"/>
                  <a:gd name="T36" fmla="*/ 46985457 w 246"/>
                  <a:gd name="T37" fmla="*/ 44725990 h 284"/>
                  <a:gd name="T38" fmla="*/ 47370742 w 246"/>
                  <a:gd name="T39" fmla="*/ 47763034 h 284"/>
                  <a:gd name="T40" fmla="*/ 46407968 w 246"/>
                  <a:gd name="T41" fmla="*/ 50800078 h 284"/>
                  <a:gd name="T42" fmla="*/ 44867267 w 246"/>
                  <a:gd name="T43" fmla="*/ 53009029 h 284"/>
                  <a:gd name="T44" fmla="*/ 42941720 w 246"/>
                  <a:gd name="T45" fmla="*/ 54665216 h 284"/>
                  <a:gd name="T46" fmla="*/ 42364232 w 246"/>
                  <a:gd name="T47" fmla="*/ 56321929 h 284"/>
                  <a:gd name="T48" fmla="*/ 36394509 w 246"/>
                  <a:gd name="T49" fmla="*/ 59358973 h 284"/>
                  <a:gd name="T50" fmla="*/ 31580641 w 246"/>
                  <a:gd name="T51" fmla="*/ 63499966 h 284"/>
                  <a:gd name="T52" fmla="*/ 21759824 w 246"/>
                  <a:gd name="T53" fmla="*/ 73163336 h 284"/>
                  <a:gd name="T54" fmla="*/ 16945517 w 246"/>
                  <a:gd name="T55" fmla="*/ 63776348 h 284"/>
                  <a:gd name="T56" fmla="*/ 15212612 w 246"/>
                  <a:gd name="T57" fmla="*/ 60739304 h 284"/>
                  <a:gd name="T58" fmla="*/ 13864554 w 246"/>
                  <a:gd name="T59" fmla="*/ 59634829 h 284"/>
                  <a:gd name="T60" fmla="*/ 11553722 w 246"/>
                  <a:gd name="T61" fmla="*/ 59911210 h 284"/>
                  <a:gd name="T62" fmla="*/ 10398306 w 246"/>
                  <a:gd name="T63" fmla="*/ 61015160 h 284"/>
                  <a:gd name="T64" fmla="*/ 9435532 w 246"/>
                  <a:gd name="T65" fmla="*/ 62947729 h 284"/>
                  <a:gd name="T66" fmla="*/ 9242890 w 246"/>
                  <a:gd name="T67" fmla="*/ 65156679 h 284"/>
                  <a:gd name="T68" fmla="*/ 8665401 w 246"/>
                  <a:gd name="T69" fmla="*/ 70954386 h 284"/>
                  <a:gd name="T70" fmla="*/ 7895270 w 246"/>
                  <a:gd name="T71" fmla="*/ 74543667 h 284"/>
                  <a:gd name="T72" fmla="*/ 6354569 w 246"/>
                  <a:gd name="T73" fmla="*/ 78408805 h 284"/>
                  <a:gd name="T74" fmla="*/ 5006510 w 246"/>
                  <a:gd name="T75" fmla="*/ 67089248 h 284"/>
                  <a:gd name="T76" fmla="*/ 3273606 w 246"/>
                  <a:gd name="T77" fmla="*/ 62671873 h 284"/>
                  <a:gd name="T78" fmla="*/ 2118190 w 246"/>
                  <a:gd name="T79" fmla="*/ 61015160 h 284"/>
                  <a:gd name="T80" fmla="*/ 0 w 246"/>
                  <a:gd name="T81" fmla="*/ 59634829 h 284"/>
                  <a:gd name="T82" fmla="*/ 192642 w 246"/>
                  <a:gd name="T83" fmla="*/ 56321929 h 284"/>
                  <a:gd name="T84" fmla="*/ 770131 w 246"/>
                  <a:gd name="T85" fmla="*/ 53284885 h 284"/>
                  <a:gd name="T86" fmla="*/ 2888321 w 246"/>
                  <a:gd name="T87" fmla="*/ 48591128 h 284"/>
                  <a:gd name="T88" fmla="*/ 5969284 w 246"/>
                  <a:gd name="T89" fmla="*/ 44450134 h 284"/>
                  <a:gd name="T90" fmla="*/ 8858043 w 246"/>
                  <a:gd name="T91" fmla="*/ 38928284 h 284"/>
                  <a:gd name="T92" fmla="*/ 6354569 w 246"/>
                  <a:gd name="T93" fmla="*/ 12147651 h 28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246" h="284">
                    <a:moveTo>
                      <a:pt x="33" y="44"/>
                    </a:moveTo>
                    <a:lnTo>
                      <a:pt x="30" y="27"/>
                    </a:lnTo>
                    <a:lnTo>
                      <a:pt x="28" y="24"/>
                    </a:lnTo>
                    <a:lnTo>
                      <a:pt x="26" y="22"/>
                    </a:lnTo>
                    <a:lnTo>
                      <a:pt x="24" y="17"/>
                    </a:lnTo>
                    <a:lnTo>
                      <a:pt x="20" y="6"/>
                    </a:lnTo>
                    <a:lnTo>
                      <a:pt x="35" y="5"/>
                    </a:lnTo>
                    <a:lnTo>
                      <a:pt x="50" y="3"/>
                    </a:lnTo>
                    <a:lnTo>
                      <a:pt x="67" y="1"/>
                    </a:lnTo>
                    <a:lnTo>
                      <a:pt x="87" y="0"/>
                    </a:lnTo>
                    <a:lnTo>
                      <a:pt x="126" y="12"/>
                    </a:lnTo>
                    <a:lnTo>
                      <a:pt x="127" y="22"/>
                    </a:lnTo>
                    <a:lnTo>
                      <a:pt x="131" y="30"/>
                    </a:lnTo>
                    <a:lnTo>
                      <a:pt x="135" y="39"/>
                    </a:lnTo>
                    <a:lnTo>
                      <a:pt x="139" y="46"/>
                    </a:lnTo>
                    <a:lnTo>
                      <a:pt x="145" y="52"/>
                    </a:lnTo>
                    <a:lnTo>
                      <a:pt x="151" y="57"/>
                    </a:lnTo>
                    <a:lnTo>
                      <a:pt x="157" y="62"/>
                    </a:lnTo>
                    <a:lnTo>
                      <a:pt x="165" y="67"/>
                    </a:lnTo>
                    <a:lnTo>
                      <a:pt x="178" y="77"/>
                    </a:lnTo>
                    <a:lnTo>
                      <a:pt x="191" y="87"/>
                    </a:lnTo>
                    <a:lnTo>
                      <a:pt x="198" y="94"/>
                    </a:lnTo>
                    <a:lnTo>
                      <a:pt x="203" y="101"/>
                    </a:lnTo>
                    <a:lnTo>
                      <a:pt x="209" y="109"/>
                    </a:lnTo>
                    <a:lnTo>
                      <a:pt x="212" y="117"/>
                    </a:lnTo>
                    <a:lnTo>
                      <a:pt x="220" y="117"/>
                    </a:lnTo>
                    <a:lnTo>
                      <a:pt x="226" y="117"/>
                    </a:lnTo>
                    <a:lnTo>
                      <a:pt x="223" y="121"/>
                    </a:lnTo>
                    <a:lnTo>
                      <a:pt x="221" y="124"/>
                    </a:lnTo>
                    <a:lnTo>
                      <a:pt x="220" y="126"/>
                    </a:lnTo>
                    <a:lnTo>
                      <a:pt x="221" y="129"/>
                    </a:lnTo>
                    <a:lnTo>
                      <a:pt x="223" y="135"/>
                    </a:lnTo>
                    <a:lnTo>
                      <a:pt x="228" y="140"/>
                    </a:lnTo>
                    <a:lnTo>
                      <a:pt x="234" y="146"/>
                    </a:lnTo>
                    <a:lnTo>
                      <a:pt x="239" y="154"/>
                    </a:lnTo>
                    <a:lnTo>
                      <a:pt x="241" y="158"/>
                    </a:lnTo>
                    <a:lnTo>
                      <a:pt x="244" y="162"/>
                    </a:lnTo>
                    <a:lnTo>
                      <a:pt x="245" y="167"/>
                    </a:lnTo>
                    <a:lnTo>
                      <a:pt x="246" y="173"/>
                    </a:lnTo>
                    <a:lnTo>
                      <a:pt x="245" y="179"/>
                    </a:lnTo>
                    <a:lnTo>
                      <a:pt x="241" y="184"/>
                    </a:lnTo>
                    <a:lnTo>
                      <a:pt x="237" y="189"/>
                    </a:lnTo>
                    <a:lnTo>
                      <a:pt x="233" y="192"/>
                    </a:lnTo>
                    <a:lnTo>
                      <a:pt x="227" y="196"/>
                    </a:lnTo>
                    <a:lnTo>
                      <a:pt x="223" y="198"/>
                    </a:lnTo>
                    <a:lnTo>
                      <a:pt x="221" y="201"/>
                    </a:lnTo>
                    <a:lnTo>
                      <a:pt x="220" y="204"/>
                    </a:lnTo>
                    <a:lnTo>
                      <a:pt x="203" y="209"/>
                    </a:lnTo>
                    <a:lnTo>
                      <a:pt x="189" y="215"/>
                    </a:lnTo>
                    <a:lnTo>
                      <a:pt x="176" y="222"/>
                    </a:lnTo>
                    <a:lnTo>
                      <a:pt x="164" y="230"/>
                    </a:lnTo>
                    <a:lnTo>
                      <a:pt x="139" y="246"/>
                    </a:lnTo>
                    <a:lnTo>
                      <a:pt x="113" y="265"/>
                    </a:lnTo>
                    <a:lnTo>
                      <a:pt x="99" y="247"/>
                    </a:lnTo>
                    <a:lnTo>
                      <a:pt x="88" y="231"/>
                    </a:lnTo>
                    <a:lnTo>
                      <a:pt x="83" y="225"/>
                    </a:lnTo>
                    <a:lnTo>
                      <a:pt x="79" y="220"/>
                    </a:lnTo>
                    <a:lnTo>
                      <a:pt x="76" y="217"/>
                    </a:lnTo>
                    <a:lnTo>
                      <a:pt x="72" y="216"/>
                    </a:lnTo>
                    <a:lnTo>
                      <a:pt x="66" y="216"/>
                    </a:lnTo>
                    <a:lnTo>
                      <a:pt x="60" y="217"/>
                    </a:lnTo>
                    <a:lnTo>
                      <a:pt x="57" y="219"/>
                    </a:lnTo>
                    <a:lnTo>
                      <a:pt x="54" y="221"/>
                    </a:lnTo>
                    <a:lnTo>
                      <a:pt x="52" y="224"/>
                    </a:lnTo>
                    <a:lnTo>
                      <a:pt x="49" y="228"/>
                    </a:lnTo>
                    <a:lnTo>
                      <a:pt x="48" y="231"/>
                    </a:lnTo>
                    <a:lnTo>
                      <a:pt x="48" y="236"/>
                    </a:lnTo>
                    <a:lnTo>
                      <a:pt x="47" y="246"/>
                    </a:lnTo>
                    <a:lnTo>
                      <a:pt x="45" y="257"/>
                    </a:lnTo>
                    <a:lnTo>
                      <a:pt x="43" y="264"/>
                    </a:lnTo>
                    <a:lnTo>
                      <a:pt x="41" y="270"/>
                    </a:lnTo>
                    <a:lnTo>
                      <a:pt x="37" y="277"/>
                    </a:lnTo>
                    <a:lnTo>
                      <a:pt x="33" y="284"/>
                    </a:lnTo>
                    <a:lnTo>
                      <a:pt x="30" y="262"/>
                    </a:lnTo>
                    <a:lnTo>
                      <a:pt x="26" y="243"/>
                    </a:lnTo>
                    <a:lnTo>
                      <a:pt x="23" y="234"/>
                    </a:lnTo>
                    <a:lnTo>
                      <a:pt x="17" y="227"/>
                    </a:lnTo>
                    <a:lnTo>
                      <a:pt x="14" y="224"/>
                    </a:lnTo>
                    <a:lnTo>
                      <a:pt x="11" y="221"/>
                    </a:lnTo>
                    <a:lnTo>
                      <a:pt x="5" y="218"/>
                    </a:lnTo>
                    <a:lnTo>
                      <a:pt x="0" y="216"/>
                    </a:lnTo>
                    <a:lnTo>
                      <a:pt x="0" y="210"/>
                    </a:lnTo>
                    <a:lnTo>
                      <a:pt x="1" y="204"/>
                    </a:lnTo>
                    <a:lnTo>
                      <a:pt x="2" y="197"/>
                    </a:lnTo>
                    <a:lnTo>
                      <a:pt x="4" y="193"/>
                    </a:lnTo>
                    <a:lnTo>
                      <a:pt x="9" y="184"/>
                    </a:lnTo>
                    <a:lnTo>
                      <a:pt x="15" y="176"/>
                    </a:lnTo>
                    <a:lnTo>
                      <a:pt x="23" y="169"/>
                    </a:lnTo>
                    <a:lnTo>
                      <a:pt x="31" y="161"/>
                    </a:lnTo>
                    <a:lnTo>
                      <a:pt x="38" y="153"/>
                    </a:lnTo>
                    <a:lnTo>
                      <a:pt x="46" y="141"/>
                    </a:lnTo>
                    <a:lnTo>
                      <a:pt x="0" y="62"/>
                    </a:lnTo>
                    <a:lnTo>
                      <a:pt x="3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19" name="Freeform 354">
                <a:extLst>
                  <a:ext uri="{FF2B5EF4-FFF2-40B4-BE49-F238E27FC236}">
                    <a16:creationId xmlns:a16="http://schemas.microsoft.com/office/drawing/2014/main" id="{8B60CE8D-3BE2-4948-A07F-7551DAC6569A}"/>
                  </a:ext>
                </a:extLst>
              </p:cNvPr>
              <p:cNvSpPr>
                <a:spLocks/>
              </p:cNvSpPr>
              <p:nvPr>
                <p:custDataLst>
                  <p:tags r:id="rId257"/>
                </p:custDataLst>
              </p:nvPr>
            </p:nvSpPr>
            <p:spPr bwMode="auto">
              <a:xfrm>
                <a:off x="4568942" y="2988210"/>
                <a:ext cx="81442" cy="66803"/>
              </a:xfrm>
              <a:custGeom>
                <a:avLst/>
                <a:gdLst>
                  <a:gd name="T0" fmla="*/ 20750672 w 160"/>
                  <a:gd name="T1" fmla="*/ 0 h 117"/>
                  <a:gd name="T2" fmla="*/ 20750672 w 160"/>
                  <a:gd name="T3" fmla="*/ 2392376 h 117"/>
                  <a:gd name="T4" fmla="*/ 20750672 w 160"/>
                  <a:gd name="T5" fmla="*/ 4785268 h 117"/>
                  <a:gd name="T6" fmla="*/ 20932849 w 160"/>
                  <a:gd name="T7" fmla="*/ 6646062 h 117"/>
                  <a:gd name="T8" fmla="*/ 21296776 w 160"/>
                  <a:gd name="T9" fmla="*/ 8506856 h 117"/>
                  <a:gd name="T10" fmla="*/ 21661130 w 160"/>
                  <a:gd name="T11" fmla="*/ 9038438 h 117"/>
                  <a:gd name="T12" fmla="*/ 22025057 w 160"/>
                  <a:gd name="T13" fmla="*/ 9836069 h 117"/>
                  <a:gd name="T14" fmla="*/ 22388984 w 160"/>
                  <a:gd name="T15" fmla="*/ 10102117 h 117"/>
                  <a:gd name="T16" fmla="*/ 23117265 w 160"/>
                  <a:gd name="T17" fmla="*/ 10367650 h 117"/>
                  <a:gd name="T18" fmla="*/ 23845119 w 160"/>
                  <a:gd name="T19" fmla="*/ 10633699 h 117"/>
                  <a:gd name="T20" fmla="*/ 24573400 w 160"/>
                  <a:gd name="T21" fmla="*/ 10367650 h 117"/>
                  <a:gd name="T22" fmla="*/ 25483431 w 160"/>
                  <a:gd name="T23" fmla="*/ 10102117 h 117"/>
                  <a:gd name="T24" fmla="*/ 26575639 w 160"/>
                  <a:gd name="T25" fmla="*/ 9570535 h 117"/>
                  <a:gd name="T26" fmla="*/ 27121743 w 160"/>
                  <a:gd name="T27" fmla="*/ 11431330 h 117"/>
                  <a:gd name="T28" fmla="*/ 27849597 w 160"/>
                  <a:gd name="T29" fmla="*/ 13823706 h 117"/>
                  <a:gd name="T30" fmla="*/ 28577878 w 160"/>
                  <a:gd name="T31" fmla="*/ 17013712 h 117"/>
                  <a:gd name="T32" fmla="*/ 29123982 w 160"/>
                  <a:gd name="T33" fmla="*/ 19672137 h 117"/>
                  <a:gd name="T34" fmla="*/ 24209473 w 160"/>
                  <a:gd name="T35" fmla="*/ 23394241 h 117"/>
                  <a:gd name="T36" fmla="*/ 19294537 w 160"/>
                  <a:gd name="T37" fmla="*/ 27115830 h 117"/>
                  <a:gd name="T38" fmla="*/ 16746194 w 160"/>
                  <a:gd name="T39" fmla="*/ 28445042 h 117"/>
                  <a:gd name="T40" fmla="*/ 13833924 w 160"/>
                  <a:gd name="T41" fmla="*/ 30040303 h 117"/>
                  <a:gd name="T42" fmla="*/ 11285580 w 160"/>
                  <a:gd name="T43" fmla="*/ 30837418 h 117"/>
                  <a:gd name="T44" fmla="*/ 8555060 w 160"/>
                  <a:gd name="T45" fmla="*/ 31103467 h 117"/>
                  <a:gd name="T46" fmla="*/ 5824967 w 160"/>
                  <a:gd name="T47" fmla="*/ 26318199 h 117"/>
                  <a:gd name="T48" fmla="*/ 3822728 w 160"/>
                  <a:gd name="T49" fmla="*/ 22065029 h 117"/>
                  <a:gd name="T50" fmla="*/ 1820062 w 160"/>
                  <a:gd name="T51" fmla="*/ 18342925 h 117"/>
                  <a:gd name="T52" fmla="*/ 0 w 160"/>
                  <a:gd name="T53" fmla="*/ 14621336 h 117"/>
                  <a:gd name="T54" fmla="*/ 2366166 w 160"/>
                  <a:gd name="T55" fmla="*/ 12760542 h 117"/>
                  <a:gd name="T56" fmla="*/ 7462852 w 160"/>
                  <a:gd name="T57" fmla="*/ 8506856 h 117"/>
                  <a:gd name="T58" fmla="*/ 10921653 w 160"/>
                  <a:gd name="T59" fmla="*/ 6114480 h 117"/>
                  <a:gd name="T60" fmla="*/ 14197851 w 160"/>
                  <a:gd name="T61" fmla="*/ 3721588 h 117"/>
                  <a:gd name="T62" fmla="*/ 17656225 w 160"/>
                  <a:gd name="T63" fmla="*/ 1595261 h 117"/>
                  <a:gd name="T64" fmla="*/ 20750672 w 160"/>
                  <a:gd name="T65" fmla="*/ 0 h 117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60" h="117">
                    <a:moveTo>
                      <a:pt x="114" y="0"/>
                    </a:moveTo>
                    <a:lnTo>
                      <a:pt x="114" y="9"/>
                    </a:lnTo>
                    <a:lnTo>
                      <a:pt x="114" y="18"/>
                    </a:lnTo>
                    <a:lnTo>
                      <a:pt x="115" y="25"/>
                    </a:lnTo>
                    <a:lnTo>
                      <a:pt x="117" y="32"/>
                    </a:lnTo>
                    <a:lnTo>
                      <a:pt x="119" y="34"/>
                    </a:lnTo>
                    <a:lnTo>
                      <a:pt x="121" y="37"/>
                    </a:lnTo>
                    <a:lnTo>
                      <a:pt x="123" y="38"/>
                    </a:lnTo>
                    <a:lnTo>
                      <a:pt x="127" y="39"/>
                    </a:lnTo>
                    <a:lnTo>
                      <a:pt x="131" y="40"/>
                    </a:lnTo>
                    <a:lnTo>
                      <a:pt x="135" y="39"/>
                    </a:lnTo>
                    <a:lnTo>
                      <a:pt x="140" y="38"/>
                    </a:lnTo>
                    <a:lnTo>
                      <a:pt x="146" y="36"/>
                    </a:lnTo>
                    <a:lnTo>
                      <a:pt x="149" y="43"/>
                    </a:lnTo>
                    <a:lnTo>
                      <a:pt x="153" y="52"/>
                    </a:lnTo>
                    <a:lnTo>
                      <a:pt x="157" y="64"/>
                    </a:lnTo>
                    <a:lnTo>
                      <a:pt x="160" y="74"/>
                    </a:lnTo>
                    <a:lnTo>
                      <a:pt x="133" y="88"/>
                    </a:lnTo>
                    <a:lnTo>
                      <a:pt x="106" y="102"/>
                    </a:lnTo>
                    <a:lnTo>
                      <a:pt x="92" y="107"/>
                    </a:lnTo>
                    <a:lnTo>
                      <a:pt x="76" y="113"/>
                    </a:lnTo>
                    <a:lnTo>
                      <a:pt x="62" y="116"/>
                    </a:lnTo>
                    <a:lnTo>
                      <a:pt x="47" y="117"/>
                    </a:lnTo>
                    <a:lnTo>
                      <a:pt x="32" y="99"/>
                    </a:lnTo>
                    <a:lnTo>
                      <a:pt x="21" y="83"/>
                    </a:lnTo>
                    <a:lnTo>
                      <a:pt x="10" y="69"/>
                    </a:lnTo>
                    <a:lnTo>
                      <a:pt x="0" y="55"/>
                    </a:lnTo>
                    <a:lnTo>
                      <a:pt x="13" y="48"/>
                    </a:lnTo>
                    <a:lnTo>
                      <a:pt x="41" y="32"/>
                    </a:lnTo>
                    <a:lnTo>
                      <a:pt x="60" y="23"/>
                    </a:lnTo>
                    <a:lnTo>
                      <a:pt x="78" y="14"/>
                    </a:lnTo>
                    <a:lnTo>
                      <a:pt x="97" y="6"/>
                    </a:lnTo>
                    <a:lnTo>
                      <a:pt x="114" y="0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20" name="Freeform 355">
                <a:extLst>
                  <a:ext uri="{FF2B5EF4-FFF2-40B4-BE49-F238E27FC236}">
                    <a16:creationId xmlns:a16="http://schemas.microsoft.com/office/drawing/2014/main" id="{8BC1A652-FF6B-424C-8B45-6A9180CE0CF5}"/>
                  </a:ext>
                </a:extLst>
              </p:cNvPr>
              <p:cNvSpPr>
                <a:spLocks/>
              </p:cNvSpPr>
              <p:nvPr>
                <p:custDataLst>
                  <p:tags r:id="rId258"/>
                </p:custDataLst>
              </p:nvPr>
            </p:nvSpPr>
            <p:spPr bwMode="auto">
              <a:xfrm>
                <a:off x="4670292" y="3689642"/>
                <a:ext cx="495892" cy="687367"/>
              </a:xfrm>
              <a:custGeom>
                <a:avLst/>
                <a:gdLst>
                  <a:gd name="T0" fmla="*/ 141060831 w 943"/>
                  <a:gd name="T1" fmla="*/ 1359526 h 1172"/>
                  <a:gd name="T2" fmla="*/ 145433188 w 943"/>
                  <a:gd name="T3" fmla="*/ 6254758 h 1172"/>
                  <a:gd name="T4" fmla="*/ 152657518 w 943"/>
                  <a:gd name="T5" fmla="*/ 8158721 h 1172"/>
                  <a:gd name="T6" fmla="*/ 154748645 w 943"/>
                  <a:gd name="T7" fmla="*/ 14957394 h 1172"/>
                  <a:gd name="T8" fmla="*/ 158740797 w 943"/>
                  <a:gd name="T9" fmla="*/ 29642569 h 1172"/>
                  <a:gd name="T10" fmla="*/ 159121002 w 943"/>
                  <a:gd name="T11" fmla="*/ 50855243 h 1172"/>
                  <a:gd name="T12" fmla="*/ 162923488 w 943"/>
                  <a:gd name="T13" fmla="*/ 66084334 h 1172"/>
                  <a:gd name="T14" fmla="*/ 175280584 w 943"/>
                  <a:gd name="T15" fmla="*/ 79409983 h 1172"/>
                  <a:gd name="T16" fmla="*/ 167105742 w 943"/>
                  <a:gd name="T17" fmla="*/ 98174780 h 1172"/>
                  <a:gd name="T18" fmla="*/ 161782873 w 943"/>
                  <a:gd name="T19" fmla="*/ 111500430 h 1172"/>
                  <a:gd name="T20" fmla="*/ 153798133 w 943"/>
                  <a:gd name="T21" fmla="*/ 172690052 h 1172"/>
                  <a:gd name="T22" fmla="*/ 146383700 w 943"/>
                  <a:gd name="T23" fmla="*/ 184111740 h 1172"/>
                  <a:gd name="T24" fmla="*/ 145052983 w 943"/>
                  <a:gd name="T25" fmla="*/ 196077864 h 1172"/>
                  <a:gd name="T26" fmla="*/ 141631139 w 943"/>
                  <a:gd name="T27" fmla="*/ 199885267 h 1172"/>
                  <a:gd name="T28" fmla="*/ 137448884 w 943"/>
                  <a:gd name="T29" fmla="*/ 217018319 h 1172"/>
                  <a:gd name="T30" fmla="*/ 131555271 w 943"/>
                  <a:gd name="T31" fmla="*/ 238502168 h 1172"/>
                  <a:gd name="T32" fmla="*/ 125852197 w 943"/>
                  <a:gd name="T33" fmla="*/ 245573059 h 1172"/>
                  <a:gd name="T34" fmla="*/ 126232402 w 943"/>
                  <a:gd name="T35" fmla="*/ 254003477 h 1172"/>
                  <a:gd name="T36" fmla="*/ 130414657 w 943"/>
                  <a:gd name="T37" fmla="*/ 255363524 h 1172"/>
                  <a:gd name="T38" fmla="*/ 134787449 w 943"/>
                  <a:gd name="T39" fmla="*/ 258354794 h 1172"/>
                  <a:gd name="T40" fmla="*/ 141060831 w 943"/>
                  <a:gd name="T41" fmla="*/ 264065638 h 1172"/>
                  <a:gd name="T42" fmla="*/ 143722266 w 943"/>
                  <a:gd name="T43" fmla="*/ 273856103 h 1172"/>
                  <a:gd name="T44" fmla="*/ 147334649 w 943"/>
                  <a:gd name="T45" fmla="*/ 283646567 h 1172"/>
                  <a:gd name="T46" fmla="*/ 152657518 w 943"/>
                  <a:gd name="T47" fmla="*/ 286366141 h 1172"/>
                  <a:gd name="T48" fmla="*/ 153798133 w 943"/>
                  <a:gd name="T49" fmla="*/ 297516132 h 1172"/>
                  <a:gd name="T50" fmla="*/ 136498372 w 943"/>
                  <a:gd name="T51" fmla="*/ 303226976 h 1172"/>
                  <a:gd name="T52" fmla="*/ 130604759 w 943"/>
                  <a:gd name="T53" fmla="*/ 314649185 h 1172"/>
                  <a:gd name="T54" fmla="*/ 113685203 w 943"/>
                  <a:gd name="T55" fmla="*/ 318184369 h 1172"/>
                  <a:gd name="T56" fmla="*/ 97906262 w 943"/>
                  <a:gd name="T57" fmla="*/ 314920881 h 1172"/>
                  <a:gd name="T58" fmla="*/ 88210600 w 943"/>
                  <a:gd name="T59" fmla="*/ 305402634 h 1172"/>
                  <a:gd name="T60" fmla="*/ 74142581 w 943"/>
                  <a:gd name="T61" fmla="*/ 305946549 h 1172"/>
                  <a:gd name="T62" fmla="*/ 60644869 w 943"/>
                  <a:gd name="T63" fmla="*/ 304586502 h 1172"/>
                  <a:gd name="T64" fmla="*/ 56462179 w 943"/>
                  <a:gd name="T65" fmla="*/ 300235705 h 1172"/>
                  <a:gd name="T66" fmla="*/ 55891871 w 943"/>
                  <a:gd name="T67" fmla="*/ 292348681 h 1172"/>
                  <a:gd name="T68" fmla="*/ 52089822 w 943"/>
                  <a:gd name="T69" fmla="*/ 279839165 h 1172"/>
                  <a:gd name="T70" fmla="*/ 41063442 w 943"/>
                  <a:gd name="T71" fmla="*/ 264881771 h 1172"/>
                  <a:gd name="T72" fmla="*/ 36691085 w 943"/>
                  <a:gd name="T73" fmla="*/ 251556121 h 1172"/>
                  <a:gd name="T74" fmla="*/ 28896448 w 943"/>
                  <a:gd name="T75" fmla="*/ 245573059 h 1172"/>
                  <a:gd name="T76" fmla="*/ 22813169 w 943"/>
                  <a:gd name="T77" fmla="*/ 230071751 h 1172"/>
                  <a:gd name="T78" fmla="*/ 18440376 w 943"/>
                  <a:gd name="T79" fmla="*/ 214298746 h 1172"/>
                  <a:gd name="T80" fmla="*/ 12357097 w 943"/>
                  <a:gd name="T81" fmla="*/ 206140025 h 1172"/>
                  <a:gd name="T82" fmla="*/ 6273382 w 943"/>
                  <a:gd name="T83" fmla="*/ 183840043 h 1172"/>
                  <a:gd name="T84" fmla="*/ 760410 w 943"/>
                  <a:gd name="T85" fmla="*/ 166163076 h 1172"/>
                  <a:gd name="T86" fmla="*/ 3421845 w 943"/>
                  <a:gd name="T87" fmla="*/ 156916526 h 1172"/>
                  <a:gd name="T88" fmla="*/ 5512972 w 943"/>
                  <a:gd name="T89" fmla="*/ 141687435 h 1172"/>
                  <a:gd name="T90" fmla="*/ 12166994 w 943"/>
                  <a:gd name="T91" fmla="*/ 128905700 h 1172"/>
                  <a:gd name="T92" fmla="*/ 21482451 w 943"/>
                  <a:gd name="T93" fmla="*/ 60373490 h 1172"/>
                  <a:gd name="T94" fmla="*/ 23383476 w 943"/>
                  <a:gd name="T95" fmla="*/ 48679584 h 1172"/>
                  <a:gd name="T96" fmla="*/ 29086550 w 943"/>
                  <a:gd name="T97" fmla="*/ 46503926 h 1172"/>
                  <a:gd name="T98" fmla="*/ 30417268 w 943"/>
                  <a:gd name="T99" fmla="*/ 33178276 h 1172"/>
                  <a:gd name="T100" fmla="*/ 30227165 w 943"/>
                  <a:gd name="T101" fmla="*/ 18220882 h 1172"/>
                  <a:gd name="T102" fmla="*/ 129083939 w 943"/>
                  <a:gd name="T103" fmla="*/ 18764797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21" name="Freeform 356">
                <a:extLst>
                  <a:ext uri="{FF2B5EF4-FFF2-40B4-BE49-F238E27FC236}">
                    <a16:creationId xmlns:a16="http://schemas.microsoft.com/office/drawing/2014/main" id="{ED60F1A0-8415-4775-AD30-D8FE80217FBF}"/>
                  </a:ext>
                </a:extLst>
              </p:cNvPr>
              <p:cNvSpPr>
                <a:spLocks/>
              </p:cNvSpPr>
              <p:nvPr>
                <p:custDataLst>
                  <p:tags r:id="rId259"/>
                </p:custDataLst>
              </p:nvPr>
            </p:nvSpPr>
            <p:spPr bwMode="auto">
              <a:xfrm>
                <a:off x="5253056" y="4071121"/>
                <a:ext cx="295001" cy="485200"/>
              </a:xfrm>
              <a:custGeom>
                <a:avLst/>
                <a:gdLst>
                  <a:gd name="T0" fmla="*/ 18947252 w 556"/>
                  <a:gd name="T1" fmla="*/ 17234040 h 819"/>
                  <a:gd name="T2" fmla="*/ 21654065 w 556"/>
                  <a:gd name="T3" fmla="*/ 15566416 h 819"/>
                  <a:gd name="T4" fmla="*/ 24940847 w 556"/>
                  <a:gd name="T5" fmla="*/ 19180039 h 819"/>
                  <a:gd name="T6" fmla="*/ 28807597 w 556"/>
                  <a:gd name="T7" fmla="*/ 23627210 h 819"/>
                  <a:gd name="T8" fmla="*/ 33060847 w 556"/>
                  <a:gd name="T9" fmla="*/ 25573210 h 819"/>
                  <a:gd name="T10" fmla="*/ 41567785 w 556"/>
                  <a:gd name="T11" fmla="*/ 24461285 h 819"/>
                  <a:gd name="T12" fmla="*/ 49688225 w 556"/>
                  <a:gd name="T13" fmla="*/ 22793662 h 819"/>
                  <a:gd name="T14" fmla="*/ 56261788 w 556"/>
                  <a:gd name="T15" fmla="*/ 21959587 h 819"/>
                  <a:gd name="T16" fmla="*/ 58195163 w 556"/>
                  <a:gd name="T17" fmla="*/ 20569813 h 819"/>
                  <a:gd name="T18" fmla="*/ 58195163 w 556"/>
                  <a:gd name="T19" fmla="*/ 18902190 h 819"/>
                  <a:gd name="T20" fmla="*/ 68635477 w 556"/>
                  <a:gd name="T21" fmla="*/ 17511889 h 819"/>
                  <a:gd name="T22" fmla="*/ 83909008 w 556"/>
                  <a:gd name="T23" fmla="*/ 12508492 h 819"/>
                  <a:gd name="T24" fmla="*/ 92609416 w 556"/>
                  <a:gd name="T25" fmla="*/ 7782945 h 819"/>
                  <a:gd name="T26" fmla="*/ 99376010 w 556"/>
                  <a:gd name="T27" fmla="*/ 2223849 h 819"/>
                  <a:gd name="T28" fmla="*/ 105756543 w 556"/>
                  <a:gd name="T29" fmla="*/ 8617020 h 819"/>
                  <a:gd name="T30" fmla="*/ 107302980 w 556"/>
                  <a:gd name="T31" fmla="*/ 15844266 h 819"/>
                  <a:gd name="T32" fmla="*/ 106723011 w 556"/>
                  <a:gd name="T33" fmla="*/ 31410682 h 819"/>
                  <a:gd name="T34" fmla="*/ 102856261 w 556"/>
                  <a:gd name="T35" fmla="*/ 48366872 h 819"/>
                  <a:gd name="T36" fmla="*/ 97056135 w 556"/>
                  <a:gd name="T37" fmla="*/ 64211138 h 819"/>
                  <a:gd name="T38" fmla="*/ 86422352 w 556"/>
                  <a:gd name="T39" fmla="*/ 89228122 h 819"/>
                  <a:gd name="T40" fmla="*/ 81782164 w 556"/>
                  <a:gd name="T41" fmla="*/ 104238840 h 819"/>
                  <a:gd name="T42" fmla="*/ 79268820 w 556"/>
                  <a:gd name="T43" fmla="*/ 115357558 h 819"/>
                  <a:gd name="T44" fmla="*/ 73275665 w 556"/>
                  <a:gd name="T45" fmla="*/ 131479673 h 819"/>
                  <a:gd name="T46" fmla="*/ 63801819 w 556"/>
                  <a:gd name="T47" fmla="*/ 147601788 h 819"/>
                  <a:gd name="T48" fmla="*/ 55681819 w 556"/>
                  <a:gd name="T49" fmla="*/ 157330732 h 819"/>
                  <a:gd name="T50" fmla="*/ 46207974 w 556"/>
                  <a:gd name="T51" fmla="*/ 166781827 h 819"/>
                  <a:gd name="T52" fmla="*/ 32480878 w 556"/>
                  <a:gd name="T53" fmla="*/ 180958470 h 819"/>
                  <a:gd name="T54" fmla="*/ 27647660 w 556"/>
                  <a:gd name="T55" fmla="*/ 189019264 h 819"/>
                  <a:gd name="T56" fmla="*/ 25327346 w 556"/>
                  <a:gd name="T57" fmla="*/ 194578886 h 819"/>
                  <a:gd name="T58" fmla="*/ 22427503 w 556"/>
                  <a:gd name="T59" fmla="*/ 199304434 h 819"/>
                  <a:gd name="T60" fmla="*/ 13727095 w 556"/>
                  <a:gd name="T61" fmla="*/ 207087379 h 819"/>
                  <a:gd name="T62" fmla="*/ 3673281 w 556"/>
                  <a:gd name="T63" fmla="*/ 222653795 h 819"/>
                  <a:gd name="T64" fmla="*/ 386499 w 556"/>
                  <a:gd name="T65" fmla="*/ 156775034 h 819"/>
                  <a:gd name="T66" fmla="*/ 579969 w 556"/>
                  <a:gd name="T67" fmla="*/ 153994959 h 819"/>
                  <a:gd name="T68" fmla="*/ 5220157 w 556"/>
                  <a:gd name="T69" fmla="*/ 148158014 h 819"/>
                  <a:gd name="T70" fmla="*/ 8120439 w 556"/>
                  <a:gd name="T71" fmla="*/ 143432466 h 819"/>
                  <a:gd name="T72" fmla="*/ 11600251 w 556"/>
                  <a:gd name="T73" fmla="*/ 138150693 h 819"/>
                  <a:gd name="T74" fmla="*/ 21460596 w 556"/>
                  <a:gd name="T75" fmla="*/ 133425673 h 819"/>
                  <a:gd name="T76" fmla="*/ 23007472 w 556"/>
                  <a:gd name="T77" fmla="*/ 130645598 h 819"/>
                  <a:gd name="T78" fmla="*/ 24940847 w 556"/>
                  <a:gd name="T79" fmla="*/ 125642201 h 819"/>
                  <a:gd name="T80" fmla="*/ 29387566 w 556"/>
                  <a:gd name="T81" fmla="*/ 122306427 h 819"/>
                  <a:gd name="T82" fmla="*/ 33640815 w 556"/>
                  <a:gd name="T83" fmla="*/ 122028578 h 819"/>
                  <a:gd name="T84" fmla="*/ 37894504 w 556"/>
                  <a:gd name="T85" fmla="*/ 122028578 h 819"/>
                  <a:gd name="T86" fmla="*/ 44081129 w 556"/>
                  <a:gd name="T87" fmla="*/ 119249030 h 819"/>
                  <a:gd name="T88" fmla="*/ 48528288 w 556"/>
                  <a:gd name="T89" fmla="*/ 112577483 h 819"/>
                  <a:gd name="T90" fmla="*/ 51234661 w 556"/>
                  <a:gd name="T91" fmla="*/ 105350764 h 819"/>
                  <a:gd name="T92" fmla="*/ 57228256 w 556"/>
                  <a:gd name="T93" fmla="*/ 96455368 h 819"/>
                  <a:gd name="T94" fmla="*/ 68442007 w 556"/>
                  <a:gd name="T95" fmla="*/ 81445178 h 819"/>
                  <a:gd name="T96" fmla="*/ 72888726 w 556"/>
                  <a:gd name="T97" fmla="*/ 73940082 h 819"/>
                  <a:gd name="T98" fmla="*/ 62641882 w 556"/>
                  <a:gd name="T99" fmla="*/ 68380460 h 819"/>
                  <a:gd name="T100" fmla="*/ 49688225 w 556"/>
                  <a:gd name="T101" fmla="*/ 63377063 h 819"/>
                  <a:gd name="T102" fmla="*/ 35574190 w 556"/>
                  <a:gd name="T103" fmla="*/ 58095817 h 819"/>
                  <a:gd name="T104" fmla="*/ 28807597 w 556"/>
                  <a:gd name="T105" fmla="*/ 51980495 h 819"/>
                  <a:gd name="T106" fmla="*/ 21654065 w 556"/>
                  <a:gd name="T107" fmla="*/ 42807250 h 819"/>
                  <a:gd name="T108" fmla="*/ 17207346 w 556"/>
                  <a:gd name="T109" fmla="*/ 33634531 h 819"/>
                  <a:gd name="T110" fmla="*/ 14887033 w 556"/>
                  <a:gd name="T111" fmla="*/ 22237436 h 819"/>
                  <a:gd name="T112" fmla="*/ 12567158 w 556"/>
                  <a:gd name="T113" fmla="*/ 24183436 h 819"/>
                  <a:gd name="T114" fmla="*/ 16240439 w 556"/>
                  <a:gd name="T115" fmla="*/ 18902190 h 819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556" h="819">
                    <a:moveTo>
                      <a:pt x="84" y="68"/>
                    </a:moveTo>
                    <a:lnTo>
                      <a:pt x="90" y="66"/>
                    </a:lnTo>
                    <a:lnTo>
                      <a:pt x="98" y="62"/>
                    </a:lnTo>
                    <a:lnTo>
                      <a:pt x="103" y="59"/>
                    </a:lnTo>
                    <a:lnTo>
                      <a:pt x="108" y="58"/>
                    </a:lnTo>
                    <a:lnTo>
                      <a:pt x="112" y="56"/>
                    </a:lnTo>
                    <a:lnTo>
                      <a:pt x="118" y="56"/>
                    </a:lnTo>
                    <a:lnTo>
                      <a:pt x="122" y="62"/>
                    </a:lnTo>
                    <a:lnTo>
                      <a:pt x="129" y="69"/>
                    </a:lnTo>
                    <a:lnTo>
                      <a:pt x="134" y="75"/>
                    </a:lnTo>
                    <a:lnTo>
                      <a:pt x="141" y="81"/>
                    </a:lnTo>
                    <a:lnTo>
                      <a:pt x="149" y="85"/>
                    </a:lnTo>
                    <a:lnTo>
                      <a:pt x="155" y="89"/>
                    </a:lnTo>
                    <a:lnTo>
                      <a:pt x="163" y="91"/>
                    </a:lnTo>
                    <a:lnTo>
                      <a:pt x="171" y="92"/>
                    </a:lnTo>
                    <a:lnTo>
                      <a:pt x="186" y="91"/>
                    </a:lnTo>
                    <a:lnTo>
                      <a:pt x="200" y="90"/>
                    </a:lnTo>
                    <a:lnTo>
                      <a:pt x="215" y="88"/>
                    </a:lnTo>
                    <a:lnTo>
                      <a:pt x="230" y="86"/>
                    </a:lnTo>
                    <a:lnTo>
                      <a:pt x="244" y="84"/>
                    </a:lnTo>
                    <a:lnTo>
                      <a:pt x="257" y="82"/>
                    </a:lnTo>
                    <a:lnTo>
                      <a:pt x="271" y="80"/>
                    </a:lnTo>
                    <a:lnTo>
                      <a:pt x="284" y="80"/>
                    </a:lnTo>
                    <a:lnTo>
                      <a:pt x="291" y="79"/>
                    </a:lnTo>
                    <a:lnTo>
                      <a:pt x="297" y="78"/>
                    </a:lnTo>
                    <a:lnTo>
                      <a:pt x="300" y="76"/>
                    </a:lnTo>
                    <a:lnTo>
                      <a:pt x="301" y="74"/>
                    </a:lnTo>
                    <a:lnTo>
                      <a:pt x="301" y="72"/>
                    </a:lnTo>
                    <a:lnTo>
                      <a:pt x="301" y="70"/>
                    </a:lnTo>
                    <a:lnTo>
                      <a:pt x="301" y="68"/>
                    </a:lnTo>
                    <a:lnTo>
                      <a:pt x="303" y="68"/>
                    </a:lnTo>
                    <a:lnTo>
                      <a:pt x="327" y="67"/>
                    </a:lnTo>
                    <a:lnTo>
                      <a:pt x="355" y="63"/>
                    </a:lnTo>
                    <a:lnTo>
                      <a:pt x="386" y="58"/>
                    </a:lnTo>
                    <a:lnTo>
                      <a:pt x="418" y="50"/>
                    </a:lnTo>
                    <a:lnTo>
                      <a:pt x="434" y="45"/>
                    </a:lnTo>
                    <a:lnTo>
                      <a:pt x="450" y="40"/>
                    </a:lnTo>
                    <a:lnTo>
                      <a:pt x="465" y="34"/>
                    </a:lnTo>
                    <a:lnTo>
                      <a:pt x="479" y="28"/>
                    </a:lnTo>
                    <a:lnTo>
                      <a:pt x="492" y="22"/>
                    </a:lnTo>
                    <a:lnTo>
                      <a:pt x="504" y="15"/>
                    </a:lnTo>
                    <a:lnTo>
                      <a:pt x="514" y="8"/>
                    </a:lnTo>
                    <a:lnTo>
                      <a:pt x="523" y="0"/>
                    </a:lnTo>
                    <a:lnTo>
                      <a:pt x="536" y="17"/>
                    </a:lnTo>
                    <a:lnTo>
                      <a:pt x="547" y="31"/>
                    </a:lnTo>
                    <a:lnTo>
                      <a:pt x="551" y="39"/>
                    </a:lnTo>
                    <a:lnTo>
                      <a:pt x="554" y="48"/>
                    </a:lnTo>
                    <a:lnTo>
                      <a:pt x="555" y="57"/>
                    </a:lnTo>
                    <a:lnTo>
                      <a:pt x="556" y="68"/>
                    </a:lnTo>
                    <a:lnTo>
                      <a:pt x="555" y="90"/>
                    </a:lnTo>
                    <a:lnTo>
                      <a:pt x="552" y="113"/>
                    </a:lnTo>
                    <a:lnTo>
                      <a:pt x="546" y="133"/>
                    </a:lnTo>
                    <a:lnTo>
                      <a:pt x="540" y="153"/>
                    </a:lnTo>
                    <a:lnTo>
                      <a:pt x="532" y="174"/>
                    </a:lnTo>
                    <a:lnTo>
                      <a:pt x="523" y="193"/>
                    </a:lnTo>
                    <a:lnTo>
                      <a:pt x="512" y="212"/>
                    </a:lnTo>
                    <a:lnTo>
                      <a:pt x="502" y="231"/>
                    </a:lnTo>
                    <a:lnTo>
                      <a:pt x="479" y="267"/>
                    </a:lnTo>
                    <a:lnTo>
                      <a:pt x="458" y="303"/>
                    </a:lnTo>
                    <a:lnTo>
                      <a:pt x="447" y="321"/>
                    </a:lnTo>
                    <a:lnTo>
                      <a:pt x="439" y="339"/>
                    </a:lnTo>
                    <a:lnTo>
                      <a:pt x="430" y="357"/>
                    </a:lnTo>
                    <a:lnTo>
                      <a:pt x="423" y="375"/>
                    </a:lnTo>
                    <a:lnTo>
                      <a:pt x="419" y="390"/>
                    </a:lnTo>
                    <a:lnTo>
                      <a:pt x="414" y="403"/>
                    </a:lnTo>
                    <a:lnTo>
                      <a:pt x="410" y="415"/>
                    </a:lnTo>
                    <a:lnTo>
                      <a:pt x="404" y="427"/>
                    </a:lnTo>
                    <a:lnTo>
                      <a:pt x="392" y="452"/>
                    </a:lnTo>
                    <a:lnTo>
                      <a:pt x="379" y="473"/>
                    </a:lnTo>
                    <a:lnTo>
                      <a:pt x="364" y="495"/>
                    </a:lnTo>
                    <a:lnTo>
                      <a:pt x="347" y="514"/>
                    </a:lnTo>
                    <a:lnTo>
                      <a:pt x="330" y="531"/>
                    </a:lnTo>
                    <a:lnTo>
                      <a:pt x="310" y="549"/>
                    </a:lnTo>
                    <a:lnTo>
                      <a:pt x="300" y="558"/>
                    </a:lnTo>
                    <a:lnTo>
                      <a:pt x="288" y="566"/>
                    </a:lnTo>
                    <a:lnTo>
                      <a:pt x="277" y="575"/>
                    </a:lnTo>
                    <a:lnTo>
                      <a:pt x="264" y="583"/>
                    </a:lnTo>
                    <a:lnTo>
                      <a:pt x="239" y="600"/>
                    </a:lnTo>
                    <a:lnTo>
                      <a:pt x="213" y="617"/>
                    </a:lnTo>
                    <a:lnTo>
                      <a:pt x="189" y="634"/>
                    </a:lnTo>
                    <a:lnTo>
                      <a:pt x="168" y="651"/>
                    </a:lnTo>
                    <a:lnTo>
                      <a:pt x="159" y="661"/>
                    </a:lnTo>
                    <a:lnTo>
                      <a:pt x="150" y="670"/>
                    </a:lnTo>
                    <a:lnTo>
                      <a:pt x="143" y="680"/>
                    </a:lnTo>
                    <a:lnTo>
                      <a:pt x="138" y="690"/>
                    </a:lnTo>
                    <a:lnTo>
                      <a:pt x="134" y="695"/>
                    </a:lnTo>
                    <a:lnTo>
                      <a:pt x="131" y="700"/>
                    </a:lnTo>
                    <a:lnTo>
                      <a:pt x="128" y="705"/>
                    </a:lnTo>
                    <a:lnTo>
                      <a:pt x="125" y="709"/>
                    </a:lnTo>
                    <a:lnTo>
                      <a:pt x="116" y="717"/>
                    </a:lnTo>
                    <a:lnTo>
                      <a:pt x="107" y="723"/>
                    </a:lnTo>
                    <a:lnTo>
                      <a:pt x="88" y="733"/>
                    </a:lnTo>
                    <a:lnTo>
                      <a:pt x="71" y="745"/>
                    </a:lnTo>
                    <a:lnTo>
                      <a:pt x="52" y="763"/>
                    </a:lnTo>
                    <a:lnTo>
                      <a:pt x="36" y="783"/>
                    </a:lnTo>
                    <a:lnTo>
                      <a:pt x="19" y="801"/>
                    </a:lnTo>
                    <a:lnTo>
                      <a:pt x="5" y="819"/>
                    </a:lnTo>
                    <a:lnTo>
                      <a:pt x="5" y="567"/>
                    </a:lnTo>
                    <a:lnTo>
                      <a:pt x="2" y="564"/>
                    </a:lnTo>
                    <a:lnTo>
                      <a:pt x="0" y="560"/>
                    </a:lnTo>
                    <a:lnTo>
                      <a:pt x="0" y="557"/>
                    </a:lnTo>
                    <a:lnTo>
                      <a:pt x="3" y="554"/>
                    </a:lnTo>
                    <a:lnTo>
                      <a:pt x="8" y="547"/>
                    </a:lnTo>
                    <a:lnTo>
                      <a:pt x="17" y="540"/>
                    </a:lnTo>
                    <a:lnTo>
                      <a:pt x="27" y="533"/>
                    </a:lnTo>
                    <a:lnTo>
                      <a:pt x="36" y="525"/>
                    </a:lnTo>
                    <a:lnTo>
                      <a:pt x="39" y="521"/>
                    </a:lnTo>
                    <a:lnTo>
                      <a:pt x="42" y="516"/>
                    </a:lnTo>
                    <a:lnTo>
                      <a:pt x="43" y="511"/>
                    </a:lnTo>
                    <a:lnTo>
                      <a:pt x="44" y="505"/>
                    </a:lnTo>
                    <a:lnTo>
                      <a:pt x="60" y="497"/>
                    </a:lnTo>
                    <a:lnTo>
                      <a:pt x="75" y="490"/>
                    </a:lnTo>
                    <a:lnTo>
                      <a:pt x="92" y="485"/>
                    </a:lnTo>
                    <a:lnTo>
                      <a:pt x="111" y="480"/>
                    </a:lnTo>
                    <a:lnTo>
                      <a:pt x="114" y="479"/>
                    </a:lnTo>
                    <a:lnTo>
                      <a:pt x="116" y="475"/>
                    </a:lnTo>
                    <a:lnTo>
                      <a:pt x="119" y="470"/>
                    </a:lnTo>
                    <a:lnTo>
                      <a:pt x="121" y="464"/>
                    </a:lnTo>
                    <a:lnTo>
                      <a:pt x="125" y="458"/>
                    </a:lnTo>
                    <a:lnTo>
                      <a:pt x="129" y="452"/>
                    </a:lnTo>
                    <a:lnTo>
                      <a:pt x="132" y="447"/>
                    </a:lnTo>
                    <a:lnTo>
                      <a:pt x="138" y="444"/>
                    </a:lnTo>
                    <a:lnTo>
                      <a:pt x="152" y="440"/>
                    </a:lnTo>
                    <a:lnTo>
                      <a:pt x="162" y="439"/>
                    </a:lnTo>
                    <a:lnTo>
                      <a:pt x="168" y="438"/>
                    </a:lnTo>
                    <a:lnTo>
                      <a:pt x="174" y="439"/>
                    </a:lnTo>
                    <a:lnTo>
                      <a:pt x="179" y="439"/>
                    </a:lnTo>
                    <a:lnTo>
                      <a:pt x="186" y="440"/>
                    </a:lnTo>
                    <a:lnTo>
                      <a:pt x="196" y="439"/>
                    </a:lnTo>
                    <a:lnTo>
                      <a:pt x="210" y="438"/>
                    </a:lnTo>
                    <a:lnTo>
                      <a:pt x="220" y="434"/>
                    </a:lnTo>
                    <a:lnTo>
                      <a:pt x="228" y="429"/>
                    </a:lnTo>
                    <a:lnTo>
                      <a:pt x="235" y="424"/>
                    </a:lnTo>
                    <a:lnTo>
                      <a:pt x="241" y="418"/>
                    </a:lnTo>
                    <a:lnTo>
                      <a:pt x="251" y="405"/>
                    </a:lnTo>
                    <a:lnTo>
                      <a:pt x="257" y="394"/>
                    </a:lnTo>
                    <a:lnTo>
                      <a:pt x="261" y="387"/>
                    </a:lnTo>
                    <a:lnTo>
                      <a:pt x="265" y="379"/>
                    </a:lnTo>
                    <a:lnTo>
                      <a:pt x="272" y="371"/>
                    </a:lnTo>
                    <a:lnTo>
                      <a:pt x="278" y="363"/>
                    </a:lnTo>
                    <a:lnTo>
                      <a:pt x="296" y="347"/>
                    </a:lnTo>
                    <a:lnTo>
                      <a:pt x="316" y="329"/>
                    </a:lnTo>
                    <a:lnTo>
                      <a:pt x="335" y="310"/>
                    </a:lnTo>
                    <a:lnTo>
                      <a:pt x="354" y="293"/>
                    </a:lnTo>
                    <a:lnTo>
                      <a:pt x="363" y="284"/>
                    </a:lnTo>
                    <a:lnTo>
                      <a:pt x="370" y="276"/>
                    </a:lnTo>
                    <a:lnTo>
                      <a:pt x="377" y="266"/>
                    </a:lnTo>
                    <a:lnTo>
                      <a:pt x="384" y="258"/>
                    </a:lnTo>
                    <a:lnTo>
                      <a:pt x="351" y="252"/>
                    </a:lnTo>
                    <a:lnTo>
                      <a:pt x="324" y="246"/>
                    </a:lnTo>
                    <a:lnTo>
                      <a:pt x="300" y="240"/>
                    </a:lnTo>
                    <a:lnTo>
                      <a:pt x="278" y="234"/>
                    </a:lnTo>
                    <a:lnTo>
                      <a:pt x="257" y="228"/>
                    </a:lnTo>
                    <a:lnTo>
                      <a:pt x="235" y="223"/>
                    </a:lnTo>
                    <a:lnTo>
                      <a:pt x="211" y="216"/>
                    </a:lnTo>
                    <a:lnTo>
                      <a:pt x="184" y="209"/>
                    </a:lnTo>
                    <a:lnTo>
                      <a:pt x="177" y="205"/>
                    </a:lnTo>
                    <a:lnTo>
                      <a:pt x="165" y="198"/>
                    </a:lnTo>
                    <a:lnTo>
                      <a:pt x="149" y="187"/>
                    </a:lnTo>
                    <a:lnTo>
                      <a:pt x="131" y="173"/>
                    </a:lnTo>
                    <a:lnTo>
                      <a:pt x="121" y="164"/>
                    </a:lnTo>
                    <a:lnTo>
                      <a:pt x="112" y="154"/>
                    </a:lnTo>
                    <a:lnTo>
                      <a:pt x="104" y="144"/>
                    </a:lnTo>
                    <a:lnTo>
                      <a:pt x="96" y="133"/>
                    </a:lnTo>
                    <a:lnTo>
                      <a:pt x="89" y="121"/>
                    </a:lnTo>
                    <a:lnTo>
                      <a:pt x="84" y="109"/>
                    </a:lnTo>
                    <a:lnTo>
                      <a:pt x="79" y="94"/>
                    </a:lnTo>
                    <a:lnTo>
                      <a:pt x="77" y="80"/>
                    </a:lnTo>
                    <a:lnTo>
                      <a:pt x="69" y="86"/>
                    </a:lnTo>
                    <a:lnTo>
                      <a:pt x="64" y="88"/>
                    </a:lnTo>
                    <a:lnTo>
                      <a:pt x="65" y="87"/>
                    </a:lnTo>
                    <a:lnTo>
                      <a:pt x="69" y="83"/>
                    </a:lnTo>
                    <a:lnTo>
                      <a:pt x="78" y="73"/>
                    </a:lnTo>
                    <a:lnTo>
                      <a:pt x="84" y="68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22" name="Freeform 357">
                <a:extLst>
                  <a:ext uri="{FF2B5EF4-FFF2-40B4-BE49-F238E27FC236}">
                    <a16:creationId xmlns:a16="http://schemas.microsoft.com/office/drawing/2014/main" id="{2D81497D-3379-4DA2-A178-D7BBAD203CF3}"/>
                  </a:ext>
                </a:extLst>
              </p:cNvPr>
              <p:cNvSpPr>
                <a:spLocks/>
              </p:cNvSpPr>
              <p:nvPr>
                <p:custDataLst>
                  <p:tags r:id="rId260"/>
                </p:custDataLst>
              </p:nvPr>
            </p:nvSpPr>
            <p:spPr bwMode="auto">
              <a:xfrm>
                <a:off x="5263915" y="4057057"/>
                <a:ext cx="45245" cy="65046"/>
              </a:xfrm>
              <a:custGeom>
                <a:avLst/>
                <a:gdLst>
                  <a:gd name="T0" fmla="*/ 11579742 w 86"/>
                  <a:gd name="T1" fmla="*/ 0 h 97"/>
                  <a:gd name="T2" fmla="*/ 10990964 w 86"/>
                  <a:gd name="T3" fmla="*/ 733304 h 97"/>
                  <a:gd name="T4" fmla="*/ 10205927 w 86"/>
                  <a:gd name="T5" fmla="*/ 1100259 h 97"/>
                  <a:gd name="T6" fmla="*/ 9028371 w 86"/>
                  <a:gd name="T7" fmla="*/ 1100259 h 97"/>
                  <a:gd name="T8" fmla="*/ 7850815 w 86"/>
                  <a:gd name="T9" fmla="*/ 1100259 h 97"/>
                  <a:gd name="T10" fmla="*/ 6477000 w 86"/>
                  <a:gd name="T11" fmla="*/ 1100259 h 97"/>
                  <a:gd name="T12" fmla="*/ 5299444 w 86"/>
                  <a:gd name="T13" fmla="*/ 1100259 h 97"/>
                  <a:gd name="T14" fmla="*/ 4514407 w 86"/>
                  <a:gd name="T15" fmla="*/ 1466608 h 97"/>
                  <a:gd name="T16" fmla="*/ 3925186 w 86"/>
                  <a:gd name="T17" fmla="*/ 2199913 h 97"/>
                  <a:gd name="T18" fmla="*/ 3140149 w 86"/>
                  <a:gd name="T19" fmla="*/ 3300172 h 97"/>
                  <a:gd name="T20" fmla="*/ 2551371 w 86"/>
                  <a:gd name="T21" fmla="*/ 4399825 h 97"/>
                  <a:gd name="T22" fmla="*/ 2158852 w 86"/>
                  <a:gd name="T23" fmla="*/ 5500084 h 97"/>
                  <a:gd name="T24" fmla="*/ 1570074 w 86"/>
                  <a:gd name="T25" fmla="*/ 7333647 h 97"/>
                  <a:gd name="T26" fmla="*/ 785037 w 86"/>
                  <a:gd name="T27" fmla="*/ 10633819 h 97"/>
                  <a:gd name="T28" fmla="*/ 392519 w 86"/>
                  <a:gd name="T29" fmla="*/ 13933385 h 97"/>
                  <a:gd name="T30" fmla="*/ 0 w 86"/>
                  <a:gd name="T31" fmla="*/ 20900683 h 97"/>
                  <a:gd name="T32" fmla="*/ 0 w 86"/>
                  <a:gd name="T33" fmla="*/ 27500421 h 97"/>
                  <a:gd name="T34" fmla="*/ 0 w 86"/>
                  <a:gd name="T35" fmla="*/ 29700334 h 97"/>
                  <a:gd name="T36" fmla="*/ 196259 w 86"/>
                  <a:gd name="T37" fmla="*/ 31533897 h 97"/>
                  <a:gd name="T38" fmla="*/ 588778 w 86"/>
                  <a:gd name="T39" fmla="*/ 33000505 h 97"/>
                  <a:gd name="T40" fmla="*/ 1373815 w 86"/>
                  <a:gd name="T41" fmla="*/ 34100764 h 97"/>
                  <a:gd name="T42" fmla="*/ 1962593 w 86"/>
                  <a:gd name="T43" fmla="*/ 34834069 h 97"/>
                  <a:gd name="T44" fmla="*/ 2551371 w 86"/>
                  <a:gd name="T45" fmla="*/ 35200418 h 97"/>
                  <a:gd name="T46" fmla="*/ 3532667 w 86"/>
                  <a:gd name="T47" fmla="*/ 35567373 h 97"/>
                  <a:gd name="T48" fmla="*/ 4121445 w 86"/>
                  <a:gd name="T49" fmla="*/ 35567373 h 97"/>
                  <a:gd name="T50" fmla="*/ 7850815 w 86"/>
                  <a:gd name="T51" fmla="*/ 34834069 h 97"/>
                  <a:gd name="T52" fmla="*/ 10402186 w 86"/>
                  <a:gd name="T53" fmla="*/ 34100764 h 97"/>
                  <a:gd name="T54" fmla="*/ 16879186 w 86"/>
                  <a:gd name="T55" fmla="*/ 24933554 h 97"/>
                  <a:gd name="T56" fmla="*/ 11579742 w 86"/>
                  <a:gd name="T57" fmla="*/ 0 h 97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0" t="0" r="r" b="b"/>
                <a:pathLst>
                  <a:path w="86" h="97">
                    <a:moveTo>
                      <a:pt x="59" y="0"/>
                    </a:moveTo>
                    <a:lnTo>
                      <a:pt x="56" y="2"/>
                    </a:lnTo>
                    <a:lnTo>
                      <a:pt x="52" y="3"/>
                    </a:lnTo>
                    <a:lnTo>
                      <a:pt x="46" y="3"/>
                    </a:lnTo>
                    <a:lnTo>
                      <a:pt x="40" y="3"/>
                    </a:lnTo>
                    <a:lnTo>
                      <a:pt x="33" y="3"/>
                    </a:lnTo>
                    <a:lnTo>
                      <a:pt x="27" y="3"/>
                    </a:lnTo>
                    <a:lnTo>
                      <a:pt x="23" y="4"/>
                    </a:lnTo>
                    <a:lnTo>
                      <a:pt x="20" y="6"/>
                    </a:lnTo>
                    <a:lnTo>
                      <a:pt x="16" y="9"/>
                    </a:lnTo>
                    <a:lnTo>
                      <a:pt x="13" y="12"/>
                    </a:lnTo>
                    <a:lnTo>
                      <a:pt x="11" y="15"/>
                    </a:lnTo>
                    <a:lnTo>
                      <a:pt x="8" y="20"/>
                    </a:lnTo>
                    <a:lnTo>
                      <a:pt x="4" y="29"/>
                    </a:lnTo>
                    <a:lnTo>
                      <a:pt x="2" y="38"/>
                    </a:lnTo>
                    <a:lnTo>
                      <a:pt x="0" y="57"/>
                    </a:lnTo>
                    <a:lnTo>
                      <a:pt x="0" y="75"/>
                    </a:lnTo>
                    <a:lnTo>
                      <a:pt x="0" y="81"/>
                    </a:lnTo>
                    <a:lnTo>
                      <a:pt x="1" y="86"/>
                    </a:lnTo>
                    <a:lnTo>
                      <a:pt x="3" y="90"/>
                    </a:lnTo>
                    <a:lnTo>
                      <a:pt x="7" y="93"/>
                    </a:lnTo>
                    <a:lnTo>
                      <a:pt x="10" y="95"/>
                    </a:lnTo>
                    <a:lnTo>
                      <a:pt x="13" y="96"/>
                    </a:lnTo>
                    <a:lnTo>
                      <a:pt x="18" y="97"/>
                    </a:lnTo>
                    <a:lnTo>
                      <a:pt x="21" y="97"/>
                    </a:lnTo>
                    <a:lnTo>
                      <a:pt x="40" y="95"/>
                    </a:lnTo>
                    <a:lnTo>
                      <a:pt x="53" y="93"/>
                    </a:lnTo>
                    <a:lnTo>
                      <a:pt x="86" y="68"/>
                    </a:lnTo>
                    <a:lnTo>
                      <a:pt x="59" y="0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23" name="Freeform 358">
                <a:extLst>
                  <a:ext uri="{FF2B5EF4-FFF2-40B4-BE49-F238E27FC236}">
                    <a16:creationId xmlns:a16="http://schemas.microsoft.com/office/drawing/2014/main" id="{0E388788-DE4C-47F3-B910-C50D3F82616A}"/>
                  </a:ext>
                </a:extLst>
              </p:cNvPr>
              <p:cNvSpPr>
                <a:spLocks/>
              </p:cNvSpPr>
              <p:nvPr>
                <p:custDataLst>
                  <p:tags r:id="rId261"/>
                </p:custDataLst>
              </p:nvPr>
            </p:nvSpPr>
            <p:spPr bwMode="auto">
              <a:xfrm>
                <a:off x="5028637" y="3965643"/>
                <a:ext cx="437978" cy="423672"/>
              </a:xfrm>
              <a:custGeom>
                <a:avLst/>
                <a:gdLst>
                  <a:gd name="T0" fmla="*/ 33686421 w 845"/>
                  <a:gd name="T1" fmla="*/ 9830237 h 720"/>
                  <a:gd name="T2" fmla="*/ 37943902 w 845"/>
                  <a:gd name="T3" fmla="*/ 7645449 h 720"/>
                  <a:gd name="T4" fmla="*/ 45717592 w 845"/>
                  <a:gd name="T5" fmla="*/ 0 h 720"/>
                  <a:gd name="T6" fmla="*/ 50530061 w 845"/>
                  <a:gd name="T7" fmla="*/ 3276920 h 720"/>
                  <a:gd name="T8" fmla="*/ 60524990 w 845"/>
                  <a:gd name="T9" fmla="*/ 10103009 h 720"/>
                  <a:gd name="T10" fmla="*/ 70334923 w 845"/>
                  <a:gd name="T11" fmla="*/ 18295047 h 720"/>
                  <a:gd name="T12" fmla="*/ 78849026 w 845"/>
                  <a:gd name="T13" fmla="*/ 26759857 h 720"/>
                  <a:gd name="T14" fmla="*/ 81810247 w 845"/>
                  <a:gd name="T15" fmla="*/ 34132534 h 720"/>
                  <a:gd name="T16" fmla="*/ 81995673 w 845"/>
                  <a:gd name="T17" fmla="*/ 38228292 h 720"/>
                  <a:gd name="T18" fmla="*/ 84771899 w 845"/>
                  <a:gd name="T19" fmla="*/ 40139785 h 720"/>
                  <a:gd name="T20" fmla="*/ 92360593 w 845"/>
                  <a:gd name="T21" fmla="*/ 48604595 h 720"/>
                  <a:gd name="T22" fmla="*/ 93656423 w 845"/>
                  <a:gd name="T23" fmla="*/ 46966396 h 720"/>
                  <a:gd name="T24" fmla="*/ 90324781 w 845"/>
                  <a:gd name="T25" fmla="*/ 50242793 h 720"/>
                  <a:gd name="T26" fmla="*/ 89028950 w 845"/>
                  <a:gd name="T27" fmla="*/ 55157912 h 720"/>
                  <a:gd name="T28" fmla="*/ 89028950 w 845"/>
                  <a:gd name="T29" fmla="*/ 68811135 h 720"/>
                  <a:gd name="T30" fmla="*/ 91250189 w 845"/>
                  <a:gd name="T31" fmla="*/ 72088054 h 720"/>
                  <a:gd name="T32" fmla="*/ 97358058 w 845"/>
                  <a:gd name="T33" fmla="*/ 72360826 h 720"/>
                  <a:gd name="T34" fmla="*/ 100874696 w 845"/>
                  <a:gd name="T35" fmla="*/ 87106181 h 720"/>
                  <a:gd name="T36" fmla="*/ 107908404 w 845"/>
                  <a:gd name="T37" fmla="*/ 98574617 h 720"/>
                  <a:gd name="T38" fmla="*/ 119384158 w 845"/>
                  <a:gd name="T39" fmla="*/ 109224214 h 720"/>
                  <a:gd name="T40" fmla="*/ 136597360 w 845"/>
                  <a:gd name="T41" fmla="*/ 117415729 h 720"/>
                  <a:gd name="T42" fmla="*/ 156402222 w 845"/>
                  <a:gd name="T43" fmla="*/ 122604142 h 720"/>
                  <a:gd name="T44" fmla="*/ 150108927 w 845"/>
                  <a:gd name="T45" fmla="*/ 131615018 h 720"/>
                  <a:gd name="T46" fmla="*/ 135301960 w 845"/>
                  <a:gd name="T47" fmla="*/ 149363999 h 720"/>
                  <a:gd name="T48" fmla="*/ 131784891 w 845"/>
                  <a:gd name="T49" fmla="*/ 158101581 h 720"/>
                  <a:gd name="T50" fmla="*/ 129008666 w 845"/>
                  <a:gd name="T51" fmla="*/ 168477883 h 720"/>
                  <a:gd name="T52" fmla="*/ 124751614 w 845"/>
                  <a:gd name="T53" fmla="*/ 171754803 h 720"/>
                  <a:gd name="T54" fmla="*/ 107352987 w 845"/>
                  <a:gd name="T55" fmla="*/ 178854186 h 720"/>
                  <a:gd name="T56" fmla="*/ 103465926 w 845"/>
                  <a:gd name="T57" fmla="*/ 183223239 h 720"/>
                  <a:gd name="T58" fmla="*/ 97173062 w 845"/>
                  <a:gd name="T59" fmla="*/ 185953570 h 720"/>
                  <a:gd name="T60" fmla="*/ 89213946 w 845"/>
                  <a:gd name="T61" fmla="*/ 189230489 h 720"/>
                  <a:gd name="T62" fmla="*/ 85327316 w 845"/>
                  <a:gd name="T63" fmla="*/ 185680798 h 720"/>
                  <a:gd name="T64" fmla="*/ 79034022 w 845"/>
                  <a:gd name="T65" fmla="*/ 185407503 h 720"/>
                  <a:gd name="T66" fmla="*/ 74961966 w 845"/>
                  <a:gd name="T67" fmla="*/ 190868688 h 720"/>
                  <a:gd name="T68" fmla="*/ 72185740 w 845"/>
                  <a:gd name="T69" fmla="*/ 194964968 h 720"/>
                  <a:gd name="T70" fmla="*/ 66632859 w 845"/>
                  <a:gd name="T71" fmla="*/ 196603167 h 720"/>
                  <a:gd name="T72" fmla="*/ 58859168 w 845"/>
                  <a:gd name="T73" fmla="*/ 194964968 h 720"/>
                  <a:gd name="T74" fmla="*/ 53491282 w 845"/>
                  <a:gd name="T75" fmla="*/ 190595916 h 720"/>
                  <a:gd name="T76" fmla="*/ 45532597 w 845"/>
                  <a:gd name="T77" fmla="*/ 183223239 h 720"/>
                  <a:gd name="T78" fmla="*/ 33501425 w 845"/>
                  <a:gd name="T79" fmla="*/ 180492385 h 720"/>
                  <a:gd name="T80" fmla="*/ 25912731 w 845"/>
                  <a:gd name="T81" fmla="*/ 178308120 h 720"/>
                  <a:gd name="T82" fmla="*/ 27948974 w 845"/>
                  <a:gd name="T83" fmla="*/ 167659045 h 720"/>
                  <a:gd name="T84" fmla="*/ 23506496 w 845"/>
                  <a:gd name="T85" fmla="*/ 162743927 h 720"/>
                  <a:gd name="T86" fmla="*/ 19989858 w 845"/>
                  <a:gd name="T87" fmla="*/ 159193713 h 720"/>
                  <a:gd name="T88" fmla="*/ 17213632 w 845"/>
                  <a:gd name="T89" fmla="*/ 150456131 h 720"/>
                  <a:gd name="T90" fmla="*/ 14251980 w 845"/>
                  <a:gd name="T91" fmla="*/ 139533762 h 720"/>
                  <a:gd name="T92" fmla="*/ 9069520 w 845"/>
                  <a:gd name="T93" fmla="*/ 133526511 h 720"/>
                  <a:gd name="T94" fmla="*/ 2961652 w 845"/>
                  <a:gd name="T95" fmla="*/ 130249592 h 720"/>
                  <a:gd name="T96" fmla="*/ 925409 w 845"/>
                  <a:gd name="T97" fmla="*/ 128884165 h 720"/>
                  <a:gd name="T98" fmla="*/ 369991 w 845"/>
                  <a:gd name="T99" fmla="*/ 122330848 h 720"/>
                  <a:gd name="T100" fmla="*/ 3887060 w 845"/>
                  <a:gd name="T101" fmla="*/ 115231465 h 720"/>
                  <a:gd name="T102" fmla="*/ 10179924 w 845"/>
                  <a:gd name="T103" fmla="*/ 112773905 h 720"/>
                  <a:gd name="T104" fmla="*/ 12401163 w 845"/>
                  <a:gd name="T105" fmla="*/ 87652247 h 720"/>
                  <a:gd name="T106" fmla="*/ 15177389 w 845"/>
                  <a:gd name="T107" fmla="*/ 75091680 h 720"/>
                  <a:gd name="T108" fmla="*/ 17583623 w 845"/>
                  <a:gd name="T109" fmla="*/ 70995399 h 720"/>
                  <a:gd name="T110" fmla="*/ 19064449 w 845"/>
                  <a:gd name="T111" fmla="*/ 64442082 h 720"/>
                  <a:gd name="T112" fmla="*/ 21470683 w 845"/>
                  <a:gd name="T113" fmla="*/ 56250567 h 720"/>
                  <a:gd name="T114" fmla="*/ 27393556 w 845"/>
                  <a:gd name="T115" fmla="*/ 48604595 h 720"/>
                  <a:gd name="T116" fmla="*/ 30910195 w 845"/>
                  <a:gd name="T117" fmla="*/ 43689477 h 72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845" h="720">
                    <a:moveTo>
                      <a:pt x="174" y="25"/>
                    </a:moveTo>
                    <a:lnTo>
                      <a:pt x="175" y="27"/>
                    </a:lnTo>
                    <a:lnTo>
                      <a:pt x="179" y="33"/>
                    </a:lnTo>
                    <a:lnTo>
                      <a:pt x="182" y="36"/>
                    </a:lnTo>
                    <a:lnTo>
                      <a:pt x="185" y="38"/>
                    </a:lnTo>
                    <a:lnTo>
                      <a:pt x="189" y="38"/>
                    </a:lnTo>
                    <a:lnTo>
                      <a:pt x="194" y="37"/>
                    </a:lnTo>
                    <a:lnTo>
                      <a:pt x="205" y="28"/>
                    </a:lnTo>
                    <a:lnTo>
                      <a:pt x="218" y="19"/>
                    </a:lnTo>
                    <a:lnTo>
                      <a:pt x="229" y="14"/>
                    </a:lnTo>
                    <a:lnTo>
                      <a:pt x="234" y="12"/>
                    </a:lnTo>
                    <a:lnTo>
                      <a:pt x="247" y="0"/>
                    </a:lnTo>
                    <a:lnTo>
                      <a:pt x="250" y="1"/>
                    </a:lnTo>
                    <a:lnTo>
                      <a:pt x="258" y="6"/>
                    </a:lnTo>
                    <a:lnTo>
                      <a:pt x="267" y="10"/>
                    </a:lnTo>
                    <a:lnTo>
                      <a:pt x="273" y="12"/>
                    </a:lnTo>
                    <a:lnTo>
                      <a:pt x="284" y="15"/>
                    </a:lnTo>
                    <a:lnTo>
                      <a:pt x="300" y="21"/>
                    </a:lnTo>
                    <a:lnTo>
                      <a:pt x="316" y="31"/>
                    </a:lnTo>
                    <a:lnTo>
                      <a:pt x="327" y="37"/>
                    </a:lnTo>
                    <a:lnTo>
                      <a:pt x="337" y="41"/>
                    </a:lnTo>
                    <a:lnTo>
                      <a:pt x="353" y="50"/>
                    </a:lnTo>
                    <a:lnTo>
                      <a:pt x="370" y="60"/>
                    </a:lnTo>
                    <a:lnTo>
                      <a:pt x="380" y="67"/>
                    </a:lnTo>
                    <a:lnTo>
                      <a:pt x="393" y="76"/>
                    </a:lnTo>
                    <a:lnTo>
                      <a:pt x="406" y="86"/>
                    </a:lnTo>
                    <a:lnTo>
                      <a:pt x="419" y="95"/>
                    </a:lnTo>
                    <a:lnTo>
                      <a:pt x="426" y="98"/>
                    </a:lnTo>
                    <a:lnTo>
                      <a:pt x="430" y="105"/>
                    </a:lnTo>
                    <a:lnTo>
                      <a:pt x="440" y="116"/>
                    </a:lnTo>
                    <a:lnTo>
                      <a:pt x="441" y="121"/>
                    </a:lnTo>
                    <a:lnTo>
                      <a:pt x="442" y="125"/>
                    </a:lnTo>
                    <a:lnTo>
                      <a:pt x="443" y="130"/>
                    </a:lnTo>
                    <a:lnTo>
                      <a:pt x="443" y="134"/>
                    </a:lnTo>
                    <a:lnTo>
                      <a:pt x="443" y="137"/>
                    </a:lnTo>
                    <a:lnTo>
                      <a:pt x="443" y="140"/>
                    </a:lnTo>
                    <a:lnTo>
                      <a:pt x="444" y="141"/>
                    </a:lnTo>
                    <a:lnTo>
                      <a:pt x="447" y="142"/>
                    </a:lnTo>
                    <a:lnTo>
                      <a:pt x="450" y="143"/>
                    </a:lnTo>
                    <a:lnTo>
                      <a:pt x="458" y="147"/>
                    </a:lnTo>
                    <a:lnTo>
                      <a:pt x="466" y="153"/>
                    </a:lnTo>
                    <a:lnTo>
                      <a:pt x="475" y="160"/>
                    </a:lnTo>
                    <a:lnTo>
                      <a:pt x="492" y="172"/>
                    </a:lnTo>
                    <a:lnTo>
                      <a:pt x="499" y="178"/>
                    </a:lnTo>
                    <a:lnTo>
                      <a:pt x="500" y="175"/>
                    </a:lnTo>
                    <a:lnTo>
                      <a:pt x="503" y="173"/>
                    </a:lnTo>
                    <a:lnTo>
                      <a:pt x="505" y="172"/>
                    </a:lnTo>
                    <a:lnTo>
                      <a:pt x="506" y="172"/>
                    </a:lnTo>
                    <a:lnTo>
                      <a:pt x="500" y="174"/>
                    </a:lnTo>
                    <a:lnTo>
                      <a:pt x="495" y="177"/>
                    </a:lnTo>
                    <a:lnTo>
                      <a:pt x="492" y="181"/>
                    </a:lnTo>
                    <a:lnTo>
                      <a:pt x="488" y="184"/>
                    </a:lnTo>
                    <a:lnTo>
                      <a:pt x="485" y="189"/>
                    </a:lnTo>
                    <a:lnTo>
                      <a:pt x="483" y="193"/>
                    </a:lnTo>
                    <a:lnTo>
                      <a:pt x="482" y="197"/>
                    </a:lnTo>
                    <a:lnTo>
                      <a:pt x="481" y="202"/>
                    </a:lnTo>
                    <a:lnTo>
                      <a:pt x="478" y="221"/>
                    </a:lnTo>
                    <a:lnTo>
                      <a:pt x="480" y="240"/>
                    </a:lnTo>
                    <a:lnTo>
                      <a:pt x="480" y="247"/>
                    </a:lnTo>
                    <a:lnTo>
                      <a:pt x="481" y="252"/>
                    </a:lnTo>
                    <a:lnTo>
                      <a:pt x="483" y="256"/>
                    </a:lnTo>
                    <a:lnTo>
                      <a:pt x="486" y="260"/>
                    </a:lnTo>
                    <a:lnTo>
                      <a:pt x="488" y="262"/>
                    </a:lnTo>
                    <a:lnTo>
                      <a:pt x="493" y="264"/>
                    </a:lnTo>
                    <a:lnTo>
                      <a:pt x="496" y="265"/>
                    </a:lnTo>
                    <a:lnTo>
                      <a:pt x="500" y="266"/>
                    </a:lnTo>
                    <a:lnTo>
                      <a:pt x="516" y="266"/>
                    </a:lnTo>
                    <a:lnTo>
                      <a:pt x="526" y="265"/>
                    </a:lnTo>
                    <a:lnTo>
                      <a:pt x="528" y="279"/>
                    </a:lnTo>
                    <a:lnTo>
                      <a:pt x="532" y="293"/>
                    </a:lnTo>
                    <a:lnTo>
                      <a:pt x="538" y="307"/>
                    </a:lnTo>
                    <a:lnTo>
                      <a:pt x="545" y="319"/>
                    </a:lnTo>
                    <a:lnTo>
                      <a:pt x="554" y="330"/>
                    </a:lnTo>
                    <a:lnTo>
                      <a:pt x="563" y="341"/>
                    </a:lnTo>
                    <a:lnTo>
                      <a:pt x="573" y="351"/>
                    </a:lnTo>
                    <a:lnTo>
                      <a:pt x="583" y="361"/>
                    </a:lnTo>
                    <a:lnTo>
                      <a:pt x="604" y="376"/>
                    </a:lnTo>
                    <a:lnTo>
                      <a:pt x="622" y="388"/>
                    </a:lnTo>
                    <a:lnTo>
                      <a:pt x="637" y="396"/>
                    </a:lnTo>
                    <a:lnTo>
                      <a:pt x="645" y="400"/>
                    </a:lnTo>
                    <a:lnTo>
                      <a:pt x="673" y="408"/>
                    </a:lnTo>
                    <a:lnTo>
                      <a:pt x="696" y="417"/>
                    </a:lnTo>
                    <a:lnTo>
                      <a:pt x="718" y="424"/>
                    </a:lnTo>
                    <a:lnTo>
                      <a:pt x="738" y="430"/>
                    </a:lnTo>
                    <a:lnTo>
                      <a:pt x="758" y="435"/>
                    </a:lnTo>
                    <a:lnTo>
                      <a:pt x="783" y="440"/>
                    </a:lnTo>
                    <a:lnTo>
                      <a:pt x="811" y="445"/>
                    </a:lnTo>
                    <a:lnTo>
                      <a:pt x="845" y="449"/>
                    </a:lnTo>
                    <a:lnTo>
                      <a:pt x="838" y="457"/>
                    </a:lnTo>
                    <a:lnTo>
                      <a:pt x="830" y="465"/>
                    </a:lnTo>
                    <a:lnTo>
                      <a:pt x="821" y="474"/>
                    </a:lnTo>
                    <a:lnTo>
                      <a:pt x="811" y="482"/>
                    </a:lnTo>
                    <a:lnTo>
                      <a:pt x="790" y="498"/>
                    </a:lnTo>
                    <a:lnTo>
                      <a:pt x="768" y="514"/>
                    </a:lnTo>
                    <a:lnTo>
                      <a:pt x="749" y="531"/>
                    </a:lnTo>
                    <a:lnTo>
                      <a:pt x="731" y="547"/>
                    </a:lnTo>
                    <a:lnTo>
                      <a:pt x="723" y="555"/>
                    </a:lnTo>
                    <a:lnTo>
                      <a:pt x="718" y="562"/>
                    </a:lnTo>
                    <a:lnTo>
                      <a:pt x="715" y="570"/>
                    </a:lnTo>
                    <a:lnTo>
                      <a:pt x="712" y="579"/>
                    </a:lnTo>
                    <a:lnTo>
                      <a:pt x="709" y="592"/>
                    </a:lnTo>
                    <a:lnTo>
                      <a:pt x="706" y="602"/>
                    </a:lnTo>
                    <a:lnTo>
                      <a:pt x="701" y="610"/>
                    </a:lnTo>
                    <a:lnTo>
                      <a:pt x="697" y="617"/>
                    </a:lnTo>
                    <a:lnTo>
                      <a:pt x="693" y="622"/>
                    </a:lnTo>
                    <a:lnTo>
                      <a:pt x="686" y="625"/>
                    </a:lnTo>
                    <a:lnTo>
                      <a:pt x="681" y="628"/>
                    </a:lnTo>
                    <a:lnTo>
                      <a:pt x="674" y="629"/>
                    </a:lnTo>
                    <a:lnTo>
                      <a:pt x="643" y="630"/>
                    </a:lnTo>
                    <a:lnTo>
                      <a:pt x="606" y="635"/>
                    </a:lnTo>
                    <a:lnTo>
                      <a:pt x="594" y="643"/>
                    </a:lnTo>
                    <a:lnTo>
                      <a:pt x="580" y="655"/>
                    </a:lnTo>
                    <a:lnTo>
                      <a:pt x="573" y="661"/>
                    </a:lnTo>
                    <a:lnTo>
                      <a:pt x="567" y="666"/>
                    </a:lnTo>
                    <a:lnTo>
                      <a:pt x="563" y="670"/>
                    </a:lnTo>
                    <a:lnTo>
                      <a:pt x="559" y="671"/>
                    </a:lnTo>
                    <a:lnTo>
                      <a:pt x="548" y="673"/>
                    </a:lnTo>
                    <a:lnTo>
                      <a:pt x="539" y="676"/>
                    </a:lnTo>
                    <a:lnTo>
                      <a:pt x="531" y="678"/>
                    </a:lnTo>
                    <a:lnTo>
                      <a:pt x="525" y="681"/>
                    </a:lnTo>
                    <a:lnTo>
                      <a:pt x="513" y="687"/>
                    </a:lnTo>
                    <a:lnTo>
                      <a:pt x="499" y="696"/>
                    </a:lnTo>
                    <a:lnTo>
                      <a:pt x="488" y="696"/>
                    </a:lnTo>
                    <a:lnTo>
                      <a:pt x="482" y="693"/>
                    </a:lnTo>
                    <a:lnTo>
                      <a:pt x="476" y="691"/>
                    </a:lnTo>
                    <a:lnTo>
                      <a:pt x="472" y="686"/>
                    </a:lnTo>
                    <a:lnTo>
                      <a:pt x="468" y="683"/>
                    </a:lnTo>
                    <a:lnTo>
                      <a:pt x="461" y="680"/>
                    </a:lnTo>
                    <a:lnTo>
                      <a:pt x="452" y="678"/>
                    </a:lnTo>
                    <a:lnTo>
                      <a:pt x="440" y="677"/>
                    </a:lnTo>
                    <a:lnTo>
                      <a:pt x="432" y="678"/>
                    </a:lnTo>
                    <a:lnTo>
                      <a:pt x="427" y="679"/>
                    </a:lnTo>
                    <a:lnTo>
                      <a:pt x="421" y="681"/>
                    </a:lnTo>
                    <a:lnTo>
                      <a:pt x="418" y="684"/>
                    </a:lnTo>
                    <a:lnTo>
                      <a:pt x="410" y="692"/>
                    </a:lnTo>
                    <a:lnTo>
                      <a:pt x="405" y="699"/>
                    </a:lnTo>
                    <a:lnTo>
                      <a:pt x="402" y="703"/>
                    </a:lnTo>
                    <a:lnTo>
                      <a:pt x="398" y="707"/>
                    </a:lnTo>
                    <a:lnTo>
                      <a:pt x="394" y="711"/>
                    </a:lnTo>
                    <a:lnTo>
                      <a:pt x="390" y="714"/>
                    </a:lnTo>
                    <a:lnTo>
                      <a:pt x="383" y="717"/>
                    </a:lnTo>
                    <a:lnTo>
                      <a:pt x="376" y="719"/>
                    </a:lnTo>
                    <a:lnTo>
                      <a:pt x="369" y="720"/>
                    </a:lnTo>
                    <a:lnTo>
                      <a:pt x="360" y="720"/>
                    </a:lnTo>
                    <a:lnTo>
                      <a:pt x="348" y="720"/>
                    </a:lnTo>
                    <a:lnTo>
                      <a:pt x="337" y="719"/>
                    </a:lnTo>
                    <a:lnTo>
                      <a:pt x="327" y="717"/>
                    </a:lnTo>
                    <a:lnTo>
                      <a:pt x="318" y="714"/>
                    </a:lnTo>
                    <a:lnTo>
                      <a:pt x="310" y="710"/>
                    </a:lnTo>
                    <a:lnTo>
                      <a:pt x="303" y="706"/>
                    </a:lnTo>
                    <a:lnTo>
                      <a:pt x="295" y="702"/>
                    </a:lnTo>
                    <a:lnTo>
                      <a:pt x="289" y="698"/>
                    </a:lnTo>
                    <a:lnTo>
                      <a:pt x="275" y="688"/>
                    </a:lnTo>
                    <a:lnTo>
                      <a:pt x="261" y="679"/>
                    </a:lnTo>
                    <a:lnTo>
                      <a:pt x="253" y="675"/>
                    </a:lnTo>
                    <a:lnTo>
                      <a:pt x="246" y="671"/>
                    </a:lnTo>
                    <a:lnTo>
                      <a:pt x="237" y="668"/>
                    </a:lnTo>
                    <a:lnTo>
                      <a:pt x="227" y="665"/>
                    </a:lnTo>
                    <a:lnTo>
                      <a:pt x="205" y="662"/>
                    </a:lnTo>
                    <a:lnTo>
                      <a:pt x="181" y="661"/>
                    </a:lnTo>
                    <a:lnTo>
                      <a:pt x="170" y="660"/>
                    </a:lnTo>
                    <a:lnTo>
                      <a:pt x="159" y="659"/>
                    </a:lnTo>
                    <a:lnTo>
                      <a:pt x="149" y="657"/>
                    </a:lnTo>
                    <a:lnTo>
                      <a:pt x="140" y="653"/>
                    </a:lnTo>
                    <a:lnTo>
                      <a:pt x="149" y="632"/>
                    </a:lnTo>
                    <a:lnTo>
                      <a:pt x="153" y="622"/>
                    </a:lnTo>
                    <a:lnTo>
                      <a:pt x="152" y="618"/>
                    </a:lnTo>
                    <a:lnTo>
                      <a:pt x="151" y="614"/>
                    </a:lnTo>
                    <a:lnTo>
                      <a:pt x="147" y="607"/>
                    </a:lnTo>
                    <a:lnTo>
                      <a:pt x="140" y="597"/>
                    </a:lnTo>
                    <a:lnTo>
                      <a:pt x="134" y="597"/>
                    </a:lnTo>
                    <a:lnTo>
                      <a:pt x="127" y="596"/>
                    </a:lnTo>
                    <a:lnTo>
                      <a:pt x="122" y="593"/>
                    </a:lnTo>
                    <a:lnTo>
                      <a:pt x="116" y="590"/>
                    </a:lnTo>
                    <a:lnTo>
                      <a:pt x="112" y="587"/>
                    </a:lnTo>
                    <a:lnTo>
                      <a:pt x="108" y="583"/>
                    </a:lnTo>
                    <a:lnTo>
                      <a:pt x="104" y="577"/>
                    </a:lnTo>
                    <a:lnTo>
                      <a:pt x="102" y="572"/>
                    </a:lnTo>
                    <a:lnTo>
                      <a:pt x="96" y="562"/>
                    </a:lnTo>
                    <a:lnTo>
                      <a:pt x="93" y="551"/>
                    </a:lnTo>
                    <a:lnTo>
                      <a:pt x="90" y="540"/>
                    </a:lnTo>
                    <a:lnTo>
                      <a:pt x="88" y="530"/>
                    </a:lnTo>
                    <a:lnTo>
                      <a:pt x="82" y="519"/>
                    </a:lnTo>
                    <a:lnTo>
                      <a:pt x="77" y="511"/>
                    </a:lnTo>
                    <a:lnTo>
                      <a:pt x="70" y="505"/>
                    </a:lnTo>
                    <a:lnTo>
                      <a:pt x="63" y="499"/>
                    </a:lnTo>
                    <a:lnTo>
                      <a:pt x="57" y="494"/>
                    </a:lnTo>
                    <a:lnTo>
                      <a:pt x="49" y="489"/>
                    </a:lnTo>
                    <a:lnTo>
                      <a:pt x="41" y="483"/>
                    </a:lnTo>
                    <a:lnTo>
                      <a:pt x="34" y="474"/>
                    </a:lnTo>
                    <a:lnTo>
                      <a:pt x="24" y="477"/>
                    </a:lnTo>
                    <a:lnTo>
                      <a:pt x="16" y="477"/>
                    </a:lnTo>
                    <a:lnTo>
                      <a:pt x="12" y="476"/>
                    </a:lnTo>
                    <a:lnTo>
                      <a:pt x="10" y="475"/>
                    </a:lnTo>
                    <a:lnTo>
                      <a:pt x="6" y="474"/>
                    </a:lnTo>
                    <a:lnTo>
                      <a:pt x="5" y="472"/>
                    </a:lnTo>
                    <a:lnTo>
                      <a:pt x="2" y="467"/>
                    </a:lnTo>
                    <a:lnTo>
                      <a:pt x="0" y="461"/>
                    </a:lnTo>
                    <a:lnTo>
                      <a:pt x="1" y="454"/>
                    </a:lnTo>
                    <a:lnTo>
                      <a:pt x="2" y="448"/>
                    </a:lnTo>
                    <a:lnTo>
                      <a:pt x="5" y="441"/>
                    </a:lnTo>
                    <a:lnTo>
                      <a:pt x="9" y="434"/>
                    </a:lnTo>
                    <a:lnTo>
                      <a:pt x="14" y="428"/>
                    </a:lnTo>
                    <a:lnTo>
                      <a:pt x="21" y="422"/>
                    </a:lnTo>
                    <a:lnTo>
                      <a:pt x="27" y="418"/>
                    </a:lnTo>
                    <a:lnTo>
                      <a:pt x="36" y="415"/>
                    </a:lnTo>
                    <a:lnTo>
                      <a:pt x="45" y="413"/>
                    </a:lnTo>
                    <a:lnTo>
                      <a:pt x="55" y="413"/>
                    </a:lnTo>
                    <a:lnTo>
                      <a:pt x="57" y="384"/>
                    </a:lnTo>
                    <a:lnTo>
                      <a:pt x="60" y="360"/>
                    </a:lnTo>
                    <a:lnTo>
                      <a:pt x="63" y="339"/>
                    </a:lnTo>
                    <a:lnTo>
                      <a:pt x="67" y="321"/>
                    </a:lnTo>
                    <a:lnTo>
                      <a:pt x="71" y="306"/>
                    </a:lnTo>
                    <a:lnTo>
                      <a:pt x="74" y="293"/>
                    </a:lnTo>
                    <a:lnTo>
                      <a:pt x="79" y="283"/>
                    </a:lnTo>
                    <a:lnTo>
                      <a:pt x="82" y="275"/>
                    </a:lnTo>
                    <a:lnTo>
                      <a:pt x="87" y="269"/>
                    </a:lnTo>
                    <a:lnTo>
                      <a:pt x="90" y="265"/>
                    </a:lnTo>
                    <a:lnTo>
                      <a:pt x="93" y="262"/>
                    </a:lnTo>
                    <a:lnTo>
                      <a:pt x="95" y="260"/>
                    </a:lnTo>
                    <a:lnTo>
                      <a:pt x="100" y="259"/>
                    </a:lnTo>
                    <a:lnTo>
                      <a:pt x="101" y="259"/>
                    </a:lnTo>
                    <a:lnTo>
                      <a:pt x="101" y="247"/>
                    </a:lnTo>
                    <a:lnTo>
                      <a:pt x="103" y="236"/>
                    </a:lnTo>
                    <a:lnTo>
                      <a:pt x="105" y="227"/>
                    </a:lnTo>
                    <a:lnTo>
                      <a:pt x="108" y="219"/>
                    </a:lnTo>
                    <a:lnTo>
                      <a:pt x="112" y="212"/>
                    </a:lnTo>
                    <a:lnTo>
                      <a:pt x="116" y="206"/>
                    </a:lnTo>
                    <a:lnTo>
                      <a:pt x="122" y="200"/>
                    </a:lnTo>
                    <a:lnTo>
                      <a:pt x="126" y="196"/>
                    </a:lnTo>
                    <a:lnTo>
                      <a:pt x="137" y="186"/>
                    </a:lnTo>
                    <a:lnTo>
                      <a:pt x="148" y="178"/>
                    </a:lnTo>
                    <a:lnTo>
                      <a:pt x="153" y="174"/>
                    </a:lnTo>
                    <a:lnTo>
                      <a:pt x="159" y="170"/>
                    </a:lnTo>
                    <a:lnTo>
                      <a:pt x="163" y="165"/>
                    </a:lnTo>
                    <a:lnTo>
                      <a:pt x="167" y="160"/>
                    </a:lnTo>
                    <a:lnTo>
                      <a:pt x="174" y="25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24" name="Line 359">
                <a:extLst>
                  <a:ext uri="{FF2B5EF4-FFF2-40B4-BE49-F238E27FC236}">
                    <a16:creationId xmlns:a16="http://schemas.microsoft.com/office/drawing/2014/main" id="{6EA26A74-B4B0-403D-8294-70E042313D83}"/>
                  </a:ext>
                </a:extLst>
              </p:cNvPr>
              <p:cNvSpPr>
                <a:spLocks noChangeShapeType="1"/>
              </p:cNvSpPr>
              <p:nvPr>
                <p:custDataLst>
                  <p:tags r:id="rId262"/>
                </p:custDataLst>
              </p:nvPr>
            </p:nvSpPr>
            <p:spPr bwMode="auto">
              <a:xfrm flipH="1">
                <a:off x="1233432" y="4540500"/>
                <a:ext cx="7239" cy="8789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25" name="Freeform 360">
                <a:extLst>
                  <a:ext uri="{FF2B5EF4-FFF2-40B4-BE49-F238E27FC236}">
                    <a16:creationId xmlns:a16="http://schemas.microsoft.com/office/drawing/2014/main" id="{97E4561A-C9E8-4E2C-967F-6DAFFBA41D84}"/>
                  </a:ext>
                </a:extLst>
              </p:cNvPr>
              <p:cNvSpPr>
                <a:spLocks/>
              </p:cNvSpPr>
              <p:nvPr>
                <p:custDataLst>
                  <p:tags r:id="rId263"/>
                </p:custDataLst>
              </p:nvPr>
            </p:nvSpPr>
            <p:spPr bwMode="auto">
              <a:xfrm>
                <a:off x="1233432" y="4549290"/>
                <a:ext cx="16289" cy="66803"/>
              </a:xfrm>
              <a:custGeom>
                <a:avLst/>
                <a:gdLst>
                  <a:gd name="T0" fmla="*/ 0 w 33"/>
                  <a:gd name="T1" fmla="*/ 0 h 6"/>
                  <a:gd name="T2" fmla="*/ 1036782 w 33"/>
                  <a:gd name="T3" fmla="*/ 95839205 h 6"/>
                  <a:gd name="T4" fmla="*/ 2221730 w 33"/>
                  <a:gd name="T5" fmla="*/ 287507826 h 6"/>
                  <a:gd name="T6" fmla="*/ 3406679 w 33"/>
                  <a:gd name="T7" fmla="*/ 479176446 h 6"/>
                  <a:gd name="T8" fmla="*/ 4887576 w 33"/>
                  <a:gd name="T9" fmla="*/ 575005862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33" h="6">
                    <a:moveTo>
                      <a:pt x="0" y="0"/>
                    </a:moveTo>
                    <a:lnTo>
                      <a:pt x="7" y="1"/>
                    </a:lnTo>
                    <a:lnTo>
                      <a:pt x="15" y="3"/>
                    </a:lnTo>
                    <a:lnTo>
                      <a:pt x="23" y="5"/>
                    </a:lnTo>
                    <a:lnTo>
                      <a:pt x="33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26" name="Freeform 361">
                <a:extLst>
                  <a:ext uri="{FF2B5EF4-FFF2-40B4-BE49-F238E27FC236}">
                    <a16:creationId xmlns:a16="http://schemas.microsoft.com/office/drawing/2014/main" id="{922CBE7C-3805-41B2-AB27-7A1CE9E029C8}"/>
                  </a:ext>
                </a:extLst>
              </p:cNvPr>
              <p:cNvSpPr>
                <a:spLocks/>
              </p:cNvSpPr>
              <p:nvPr>
                <p:custDataLst>
                  <p:tags r:id="rId264"/>
                </p:custDataLst>
              </p:nvPr>
            </p:nvSpPr>
            <p:spPr bwMode="auto">
              <a:xfrm>
                <a:off x="1244291" y="4535226"/>
                <a:ext cx="5430" cy="65046"/>
              </a:xfrm>
              <a:custGeom>
                <a:avLst/>
                <a:gdLst>
                  <a:gd name="T0" fmla="*/ 1744357 w 13"/>
                  <a:gd name="T1" fmla="*/ 108870750 h 30"/>
                  <a:gd name="T2" fmla="*/ 1744357 w 13"/>
                  <a:gd name="T3" fmla="*/ 0 h 30"/>
                  <a:gd name="T4" fmla="*/ 0 w 13"/>
                  <a:gd name="T5" fmla="*/ 0 h 3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3" h="30">
                    <a:moveTo>
                      <a:pt x="13" y="30"/>
                    </a:moveTo>
                    <a:lnTo>
                      <a:pt x="13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827" name="Group 362">
                <a:extLst>
                  <a:ext uri="{FF2B5EF4-FFF2-40B4-BE49-F238E27FC236}">
                    <a16:creationId xmlns:a16="http://schemas.microsoft.com/office/drawing/2014/main" id="{8F2B676D-82D1-436E-9307-7675E77114F0}"/>
                  </a:ext>
                </a:extLst>
              </p:cNvPr>
              <p:cNvGrpSpPr>
                <a:grpSpLocks/>
              </p:cNvGrpSpPr>
              <p:nvPr>
                <p:custDataLst>
                  <p:tags r:id="rId265"/>
                </p:custDataLst>
              </p:nvPr>
            </p:nvGrpSpPr>
            <p:grpSpPr bwMode="auto">
              <a:xfrm>
                <a:off x="1234046" y="4462044"/>
                <a:ext cx="503446" cy="226678"/>
                <a:chOff x="912" y="2626"/>
                <a:chExt cx="311" cy="127"/>
              </a:xfrm>
            </p:grpSpPr>
            <p:sp>
              <p:nvSpPr>
                <p:cNvPr id="1016" name="Freeform 363">
                  <a:extLst>
                    <a:ext uri="{FF2B5EF4-FFF2-40B4-BE49-F238E27FC236}">
                      <a16:creationId xmlns:a16="http://schemas.microsoft.com/office/drawing/2014/main" id="{AB0186EE-CD47-4A2D-ABCE-B638971D659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2" y="2626"/>
                  <a:ext cx="116" cy="127"/>
                </a:xfrm>
                <a:custGeom>
                  <a:avLst/>
                  <a:gdLst>
                    <a:gd name="T0" fmla="*/ 32 w 352"/>
                    <a:gd name="T1" fmla="*/ 9 h 387"/>
                    <a:gd name="T2" fmla="*/ 30 w 352"/>
                    <a:gd name="T3" fmla="*/ 9 h 387"/>
                    <a:gd name="T4" fmla="*/ 27 w 352"/>
                    <a:gd name="T5" fmla="*/ 9 h 387"/>
                    <a:gd name="T6" fmla="*/ 26 w 352"/>
                    <a:gd name="T7" fmla="*/ 8 h 387"/>
                    <a:gd name="T8" fmla="*/ 23 w 352"/>
                    <a:gd name="T9" fmla="*/ 6 h 387"/>
                    <a:gd name="T10" fmla="*/ 17 w 352"/>
                    <a:gd name="T11" fmla="*/ 2 h 387"/>
                    <a:gd name="T12" fmla="*/ 14 w 352"/>
                    <a:gd name="T13" fmla="*/ 1 h 387"/>
                    <a:gd name="T14" fmla="*/ 13 w 352"/>
                    <a:gd name="T15" fmla="*/ 2 h 387"/>
                    <a:gd name="T16" fmla="*/ 12 w 352"/>
                    <a:gd name="T17" fmla="*/ 3 h 387"/>
                    <a:gd name="T18" fmla="*/ 11 w 352"/>
                    <a:gd name="T19" fmla="*/ 4 h 387"/>
                    <a:gd name="T20" fmla="*/ 9 w 352"/>
                    <a:gd name="T21" fmla="*/ 6 h 387"/>
                    <a:gd name="T22" fmla="*/ 5 w 352"/>
                    <a:gd name="T23" fmla="*/ 11 h 387"/>
                    <a:gd name="T24" fmla="*/ 3 w 352"/>
                    <a:gd name="T25" fmla="*/ 14 h 387"/>
                    <a:gd name="T26" fmla="*/ 2 w 352"/>
                    <a:gd name="T27" fmla="*/ 17 h 387"/>
                    <a:gd name="T28" fmla="*/ 1 w 352"/>
                    <a:gd name="T29" fmla="*/ 19 h 387"/>
                    <a:gd name="T30" fmla="*/ 0 w 352"/>
                    <a:gd name="T31" fmla="*/ 21 h 387"/>
                    <a:gd name="T32" fmla="*/ 0 w 352"/>
                    <a:gd name="T33" fmla="*/ 23 h 387"/>
                    <a:gd name="T34" fmla="*/ 0 w 352"/>
                    <a:gd name="T35" fmla="*/ 24 h 387"/>
                    <a:gd name="T36" fmla="*/ 1 w 352"/>
                    <a:gd name="T37" fmla="*/ 25 h 387"/>
                    <a:gd name="T38" fmla="*/ 3 w 352"/>
                    <a:gd name="T39" fmla="*/ 26 h 387"/>
                    <a:gd name="T40" fmla="*/ 4 w 352"/>
                    <a:gd name="T41" fmla="*/ 26 h 387"/>
                    <a:gd name="T42" fmla="*/ 5 w 352"/>
                    <a:gd name="T43" fmla="*/ 26 h 387"/>
                    <a:gd name="T44" fmla="*/ 6 w 352"/>
                    <a:gd name="T45" fmla="*/ 26 h 387"/>
                    <a:gd name="T46" fmla="*/ 7 w 352"/>
                    <a:gd name="T47" fmla="*/ 25 h 387"/>
                    <a:gd name="T48" fmla="*/ 8 w 352"/>
                    <a:gd name="T49" fmla="*/ 25 h 387"/>
                    <a:gd name="T50" fmla="*/ 8 w 352"/>
                    <a:gd name="T51" fmla="*/ 26 h 387"/>
                    <a:gd name="T52" fmla="*/ 8 w 352"/>
                    <a:gd name="T53" fmla="*/ 28 h 387"/>
                    <a:gd name="T54" fmla="*/ 8 w 352"/>
                    <a:gd name="T55" fmla="*/ 30 h 387"/>
                    <a:gd name="T56" fmla="*/ 7 w 352"/>
                    <a:gd name="T57" fmla="*/ 31 h 387"/>
                    <a:gd name="T58" fmla="*/ 7 w 352"/>
                    <a:gd name="T59" fmla="*/ 33 h 387"/>
                    <a:gd name="T60" fmla="*/ 8 w 352"/>
                    <a:gd name="T61" fmla="*/ 36 h 387"/>
                    <a:gd name="T62" fmla="*/ 9 w 352"/>
                    <a:gd name="T63" fmla="*/ 38 h 387"/>
                    <a:gd name="T64" fmla="*/ 13 w 352"/>
                    <a:gd name="T65" fmla="*/ 40 h 387"/>
                    <a:gd name="T66" fmla="*/ 15 w 352"/>
                    <a:gd name="T67" fmla="*/ 41 h 387"/>
                    <a:gd name="T68" fmla="*/ 16 w 352"/>
                    <a:gd name="T69" fmla="*/ 42 h 387"/>
                    <a:gd name="T70" fmla="*/ 17 w 352"/>
                    <a:gd name="T71" fmla="*/ 41 h 387"/>
                    <a:gd name="T72" fmla="*/ 18 w 352"/>
                    <a:gd name="T73" fmla="*/ 39 h 387"/>
                    <a:gd name="T74" fmla="*/ 18 w 352"/>
                    <a:gd name="T75" fmla="*/ 38 h 387"/>
                    <a:gd name="T76" fmla="*/ 19 w 352"/>
                    <a:gd name="T77" fmla="*/ 36 h 387"/>
                    <a:gd name="T78" fmla="*/ 19 w 352"/>
                    <a:gd name="T79" fmla="*/ 35 h 387"/>
                    <a:gd name="T80" fmla="*/ 20 w 352"/>
                    <a:gd name="T81" fmla="*/ 33 h 387"/>
                    <a:gd name="T82" fmla="*/ 22 w 352"/>
                    <a:gd name="T83" fmla="*/ 30 h 387"/>
                    <a:gd name="T84" fmla="*/ 24 w 352"/>
                    <a:gd name="T85" fmla="*/ 28 h 387"/>
                    <a:gd name="T86" fmla="*/ 27 w 352"/>
                    <a:gd name="T87" fmla="*/ 27 h 387"/>
                    <a:gd name="T88" fmla="*/ 31 w 352"/>
                    <a:gd name="T89" fmla="*/ 25 h 387"/>
                    <a:gd name="T90" fmla="*/ 33 w 352"/>
                    <a:gd name="T91" fmla="*/ 23 h 387"/>
                    <a:gd name="T92" fmla="*/ 35 w 352"/>
                    <a:gd name="T93" fmla="*/ 21 h 387"/>
                    <a:gd name="T94" fmla="*/ 36 w 352"/>
                    <a:gd name="T95" fmla="*/ 20 h 387"/>
                    <a:gd name="T96" fmla="*/ 36 w 352"/>
                    <a:gd name="T97" fmla="*/ 18 h 387"/>
                    <a:gd name="T98" fmla="*/ 36 w 352"/>
                    <a:gd name="T99" fmla="*/ 16 h 387"/>
                    <a:gd name="T100" fmla="*/ 35 w 352"/>
                    <a:gd name="T101" fmla="*/ 13 h 387"/>
                    <a:gd name="T102" fmla="*/ 34 w 352"/>
                    <a:gd name="T103" fmla="*/ 10 h 387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0" t="0" r="r" b="b"/>
                  <a:pathLst>
                    <a:path w="352" h="387">
                      <a:moveTo>
                        <a:pt x="325" y="79"/>
                      </a:moveTo>
                      <a:lnTo>
                        <a:pt x="312" y="79"/>
                      </a:lnTo>
                      <a:lnTo>
                        <a:pt x="299" y="79"/>
                      </a:lnTo>
                      <a:lnTo>
                        <a:pt x="286" y="79"/>
                      </a:lnTo>
                      <a:lnTo>
                        <a:pt x="273" y="79"/>
                      </a:lnTo>
                      <a:lnTo>
                        <a:pt x="265" y="79"/>
                      </a:lnTo>
                      <a:lnTo>
                        <a:pt x="256" y="77"/>
                      </a:lnTo>
                      <a:lnTo>
                        <a:pt x="249" y="74"/>
                      </a:lnTo>
                      <a:lnTo>
                        <a:pt x="240" y="70"/>
                      </a:lnTo>
                      <a:lnTo>
                        <a:pt x="222" y="59"/>
                      </a:lnTo>
                      <a:lnTo>
                        <a:pt x="204" y="46"/>
                      </a:lnTo>
                      <a:lnTo>
                        <a:pt x="168" y="20"/>
                      </a:lnTo>
                      <a:lnTo>
                        <a:pt x="140" y="0"/>
                      </a:lnTo>
                      <a:lnTo>
                        <a:pt x="137" y="6"/>
                      </a:lnTo>
                      <a:lnTo>
                        <a:pt x="133" y="13"/>
                      </a:lnTo>
                      <a:lnTo>
                        <a:pt x="129" y="19"/>
                      </a:lnTo>
                      <a:lnTo>
                        <a:pt x="125" y="25"/>
                      </a:lnTo>
                      <a:lnTo>
                        <a:pt x="119" y="29"/>
                      </a:lnTo>
                      <a:lnTo>
                        <a:pt x="114" y="33"/>
                      </a:lnTo>
                      <a:lnTo>
                        <a:pt x="107" y="35"/>
                      </a:lnTo>
                      <a:lnTo>
                        <a:pt x="100" y="36"/>
                      </a:lnTo>
                      <a:lnTo>
                        <a:pt x="86" y="56"/>
                      </a:lnTo>
                      <a:lnTo>
                        <a:pt x="71" y="76"/>
                      </a:lnTo>
                      <a:lnTo>
                        <a:pt x="53" y="97"/>
                      </a:lnTo>
                      <a:lnTo>
                        <a:pt x="38" y="120"/>
                      </a:lnTo>
                      <a:lnTo>
                        <a:pt x="30" y="131"/>
                      </a:lnTo>
                      <a:lnTo>
                        <a:pt x="22" y="143"/>
                      </a:lnTo>
                      <a:lnTo>
                        <a:pt x="17" y="154"/>
                      </a:lnTo>
                      <a:lnTo>
                        <a:pt x="11" y="165"/>
                      </a:lnTo>
                      <a:lnTo>
                        <a:pt x="7" y="177"/>
                      </a:lnTo>
                      <a:lnTo>
                        <a:pt x="3" y="187"/>
                      </a:lnTo>
                      <a:lnTo>
                        <a:pt x="0" y="198"/>
                      </a:lnTo>
                      <a:lnTo>
                        <a:pt x="0" y="208"/>
                      </a:lnTo>
                      <a:lnTo>
                        <a:pt x="0" y="213"/>
                      </a:lnTo>
                      <a:lnTo>
                        <a:pt x="2" y="217"/>
                      </a:lnTo>
                      <a:lnTo>
                        <a:pt x="3" y="222"/>
                      </a:lnTo>
                      <a:lnTo>
                        <a:pt x="5" y="225"/>
                      </a:lnTo>
                      <a:lnTo>
                        <a:pt x="9" y="231"/>
                      </a:lnTo>
                      <a:lnTo>
                        <a:pt x="16" y="237"/>
                      </a:lnTo>
                      <a:lnTo>
                        <a:pt x="24" y="241"/>
                      </a:lnTo>
                      <a:lnTo>
                        <a:pt x="31" y="243"/>
                      </a:lnTo>
                      <a:lnTo>
                        <a:pt x="39" y="245"/>
                      </a:lnTo>
                      <a:lnTo>
                        <a:pt x="47" y="246"/>
                      </a:lnTo>
                      <a:lnTo>
                        <a:pt x="52" y="245"/>
                      </a:lnTo>
                      <a:lnTo>
                        <a:pt x="58" y="243"/>
                      </a:lnTo>
                      <a:lnTo>
                        <a:pt x="63" y="241"/>
                      </a:lnTo>
                      <a:lnTo>
                        <a:pt x="69" y="238"/>
                      </a:lnTo>
                      <a:lnTo>
                        <a:pt x="73" y="236"/>
                      </a:lnTo>
                      <a:lnTo>
                        <a:pt x="76" y="235"/>
                      </a:lnTo>
                      <a:lnTo>
                        <a:pt x="78" y="236"/>
                      </a:lnTo>
                      <a:lnTo>
                        <a:pt x="80" y="236"/>
                      </a:lnTo>
                      <a:lnTo>
                        <a:pt x="80" y="238"/>
                      </a:lnTo>
                      <a:lnTo>
                        <a:pt x="80" y="240"/>
                      </a:lnTo>
                      <a:lnTo>
                        <a:pt x="80" y="257"/>
                      </a:lnTo>
                      <a:lnTo>
                        <a:pt x="78" y="271"/>
                      </a:lnTo>
                      <a:lnTo>
                        <a:pt x="76" y="279"/>
                      </a:lnTo>
                      <a:lnTo>
                        <a:pt x="74" y="285"/>
                      </a:lnTo>
                      <a:lnTo>
                        <a:pt x="71" y="290"/>
                      </a:lnTo>
                      <a:lnTo>
                        <a:pt x="66" y="295"/>
                      </a:lnTo>
                      <a:lnTo>
                        <a:pt x="73" y="307"/>
                      </a:lnTo>
                      <a:lnTo>
                        <a:pt x="80" y="319"/>
                      </a:lnTo>
                      <a:lnTo>
                        <a:pt x="80" y="331"/>
                      </a:lnTo>
                      <a:lnTo>
                        <a:pt x="80" y="344"/>
                      </a:lnTo>
                      <a:lnTo>
                        <a:pt x="89" y="351"/>
                      </a:lnTo>
                      <a:lnTo>
                        <a:pt x="110" y="366"/>
                      </a:lnTo>
                      <a:lnTo>
                        <a:pt x="122" y="373"/>
                      </a:lnTo>
                      <a:lnTo>
                        <a:pt x="133" y="380"/>
                      </a:lnTo>
                      <a:lnTo>
                        <a:pt x="142" y="385"/>
                      </a:lnTo>
                      <a:lnTo>
                        <a:pt x="147" y="387"/>
                      </a:lnTo>
                      <a:lnTo>
                        <a:pt x="152" y="386"/>
                      </a:lnTo>
                      <a:lnTo>
                        <a:pt x="158" y="382"/>
                      </a:lnTo>
                      <a:lnTo>
                        <a:pt x="163" y="377"/>
                      </a:lnTo>
                      <a:lnTo>
                        <a:pt x="168" y="370"/>
                      </a:lnTo>
                      <a:lnTo>
                        <a:pt x="173" y="363"/>
                      </a:lnTo>
                      <a:lnTo>
                        <a:pt x="176" y="356"/>
                      </a:lnTo>
                      <a:lnTo>
                        <a:pt x="178" y="350"/>
                      </a:lnTo>
                      <a:lnTo>
                        <a:pt x="179" y="344"/>
                      </a:lnTo>
                      <a:lnTo>
                        <a:pt x="181" y="338"/>
                      </a:lnTo>
                      <a:lnTo>
                        <a:pt x="182" y="330"/>
                      </a:lnTo>
                      <a:lnTo>
                        <a:pt x="184" y="323"/>
                      </a:lnTo>
                      <a:lnTo>
                        <a:pt x="187" y="317"/>
                      </a:lnTo>
                      <a:lnTo>
                        <a:pt x="195" y="304"/>
                      </a:lnTo>
                      <a:lnTo>
                        <a:pt x="206" y="292"/>
                      </a:lnTo>
                      <a:lnTo>
                        <a:pt x="216" y="281"/>
                      </a:lnTo>
                      <a:lnTo>
                        <a:pt x="228" y="271"/>
                      </a:lnTo>
                      <a:lnTo>
                        <a:pt x="238" y="263"/>
                      </a:lnTo>
                      <a:lnTo>
                        <a:pt x="246" y="258"/>
                      </a:lnTo>
                      <a:lnTo>
                        <a:pt x="264" y="249"/>
                      </a:lnTo>
                      <a:lnTo>
                        <a:pt x="283" y="239"/>
                      </a:lnTo>
                      <a:lnTo>
                        <a:pt x="300" y="229"/>
                      </a:lnTo>
                      <a:lnTo>
                        <a:pt x="317" y="217"/>
                      </a:lnTo>
                      <a:lnTo>
                        <a:pt x="324" y="212"/>
                      </a:lnTo>
                      <a:lnTo>
                        <a:pt x="331" y="205"/>
                      </a:lnTo>
                      <a:lnTo>
                        <a:pt x="338" y="199"/>
                      </a:lnTo>
                      <a:lnTo>
                        <a:pt x="342" y="192"/>
                      </a:lnTo>
                      <a:lnTo>
                        <a:pt x="346" y="185"/>
                      </a:lnTo>
                      <a:lnTo>
                        <a:pt x="350" y="177"/>
                      </a:lnTo>
                      <a:lnTo>
                        <a:pt x="352" y="169"/>
                      </a:lnTo>
                      <a:lnTo>
                        <a:pt x="352" y="159"/>
                      </a:lnTo>
                      <a:lnTo>
                        <a:pt x="351" y="149"/>
                      </a:lnTo>
                      <a:lnTo>
                        <a:pt x="349" y="137"/>
                      </a:lnTo>
                      <a:lnTo>
                        <a:pt x="344" y="125"/>
                      </a:lnTo>
                      <a:lnTo>
                        <a:pt x="339" y="113"/>
                      </a:lnTo>
                      <a:lnTo>
                        <a:pt x="330" y="91"/>
                      </a:lnTo>
                      <a:lnTo>
                        <a:pt x="325" y="79"/>
                      </a:lnTo>
                    </a:path>
                  </a:pathLst>
                </a:custGeom>
                <a:solidFill>
                  <a:srgbClr val="0872A6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17" name="Freeform 364">
                  <a:extLst>
                    <a:ext uri="{FF2B5EF4-FFF2-40B4-BE49-F238E27FC236}">
                      <a16:creationId xmlns:a16="http://schemas.microsoft.com/office/drawing/2014/main" id="{B2CFC1DF-9A54-412B-84A2-AE4B030215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3" y="2662"/>
                  <a:ext cx="17" cy="26"/>
                </a:xfrm>
                <a:custGeom>
                  <a:avLst/>
                  <a:gdLst>
                    <a:gd name="T0" fmla="*/ 2 w 52"/>
                    <a:gd name="T1" fmla="*/ 0 h 78"/>
                    <a:gd name="T2" fmla="*/ 2 w 52"/>
                    <a:gd name="T3" fmla="*/ 0 h 78"/>
                    <a:gd name="T4" fmla="*/ 3 w 52"/>
                    <a:gd name="T5" fmla="*/ 0 h 78"/>
                    <a:gd name="T6" fmla="*/ 3 w 52"/>
                    <a:gd name="T7" fmla="*/ 1 h 78"/>
                    <a:gd name="T8" fmla="*/ 4 w 52"/>
                    <a:gd name="T9" fmla="*/ 1 h 78"/>
                    <a:gd name="T10" fmla="*/ 4 w 52"/>
                    <a:gd name="T11" fmla="*/ 1 h 78"/>
                    <a:gd name="T12" fmla="*/ 5 w 52"/>
                    <a:gd name="T13" fmla="*/ 2 h 78"/>
                    <a:gd name="T14" fmla="*/ 5 w 52"/>
                    <a:gd name="T15" fmla="*/ 2 h 78"/>
                    <a:gd name="T16" fmla="*/ 5 w 52"/>
                    <a:gd name="T17" fmla="*/ 3 h 78"/>
                    <a:gd name="T18" fmla="*/ 6 w 52"/>
                    <a:gd name="T19" fmla="*/ 4 h 78"/>
                    <a:gd name="T20" fmla="*/ 6 w 52"/>
                    <a:gd name="T21" fmla="*/ 5 h 78"/>
                    <a:gd name="T22" fmla="*/ 6 w 52"/>
                    <a:gd name="T23" fmla="*/ 5 h 78"/>
                    <a:gd name="T24" fmla="*/ 5 w 52"/>
                    <a:gd name="T25" fmla="*/ 6 h 78"/>
                    <a:gd name="T26" fmla="*/ 5 w 52"/>
                    <a:gd name="T27" fmla="*/ 6 h 78"/>
                    <a:gd name="T28" fmla="*/ 5 w 52"/>
                    <a:gd name="T29" fmla="*/ 7 h 78"/>
                    <a:gd name="T30" fmla="*/ 4 w 52"/>
                    <a:gd name="T31" fmla="*/ 7 h 78"/>
                    <a:gd name="T32" fmla="*/ 4 w 52"/>
                    <a:gd name="T33" fmla="*/ 8 h 78"/>
                    <a:gd name="T34" fmla="*/ 3 w 52"/>
                    <a:gd name="T35" fmla="*/ 8 h 78"/>
                    <a:gd name="T36" fmla="*/ 2 w 52"/>
                    <a:gd name="T37" fmla="*/ 9 h 78"/>
                    <a:gd name="T38" fmla="*/ 1 w 52"/>
                    <a:gd name="T39" fmla="*/ 9 h 78"/>
                    <a:gd name="T40" fmla="*/ 1 w 52"/>
                    <a:gd name="T41" fmla="*/ 9 h 78"/>
                    <a:gd name="T42" fmla="*/ 0 w 52"/>
                    <a:gd name="T43" fmla="*/ 9 h 78"/>
                    <a:gd name="T44" fmla="*/ 0 w 52"/>
                    <a:gd name="T45" fmla="*/ 9 h 78"/>
                    <a:gd name="T46" fmla="*/ 0 w 52"/>
                    <a:gd name="T47" fmla="*/ 8 h 78"/>
                    <a:gd name="T48" fmla="*/ 0 w 52"/>
                    <a:gd name="T49" fmla="*/ 8 h 78"/>
                    <a:gd name="T50" fmla="*/ 0 w 52"/>
                    <a:gd name="T51" fmla="*/ 8 h 78"/>
                    <a:gd name="T52" fmla="*/ 0 w 52"/>
                    <a:gd name="T53" fmla="*/ 7 h 78"/>
                    <a:gd name="T54" fmla="*/ 0 w 52"/>
                    <a:gd name="T55" fmla="*/ 7 h 78"/>
                    <a:gd name="T56" fmla="*/ 1 w 52"/>
                    <a:gd name="T57" fmla="*/ 6 h 78"/>
                    <a:gd name="T58" fmla="*/ 2 w 52"/>
                    <a:gd name="T59" fmla="*/ 5 h 78"/>
                    <a:gd name="T60" fmla="*/ 3 w 52"/>
                    <a:gd name="T61" fmla="*/ 5 h 78"/>
                    <a:gd name="T62" fmla="*/ 3 w 52"/>
                    <a:gd name="T63" fmla="*/ 4 h 78"/>
                    <a:gd name="T64" fmla="*/ 2 w 52"/>
                    <a:gd name="T65" fmla="*/ 2 h 78"/>
                    <a:gd name="T66" fmla="*/ 2 w 52"/>
                    <a:gd name="T67" fmla="*/ 1 h 78"/>
                    <a:gd name="T68" fmla="*/ 2 w 52"/>
                    <a:gd name="T69" fmla="*/ 0 h 78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52" h="78">
                      <a:moveTo>
                        <a:pt x="14" y="0"/>
                      </a:moveTo>
                      <a:lnTo>
                        <a:pt x="20" y="0"/>
                      </a:lnTo>
                      <a:lnTo>
                        <a:pt x="25" y="2"/>
                      </a:lnTo>
                      <a:lnTo>
                        <a:pt x="30" y="6"/>
                      </a:lnTo>
                      <a:lnTo>
                        <a:pt x="36" y="9"/>
                      </a:lnTo>
                      <a:lnTo>
                        <a:pt x="40" y="13"/>
                      </a:lnTo>
                      <a:lnTo>
                        <a:pt x="45" y="17"/>
                      </a:lnTo>
                      <a:lnTo>
                        <a:pt x="47" y="21"/>
                      </a:lnTo>
                      <a:lnTo>
                        <a:pt x="48" y="24"/>
                      </a:lnTo>
                      <a:lnTo>
                        <a:pt x="51" y="34"/>
                      </a:lnTo>
                      <a:lnTo>
                        <a:pt x="52" y="41"/>
                      </a:lnTo>
                      <a:lnTo>
                        <a:pt x="51" y="46"/>
                      </a:lnTo>
                      <a:lnTo>
                        <a:pt x="49" y="50"/>
                      </a:lnTo>
                      <a:lnTo>
                        <a:pt x="47" y="54"/>
                      </a:lnTo>
                      <a:lnTo>
                        <a:pt x="44" y="60"/>
                      </a:lnTo>
                      <a:lnTo>
                        <a:pt x="41" y="65"/>
                      </a:lnTo>
                      <a:lnTo>
                        <a:pt x="41" y="73"/>
                      </a:lnTo>
                      <a:lnTo>
                        <a:pt x="29" y="75"/>
                      </a:lnTo>
                      <a:lnTo>
                        <a:pt x="16" y="78"/>
                      </a:lnTo>
                      <a:lnTo>
                        <a:pt x="11" y="78"/>
                      </a:lnTo>
                      <a:lnTo>
                        <a:pt x="5" y="78"/>
                      </a:lnTo>
                      <a:lnTo>
                        <a:pt x="4" y="78"/>
                      </a:lnTo>
                      <a:lnTo>
                        <a:pt x="2" y="77"/>
                      </a:lnTo>
                      <a:lnTo>
                        <a:pt x="2" y="75"/>
                      </a:lnTo>
                      <a:lnTo>
                        <a:pt x="1" y="73"/>
                      </a:lnTo>
                      <a:lnTo>
                        <a:pt x="0" y="69"/>
                      </a:lnTo>
                      <a:lnTo>
                        <a:pt x="1" y="64"/>
                      </a:lnTo>
                      <a:lnTo>
                        <a:pt x="3" y="60"/>
                      </a:lnTo>
                      <a:lnTo>
                        <a:pt x="7" y="56"/>
                      </a:lnTo>
                      <a:lnTo>
                        <a:pt x="17" y="47"/>
                      </a:lnTo>
                      <a:lnTo>
                        <a:pt x="28" y="42"/>
                      </a:lnTo>
                      <a:lnTo>
                        <a:pt x="24" y="32"/>
                      </a:lnTo>
                      <a:lnTo>
                        <a:pt x="21" y="21"/>
                      </a:lnTo>
                      <a:lnTo>
                        <a:pt x="18" y="10"/>
                      </a:lnTo>
                      <a:lnTo>
                        <a:pt x="14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18" name="Freeform 365">
                  <a:extLst>
                    <a:ext uri="{FF2B5EF4-FFF2-40B4-BE49-F238E27FC236}">
                      <a16:creationId xmlns:a16="http://schemas.microsoft.com/office/drawing/2014/main" id="{1424196F-A300-4C12-80A5-36D63626395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12" y="2666"/>
                  <a:ext cx="9" cy="10"/>
                </a:xfrm>
                <a:custGeom>
                  <a:avLst/>
                  <a:gdLst>
                    <a:gd name="T0" fmla="*/ 1 w 33"/>
                    <a:gd name="T1" fmla="*/ 1 h 30"/>
                    <a:gd name="T2" fmla="*/ 0 w 33"/>
                    <a:gd name="T3" fmla="*/ 3 h 30"/>
                    <a:gd name="T4" fmla="*/ 1 w 33"/>
                    <a:gd name="T5" fmla="*/ 3 h 30"/>
                    <a:gd name="T6" fmla="*/ 1 w 33"/>
                    <a:gd name="T7" fmla="*/ 3 h 30"/>
                    <a:gd name="T8" fmla="*/ 2 w 33"/>
                    <a:gd name="T9" fmla="*/ 3 h 30"/>
                    <a:gd name="T10" fmla="*/ 2 w 33"/>
                    <a:gd name="T11" fmla="*/ 3 h 30"/>
                    <a:gd name="T12" fmla="*/ 2 w 33"/>
                    <a:gd name="T13" fmla="*/ 0 h 30"/>
                    <a:gd name="T14" fmla="*/ 1 w 33"/>
                    <a:gd name="T15" fmla="*/ 0 h 30"/>
                    <a:gd name="T16" fmla="*/ 1 w 33"/>
                    <a:gd name="T17" fmla="*/ 1 h 30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3" h="30">
                      <a:moveTo>
                        <a:pt x="13" y="6"/>
                      </a:moveTo>
                      <a:lnTo>
                        <a:pt x="0" y="24"/>
                      </a:lnTo>
                      <a:lnTo>
                        <a:pt x="7" y="25"/>
                      </a:lnTo>
                      <a:lnTo>
                        <a:pt x="15" y="27"/>
                      </a:lnTo>
                      <a:lnTo>
                        <a:pt x="23" y="29"/>
                      </a:lnTo>
                      <a:lnTo>
                        <a:pt x="33" y="30"/>
                      </a:lnTo>
                      <a:lnTo>
                        <a:pt x="33" y="0"/>
                      </a:lnTo>
                      <a:lnTo>
                        <a:pt x="20" y="0"/>
                      </a:lnTo>
                      <a:lnTo>
                        <a:pt x="13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828" name="Freeform 366">
                <a:extLst>
                  <a:ext uri="{FF2B5EF4-FFF2-40B4-BE49-F238E27FC236}">
                    <a16:creationId xmlns:a16="http://schemas.microsoft.com/office/drawing/2014/main" id="{AE2A894D-7799-48A9-BB6C-85E6758375F7}"/>
                  </a:ext>
                </a:extLst>
              </p:cNvPr>
              <p:cNvSpPr>
                <a:spLocks/>
              </p:cNvSpPr>
              <p:nvPr>
                <p:custDataLst>
                  <p:tags r:id="rId266"/>
                </p:custDataLst>
              </p:nvPr>
            </p:nvSpPr>
            <p:spPr bwMode="auto">
              <a:xfrm>
                <a:off x="5633119" y="5268301"/>
                <a:ext cx="23527" cy="66803"/>
              </a:xfrm>
              <a:custGeom>
                <a:avLst/>
                <a:gdLst>
                  <a:gd name="T0" fmla="*/ 2135627 w 47"/>
                  <a:gd name="T1" fmla="*/ 0 h 28"/>
                  <a:gd name="T2" fmla="*/ 4107099 w 47"/>
                  <a:gd name="T3" fmla="*/ 0 h 28"/>
                  <a:gd name="T4" fmla="*/ 5092835 w 47"/>
                  <a:gd name="T5" fmla="*/ 8802309 h 28"/>
                  <a:gd name="T6" fmla="*/ 5421549 w 47"/>
                  <a:gd name="T7" fmla="*/ 17602520 h 28"/>
                  <a:gd name="T8" fmla="*/ 5421549 w 47"/>
                  <a:gd name="T9" fmla="*/ 26404829 h 28"/>
                  <a:gd name="T10" fmla="*/ 5256989 w 47"/>
                  <a:gd name="T11" fmla="*/ 35205040 h 28"/>
                  <a:gd name="T12" fmla="*/ 5421549 w 47"/>
                  <a:gd name="T13" fmla="*/ 44007349 h 28"/>
                  <a:gd name="T14" fmla="*/ 6078571 w 47"/>
                  <a:gd name="T15" fmla="*/ 52807560 h 28"/>
                  <a:gd name="T16" fmla="*/ 7721330 w 47"/>
                  <a:gd name="T17" fmla="*/ 52807560 h 28"/>
                  <a:gd name="T18" fmla="*/ 6899748 w 47"/>
                  <a:gd name="T19" fmla="*/ 83613543 h 28"/>
                  <a:gd name="T20" fmla="*/ 6078571 w 47"/>
                  <a:gd name="T21" fmla="*/ 110018372 h 28"/>
                  <a:gd name="T22" fmla="*/ 5421549 w 47"/>
                  <a:gd name="T23" fmla="*/ 118818583 h 28"/>
                  <a:gd name="T24" fmla="*/ 4599967 w 47"/>
                  <a:gd name="T25" fmla="*/ 123219737 h 28"/>
                  <a:gd name="T26" fmla="*/ 2628495 w 47"/>
                  <a:gd name="T27" fmla="*/ 118818583 h 28"/>
                  <a:gd name="T28" fmla="*/ 0 w 47"/>
                  <a:gd name="T29" fmla="*/ 110018372 h 28"/>
                  <a:gd name="T30" fmla="*/ 164154 w 47"/>
                  <a:gd name="T31" fmla="*/ 83613543 h 28"/>
                  <a:gd name="T32" fmla="*/ 328714 w 47"/>
                  <a:gd name="T33" fmla="*/ 66011023 h 28"/>
                  <a:gd name="T34" fmla="*/ 657022 w 47"/>
                  <a:gd name="T35" fmla="*/ 57208714 h 28"/>
                  <a:gd name="T36" fmla="*/ 985736 w 47"/>
                  <a:gd name="T37" fmla="*/ 52807560 h 28"/>
                  <a:gd name="T38" fmla="*/ 1478604 w 47"/>
                  <a:gd name="T39" fmla="*/ 48408503 h 28"/>
                  <a:gd name="T40" fmla="*/ 1807318 w 47"/>
                  <a:gd name="T41" fmla="*/ 39606194 h 28"/>
                  <a:gd name="T42" fmla="*/ 2135627 w 47"/>
                  <a:gd name="T43" fmla="*/ 22003674 h 28"/>
                  <a:gd name="T44" fmla="*/ 2135627 w 47"/>
                  <a:gd name="T45" fmla="*/ 0 h 2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7" h="28">
                    <a:moveTo>
                      <a:pt x="13" y="0"/>
                    </a:moveTo>
                    <a:lnTo>
                      <a:pt x="25" y="0"/>
                    </a:lnTo>
                    <a:lnTo>
                      <a:pt x="31" y="2"/>
                    </a:lnTo>
                    <a:lnTo>
                      <a:pt x="33" y="4"/>
                    </a:lnTo>
                    <a:lnTo>
                      <a:pt x="33" y="6"/>
                    </a:lnTo>
                    <a:lnTo>
                      <a:pt x="32" y="8"/>
                    </a:lnTo>
                    <a:lnTo>
                      <a:pt x="33" y="10"/>
                    </a:lnTo>
                    <a:lnTo>
                      <a:pt x="37" y="12"/>
                    </a:lnTo>
                    <a:lnTo>
                      <a:pt x="47" y="12"/>
                    </a:lnTo>
                    <a:lnTo>
                      <a:pt x="42" y="19"/>
                    </a:lnTo>
                    <a:lnTo>
                      <a:pt x="37" y="25"/>
                    </a:lnTo>
                    <a:lnTo>
                      <a:pt x="33" y="27"/>
                    </a:lnTo>
                    <a:lnTo>
                      <a:pt x="28" y="28"/>
                    </a:lnTo>
                    <a:lnTo>
                      <a:pt x="16" y="27"/>
                    </a:lnTo>
                    <a:lnTo>
                      <a:pt x="0" y="25"/>
                    </a:lnTo>
                    <a:lnTo>
                      <a:pt x="1" y="19"/>
                    </a:lnTo>
                    <a:lnTo>
                      <a:pt x="2" y="15"/>
                    </a:lnTo>
                    <a:lnTo>
                      <a:pt x="4" y="13"/>
                    </a:lnTo>
                    <a:lnTo>
                      <a:pt x="6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3" y="5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29" name="Freeform 367">
                <a:extLst>
                  <a:ext uri="{FF2B5EF4-FFF2-40B4-BE49-F238E27FC236}">
                    <a16:creationId xmlns:a16="http://schemas.microsoft.com/office/drawing/2014/main" id="{CD959CF9-8ECD-4D05-8135-D9174E10B4D0}"/>
                  </a:ext>
                </a:extLst>
              </p:cNvPr>
              <p:cNvSpPr>
                <a:spLocks/>
              </p:cNvSpPr>
              <p:nvPr>
                <p:custDataLst>
                  <p:tags r:id="rId267"/>
                </p:custDataLst>
              </p:nvPr>
            </p:nvSpPr>
            <p:spPr bwMode="auto">
              <a:xfrm>
                <a:off x="5598732" y="5299945"/>
                <a:ext cx="28957" cy="63287"/>
              </a:xfrm>
              <a:custGeom>
                <a:avLst/>
                <a:gdLst>
                  <a:gd name="T0" fmla="*/ 2624372 w 53"/>
                  <a:gd name="T1" fmla="*/ 0 h 33"/>
                  <a:gd name="T2" fmla="*/ 5248745 w 53"/>
                  <a:gd name="T3" fmla="*/ 2999509 h 33"/>
                  <a:gd name="T4" fmla="*/ 6863536 w 53"/>
                  <a:gd name="T5" fmla="*/ 2999509 h 33"/>
                  <a:gd name="T6" fmla="*/ 7469195 w 53"/>
                  <a:gd name="T7" fmla="*/ 8996795 h 33"/>
                  <a:gd name="T8" fmla="*/ 7469195 w 53"/>
                  <a:gd name="T9" fmla="*/ 11996305 h 33"/>
                  <a:gd name="T10" fmla="*/ 7469195 w 53"/>
                  <a:gd name="T11" fmla="*/ 17995323 h 33"/>
                  <a:gd name="T12" fmla="*/ 7873117 w 53"/>
                  <a:gd name="T13" fmla="*/ 23994341 h 33"/>
                  <a:gd name="T14" fmla="*/ 8882249 w 53"/>
                  <a:gd name="T15" fmla="*/ 29991627 h 33"/>
                  <a:gd name="T16" fmla="*/ 10699226 w 53"/>
                  <a:gd name="T17" fmla="*/ 35990645 h 33"/>
                  <a:gd name="T18" fmla="*/ 9689644 w 53"/>
                  <a:gd name="T19" fmla="*/ 65982273 h 33"/>
                  <a:gd name="T20" fmla="*/ 8882249 w 53"/>
                  <a:gd name="T21" fmla="*/ 83977595 h 33"/>
                  <a:gd name="T22" fmla="*/ 8478776 w 53"/>
                  <a:gd name="T23" fmla="*/ 92974391 h 33"/>
                  <a:gd name="T24" fmla="*/ 7670931 w 53"/>
                  <a:gd name="T25" fmla="*/ 95973900 h 33"/>
                  <a:gd name="T26" fmla="*/ 7267458 w 53"/>
                  <a:gd name="T27" fmla="*/ 98973409 h 33"/>
                  <a:gd name="T28" fmla="*/ 6863536 w 53"/>
                  <a:gd name="T29" fmla="*/ 98973409 h 33"/>
                  <a:gd name="T30" fmla="*/ 4037427 w 53"/>
                  <a:gd name="T31" fmla="*/ 89976614 h 33"/>
                  <a:gd name="T32" fmla="*/ 0 w 53"/>
                  <a:gd name="T33" fmla="*/ 71981291 h 33"/>
                  <a:gd name="T34" fmla="*/ 0 w 53"/>
                  <a:gd name="T35" fmla="*/ 56985477 h 33"/>
                  <a:gd name="T36" fmla="*/ 403922 w 53"/>
                  <a:gd name="T37" fmla="*/ 47986950 h 33"/>
                  <a:gd name="T38" fmla="*/ 807395 w 53"/>
                  <a:gd name="T39" fmla="*/ 41987932 h 33"/>
                  <a:gd name="T40" fmla="*/ 1413054 w 53"/>
                  <a:gd name="T41" fmla="*/ 35990645 h 33"/>
                  <a:gd name="T42" fmla="*/ 1816977 w 53"/>
                  <a:gd name="T43" fmla="*/ 32991136 h 33"/>
                  <a:gd name="T44" fmla="*/ 2220450 w 53"/>
                  <a:gd name="T45" fmla="*/ 26992118 h 33"/>
                  <a:gd name="T46" fmla="*/ 2422636 w 53"/>
                  <a:gd name="T47" fmla="*/ 17995323 h 33"/>
                  <a:gd name="T48" fmla="*/ 2624372 w 53"/>
                  <a:gd name="T49" fmla="*/ 0 h 3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3" h="33">
                    <a:moveTo>
                      <a:pt x="13" y="0"/>
                    </a:moveTo>
                    <a:lnTo>
                      <a:pt x="26" y="1"/>
                    </a:lnTo>
                    <a:lnTo>
                      <a:pt x="34" y="1"/>
                    </a:lnTo>
                    <a:lnTo>
                      <a:pt x="37" y="3"/>
                    </a:lnTo>
                    <a:lnTo>
                      <a:pt x="37" y="4"/>
                    </a:lnTo>
                    <a:lnTo>
                      <a:pt x="37" y="6"/>
                    </a:lnTo>
                    <a:lnTo>
                      <a:pt x="39" y="8"/>
                    </a:lnTo>
                    <a:lnTo>
                      <a:pt x="44" y="10"/>
                    </a:lnTo>
                    <a:lnTo>
                      <a:pt x="53" y="12"/>
                    </a:lnTo>
                    <a:lnTo>
                      <a:pt x="48" y="22"/>
                    </a:lnTo>
                    <a:lnTo>
                      <a:pt x="44" y="28"/>
                    </a:lnTo>
                    <a:lnTo>
                      <a:pt x="42" y="31"/>
                    </a:lnTo>
                    <a:lnTo>
                      <a:pt x="38" y="32"/>
                    </a:lnTo>
                    <a:lnTo>
                      <a:pt x="36" y="33"/>
                    </a:lnTo>
                    <a:lnTo>
                      <a:pt x="34" y="33"/>
                    </a:lnTo>
                    <a:lnTo>
                      <a:pt x="20" y="30"/>
                    </a:lnTo>
                    <a:lnTo>
                      <a:pt x="0" y="24"/>
                    </a:lnTo>
                    <a:lnTo>
                      <a:pt x="0" y="19"/>
                    </a:lnTo>
                    <a:lnTo>
                      <a:pt x="2" y="16"/>
                    </a:lnTo>
                    <a:lnTo>
                      <a:pt x="4" y="14"/>
                    </a:lnTo>
                    <a:lnTo>
                      <a:pt x="7" y="12"/>
                    </a:lnTo>
                    <a:lnTo>
                      <a:pt x="9" y="11"/>
                    </a:lnTo>
                    <a:lnTo>
                      <a:pt x="11" y="9"/>
                    </a:lnTo>
                    <a:lnTo>
                      <a:pt x="12" y="6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830" name="Group 368">
                <a:extLst>
                  <a:ext uri="{FF2B5EF4-FFF2-40B4-BE49-F238E27FC236}">
                    <a16:creationId xmlns:a16="http://schemas.microsoft.com/office/drawing/2014/main" id="{EBAB3D69-2BC5-463D-8159-51DFCECC57B9}"/>
                  </a:ext>
                </a:extLst>
              </p:cNvPr>
              <p:cNvGrpSpPr>
                <a:grpSpLocks/>
              </p:cNvGrpSpPr>
              <p:nvPr>
                <p:custDataLst>
                  <p:tags r:id="rId268"/>
                </p:custDataLst>
              </p:nvPr>
            </p:nvGrpSpPr>
            <p:grpSpPr bwMode="auto">
              <a:xfrm>
                <a:off x="5407093" y="4727989"/>
                <a:ext cx="202910" cy="116015"/>
                <a:chOff x="3481" y="2773"/>
                <a:chExt cx="125" cy="65"/>
              </a:xfrm>
            </p:grpSpPr>
            <p:sp>
              <p:nvSpPr>
                <p:cNvPr id="1005" name="Freeform 369">
                  <a:extLst>
                    <a:ext uri="{FF2B5EF4-FFF2-40B4-BE49-F238E27FC236}">
                      <a16:creationId xmlns:a16="http://schemas.microsoft.com/office/drawing/2014/main" id="{A786DFB0-C1C2-4C6B-BC8D-1E59BADF89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1" y="2798"/>
                  <a:ext cx="7" cy="6"/>
                </a:xfrm>
                <a:custGeom>
                  <a:avLst/>
                  <a:gdLst>
                    <a:gd name="T0" fmla="*/ 2 w 13"/>
                    <a:gd name="T1" fmla="*/ 0 h 18"/>
                    <a:gd name="T2" fmla="*/ 2 w 13"/>
                    <a:gd name="T3" fmla="*/ 1 h 18"/>
                    <a:gd name="T4" fmla="*/ 1 w 13"/>
                    <a:gd name="T5" fmla="*/ 2 h 18"/>
                    <a:gd name="T6" fmla="*/ 1 w 13"/>
                    <a:gd name="T7" fmla="*/ 2 h 18"/>
                    <a:gd name="T8" fmla="*/ 0 w 13"/>
                    <a:gd name="T9" fmla="*/ 2 h 18"/>
                    <a:gd name="T10" fmla="*/ 0 w 13"/>
                    <a:gd name="T11" fmla="*/ 1 h 18"/>
                    <a:gd name="T12" fmla="*/ 0 w 13"/>
                    <a:gd name="T13" fmla="*/ 1 h 1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06" name="Line 370">
                  <a:extLst>
                    <a:ext uri="{FF2B5EF4-FFF2-40B4-BE49-F238E27FC236}">
                      <a16:creationId xmlns:a16="http://schemas.microsoft.com/office/drawing/2014/main" id="{4A753EC0-37F2-4175-801E-0198D08B7F4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581" y="2800"/>
                  <a:ext cx="0" cy="1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07" name="Freeform 371">
                  <a:extLst>
                    <a:ext uri="{FF2B5EF4-FFF2-40B4-BE49-F238E27FC236}">
                      <a16:creationId xmlns:a16="http://schemas.microsoft.com/office/drawing/2014/main" id="{CF409BE9-F516-4AC1-BE74-E56AFA296C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53" y="2824"/>
                  <a:ext cx="6" cy="6"/>
                </a:xfrm>
                <a:custGeom>
                  <a:avLst/>
                  <a:gdLst>
                    <a:gd name="T0" fmla="*/ 2 w 14"/>
                    <a:gd name="T1" fmla="*/ 2 h 19"/>
                    <a:gd name="T2" fmla="*/ 0 w 14"/>
                    <a:gd name="T3" fmla="*/ 0 h 19"/>
                    <a:gd name="T4" fmla="*/ 2 w 14"/>
                    <a:gd name="T5" fmla="*/ 2 h 19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4" h="19">
                      <a:moveTo>
                        <a:pt x="14" y="19"/>
                      </a:moveTo>
                      <a:lnTo>
                        <a:pt x="0" y="0"/>
                      </a:lnTo>
                      <a:lnTo>
                        <a:pt x="14" y="19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08" name="Freeform 372">
                  <a:extLst>
                    <a:ext uri="{FF2B5EF4-FFF2-40B4-BE49-F238E27FC236}">
                      <a16:creationId xmlns:a16="http://schemas.microsoft.com/office/drawing/2014/main" id="{919B1C75-A4D8-400A-885C-3D54D668E50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1 h 18"/>
                    <a:gd name="T2" fmla="*/ 1 w 7"/>
                    <a:gd name="T3" fmla="*/ 2 h 18"/>
                    <a:gd name="T4" fmla="*/ 0 w 7"/>
                    <a:gd name="T5" fmla="*/ 2 h 18"/>
                    <a:gd name="T6" fmla="*/ 0 w 7"/>
                    <a:gd name="T7" fmla="*/ 0 h 18"/>
                    <a:gd name="T8" fmla="*/ 1 w 7"/>
                    <a:gd name="T9" fmla="*/ 0 h 1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09" name="Freeform 373">
                  <a:extLst>
                    <a:ext uri="{FF2B5EF4-FFF2-40B4-BE49-F238E27FC236}">
                      <a16:creationId xmlns:a16="http://schemas.microsoft.com/office/drawing/2014/main" id="{AF99CEFB-C1E5-43E0-87DE-553EDE98EC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99" y="2773"/>
                  <a:ext cx="7" cy="4"/>
                </a:xfrm>
                <a:custGeom>
                  <a:avLst/>
                  <a:gdLst>
                    <a:gd name="T0" fmla="*/ 2 w 20"/>
                    <a:gd name="T1" fmla="*/ 1 h 12"/>
                    <a:gd name="T2" fmla="*/ 1 w 20"/>
                    <a:gd name="T3" fmla="*/ 1 h 12"/>
                    <a:gd name="T4" fmla="*/ 0 w 20"/>
                    <a:gd name="T5" fmla="*/ 1 h 12"/>
                    <a:gd name="T6" fmla="*/ 0 w 20"/>
                    <a:gd name="T7" fmla="*/ 1 h 12"/>
                    <a:gd name="T8" fmla="*/ 0 w 20"/>
                    <a:gd name="T9" fmla="*/ 0 h 12"/>
                    <a:gd name="T10" fmla="*/ 1 w 20"/>
                    <a:gd name="T11" fmla="*/ 0 h 12"/>
                    <a:gd name="T12" fmla="*/ 2 w 20"/>
                    <a:gd name="T13" fmla="*/ 0 h 1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0" h="12">
                      <a:moveTo>
                        <a:pt x="20" y="12"/>
                      </a:moveTo>
                      <a:lnTo>
                        <a:pt x="10" y="9"/>
                      </a:lnTo>
                      <a:lnTo>
                        <a:pt x="0" y="6"/>
                      </a:lnTo>
                      <a:lnTo>
                        <a:pt x="1" y="5"/>
                      </a:lnTo>
                      <a:lnTo>
                        <a:pt x="3" y="3"/>
                      </a:lnTo>
                      <a:lnTo>
                        <a:pt x="8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10" name="Line 374">
                  <a:extLst>
                    <a:ext uri="{FF2B5EF4-FFF2-40B4-BE49-F238E27FC236}">
                      <a16:creationId xmlns:a16="http://schemas.microsoft.com/office/drawing/2014/main" id="{C6F552A6-F0E4-4B38-87DC-DC98D68C6771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601" y="2773"/>
                  <a:ext cx="0" cy="2"/>
                </a:xfrm>
                <a:prstGeom prst="line">
                  <a:avLst/>
                </a:prstGeom>
                <a:noFill/>
                <a:ln w="9525">
                  <a:solidFill>
                    <a:srgbClr val="FFFFFF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11" name="Freeform 375">
                  <a:extLst>
                    <a:ext uri="{FF2B5EF4-FFF2-40B4-BE49-F238E27FC236}">
                      <a16:creationId xmlns:a16="http://schemas.microsoft.com/office/drawing/2014/main" id="{6E2015D9-CE34-4FA6-AD06-D97081DF6C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1" y="2829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2 h 18"/>
                    <a:gd name="T4" fmla="*/ 2 w 20"/>
                    <a:gd name="T5" fmla="*/ 2 h 18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12" name="Freeform 376">
                  <a:extLst>
                    <a:ext uri="{FF2B5EF4-FFF2-40B4-BE49-F238E27FC236}">
                      <a16:creationId xmlns:a16="http://schemas.microsoft.com/office/drawing/2014/main" id="{831AAA9F-BC26-4D88-B569-1A0CC1B890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5" y="2830"/>
                  <a:ext cx="0" cy="4"/>
                </a:xfrm>
                <a:custGeom>
                  <a:avLst/>
                  <a:gdLst>
                    <a:gd name="T0" fmla="*/ 1 w 7"/>
                    <a:gd name="T1" fmla="*/ 1 h 12"/>
                    <a:gd name="T2" fmla="*/ 1 w 7"/>
                    <a:gd name="T3" fmla="*/ 1 h 12"/>
                    <a:gd name="T4" fmla="*/ 0 w 7"/>
                    <a:gd name="T5" fmla="*/ 0 h 12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7" h="12">
                      <a:moveTo>
                        <a:pt x="7" y="12"/>
                      </a:moveTo>
                      <a:lnTo>
                        <a:pt x="4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13" name="Freeform 377">
                  <a:extLst>
                    <a:ext uri="{FF2B5EF4-FFF2-40B4-BE49-F238E27FC236}">
                      <a16:creationId xmlns:a16="http://schemas.microsoft.com/office/drawing/2014/main" id="{EA00FD9D-258F-4381-8D08-3106EA3DC4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481" y="2829"/>
                  <a:ext cx="7" cy="6"/>
                </a:xfrm>
                <a:custGeom>
                  <a:avLst/>
                  <a:gdLst>
                    <a:gd name="T0" fmla="*/ 0 w 20"/>
                    <a:gd name="T1" fmla="*/ 0 h 18"/>
                    <a:gd name="T2" fmla="*/ 0 w 20"/>
                    <a:gd name="T3" fmla="*/ 2 h 18"/>
                    <a:gd name="T4" fmla="*/ 2 w 20"/>
                    <a:gd name="T5" fmla="*/ 2 h 18"/>
                    <a:gd name="T6" fmla="*/ 2 w 20"/>
                    <a:gd name="T7" fmla="*/ 1 h 18"/>
                    <a:gd name="T8" fmla="*/ 2 w 20"/>
                    <a:gd name="T9" fmla="*/ 1 h 18"/>
                    <a:gd name="T10" fmla="*/ 0 w 20"/>
                    <a:gd name="T11" fmla="*/ 0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20" h="18">
                      <a:moveTo>
                        <a:pt x="0" y="0"/>
                      </a:moveTo>
                      <a:lnTo>
                        <a:pt x="0" y="18"/>
                      </a:lnTo>
                      <a:lnTo>
                        <a:pt x="20" y="18"/>
                      </a:lnTo>
                      <a:lnTo>
                        <a:pt x="17" y="12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14" name="Freeform 378">
                  <a:extLst>
                    <a:ext uri="{FF2B5EF4-FFF2-40B4-BE49-F238E27FC236}">
                      <a16:creationId xmlns:a16="http://schemas.microsoft.com/office/drawing/2014/main" id="{8D7BDFFA-2164-4662-A5AD-71EC2B738C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28" y="2832"/>
                  <a:ext cx="2" cy="6"/>
                </a:xfrm>
                <a:custGeom>
                  <a:avLst/>
                  <a:gdLst>
                    <a:gd name="T0" fmla="*/ 0 w 7"/>
                    <a:gd name="T1" fmla="*/ 1 h 18"/>
                    <a:gd name="T2" fmla="*/ 1 w 7"/>
                    <a:gd name="T3" fmla="*/ 2 h 18"/>
                    <a:gd name="T4" fmla="*/ 0 w 7"/>
                    <a:gd name="T5" fmla="*/ 2 h 18"/>
                    <a:gd name="T6" fmla="*/ 0 w 7"/>
                    <a:gd name="T7" fmla="*/ 0 h 18"/>
                    <a:gd name="T8" fmla="*/ 1 w 7"/>
                    <a:gd name="T9" fmla="*/ 0 h 18"/>
                    <a:gd name="T10" fmla="*/ 0 w 7"/>
                    <a:gd name="T11" fmla="*/ 1 h 18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7" h="18">
                      <a:moveTo>
                        <a:pt x="0" y="6"/>
                      </a:moveTo>
                      <a:lnTo>
                        <a:pt x="7" y="18"/>
                      </a:lnTo>
                      <a:lnTo>
                        <a:pt x="0" y="18"/>
                      </a:lnTo>
                      <a:lnTo>
                        <a:pt x="0" y="0"/>
                      </a:lnTo>
                      <a:lnTo>
                        <a:pt x="7" y="0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15" name="Freeform 379">
                  <a:extLst>
                    <a:ext uri="{FF2B5EF4-FFF2-40B4-BE49-F238E27FC236}">
                      <a16:creationId xmlns:a16="http://schemas.microsoft.com/office/drawing/2014/main" id="{9F5B03E7-4963-4CFC-AB0C-40FCEE9AA4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581" y="2798"/>
                  <a:ext cx="7" cy="6"/>
                </a:xfrm>
                <a:custGeom>
                  <a:avLst/>
                  <a:gdLst>
                    <a:gd name="T0" fmla="*/ 2 w 13"/>
                    <a:gd name="T1" fmla="*/ 0 h 18"/>
                    <a:gd name="T2" fmla="*/ 2 w 13"/>
                    <a:gd name="T3" fmla="*/ 1 h 18"/>
                    <a:gd name="T4" fmla="*/ 1 w 13"/>
                    <a:gd name="T5" fmla="*/ 2 h 18"/>
                    <a:gd name="T6" fmla="*/ 1 w 13"/>
                    <a:gd name="T7" fmla="*/ 2 h 18"/>
                    <a:gd name="T8" fmla="*/ 0 w 13"/>
                    <a:gd name="T9" fmla="*/ 2 h 18"/>
                    <a:gd name="T10" fmla="*/ 0 w 13"/>
                    <a:gd name="T11" fmla="*/ 1 h 18"/>
                    <a:gd name="T12" fmla="*/ 0 w 13"/>
                    <a:gd name="T13" fmla="*/ 1 h 18"/>
                    <a:gd name="T14" fmla="*/ 1 w 13"/>
                    <a:gd name="T15" fmla="*/ 1 h 18"/>
                    <a:gd name="T16" fmla="*/ 2 w 13"/>
                    <a:gd name="T17" fmla="*/ 0 h 18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13" h="18">
                      <a:moveTo>
                        <a:pt x="13" y="0"/>
                      </a:moveTo>
                      <a:lnTo>
                        <a:pt x="10" y="9"/>
                      </a:lnTo>
                      <a:lnTo>
                        <a:pt x="6" y="18"/>
                      </a:lnTo>
                      <a:lnTo>
                        <a:pt x="5" y="17"/>
                      </a:lnTo>
                      <a:lnTo>
                        <a:pt x="3" y="14"/>
                      </a:lnTo>
                      <a:lnTo>
                        <a:pt x="1" y="10"/>
                      </a:lnTo>
                      <a:lnTo>
                        <a:pt x="0" y="6"/>
                      </a:lnTo>
                      <a:lnTo>
                        <a:pt x="6" y="6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831" name="Freeform 380">
                <a:extLst>
                  <a:ext uri="{FF2B5EF4-FFF2-40B4-BE49-F238E27FC236}">
                    <a16:creationId xmlns:a16="http://schemas.microsoft.com/office/drawing/2014/main" id="{9C74BE77-1E9B-4A6E-8F65-7C4FD38EA27A}"/>
                  </a:ext>
                </a:extLst>
              </p:cNvPr>
              <p:cNvSpPr>
                <a:spLocks/>
              </p:cNvSpPr>
              <p:nvPr>
                <p:custDataLst>
                  <p:tags r:id="rId269"/>
                </p:custDataLst>
              </p:nvPr>
            </p:nvSpPr>
            <p:spPr bwMode="auto">
              <a:xfrm>
                <a:off x="4355382" y="4719814"/>
                <a:ext cx="385492" cy="425429"/>
              </a:xfrm>
              <a:custGeom>
                <a:avLst/>
                <a:gdLst>
                  <a:gd name="T0" fmla="*/ 11277731 w 736"/>
                  <a:gd name="T1" fmla="*/ 189690187 h 721"/>
                  <a:gd name="T2" fmla="*/ 17104104 w 736"/>
                  <a:gd name="T3" fmla="*/ 184982519 h 721"/>
                  <a:gd name="T4" fmla="*/ 23682672 w 736"/>
                  <a:gd name="T5" fmla="*/ 184982519 h 721"/>
                  <a:gd name="T6" fmla="*/ 36839808 w 736"/>
                  <a:gd name="T7" fmla="*/ 191628298 h 721"/>
                  <a:gd name="T8" fmla="*/ 46049977 w 736"/>
                  <a:gd name="T9" fmla="*/ 195228248 h 721"/>
                  <a:gd name="T10" fmla="*/ 54883831 w 736"/>
                  <a:gd name="T11" fmla="*/ 194674653 h 721"/>
                  <a:gd name="T12" fmla="*/ 114842706 w 736"/>
                  <a:gd name="T13" fmla="*/ 198551401 h 721"/>
                  <a:gd name="T14" fmla="*/ 122361194 w 736"/>
                  <a:gd name="T15" fmla="*/ 195782370 h 721"/>
                  <a:gd name="T16" fmla="*/ 117850188 w 736"/>
                  <a:gd name="T17" fmla="*/ 181936164 h 721"/>
                  <a:gd name="T18" fmla="*/ 124804637 w 736"/>
                  <a:gd name="T19" fmla="*/ 119906085 h 721"/>
                  <a:gd name="T20" fmla="*/ 133262610 w 736"/>
                  <a:gd name="T21" fmla="*/ 118798368 h 721"/>
                  <a:gd name="T22" fmla="*/ 135894211 w 736"/>
                  <a:gd name="T23" fmla="*/ 115198417 h 721"/>
                  <a:gd name="T24" fmla="*/ 137961773 w 736"/>
                  <a:gd name="T25" fmla="*/ 99690897 h 721"/>
                  <a:gd name="T26" fmla="*/ 135706054 w 736"/>
                  <a:gd name="T27" fmla="*/ 83629782 h 721"/>
                  <a:gd name="T28" fmla="*/ 133074887 w 736"/>
                  <a:gd name="T29" fmla="*/ 84183378 h 721"/>
                  <a:gd name="T30" fmla="*/ 127059923 w 736"/>
                  <a:gd name="T31" fmla="*/ 83075660 h 721"/>
                  <a:gd name="T32" fmla="*/ 119165988 w 736"/>
                  <a:gd name="T33" fmla="*/ 82798862 h 721"/>
                  <a:gd name="T34" fmla="*/ 117098426 w 736"/>
                  <a:gd name="T35" fmla="*/ 80306629 h 721"/>
                  <a:gd name="T36" fmla="*/ 115970349 w 736"/>
                  <a:gd name="T37" fmla="*/ 70060900 h 721"/>
                  <a:gd name="T38" fmla="*/ 114090944 w 736"/>
                  <a:gd name="T39" fmla="*/ 60645563 h 721"/>
                  <a:gd name="T40" fmla="*/ 112211539 w 736"/>
                  <a:gd name="T41" fmla="*/ 51507025 h 721"/>
                  <a:gd name="T42" fmla="*/ 114090944 w 736"/>
                  <a:gd name="T43" fmla="*/ 46245761 h 721"/>
                  <a:gd name="T44" fmla="*/ 115970349 w 736"/>
                  <a:gd name="T45" fmla="*/ 40983971 h 721"/>
                  <a:gd name="T46" fmla="*/ 114842706 w 736"/>
                  <a:gd name="T47" fmla="*/ 27691887 h 721"/>
                  <a:gd name="T48" fmla="*/ 102249608 w 736"/>
                  <a:gd name="T49" fmla="*/ 19384268 h 721"/>
                  <a:gd name="T50" fmla="*/ 89656510 w 736"/>
                  <a:gd name="T51" fmla="*/ 18276550 h 721"/>
                  <a:gd name="T52" fmla="*/ 88528434 w 736"/>
                  <a:gd name="T53" fmla="*/ 22430623 h 721"/>
                  <a:gd name="T54" fmla="*/ 87024910 w 736"/>
                  <a:gd name="T55" fmla="*/ 27968685 h 721"/>
                  <a:gd name="T56" fmla="*/ 82702061 w 736"/>
                  <a:gd name="T57" fmla="*/ 33784070 h 721"/>
                  <a:gd name="T58" fmla="*/ 73680050 w 736"/>
                  <a:gd name="T59" fmla="*/ 35999505 h 721"/>
                  <a:gd name="T60" fmla="*/ 68416848 w 736"/>
                  <a:gd name="T61" fmla="*/ 31845959 h 721"/>
                  <a:gd name="T62" fmla="*/ 63718119 w 736"/>
                  <a:gd name="T63" fmla="*/ 22707421 h 721"/>
                  <a:gd name="T64" fmla="*/ 59958875 w 736"/>
                  <a:gd name="T65" fmla="*/ 10799852 h 721"/>
                  <a:gd name="T66" fmla="*/ 58643075 w 736"/>
                  <a:gd name="T67" fmla="*/ 0 h 721"/>
                  <a:gd name="T68" fmla="*/ 5638649 w 736"/>
                  <a:gd name="T69" fmla="*/ 4153546 h 721"/>
                  <a:gd name="T70" fmla="*/ 8833854 w 736"/>
                  <a:gd name="T71" fmla="*/ 8030821 h 721"/>
                  <a:gd name="T72" fmla="*/ 14097056 w 736"/>
                  <a:gd name="T73" fmla="*/ 20768783 h 721"/>
                  <a:gd name="T74" fmla="*/ 19171666 w 736"/>
                  <a:gd name="T75" fmla="*/ 35999505 h 721"/>
                  <a:gd name="T76" fmla="*/ 19359823 w 736"/>
                  <a:gd name="T77" fmla="*/ 47353479 h 721"/>
                  <a:gd name="T78" fmla="*/ 17479985 w 736"/>
                  <a:gd name="T79" fmla="*/ 56214693 h 721"/>
                  <a:gd name="T80" fmla="*/ 18044023 w 736"/>
                  <a:gd name="T81" fmla="*/ 63414594 h 721"/>
                  <a:gd name="T82" fmla="*/ 22367305 w 736"/>
                  <a:gd name="T83" fmla="*/ 75322163 h 721"/>
                  <a:gd name="T84" fmla="*/ 24622591 w 736"/>
                  <a:gd name="T85" fmla="*/ 85014297 h 721"/>
                  <a:gd name="T86" fmla="*/ 23870829 w 736"/>
                  <a:gd name="T87" fmla="*/ 97475988 h 721"/>
                  <a:gd name="T88" fmla="*/ 19923428 w 736"/>
                  <a:gd name="T89" fmla="*/ 111598466 h 721"/>
                  <a:gd name="T90" fmla="*/ 14472937 w 736"/>
                  <a:gd name="T91" fmla="*/ 123506036 h 721"/>
                  <a:gd name="T92" fmla="*/ 7706211 w 736"/>
                  <a:gd name="T93" fmla="*/ 132090452 h 721"/>
                  <a:gd name="T94" fmla="*/ 4699163 w 736"/>
                  <a:gd name="T95" fmla="*/ 163659613 h 721"/>
                  <a:gd name="T96" fmla="*/ 2067562 w 736"/>
                  <a:gd name="T97" fmla="*/ 173628545 h 72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736" h="721">
                    <a:moveTo>
                      <a:pt x="0" y="691"/>
                    </a:moveTo>
                    <a:lnTo>
                      <a:pt x="46" y="697"/>
                    </a:lnTo>
                    <a:lnTo>
                      <a:pt x="53" y="690"/>
                    </a:lnTo>
                    <a:lnTo>
                      <a:pt x="60" y="685"/>
                    </a:lnTo>
                    <a:lnTo>
                      <a:pt x="68" y="679"/>
                    </a:lnTo>
                    <a:lnTo>
                      <a:pt x="75" y="674"/>
                    </a:lnTo>
                    <a:lnTo>
                      <a:pt x="83" y="671"/>
                    </a:lnTo>
                    <a:lnTo>
                      <a:pt x="91" y="668"/>
                    </a:lnTo>
                    <a:lnTo>
                      <a:pt x="97" y="666"/>
                    </a:lnTo>
                    <a:lnTo>
                      <a:pt x="105" y="666"/>
                    </a:lnTo>
                    <a:lnTo>
                      <a:pt x="116" y="666"/>
                    </a:lnTo>
                    <a:lnTo>
                      <a:pt x="126" y="668"/>
                    </a:lnTo>
                    <a:lnTo>
                      <a:pt x="137" y="671"/>
                    </a:lnTo>
                    <a:lnTo>
                      <a:pt x="149" y="674"/>
                    </a:lnTo>
                    <a:lnTo>
                      <a:pt x="172" y="683"/>
                    </a:lnTo>
                    <a:lnTo>
                      <a:pt x="196" y="692"/>
                    </a:lnTo>
                    <a:lnTo>
                      <a:pt x="208" y="696"/>
                    </a:lnTo>
                    <a:lnTo>
                      <a:pt x="220" y="700"/>
                    </a:lnTo>
                    <a:lnTo>
                      <a:pt x="232" y="703"/>
                    </a:lnTo>
                    <a:lnTo>
                      <a:pt x="245" y="705"/>
                    </a:lnTo>
                    <a:lnTo>
                      <a:pt x="257" y="706"/>
                    </a:lnTo>
                    <a:lnTo>
                      <a:pt x="269" y="707"/>
                    </a:lnTo>
                    <a:lnTo>
                      <a:pt x="280" y="706"/>
                    </a:lnTo>
                    <a:lnTo>
                      <a:pt x="292" y="703"/>
                    </a:lnTo>
                    <a:lnTo>
                      <a:pt x="411" y="703"/>
                    </a:lnTo>
                    <a:lnTo>
                      <a:pt x="411" y="721"/>
                    </a:lnTo>
                    <a:lnTo>
                      <a:pt x="604" y="721"/>
                    </a:lnTo>
                    <a:lnTo>
                      <a:pt x="611" y="717"/>
                    </a:lnTo>
                    <a:lnTo>
                      <a:pt x="619" y="714"/>
                    </a:lnTo>
                    <a:lnTo>
                      <a:pt x="627" y="712"/>
                    </a:lnTo>
                    <a:lnTo>
                      <a:pt x="634" y="710"/>
                    </a:lnTo>
                    <a:lnTo>
                      <a:pt x="651" y="707"/>
                    </a:lnTo>
                    <a:lnTo>
                      <a:pt x="671" y="703"/>
                    </a:lnTo>
                    <a:lnTo>
                      <a:pt x="658" y="691"/>
                    </a:lnTo>
                    <a:lnTo>
                      <a:pt x="643" y="674"/>
                    </a:lnTo>
                    <a:lnTo>
                      <a:pt x="627" y="657"/>
                    </a:lnTo>
                    <a:lnTo>
                      <a:pt x="610" y="641"/>
                    </a:lnTo>
                    <a:lnTo>
                      <a:pt x="610" y="432"/>
                    </a:lnTo>
                    <a:lnTo>
                      <a:pt x="631" y="433"/>
                    </a:lnTo>
                    <a:lnTo>
                      <a:pt x="664" y="433"/>
                    </a:lnTo>
                    <a:lnTo>
                      <a:pt x="680" y="433"/>
                    </a:lnTo>
                    <a:lnTo>
                      <a:pt x="696" y="432"/>
                    </a:lnTo>
                    <a:lnTo>
                      <a:pt x="703" y="431"/>
                    </a:lnTo>
                    <a:lnTo>
                      <a:pt x="709" y="429"/>
                    </a:lnTo>
                    <a:lnTo>
                      <a:pt x="713" y="428"/>
                    </a:lnTo>
                    <a:lnTo>
                      <a:pt x="717" y="426"/>
                    </a:lnTo>
                    <a:lnTo>
                      <a:pt x="720" y="421"/>
                    </a:lnTo>
                    <a:lnTo>
                      <a:pt x="723" y="416"/>
                    </a:lnTo>
                    <a:lnTo>
                      <a:pt x="725" y="408"/>
                    </a:lnTo>
                    <a:lnTo>
                      <a:pt x="728" y="400"/>
                    </a:lnTo>
                    <a:lnTo>
                      <a:pt x="732" y="380"/>
                    </a:lnTo>
                    <a:lnTo>
                      <a:pt x="734" y="360"/>
                    </a:lnTo>
                    <a:lnTo>
                      <a:pt x="736" y="324"/>
                    </a:lnTo>
                    <a:lnTo>
                      <a:pt x="736" y="309"/>
                    </a:lnTo>
                    <a:lnTo>
                      <a:pt x="728" y="304"/>
                    </a:lnTo>
                    <a:lnTo>
                      <a:pt x="722" y="302"/>
                    </a:lnTo>
                    <a:lnTo>
                      <a:pt x="718" y="302"/>
                    </a:lnTo>
                    <a:lnTo>
                      <a:pt x="714" y="303"/>
                    </a:lnTo>
                    <a:lnTo>
                      <a:pt x="711" y="304"/>
                    </a:lnTo>
                    <a:lnTo>
                      <a:pt x="708" y="304"/>
                    </a:lnTo>
                    <a:lnTo>
                      <a:pt x="703" y="302"/>
                    </a:lnTo>
                    <a:lnTo>
                      <a:pt x="697" y="297"/>
                    </a:lnTo>
                    <a:lnTo>
                      <a:pt x="685" y="298"/>
                    </a:lnTo>
                    <a:lnTo>
                      <a:pt x="676" y="300"/>
                    </a:lnTo>
                    <a:lnTo>
                      <a:pt x="666" y="302"/>
                    </a:lnTo>
                    <a:lnTo>
                      <a:pt x="650" y="303"/>
                    </a:lnTo>
                    <a:lnTo>
                      <a:pt x="641" y="302"/>
                    </a:lnTo>
                    <a:lnTo>
                      <a:pt x="634" y="299"/>
                    </a:lnTo>
                    <a:lnTo>
                      <a:pt x="631" y="298"/>
                    </a:lnTo>
                    <a:lnTo>
                      <a:pt x="628" y="295"/>
                    </a:lnTo>
                    <a:lnTo>
                      <a:pt x="626" y="293"/>
                    </a:lnTo>
                    <a:lnTo>
                      <a:pt x="623" y="290"/>
                    </a:lnTo>
                    <a:lnTo>
                      <a:pt x="620" y="282"/>
                    </a:lnTo>
                    <a:lnTo>
                      <a:pt x="619" y="274"/>
                    </a:lnTo>
                    <a:lnTo>
                      <a:pt x="618" y="264"/>
                    </a:lnTo>
                    <a:lnTo>
                      <a:pt x="617" y="253"/>
                    </a:lnTo>
                    <a:lnTo>
                      <a:pt x="616" y="244"/>
                    </a:lnTo>
                    <a:lnTo>
                      <a:pt x="613" y="236"/>
                    </a:lnTo>
                    <a:lnTo>
                      <a:pt x="610" y="227"/>
                    </a:lnTo>
                    <a:lnTo>
                      <a:pt x="607" y="219"/>
                    </a:lnTo>
                    <a:lnTo>
                      <a:pt x="604" y="211"/>
                    </a:lnTo>
                    <a:lnTo>
                      <a:pt x="600" y="203"/>
                    </a:lnTo>
                    <a:lnTo>
                      <a:pt x="598" y="195"/>
                    </a:lnTo>
                    <a:lnTo>
                      <a:pt x="597" y="186"/>
                    </a:lnTo>
                    <a:lnTo>
                      <a:pt x="598" y="181"/>
                    </a:lnTo>
                    <a:lnTo>
                      <a:pt x="600" y="177"/>
                    </a:lnTo>
                    <a:lnTo>
                      <a:pt x="604" y="171"/>
                    </a:lnTo>
                    <a:lnTo>
                      <a:pt x="607" y="167"/>
                    </a:lnTo>
                    <a:lnTo>
                      <a:pt x="610" y="162"/>
                    </a:lnTo>
                    <a:lnTo>
                      <a:pt x="613" y="157"/>
                    </a:lnTo>
                    <a:lnTo>
                      <a:pt x="616" y="153"/>
                    </a:lnTo>
                    <a:lnTo>
                      <a:pt x="617" y="148"/>
                    </a:lnTo>
                    <a:lnTo>
                      <a:pt x="616" y="136"/>
                    </a:lnTo>
                    <a:lnTo>
                      <a:pt x="612" y="120"/>
                    </a:lnTo>
                    <a:lnTo>
                      <a:pt x="611" y="109"/>
                    </a:lnTo>
                    <a:lnTo>
                      <a:pt x="611" y="100"/>
                    </a:lnTo>
                    <a:lnTo>
                      <a:pt x="613" y="90"/>
                    </a:lnTo>
                    <a:lnTo>
                      <a:pt x="617" y="81"/>
                    </a:lnTo>
                    <a:lnTo>
                      <a:pt x="594" y="77"/>
                    </a:lnTo>
                    <a:lnTo>
                      <a:pt x="544" y="70"/>
                    </a:lnTo>
                    <a:lnTo>
                      <a:pt x="517" y="67"/>
                    </a:lnTo>
                    <a:lnTo>
                      <a:pt x="494" y="66"/>
                    </a:lnTo>
                    <a:lnTo>
                      <a:pt x="484" y="65"/>
                    </a:lnTo>
                    <a:lnTo>
                      <a:pt x="477" y="66"/>
                    </a:lnTo>
                    <a:lnTo>
                      <a:pt x="473" y="67"/>
                    </a:lnTo>
                    <a:lnTo>
                      <a:pt x="471" y="69"/>
                    </a:lnTo>
                    <a:lnTo>
                      <a:pt x="471" y="73"/>
                    </a:lnTo>
                    <a:lnTo>
                      <a:pt x="471" y="81"/>
                    </a:lnTo>
                    <a:lnTo>
                      <a:pt x="470" y="86"/>
                    </a:lnTo>
                    <a:lnTo>
                      <a:pt x="469" y="91"/>
                    </a:lnTo>
                    <a:lnTo>
                      <a:pt x="466" y="96"/>
                    </a:lnTo>
                    <a:lnTo>
                      <a:pt x="463" y="101"/>
                    </a:lnTo>
                    <a:lnTo>
                      <a:pt x="460" y="107"/>
                    </a:lnTo>
                    <a:lnTo>
                      <a:pt x="454" y="112"/>
                    </a:lnTo>
                    <a:lnTo>
                      <a:pt x="448" y="117"/>
                    </a:lnTo>
                    <a:lnTo>
                      <a:pt x="440" y="122"/>
                    </a:lnTo>
                    <a:lnTo>
                      <a:pt x="430" y="125"/>
                    </a:lnTo>
                    <a:lnTo>
                      <a:pt x="419" y="128"/>
                    </a:lnTo>
                    <a:lnTo>
                      <a:pt x="406" y="130"/>
                    </a:lnTo>
                    <a:lnTo>
                      <a:pt x="392" y="130"/>
                    </a:lnTo>
                    <a:lnTo>
                      <a:pt x="385" y="129"/>
                    </a:lnTo>
                    <a:lnTo>
                      <a:pt x="378" y="127"/>
                    </a:lnTo>
                    <a:lnTo>
                      <a:pt x="372" y="122"/>
                    </a:lnTo>
                    <a:lnTo>
                      <a:pt x="364" y="115"/>
                    </a:lnTo>
                    <a:lnTo>
                      <a:pt x="358" y="108"/>
                    </a:lnTo>
                    <a:lnTo>
                      <a:pt x="351" y="100"/>
                    </a:lnTo>
                    <a:lnTo>
                      <a:pt x="344" y="91"/>
                    </a:lnTo>
                    <a:lnTo>
                      <a:pt x="339" y="82"/>
                    </a:lnTo>
                    <a:lnTo>
                      <a:pt x="333" y="72"/>
                    </a:lnTo>
                    <a:lnTo>
                      <a:pt x="328" y="60"/>
                    </a:lnTo>
                    <a:lnTo>
                      <a:pt x="324" y="50"/>
                    </a:lnTo>
                    <a:lnTo>
                      <a:pt x="319" y="39"/>
                    </a:lnTo>
                    <a:lnTo>
                      <a:pt x="316" y="29"/>
                    </a:lnTo>
                    <a:lnTo>
                      <a:pt x="314" y="19"/>
                    </a:lnTo>
                    <a:lnTo>
                      <a:pt x="312" y="10"/>
                    </a:lnTo>
                    <a:lnTo>
                      <a:pt x="312" y="0"/>
                    </a:lnTo>
                    <a:lnTo>
                      <a:pt x="26" y="0"/>
                    </a:lnTo>
                    <a:lnTo>
                      <a:pt x="26" y="5"/>
                    </a:lnTo>
                    <a:lnTo>
                      <a:pt x="28" y="10"/>
                    </a:lnTo>
                    <a:lnTo>
                      <a:pt x="30" y="15"/>
                    </a:lnTo>
                    <a:lnTo>
                      <a:pt x="34" y="19"/>
                    </a:lnTo>
                    <a:lnTo>
                      <a:pt x="38" y="22"/>
                    </a:lnTo>
                    <a:lnTo>
                      <a:pt x="42" y="26"/>
                    </a:lnTo>
                    <a:lnTo>
                      <a:pt x="47" y="29"/>
                    </a:lnTo>
                    <a:lnTo>
                      <a:pt x="52" y="31"/>
                    </a:lnTo>
                    <a:lnTo>
                      <a:pt x="58" y="47"/>
                    </a:lnTo>
                    <a:lnTo>
                      <a:pt x="67" y="61"/>
                    </a:lnTo>
                    <a:lnTo>
                      <a:pt x="75" y="75"/>
                    </a:lnTo>
                    <a:lnTo>
                      <a:pt x="84" y="89"/>
                    </a:lnTo>
                    <a:lnTo>
                      <a:pt x="92" y="104"/>
                    </a:lnTo>
                    <a:lnTo>
                      <a:pt x="98" y="121"/>
                    </a:lnTo>
                    <a:lnTo>
                      <a:pt x="102" y="130"/>
                    </a:lnTo>
                    <a:lnTo>
                      <a:pt x="104" y="139"/>
                    </a:lnTo>
                    <a:lnTo>
                      <a:pt x="105" y="150"/>
                    </a:lnTo>
                    <a:lnTo>
                      <a:pt x="105" y="161"/>
                    </a:lnTo>
                    <a:lnTo>
                      <a:pt x="103" y="171"/>
                    </a:lnTo>
                    <a:lnTo>
                      <a:pt x="98" y="183"/>
                    </a:lnTo>
                    <a:lnTo>
                      <a:pt x="96" y="190"/>
                    </a:lnTo>
                    <a:lnTo>
                      <a:pt x="94" y="196"/>
                    </a:lnTo>
                    <a:lnTo>
                      <a:pt x="93" y="203"/>
                    </a:lnTo>
                    <a:lnTo>
                      <a:pt x="92" y="210"/>
                    </a:lnTo>
                    <a:lnTo>
                      <a:pt x="93" y="217"/>
                    </a:lnTo>
                    <a:lnTo>
                      <a:pt x="94" y="223"/>
                    </a:lnTo>
                    <a:lnTo>
                      <a:pt x="96" y="229"/>
                    </a:lnTo>
                    <a:lnTo>
                      <a:pt x="98" y="236"/>
                    </a:lnTo>
                    <a:lnTo>
                      <a:pt x="105" y="248"/>
                    </a:lnTo>
                    <a:lnTo>
                      <a:pt x="112" y="260"/>
                    </a:lnTo>
                    <a:lnTo>
                      <a:pt x="119" y="272"/>
                    </a:lnTo>
                    <a:lnTo>
                      <a:pt x="126" y="285"/>
                    </a:lnTo>
                    <a:lnTo>
                      <a:pt x="128" y="293"/>
                    </a:lnTo>
                    <a:lnTo>
                      <a:pt x="130" y="300"/>
                    </a:lnTo>
                    <a:lnTo>
                      <a:pt x="131" y="307"/>
                    </a:lnTo>
                    <a:lnTo>
                      <a:pt x="133" y="315"/>
                    </a:lnTo>
                    <a:lnTo>
                      <a:pt x="131" y="326"/>
                    </a:lnTo>
                    <a:lnTo>
                      <a:pt x="129" y="338"/>
                    </a:lnTo>
                    <a:lnTo>
                      <a:pt x="127" y="352"/>
                    </a:lnTo>
                    <a:lnTo>
                      <a:pt x="123" y="364"/>
                    </a:lnTo>
                    <a:lnTo>
                      <a:pt x="118" y="377"/>
                    </a:lnTo>
                    <a:lnTo>
                      <a:pt x="113" y="389"/>
                    </a:lnTo>
                    <a:lnTo>
                      <a:pt x="106" y="403"/>
                    </a:lnTo>
                    <a:lnTo>
                      <a:pt x="100" y="414"/>
                    </a:lnTo>
                    <a:lnTo>
                      <a:pt x="92" y="426"/>
                    </a:lnTo>
                    <a:lnTo>
                      <a:pt x="84" y="436"/>
                    </a:lnTo>
                    <a:lnTo>
                      <a:pt x="77" y="446"/>
                    </a:lnTo>
                    <a:lnTo>
                      <a:pt x="68" y="457"/>
                    </a:lnTo>
                    <a:lnTo>
                      <a:pt x="59" y="465"/>
                    </a:lnTo>
                    <a:lnTo>
                      <a:pt x="50" y="471"/>
                    </a:lnTo>
                    <a:lnTo>
                      <a:pt x="41" y="477"/>
                    </a:lnTo>
                    <a:lnTo>
                      <a:pt x="33" y="481"/>
                    </a:lnTo>
                    <a:lnTo>
                      <a:pt x="33" y="586"/>
                    </a:lnTo>
                    <a:lnTo>
                      <a:pt x="28" y="588"/>
                    </a:lnTo>
                    <a:lnTo>
                      <a:pt x="25" y="591"/>
                    </a:lnTo>
                    <a:lnTo>
                      <a:pt x="23" y="595"/>
                    </a:lnTo>
                    <a:lnTo>
                      <a:pt x="19" y="600"/>
                    </a:lnTo>
                    <a:lnTo>
                      <a:pt x="15" y="612"/>
                    </a:lnTo>
                    <a:lnTo>
                      <a:pt x="11" y="627"/>
                    </a:lnTo>
                    <a:lnTo>
                      <a:pt x="4" y="659"/>
                    </a:lnTo>
                    <a:lnTo>
                      <a:pt x="0" y="69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32" name="Freeform 381">
                <a:extLst>
                  <a:ext uri="{FF2B5EF4-FFF2-40B4-BE49-F238E27FC236}">
                    <a16:creationId xmlns:a16="http://schemas.microsoft.com/office/drawing/2014/main" id="{42A0C418-EFE5-4D1F-86AE-5B32C39AD871}"/>
                  </a:ext>
                </a:extLst>
              </p:cNvPr>
              <p:cNvSpPr>
                <a:spLocks/>
              </p:cNvSpPr>
              <p:nvPr>
                <p:custDataLst>
                  <p:tags r:id="rId270"/>
                </p:custDataLst>
              </p:nvPr>
            </p:nvSpPr>
            <p:spPr bwMode="auto">
              <a:xfrm>
                <a:off x="4369861" y="4688170"/>
                <a:ext cx="18098" cy="68560"/>
              </a:xfrm>
              <a:custGeom>
                <a:avLst/>
                <a:gdLst>
                  <a:gd name="T0" fmla="*/ 0 w 39"/>
                  <a:gd name="T1" fmla="*/ 117390504 h 31"/>
                  <a:gd name="T2" fmla="*/ 1988446 w 39"/>
                  <a:gd name="T3" fmla="*/ 106029944 h 31"/>
                  <a:gd name="T4" fmla="*/ 3645144 w 39"/>
                  <a:gd name="T5" fmla="*/ 106029944 h 31"/>
                  <a:gd name="T6" fmla="*/ 4307824 w 39"/>
                  <a:gd name="T7" fmla="*/ 106029944 h 31"/>
                  <a:gd name="T8" fmla="*/ 4970910 w 39"/>
                  <a:gd name="T9" fmla="*/ 106029944 h 31"/>
                  <a:gd name="T10" fmla="*/ 5799260 w 39"/>
                  <a:gd name="T11" fmla="*/ 102243091 h 31"/>
                  <a:gd name="T12" fmla="*/ 6461939 w 39"/>
                  <a:gd name="T13" fmla="*/ 94669385 h 31"/>
                  <a:gd name="T14" fmla="*/ 6461939 w 39"/>
                  <a:gd name="T15" fmla="*/ 0 h 31"/>
                  <a:gd name="T16" fmla="*/ 4307824 w 39"/>
                  <a:gd name="T17" fmla="*/ 0 h 31"/>
                  <a:gd name="T18" fmla="*/ 2816795 w 39"/>
                  <a:gd name="T19" fmla="*/ 0 h 31"/>
                  <a:gd name="T20" fmla="*/ 1325359 w 39"/>
                  <a:gd name="T21" fmla="*/ 0 h 31"/>
                  <a:gd name="T22" fmla="*/ 0 w 39"/>
                  <a:gd name="T23" fmla="*/ 0 h 31"/>
                  <a:gd name="T24" fmla="*/ 0 w 39"/>
                  <a:gd name="T25" fmla="*/ 117390504 h 3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39" h="31">
                    <a:moveTo>
                      <a:pt x="0" y="31"/>
                    </a:moveTo>
                    <a:lnTo>
                      <a:pt x="12" y="28"/>
                    </a:lnTo>
                    <a:lnTo>
                      <a:pt x="22" y="28"/>
                    </a:lnTo>
                    <a:lnTo>
                      <a:pt x="26" y="28"/>
                    </a:lnTo>
                    <a:lnTo>
                      <a:pt x="30" y="28"/>
                    </a:lnTo>
                    <a:lnTo>
                      <a:pt x="35" y="27"/>
                    </a:lnTo>
                    <a:lnTo>
                      <a:pt x="39" y="25"/>
                    </a:lnTo>
                    <a:lnTo>
                      <a:pt x="39" y="0"/>
                    </a:lnTo>
                    <a:lnTo>
                      <a:pt x="26" y="0"/>
                    </a:lnTo>
                    <a:lnTo>
                      <a:pt x="17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33" name="Freeform 382">
                <a:extLst>
                  <a:ext uri="{FF2B5EF4-FFF2-40B4-BE49-F238E27FC236}">
                    <a16:creationId xmlns:a16="http://schemas.microsoft.com/office/drawing/2014/main" id="{071CCDA1-9CFE-4BEB-BA04-BFD2F259A36D}"/>
                  </a:ext>
                </a:extLst>
              </p:cNvPr>
              <p:cNvSpPr>
                <a:spLocks/>
              </p:cNvSpPr>
              <p:nvPr>
                <p:custDataLst>
                  <p:tags r:id="rId271"/>
                </p:custDataLst>
              </p:nvPr>
            </p:nvSpPr>
            <p:spPr bwMode="auto">
              <a:xfrm>
                <a:off x="4492929" y="5299945"/>
                <a:ext cx="477794" cy="446525"/>
              </a:xfrm>
              <a:custGeom>
                <a:avLst/>
                <a:gdLst>
                  <a:gd name="T0" fmla="*/ 173656766 w 903"/>
                  <a:gd name="T1" fmla="*/ 80201633 h 759"/>
                  <a:gd name="T2" fmla="*/ 166702883 w 903"/>
                  <a:gd name="T3" fmla="*/ 106935336 h 759"/>
                  <a:gd name="T4" fmla="*/ 160714597 w 903"/>
                  <a:gd name="T5" fmla="*/ 114101352 h 759"/>
                  <a:gd name="T6" fmla="*/ 146999775 w 903"/>
                  <a:gd name="T7" fmla="*/ 139732591 h 759"/>
                  <a:gd name="T8" fmla="*/ 139079855 w 903"/>
                  <a:gd name="T9" fmla="*/ 154615331 h 759"/>
                  <a:gd name="T10" fmla="*/ 124978706 w 903"/>
                  <a:gd name="T11" fmla="*/ 168947363 h 759"/>
                  <a:gd name="T12" fmla="*/ 112616248 w 903"/>
                  <a:gd name="T13" fmla="*/ 183554486 h 759"/>
                  <a:gd name="T14" fmla="*/ 107593999 w 903"/>
                  <a:gd name="T15" fmla="*/ 192373674 h 759"/>
                  <a:gd name="T16" fmla="*/ 100446733 w 903"/>
                  <a:gd name="T17" fmla="*/ 194302986 h 759"/>
                  <a:gd name="T18" fmla="*/ 95810811 w 903"/>
                  <a:gd name="T19" fmla="*/ 195681066 h 759"/>
                  <a:gd name="T20" fmla="*/ 93685794 w 903"/>
                  <a:gd name="T21" fmla="*/ 200366538 h 759"/>
                  <a:gd name="T22" fmla="*/ 71858108 w 903"/>
                  <a:gd name="T23" fmla="*/ 200366538 h 759"/>
                  <a:gd name="T24" fmla="*/ 65483496 w 903"/>
                  <a:gd name="T25" fmla="*/ 201744093 h 759"/>
                  <a:gd name="T26" fmla="*/ 61040518 w 903"/>
                  <a:gd name="T27" fmla="*/ 201744093 h 759"/>
                  <a:gd name="T28" fmla="*/ 55245615 w 903"/>
                  <a:gd name="T29" fmla="*/ 200366538 h 759"/>
                  <a:gd name="T30" fmla="*/ 50802637 w 903"/>
                  <a:gd name="T31" fmla="*/ 203122173 h 759"/>
                  <a:gd name="T32" fmla="*/ 28202298 w 903"/>
                  <a:gd name="T33" fmla="*/ 209185725 h 759"/>
                  <a:gd name="T34" fmla="*/ 22407395 w 903"/>
                  <a:gd name="T35" fmla="*/ 207532029 h 759"/>
                  <a:gd name="T36" fmla="*/ 17385147 w 903"/>
                  <a:gd name="T37" fmla="*/ 203673405 h 759"/>
                  <a:gd name="T38" fmla="*/ 14680859 w 903"/>
                  <a:gd name="T39" fmla="*/ 198161610 h 759"/>
                  <a:gd name="T40" fmla="*/ 15260129 w 903"/>
                  <a:gd name="T41" fmla="*/ 192098058 h 759"/>
                  <a:gd name="T42" fmla="*/ 14487476 w 903"/>
                  <a:gd name="T43" fmla="*/ 173081078 h 759"/>
                  <a:gd name="T44" fmla="*/ 15260129 w 903"/>
                  <a:gd name="T45" fmla="*/ 167569283 h 759"/>
                  <a:gd name="T46" fmla="*/ 13135112 w 903"/>
                  <a:gd name="T47" fmla="*/ 157647107 h 759"/>
                  <a:gd name="T48" fmla="*/ 4249595 w 903"/>
                  <a:gd name="T49" fmla="*/ 142213135 h 759"/>
                  <a:gd name="T50" fmla="*/ 2317961 w 903"/>
                  <a:gd name="T51" fmla="*/ 133393948 h 759"/>
                  <a:gd name="T52" fmla="*/ 1931634 w 903"/>
                  <a:gd name="T53" fmla="*/ 120991228 h 759"/>
                  <a:gd name="T54" fmla="*/ 0 w 903"/>
                  <a:gd name="T55" fmla="*/ 103904085 h 759"/>
                  <a:gd name="T56" fmla="*/ 7533593 w 903"/>
                  <a:gd name="T57" fmla="*/ 103904085 h 759"/>
                  <a:gd name="T58" fmla="*/ 11010534 w 903"/>
                  <a:gd name="T59" fmla="*/ 109140264 h 759"/>
                  <a:gd name="T60" fmla="*/ 18157800 w 903"/>
                  <a:gd name="T61" fmla="*/ 112998888 h 759"/>
                  <a:gd name="T62" fmla="*/ 26077281 w 903"/>
                  <a:gd name="T63" fmla="*/ 113274504 h 759"/>
                  <a:gd name="T64" fmla="*/ 30906586 w 903"/>
                  <a:gd name="T65" fmla="*/ 110242728 h 759"/>
                  <a:gd name="T66" fmla="*/ 35156181 w 903"/>
                  <a:gd name="T67" fmla="*/ 102526005 h 759"/>
                  <a:gd name="T68" fmla="*/ 38053852 w 903"/>
                  <a:gd name="T69" fmla="*/ 63113966 h 759"/>
                  <a:gd name="T70" fmla="*/ 39405776 w 903"/>
                  <a:gd name="T71" fmla="*/ 50711771 h 759"/>
                  <a:gd name="T72" fmla="*/ 40565196 w 903"/>
                  <a:gd name="T73" fmla="*/ 46301914 h 759"/>
                  <a:gd name="T74" fmla="*/ 46166715 w 903"/>
                  <a:gd name="T75" fmla="*/ 49058074 h 759"/>
                  <a:gd name="T76" fmla="*/ 47325696 w 903"/>
                  <a:gd name="T77" fmla="*/ 65594510 h 759"/>
                  <a:gd name="T78" fmla="*/ 47712022 w 903"/>
                  <a:gd name="T79" fmla="*/ 75516161 h 759"/>
                  <a:gd name="T80" fmla="*/ 49450713 w 903"/>
                  <a:gd name="T81" fmla="*/ 79099169 h 759"/>
                  <a:gd name="T82" fmla="*/ 55438998 w 903"/>
                  <a:gd name="T83" fmla="*/ 81304097 h 759"/>
                  <a:gd name="T84" fmla="*/ 60267864 w 903"/>
                  <a:gd name="T85" fmla="*/ 80752865 h 759"/>
                  <a:gd name="T86" fmla="*/ 64324516 w 903"/>
                  <a:gd name="T87" fmla="*/ 74964929 h 759"/>
                  <a:gd name="T88" fmla="*/ 67608513 w 903"/>
                  <a:gd name="T89" fmla="*/ 64492046 h 759"/>
                  <a:gd name="T90" fmla="*/ 71085455 w 903"/>
                  <a:gd name="T91" fmla="*/ 55397243 h 759"/>
                  <a:gd name="T92" fmla="*/ 74755340 w 903"/>
                  <a:gd name="T93" fmla="*/ 52641083 h 759"/>
                  <a:gd name="T94" fmla="*/ 79970972 w 903"/>
                  <a:gd name="T95" fmla="*/ 53192315 h 759"/>
                  <a:gd name="T96" fmla="*/ 87118238 w 903"/>
                  <a:gd name="T97" fmla="*/ 57326030 h 759"/>
                  <a:gd name="T98" fmla="*/ 92333430 w 903"/>
                  <a:gd name="T99" fmla="*/ 59530958 h 759"/>
                  <a:gd name="T100" fmla="*/ 98901426 w 903"/>
                  <a:gd name="T101" fmla="*/ 58704110 h 759"/>
                  <a:gd name="T102" fmla="*/ 102571311 w 903"/>
                  <a:gd name="T103" fmla="*/ 55121627 h 759"/>
                  <a:gd name="T104" fmla="*/ 108945923 w 903"/>
                  <a:gd name="T105" fmla="*/ 35002183 h 759"/>
                  <a:gd name="T106" fmla="*/ 119763074 w 903"/>
                  <a:gd name="T107" fmla="*/ 22048756 h 759"/>
                  <a:gd name="T108" fmla="*/ 141397816 w 903"/>
                  <a:gd name="T109" fmla="*/ 3031776 h 759"/>
                  <a:gd name="T110" fmla="*/ 155692348 w 903"/>
                  <a:gd name="T111" fmla="*/ 826848 h 759"/>
                  <a:gd name="T112" fmla="*/ 160328270 w 903"/>
                  <a:gd name="T113" fmla="*/ 1653696 h 759"/>
                  <a:gd name="T114" fmla="*/ 164964192 w 903"/>
                  <a:gd name="T115" fmla="*/ 9646035 h 759"/>
                  <a:gd name="T116" fmla="*/ 168634517 w 903"/>
                  <a:gd name="T117" fmla="*/ 19568212 h 759"/>
                  <a:gd name="T118" fmla="*/ 170566151 w 903"/>
                  <a:gd name="T119" fmla="*/ 29489863 h 759"/>
                  <a:gd name="T120" fmla="*/ 167668480 w 903"/>
                  <a:gd name="T121" fmla="*/ 57050414 h 759"/>
                  <a:gd name="T122" fmla="*/ 160328270 w 903"/>
                  <a:gd name="T123" fmla="*/ 56224091 h 759"/>
                  <a:gd name="T124" fmla="*/ 159555617 w 903"/>
                  <a:gd name="T125" fmla="*/ 77445473 h 759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903" h="759">
                    <a:moveTo>
                      <a:pt x="870" y="296"/>
                    </a:moveTo>
                    <a:lnTo>
                      <a:pt x="875" y="295"/>
                    </a:lnTo>
                    <a:lnTo>
                      <a:pt x="886" y="293"/>
                    </a:lnTo>
                    <a:lnTo>
                      <a:pt x="899" y="291"/>
                    </a:lnTo>
                    <a:lnTo>
                      <a:pt x="903" y="290"/>
                    </a:lnTo>
                    <a:lnTo>
                      <a:pt x="863" y="364"/>
                    </a:lnTo>
                    <a:lnTo>
                      <a:pt x="863" y="376"/>
                    </a:lnTo>
                    <a:lnTo>
                      <a:pt x="863" y="388"/>
                    </a:lnTo>
                    <a:lnTo>
                      <a:pt x="857" y="392"/>
                    </a:lnTo>
                    <a:lnTo>
                      <a:pt x="849" y="397"/>
                    </a:lnTo>
                    <a:lnTo>
                      <a:pt x="840" y="405"/>
                    </a:lnTo>
                    <a:lnTo>
                      <a:pt x="832" y="414"/>
                    </a:lnTo>
                    <a:lnTo>
                      <a:pt x="813" y="436"/>
                    </a:lnTo>
                    <a:lnTo>
                      <a:pt x="794" y="460"/>
                    </a:lnTo>
                    <a:lnTo>
                      <a:pt x="776" y="485"/>
                    </a:lnTo>
                    <a:lnTo>
                      <a:pt x="761" y="507"/>
                    </a:lnTo>
                    <a:lnTo>
                      <a:pt x="749" y="525"/>
                    </a:lnTo>
                    <a:lnTo>
                      <a:pt x="744" y="537"/>
                    </a:lnTo>
                    <a:lnTo>
                      <a:pt x="732" y="550"/>
                    </a:lnTo>
                    <a:lnTo>
                      <a:pt x="720" y="561"/>
                    </a:lnTo>
                    <a:lnTo>
                      <a:pt x="706" y="571"/>
                    </a:lnTo>
                    <a:lnTo>
                      <a:pt x="694" y="581"/>
                    </a:lnTo>
                    <a:lnTo>
                      <a:pt x="670" y="598"/>
                    </a:lnTo>
                    <a:lnTo>
                      <a:pt x="647" y="613"/>
                    </a:lnTo>
                    <a:lnTo>
                      <a:pt x="624" y="628"/>
                    </a:lnTo>
                    <a:lnTo>
                      <a:pt x="603" y="646"/>
                    </a:lnTo>
                    <a:lnTo>
                      <a:pt x="592" y="655"/>
                    </a:lnTo>
                    <a:lnTo>
                      <a:pt x="583" y="666"/>
                    </a:lnTo>
                    <a:lnTo>
                      <a:pt x="574" y="677"/>
                    </a:lnTo>
                    <a:lnTo>
                      <a:pt x="565" y="690"/>
                    </a:lnTo>
                    <a:lnTo>
                      <a:pt x="561" y="694"/>
                    </a:lnTo>
                    <a:lnTo>
                      <a:pt x="557" y="698"/>
                    </a:lnTo>
                    <a:lnTo>
                      <a:pt x="553" y="700"/>
                    </a:lnTo>
                    <a:lnTo>
                      <a:pt x="546" y="702"/>
                    </a:lnTo>
                    <a:lnTo>
                      <a:pt x="534" y="704"/>
                    </a:lnTo>
                    <a:lnTo>
                      <a:pt x="520" y="705"/>
                    </a:lnTo>
                    <a:lnTo>
                      <a:pt x="513" y="705"/>
                    </a:lnTo>
                    <a:lnTo>
                      <a:pt x="507" y="706"/>
                    </a:lnTo>
                    <a:lnTo>
                      <a:pt x="501" y="708"/>
                    </a:lnTo>
                    <a:lnTo>
                      <a:pt x="496" y="710"/>
                    </a:lnTo>
                    <a:lnTo>
                      <a:pt x="491" y="713"/>
                    </a:lnTo>
                    <a:lnTo>
                      <a:pt x="488" y="716"/>
                    </a:lnTo>
                    <a:lnTo>
                      <a:pt x="486" y="721"/>
                    </a:lnTo>
                    <a:lnTo>
                      <a:pt x="485" y="727"/>
                    </a:lnTo>
                    <a:lnTo>
                      <a:pt x="444" y="727"/>
                    </a:lnTo>
                    <a:lnTo>
                      <a:pt x="415" y="727"/>
                    </a:lnTo>
                    <a:lnTo>
                      <a:pt x="395" y="727"/>
                    </a:lnTo>
                    <a:lnTo>
                      <a:pt x="372" y="727"/>
                    </a:lnTo>
                    <a:lnTo>
                      <a:pt x="359" y="727"/>
                    </a:lnTo>
                    <a:lnTo>
                      <a:pt x="348" y="729"/>
                    </a:lnTo>
                    <a:lnTo>
                      <a:pt x="344" y="730"/>
                    </a:lnTo>
                    <a:lnTo>
                      <a:pt x="339" y="732"/>
                    </a:lnTo>
                    <a:lnTo>
                      <a:pt x="332" y="735"/>
                    </a:lnTo>
                    <a:lnTo>
                      <a:pt x="325" y="739"/>
                    </a:lnTo>
                    <a:lnTo>
                      <a:pt x="320" y="735"/>
                    </a:lnTo>
                    <a:lnTo>
                      <a:pt x="316" y="732"/>
                    </a:lnTo>
                    <a:lnTo>
                      <a:pt x="310" y="730"/>
                    </a:lnTo>
                    <a:lnTo>
                      <a:pt x="306" y="729"/>
                    </a:lnTo>
                    <a:lnTo>
                      <a:pt x="296" y="727"/>
                    </a:lnTo>
                    <a:lnTo>
                      <a:pt x="286" y="727"/>
                    </a:lnTo>
                    <a:lnTo>
                      <a:pt x="283" y="730"/>
                    </a:lnTo>
                    <a:lnTo>
                      <a:pt x="278" y="732"/>
                    </a:lnTo>
                    <a:lnTo>
                      <a:pt x="272" y="735"/>
                    </a:lnTo>
                    <a:lnTo>
                      <a:pt x="263" y="737"/>
                    </a:lnTo>
                    <a:lnTo>
                      <a:pt x="242" y="742"/>
                    </a:lnTo>
                    <a:lnTo>
                      <a:pt x="218" y="747"/>
                    </a:lnTo>
                    <a:lnTo>
                      <a:pt x="173" y="756"/>
                    </a:lnTo>
                    <a:lnTo>
                      <a:pt x="146" y="759"/>
                    </a:lnTo>
                    <a:lnTo>
                      <a:pt x="139" y="758"/>
                    </a:lnTo>
                    <a:lnTo>
                      <a:pt x="131" y="757"/>
                    </a:lnTo>
                    <a:lnTo>
                      <a:pt x="123" y="756"/>
                    </a:lnTo>
                    <a:lnTo>
                      <a:pt x="116" y="753"/>
                    </a:lnTo>
                    <a:lnTo>
                      <a:pt x="109" y="750"/>
                    </a:lnTo>
                    <a:lnTo>
                      <a:pt x="103" y="746"/>
                    </a:lnTo>
                    <a:lnTo>
                      <a:pt x="96" y="743"/>
                    </a:lnTo>
                    <a:lnTo>
                      <a:pt x="90" y="739"/>
                    </a:lnTo>
                    <a:lnTo>
                      <a:pt x="85" y="734"/>
                    </a:lnTo>
                    <a:lnTo>
                      <a:pt x="82" y="730"/>
                    </a:lnTo>
                    <a:lnTo>
                      <a:pt x="78" y="725"/>
                    </a:lnTo>
                    <a:lnTo>
                      <a:pt x="76" y="719"/>
                    </a:lnTo>
                    <a:lnTo>
                      <a:pt x="75" y="714"/>
                    </a:lnTo>
                    <a:lnTo>
                      <a:pt x="75" y="708"/>
                    </a:lnTo>
                    <a:lnTo>
                      <a:pt x="76" y="703"/>
                    </a:lnTo>
                    <a:lnTo>
                      <a:pt x="79" y="697"/>
                    </a:lnTo>
                    <a:lnTo>
                      <a:pt x="60" y="648"/>
                    </a:lnTo>
                    <a:lnTo>
                      <a:pt x="65" y="639"/>
                    </a:lnTo>
                    <a:lnTo>
                      <a:pt x="72" y="632"/>
                    </a:lnTo>
                    <a:lnTo>
                      <a:pt x="75" y="628"/>
                    </a:lnTo>
                    <a:lnTo>
                      <a:pt x="77" y="625"/>
                    </a:lnTo>
                    <a:lnTo>
                      <a:pt x="79" y="621"/>
                    </a:lnTo>
                    <a:lnTo>
                      <a:pt x="79" y="616"/>
                    </a:lnTo>
                    <a:lnTo>
                      <a:pt x="79" y="608"/>
                    </a:lnTo>
                    <a:lnTo>
                      <a:pt x="78" y="600"/>
                    </a:lnTo>
                    <a:lnTo>
                      <a:pt x="76" y="592"/>
                    </a:lnTo>
                    <a:lnTo>
                      <a:pt x="74" y="584"/>
                    </a:lnTo>
                    <a:lnTo>
                      <a:pt x="68" y="572"/>
                    </a:lnTo>
                    <a:lnTo>
                      <a:pt x="61" y="561"/>
                    </a:lnTo>
                    <a:lnTo>
                      <a:pt x="43" y="542"/>
                    </a:lnTo>
                    <a:lnTo>
                      <a:pt x="27" y="524"/>
                    </a:lnTo>
                    <a:lnTo>
                      <a:pt x="22" y="516"/>
                    </a:lnTo>
                    <a:lnTo>
                      <a:pt x="18" y="509"/>
                    </a:lnTo>
                    <a:lnTo>
                      <a:pt x="16" y="502"/>
                    </a:lnTo>
                    <a:lnTo>
                      <a:pt x="14" y="496"/>
                    </a:lnTo>
                    <a:lnTo>
                      <a:pt x="12" y="484"/>
                    </a:lnTo>
                    <a:lnTo>
                      <a:pt x="11" y="472"/>
                    </a:lnTo>
                    <a:lnTo>
                      <a:pt x="11" y="461"/>
                    </a:lnTo>
                    <a:lnTo>
                      <a:pt x="11" y="450"/>
                    </a:lnTo>
                    <a:lnTo>
                      <a:pt x="10" y="439"/>
                    </a:lnTo>
                    <a:lnTo>
                      <a:pt x="7" y="426"/>
                    </a:lnTo>
                    <a:lnTo>
                      <a:pt x="6" y="412"/>
                    </a:lnTo>
                    <a:lnTo>
                      <a:pt x="4" y="395"/>
                    </a:lnTo>
                    <a:lnTo>
                      <a:pt x="0" y="377"/>
                    </a:lnTo>
                    <a:lnTo>
                      <a:pt x="0" y="364"/>
                    </a:lnTo>
                    <a:lnTo>
                      <a:pt x="33" y="364"/>
                    </a:lnTo>
                    <a:lnTo>
                      <a:pt x="36" y="371"/>
                    </a:lnTo>
                    <a:lnTo>
                      <a:pt x="39" y="377"/>
                    </a:lnTo>
                    <a:lnTo>
                      <a:pt x="43" y="382"/>
                    </a:lnTo>
                    <a:lnTo>
                      <a:pt x="48" y="387"/>
                    </a:lnTo>
                    <a:lnTo>
                      <a:pt x="52" y="392"/>
                    </a:lnTo>
                    <a:lnTo>
                      <a:pt x="57" y="396"/>
                    </a:lnTo>
                    <a:lnTo>
                      <a:pt x="63" y="399"/>
                    </a:lnTo>
                    <a:lnTo>
                      <a:pt x="68" y="402"/>
                    </a:lnTo>
                    <a:lnTo>
                      <a:pt x="81" y="407"/>
                    </a:lnTo>
                    <a:lnTo>
                      <a:pt x="94" y="410"/>
                    </a:lnTo>
                    <a:lnTo>
                      <a:pt x="107" y="412"/>
                    </a:lnTo>
                    <a:lnTo>
                      <a:pt x="119" y="413"/>
                    </a:lnTo>
                    <a:lnTo>
                      <a:pt x="128" y="412"/>
                    </a:lnTo>
                    <a:lnTo>
                      <a:pt x="135" y="411"/>
                    </a:lnTo>
                    <a:lnTo>
                      <a:pt x="142" y="409"/>
                    </a:lnTo>
                    <a:lnTo>
                      <a:pt x="149" y="407"/>
                    </a:lnTo>
                    <a:lnTo>
                      <a:pt x="154" y="404"/>
                    </a:lnTo>
                    <a:lnTo>
                      <a:pt x="160" y="400"/>
                    </a:lnTo>
                    <a:lnTo>
                      <a:pt x="164" y="396"/>
                    </a:lnTo>
                    <a:lnTo>
                      <a:pt x="168" y="392"/>
                    </a:lnTo>
                    <a:lnTo>
                      <a:pt x="176" y="382"/>
                    </a:lnTo>
                    <a:lnTo>
                      <a:pt x="182" y="372"/>
                    </a:lnTo>
                    <a:lnTo>
                      <a:pt x="187" y="361"/>
                    </a:lnTo>
                    <a:lnTo>
                      <a:pt x="193" y="351"/>
                    </a:lnTo>
                    <a:lnTo>
                      <a:pt x="193" y="240"/>
                    </a:lnTo>
                    <a:lnTo>
                      <a:pt x="197" y="229"/>
                    </a:lnTo>
                    <a:lnTo>
                      <a:pt x="199" y="217"/>
                    </a:lnTo>
                    <a:lnTo>
                      <a:pt x="201" y="206"/>
                    </a:lnTo>
                    <a:lnTo>
                      <a:pt x="202" y="194"/>
                    </a:lnTo>
                    <a:lnTo>
                      <a:pt x="204" y="184"/>
                    </a:lnTo>
                    <a:lnTo>
                      <a:pt x="206" y="176"/>
                    </a:lnTo>
                    <a:lnTo>
                      <a:pt x="207" y="173"/>
                    </a:lnTo>
                    <a:lnTo>
                      <a:pt x="208" y="170"/>
                    </a:lnTo>
                    <a:lnTo>
                      <a:pt x="210" y="168"/>
                    </a:lnTo>
                    <a:lnTo>
                      <a:pt x="212" y="167"/>
                    </a:lnTo>
                    <a:lnTo>
                      <a:pt x="220" y="171"/>
                    </a:lnTo>
                    <a:lnTo>
                      <a:pt x="229" y="175"/>
                    </a:lnTo>
                    <a:lnTo>
                      <a:pt x="239" y="178"/>
                    </a:lnTo>
                    <a:lnTo>
                      <a:pt x="245" y="179"/>
                    </a:lnTo>
                    <a:lnTo>
                      <a:pt x="245" y="201"/>
                    </a:lnTo>
                    <a:lnTo>
                      <a:pt x="245" y="219"/>
                    </a:lnTo>
                    <a:lnTo>
                      <a:pt x="245" y="238"/>
                    </a:lnTo>
                    <a:lnTo>
                      <a:pt x="245" y="259"/>
                    </a:lnTo>
                    <a:lnTo>
                      <a:pt x="246" y="265"/>
                    </a:lnTo>
                    <a:lnTo>
                      <a:pt x="246" y="270"/>
                    </a:lnTo>
                    <a:lnTo>
                      <a:pt x="247" y="274"/>
                    </a:lnTo>
                    <a:lnTo>
                      <a:pt x="250" y="278"/>
                    </a:lnTo>
                    <a:lnTo>
                      <a:pt x="252" y="281"/>
                    </a:lnTo>
                    <a:lnTo>
                      <a:pt x="254" y="284"/>
                    </a:lnTo>
                    <a:lnTo>
                      <a:pt x="256" y="287"/>
                    </a:lnTo>
                    <a:lnTo>
                      <a:pt x="260" y="289"/>
                    </a:lnTo>
                    <a:lnTo>
                      <a:pt x="267" y="292"/>
                    </a:lnTo>
                    <a:lnTo>
                      <a:pt x="276" y="294"/>
                    </a:lnTo>
                    <a:lnTo>
                      <a:pt x="287" y="295"/>
                    </a:lnTo>
                    <a:lnTo>
                      <a:pt x="299" y="296"/>
                    </a:lnTo>
                    <a:lnTo>
                      <a:pt x="303" y="295"/>
                    </a:lnTo>
                    <a:lnTo>
                      <a:pt x="308" y="295"/>
                    </a:lnTo>
                    <a:lnTo>
                      <a:pt x="312" y="293"/>
                    </a:lnTo>
                    <a:lnTo>
                      <a:pt x="316" y="291"/>
                    </a:lnTo>
                    <a:lnTo>
                      <a:pt x="322" y="286"/>
                    </a:lnTo>
                    <a:lnTo>
                      <a:pt x="329" y="280"/>
                    </a:lnTo>
                    <a:lnTo>
                      <a:pt x="333" y="272"/>
                    </a:lnTo>
                    <a:lnTo>
                      <a:pt x="337" y="263"/>
                    </a:lnTo>
                    <a:lnTo>
                      <a:pt x="342" y="254"/>
                    </a:lnTo>
                    <a:lnTo>
                      <a:pt x="345" y="243"/>
                    </a:lnTo>
                    <a:lnTo>
                      <a:pt x="350" y="234"/>
                    </a:lnTo>
                    <a:lnTo>
                      <a:pt x="353" y="224"/>
                    </a:lnTo>
                    <a:lnTo>
                      <a:pt x="357" y="216"/>
                    </a:lnTo>
                    <a:lnTo>
                      <a:pt x="363" y="208"/>
                    </a:lnTo>
                    <a:lnTo>
                      <a:pt x="368" y="201"/>
                    </a:lnTo>
                    <a:lnTo>
                      <a:pt x="375" y="195"/>
                    </a:lnTo>
                    <a:lnTo>
                      <a:pt x="378" y="193"/>
                    </a:lnTo>
                    <a:lnTo>
                      <a:pt x="382" y="192"/>
                    </a:lnTo>
                    <a:lnTo>
                      <a:pt x="387" y="191"/>
                    </a:lnTo>
                    <a:lnTo>
                      <a:pt x="392" y="191"/>
                    </a:lnTo>
                    <a:lnTo>
                      <a:pt x="400" y="191"/>
                    </a:lnTo>
                    <a:lnTo>
                      <a:pt x="408" y="192"/>
                    </a:lnTo>
                    <a:lnTo>
                      <a:pt x="414" y="193"/>
                    </a:lnTo>
                    <a:lnTo>
                      <a:pt x="421" y="195"/>
                    </a:lnTo>
                    <a:lnTo>
                      <a:pt x="431" y="200"/>
                    </a:lnTo>
                    <a:lnTo>
                      <a:pt x="441" y="204"/>
                    </a:lnTo>
                    <a:lnTo>
                      <a:pt x="451" y="208"/>
                    </a:lnTo>
                    <a:lnTo>
                      <a:pt x="460" y="212"/>
                    </a:lnTo>
                    <a:lnTo>
                      <a:pt x="466" y="214"/>
                    </a:lnTo>
                    <a:lnTo>
                      <a:pt x="471" y="215"/>
                    </a:lnTo>
                    <a:lnTo>
                      <a:pt x="478" y="216"/>
                    </a:lnTo>
                    <a:lnTo>
                      <a:pt x="485" y="216"/>
                    </a:lnTo>
                    <a:lnTo>
                      <a:pt x="496" y="216"/>
                    </a:lnTo>
                    <a:lnTo>
                      <a:pt x="504" y="215"/>
                    </a:lnTo>
                    <a:lnTo>
                      <a:pt x="512" y="213"/>
                    </a:lnTo>
                    <a:lnTo>
                      <a:pt x="518" y="211"/>
                    </a:lnTo>
                    <a:lnTo>
                      <a:pt x="523" y="208"/>
                    </a:lnTo>
                    <a:lnTo>
                      <a:pt x="527" y="204"/>
                    </a:lnTo>
                    <a:lnTo>
                      <a:pt x="531" y="200"/>
                    </a:lnTo>
                    <a:lnTo>
                      <a:pt x="534" y="194"/>
                    </a:lnTo>
                    <a:lnTo>
                      <a:pt x="544" y="169"/>
                    </a:lnTo>
                    <a:lnTo>
                      <a:pt x="558" y="135"/>
                    </a:lnTo>
                    <a:lnTo>
                      <a:pt x="564" y="127"/>
                    </a:lnTo>
                    <a:lnTo>
                      <a:pt x="572" y="119"/>
                    </a:lnTo>
                    <a:lnTo>
                      <a:pt x="582" y="110"/>
                    </a:lnTo>
                    <a:lnTo>
                      <a:pt x="593" y="100"/>
                    </a:lnTo>
                    <a:lnTo>
                      <a:pt x="620" y="80"/>
                    </a:lnTo>
                    <a:lnTo>
                      <a:pt x="649" y="61"/>
                    </a:lnTo>
                    <a:lnTo>
                      <a:pt x="679" y="43"/>
                    </a:lnTo>
                    <a:lnTo>
                      <a:pt x="708" y="25"/>
                    </a:lnTo>
                    <a:lnTo>
                      <a:pt x="732" y="11"/>
                    </a:lnTo>
                    <a:lnTo>
                      <a:pt x="750" y="0"/>
                    </a:lnTo>
                    <a:lnTo>
                      <a:pt x="777" y="1"/>
                    </a:lnTo>
                    <a:lnTo>
                      <a:pt x="798" y="3"/>
                    </a:lnTo>
                    <a:lnTo>
                      <a:pt x="806" y="3"/>
                    </a:lnTo>
                    <a:lnTo>
                      <a:pt x="815" y="3"/>
                    </a:lnTo>
                    <a:lnTo>
                      <a:pt x="823" y="2"/>
                    </a:lnTo>
                    <a:lnTo>
                      <a:pt x="830" y="0"/>
                    </a:lnTo>
                    <a:lnTo>
                      <a:pt x="830" y="6"/>
                    </a:lnTo>
                    <a:lnTo>
                      <a:pt x="850" y="6"/>
                    </a:lnTo>
                    <a:lnTo>
                      <a:pt x="850" y="17"/>
                    </a:lnTo>
                    <a:lnTo>
                      <a:pt x="851" y="26"/>
                    </a:lnTo>
                    <a:lnTo>
                      <a:pt x="854" y="35"/>
                    </a:lnTo>
                    <a:lnTo>
                      <a:pt x="856" y="41"/>
                    </a:lnTo>
                    <a:lnTo>
                      <a:pt x="861" y="52"/>
                    </a:lnTo>
                    <a:lnTo>
                      <a:pt x="867" y="62"/>
                    </a:lnTo>
                    <a:lnTo>
                      <a:pt x="873" y="71"/>
                    </a:lnTo>
                    <a:lnTo>
                      <a:pt x="879" y="82"/>
                    </a:lnTo>
                    <a:lnTo>
                      <a:pt x="880" y="90"/>
                    </a:lnTo>
                    <a:lnTo>
                      <a:pt x="882" y="98"/>
                    </a:lnTo>
                    <a:lnTo>
                      <a:pt x="883" y="107"/>
                    </a:lnTo>
                    <a:lnTo>
                      <a:pt x="883" y="117"/>
                    </a:lnTo>
                    <a:lnTo>
                      <a:pt x="883" y="204"/>
                    </a:lnTo>
                    <a:lnTo>
                      <a:pt x="875" y="206"/>
                    </a:lnTo>
                    <a:lnTo>
                      <a:pt x="868" y="207"/>
                    </a:lnTo>
                    <a:lnTo>
                      <a:pt x="860" y="207"/>
                    </a:lnTo>
                    <a:lnTo>
                      <a:pt x="852" y="206"/>
                    </a:lnTo>
                    <a:lnTo>
                      <a:pt x="838" y="205"/>
                    </a:lnTo>
                    <a:lnTo>
                      <a:pt x="830" y="204"/>
                    </a:lnTo>
                    <a:lnTo>
                      <a:pt x="826" y="236"/>
                    </a:lnTo>
                    <a:lnTo>
                      <a:pt x="825" y="262"/>
                    </a:lnTo>
                    <a:lnTo>
                      <a:pt x="826" y="272"/>
                    </a:lnTo>
                    <a:lnTo>
                      <a:pt x="826" y="281"/>
                    </a:lnTo>
                    <a:lnTo>
                      <a:pt x="828" y="289"/>
                    </a:lnTo>
                    <a:lnTo>
                      <a:pt x="830" y="296"/>
                    </a:lnTo>
                    <a:lnTo>
                      <a:pt x="870" y="296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34" name="Freeform 383">
                <a:extLst>
                  <a:ext uri="{FF2B5EF4-FFF2-40B4-BE49-F238E27FC236}">
                    <a16:creationId xmlns:a16="http://schemas.microsoft.com/office/drawing/2014/main" id="{0684611C-69F3-4AFE-85DC-FBA203A9BB66}"/>
                  </a:ext>
                </a:extLst>
              </p:cNvPr>
              <p:cNvSpPr>
                <a:spLocks/>
              </p:cNvSpPr>
              <p:nvPr>
                <p:custDataLst>
                  <p:tags r:id="rId272"/>
                </p:custDataLst>
              </p:nvPr>
            </p:nvSpPr>
            <p:spPr bwMode="auto">
              <a:xfrm>
                <a:off x="4670292" y="3689642"/>
                <a:ext cx="495892" cy="687367"/>
              </a:xfrm>
              <a:custGeom>
                <a:avLst/>
                <a:gdLst>
                  <a:gd name="T0" fmla="*/ 141060831 w 943"/>
                  <a:gd name="T1" fmla="*/ 1359526 h 1172"/>
                  <a:gd name="T2" fmla="*/ 145433188 w 943"/>
                  <a:gd name="T3" fmla="*/ 6254758 h 1172"/>
                  <a:gd name="T4" fmla="*/ 152657518 w 943"/>
                  <a:gd name="T5" fmla="*/ 8158721 h 1172"/>
                  <a:gd name="T6" fmla="*/ 154748645 w 943"/>
                  <a:gd name="T7" fmla="*/ 14957394 h 1172"/>
                  <a:gd name="T8" fmla="*/ 158740797 w 943"/>
                  <a:gd name="T9" fmla="*/ 29642569 h 1172"/>
                  <a:gd name="T10" fmla="*/ 159121002 w 943"/>
                  <a:gd name="T11" fmla="*/ 50855243 h 1172"/>
                  <a:gd name="T12" fmla="*/ 162923488 w 943"/>
                  <a:gd name="T13" fmla="*/ 66084334 h 1172"/>
                  <a:gd name="T14" fmla="*/ 175280584 w 943"/>
                  <a:gd name="T15" fmla="*/ 79409983 h 1172"/>
                  <a:gd name="T16" fmla="*/ 167105742 w 943"/>
                  <a:gd name="T17" fmla="*/ 98174780 h 1172"/>
                  <a:gd name="T18" fmla="*/ 161782873 w 943"/>
                  <a:gd name="T19" fmla="*/ 111500430 h 1172"/>
                  <a:gd name="T20" fmla="*/ 153798133 w 943"/>
                  <a:gd name="T21" fmla="*/ 172690052 h 1172"/>
                  <a:gd name="T22" fmla="*/ 146383700 w 943"/>
                  <a:gd name="T23" fmla="*/ 184111740 h 1172"/>
                  <a:gd name="T24" fmla="*/ 145052983 w 943"/>
                  <a:gd name="T25" fmla="*/ 196077864 h 1172"/>
                  <a:gd name="T26" fmla="*/ 141631139 w 943"/>
                  <a:gd name="T27" fmla="*/ 199885267 h 1172"/>
                  <a:gd name="T28" fmla="*/ 137448884 w 943"/>
                  <a:gd name="T29" fmla="*/ 217018319 h 1172"/>
                  <a:gd name="T30" fmla="*/ 131555271 w 943"/>
                  <a:gd name="T31" fmla="*/ 238502168 h 1172"/>
                  <a:gd name="T32" fmla="*/ 125852197 w 943"/>
                  <a:gd name="T33" fmla="*/ 245573059 h 1172"/>
                  <a:gd name="T34" fmla="*/ 126232402 w 943"/>
                  <a:gd name="T35" fmla="*/ 254003477 h 1172"/>
                  <a:gd name="T36" fmla="*/ 130414657 w 943"/>
                  <a:gd name="T37" fmla="*/ 255363524 h 1172"/>
                  <a:gd name="T38" fmla="*/ 134787449 w 943"/>
                  <a:gd name="T39" fmla="*/ 258354794 h 1172"/>
                  <a:gd name="T40" fmla="*/ 141060831 w 943"/>
                  <a:gd name="T41" fmla="*/ 264065638 h 1172"/>
                  <a:gd name="T42" fmla="*/ 143722266 w 943"/>
                  <a:gd name="T43" fmla="*/ 273856103 h 1172"/>
                  <a:gd name="T44" fmla="*/ 147334649 w 943"/>
                  <a:gd name="T45" fmla="*/ 283646567 h 1172"/>
                  <a:gd name="T46" fmla="*/ 152657518 w 943"/>
                  <a:gd name="T47" fmla="*/ 286366141 h 1172"/>
                  <a:gd name="T48" fmla="*/ 153798133 w 943"/>
                  <a:gd name="T49" fmla="*/ 297516132 h 1172"/>
                  <a:gd name="T50" fmla="*/ 136498372 w 943"/>
                  <a:gd name="T51" fmla="*/ 303226976 h 1172"/>
                  <a:gd name="T52" fmla="*/ 130604759 w 943"/>
                  <a:gd name="T53" fmla="*/ 314649185 h 1172"/>
                  <a:gd name="T54" fmla="*/ 113685203 w 943"/>
                  <a:gd name="T55" fmla="*/ 318184369 h 1172"/>
                  <a:gd name="T56" fmla="*/ 97906262 w 943"/>
                  <a:gd name="T57" fmla="*/ 314920881 h 1172"/>
                  <a:gd name="T58" fmla="*/ 88210600 w 943"/>
                  <a:gd name="T59" fmla="*/ 305402634 h 1172"/>
                  <a:gd name="T60" fmla="*/ 74142581 w 943"/>
                  <a:gd name="T61" fmla="*/ 305946549 h 1172"/>
                  <a:gd name="T62" fmla="*/ 60644869 w 943"/>
                  <a:gd name="T63" fmla="*/ 304586502 h 1172"/>
                  <a:gd name="T64" fmla="*/ 56462179 w 943"/>
                  <a:gd name="T65" fmla="*/ 300235705 h 1172"/>
                  <a:gd name="T66" fmla="*/ 55891871 w 943"/>
                  <a:gd name="T67" fmla="*/ 292348681 h 1172"/>
                  <a:gd name="T68" fmla="*/ 52089822 w 943"/>
                  <a:gd name="T69" fmla="*/ 279839165 h 1172"/>
                  <a:gd name="T70" fmla="*/ 41063442 w 943"/>
                  <a:gd name="T71" fmla="*/ 264881771 h 1172"/>
                  <a:gd name="T72" fmla="*/ 36691085 w 943"/>
                  <a:gd name="T73" fmla="*/ 251556121 h 1172"/>
                  <a:gd name="T74" fmla="*/ 28896448 w 943"/>
                  <a:gd name="T75" fmla="*/ 245573059 h 1172"/>
                  <a:gd name="T76" fmla="*/ 22813169 w 943"/>
                  <a:gd name="T77" fmla="*/ 230071751 h 1172"/>
                  <a:gd name="T78" fmla="*/ 18440376 w 943"/>
                  <a:gd name="T79" fmla="*/ 214298746 h 1172"/>
                  <a:gd name="T80" fmla="*/ 12357097 w 943"/>
                  <a:gd name="T81" fmla="*/ 206140025 h 1172"/>
                  <a:gd name="T82" fmla="*/ 6273382 w 943"/>
                  <a:gd name="T83" fmla="*/ 183840043 h 1172"/>
                  <a:gd name="T84" fmla="*/ 760410 w 943"/>
                  <a:gd name="T85" fmla="*/ 166163076 h 1172"/>
                  <a:gd name="T86" fmla="*/ 3421845 w 943"/>
                  <a:gd name="T87" fmla="*/ 156916526 h 1172"/>
                  <a:gd name="T88" fmla="*/ 5512972 w 943"/>
                  <a:gd name="T89" fmla="*/ 141687435 h 1172"/>
                  <a:gd name="T90" fmla="*/ 12166994 w 943"/>
                  <a:gd name="T91" fmla="*/ 128905700 h 1172"/>
                  <a:gd name="T92" fmla="*/ 21482451 w 943"/>
                  <a:gd name="T93" fmla="*/ 60373490 h 1172"/>
                  <a:gd name="T94" fmla="*/ 23383476 w 943"/>
                  <a:gd name="T95" fmla="*/ 48679584 h 1172"/>
                  <a:gd name="T96" fmla="*/ 29086550 w 943"/>
                  <a:gd name="T97" fmla="*/ 46503926 h 1172"/>
                  <a:gd name="T98" fmla="*/ 30417268 w 943"/>
                  <a:gd name="T99" fmla="*/ 33178276 h 1172"/>
                  <a:gd name="T100" fmla="*/ 30227165 w 943"/>
                  <a:gd name="T101" fmla="*/ 18220882 h 1172"/>
                  <a:gd name="T102" fmla="*/ 129083939 w 943"/>
                  <a:gd name="T103" fmla="*/ 18764797 h 117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943" h="1172">
                    <a:moveTo>
                      <a:pt x="711" y="30"/>
                    </a:moveTo>
                    <a:lnTo>
                      <a:pt x="715" y="25"/>
                    </a:lnTo>
                    <a:lnTo>
                      <a:pt x="728" y="15"/>
                    </a:lnTo>
                    <a:lnTo>
                      <a:pt x="735" y="9"/>
                    </a:lnTo>
                    <a:lnTo>
                      <a:pt x="742" y="5"/>
                    </a:lnTo>
                    <a:lnTo>
                      <a:pt x="747" y="1"/>
                    </a:lnTo>
                    <a:lnTo>
                      <a:pt x="751" y="0"/>
                    </a:lnTo>
                    <a:lnTo>
                      <a:pt x="755" y="10"/>
                    </a:lnTo>
                    <a:lnTo>
                      <a:pt x="759" y="17"/>
                    </a:lnTo>
                    <a:lnTo>
                      <a:pt x="765" y="23"/>
                    </a:lnTo>
                    <a:lnTo>
                      <a:pt x="769" y="26"/>
                    </a:lnTo>
                    <a:lnTo>
                      <a:pt x="776" y="28"/>
                    </a:lnTo>
                    <a:lnTo>
                      <a:pt x="784" y="30"/>
                    </a:lnTo>
                    <a:lnTo>
                      <a:pt x="792" y="30"/>
                    </a:lnTo>
                    <a:lnTo>
                      <a:pt x="803" y="30"/>
                    </a:lnTo>
                    <a:lnTo>
                      <a:pt x="804" y="40"/>
                    </a:lnTo>
                    <a:lnTo>
                      <a:pt x="808" y="48"/>
                    </a:lnTo>
                    <a:lnTo>
                      <a:pt x="810" y="51"/>
                    </a:lnTo>
                    <a:lnTo>
                      <a:pt x="812" y="53"/>
                    </a:lnTo>
                    <a:lnTo>
                      <a:pt x="814" y="55"/>
                    </a:lnTo>
                    <a:lnTo>
                      <a:pt x="816" y="55"/>
                    </a:lnTo>
                    <a:lnTo>
                      <a:pt x="823" y="76"/>
                    </a:lnTo>
                    <a:lnTo>
                      <a:pt x="830" y="94"/>
                    </a:lnTo>
                    <a:lnTo>
                      <a:pt x="832" y="102"/>
                    </a:lnTo>
                    <a:lnTo>
                      <a:pt x="835" y="109"/>
                    </a:lnTo>
                    <a:lnTo>
                      <a:pt x="836" y="116"/>
                    </a:lnTo>
                    <a:lnTo>
                      <a:pt x="837" y="123"/>
                    </a:lnTo>
                    <a:lnTo>
                      <a:pt x="836" y="150"/>
                    </a:lnTo>
                    <a:lnTo>
                      <a:pt x="836" y="175"/>
                    </a:lnTo>
                    <a:lnTo>
                      <a:pt x="837" y="187"/>
                    </a:lnTo>
                    <a:lnTo>
                      <a:pt x="838" y="200"/>
                    </a:lnTo>
                    <a:lnTo>
                      <a:pt x="842" y="211"/>
                    </a:lnTo>
                    <a:lnTo>
                      <a:pt x="845" y="222"/>
                    </a:lnTo>
                    <a:lnTo>
                      <a:pt x="851" y="232"/>
                    </a:lnTo>
                    <a:lnTo>
                      <a:pt x="857" y="243"/>
                    </a:lnTo>
                    <a:lnTo>
                      <a:pt x="866" y="253"/>
                    </a:lnTo>
                    <a:lnTo>
                      <a:pt x="876" y="264"/>
                    </a:lnTo>
                    <a:lnTo>
                      <a:pt x="889" y="273"/>
                    </a:lnTo>
                    <a:lnTo>
                      <a:pt x="904" y="283"/>
                    </a:lnTo>
                    <a:lnTo>
                      <a:pt x="922" y="292"/>
                    </a:lnTo>
                    <a:lnTo>
                      <a:pt x="943" y="301"/>
                    </a:lnTo>
                    <a:lnTo>
                      <a:pt x="928" y="314"/>
                    </a:lnTo>
                    <a:lnTo>
                      <a:pt x="913" y="328"/>
                    </a:lnTo>
                    <a:lnTo>
                      <a:pt x="896" y="344"/>
                    </a:lnTo>
                    <a:lnTo>
                      <a:pt x="879" y="361"/>
                    </a:lnTo>
                    <a:lnTo>
                      <a:pt x="871" y="370"/>
                    </a:lnTo>
                    <a:lnTo>
                      <a:pt x="865" y="380"/>
                    </a:lnTo>
                    <a:lnTo>
                      <a:pt x="859" y="389"/>
                    </a:lnTo>
                    <a:lnTo>
                      <a:pt x="854" y="399"/>
                    </a:lnTo>
                    <a:lnTo>
                      <a:pt x="851" y="410"/>
                    </a:lnTo>
                    <a:lnTo>
                      <a:pt x="849" y="420"/>
                    </a:lnTo>
                    <a:lnTo>
                      <a:pt x="848" y="432"/>
                    </a:lnTo>
                    <a:lnTo>
                      <a:pt x="851" y="443"/>
                    </a:lnTo>
                    <a:lnTo>
                      <a:pt x="830" y="616"/>
                    </a:lnTo>
                    <a:lnTo>
                      <a:pt x="809" y="635"/>
                    </a:lnTo>
                    <a:lnTo>
                      <a:pt x="787" y="652"/>
                    </a:lnTo>
                    <a:lnTo>
                      <a:pt x="782" y="658"/>
                    </a:lnTo>
                    <a:lnTo>
                      <a:pt x="778" y="663"/>
                    </a:lnTo>
                    <a:lnTo>
                      <a:pt x="774" y="670"/>
                    </a:lnTo>
                    <a:lnTo>
                      <a:pt x="770" y="677"/>
                    </a:lnTo>
                    <a:lnTo>
                      <a:pt x="767" y="686"/>
                    </a:lnTo>
                    <a:lnTo>
                      <a:pt x="766" y="696"/>
                    </a:lnTo>
                    <a:lnTo>
                      <a:pt x="764" y="708"/>
                    </a:lnTo>
                    <a:lnTo>
                      <a:pt x="764" y="721"/>
                    </a:lnTo>
                    <a:lnTo>
                      <a:pt x="763" y="721"/>
                    </a:lnTo>
                    <a:lnTo>
                      <a:pt x="758" y="721"/>
                    </a:lnTo>
                    <a:lnTo>
                      <a:pt x="755" y="723"/>
                    </a:lnTo>
                    <a:lnTo>
                      <a:pt x="752" y="726"/>
                    </a:lnTo>
                    <a:lnTo>
                      <a:pt x="748" y="730"/>
                    </a:lnTo>
                    <a:lnTo>
                      <a:pt x="745" y="735"/>
                    </a:lnTo>
                    <a:lnTo>
                      <a:pt x="741" y="743"/>
                    </a:lnTo>
                    <a:lnTo>
                      <a:pt x="736" y="752"/>
                    </a:lnTo>
                    <a:lnTo>
                      <a:pt x="732" y="766"/>
                    </a:lnTo>
                    <a:lnTo>
                      <a:pt x="728" y="780"/>
                    </a:lnTo>
                    <a:lnTo>
                      <a:pt x="723" y="798"/>
                    </a:lnTo>
                    <a:lnTo>
                      <a:pt x="719" y="821"/>
                    </a:lnTo>
                    <a:lnTo>
                      <a:pt x="714" y="845"/>
                    </a:lnTo>
                    <a:lnTo>
                      <a:pt x="711" y="875"/>
                    </a:lnTo>
                    <a:lnTo>
                      <a:pt x="701" y="875"/>
                    </a:lnTo>
                    <a:lnTo>
                      <a:pt x="692" y="877"/>
                    </a:lnTo>
                    <a:lnTo>
                      <a:pt x="684" y="880"/>
                    </a:lnTo>
                    <a:lnTo>
                      <a:pt x="677" y="884"/>
                    </a:lnTo>
                    <a:lnTo>
                      <a:pt x="670" y="890"/>
                    </a:lnTo>
                    <a:lnTo>
                      <a:pt x="665" y="896"/>
                    </a:lnTo>
                    <a:lnTo>
                      <a:pt x="662" y="903"/>
                    </a:lnTo>
                    <a:lnTo>
                      <a:pt x="659" y="910"/>
                    </a:lnTo>
                    <a:lnTo>
                      <a:pt x="658" y="917"/>
                    </a:lnTo>
                    <a:lnTo>
                      <a:pt x="658" y="924"/>
                    </a:lnTo>
                    <a:lnTo>
                      <a:pt x="661" y="929"/>
                    </a:lnTo>
                    <a:lnTo>
                      <a:pt x="664" y="934"/>
                    </a:lnTo>
                    <a:lnTo>
                      <a:pt x="666" y="936"/>
                    </a:lnTo>
                    <a:lnTo>
                      <a:pt x="669" y="937"/>
                    </a:lnTo>
                    <a:lnTo>
                      <a:pt x="673" y="938"/>
                    </a:lnTo>
                    <a:lnTo>
                      <a:pt x="677" y="939"/>
                    </a:lnTo>
                    <a:lnTo>
                      <a:pt x="686" y="939"/>
                    </a:lnTo>
                    <a:lnTo>
                      <a:pt x="697" y="936"/>
                    </a:lnTo>
                    <a:lnTo>
                      <a:pt x="700" y="941"/>
                    </a:lnTo>
                    <a:lnTo>
                      <a:pt x="702" y="944"/>
                    </a:lnTo>
                    <a:lnTo>
                      <a:pt x="706" y="947"/>
                    </a:lnTo>
                    <a:lnTo>
                      <a:pt x="709" y="950"/>
                    </a:lnTo>
                    <a:lnTo>
                      <a:pt x="717" y="955"/>
                    </a:lnTo>
                    <a:lnTo>
                      <a:pt x="724" y="958"/>
                    </a:lnTo>
                    <a:lnTo>
                      <a:pt x="731" y="963"/>
                    </a:lnTo>
                    <a:lnTo>
                      <a:pt x="739" y="968"/>
                    </a:lnTo>
                    <a:lnTo>
                      <a:pt x="742" y="971"/>
                    </a:lnTo>
                    <a:lnTo>
                      <a:pt x="745" y="975"/>
                    </a:lnTo>
                    <a:lnTo>
                      <a:pt x="747" y="981"/>
                    </a:lnTo>
                    <a:lnTo>
                      <a:pt x="751" y="986"/>
                    </a:lnTo>
                    <a:lnTo>
                      <a:pt x="753" y="996"/>
                    </a:lnTo>
                    <a:lnTo>
                      <a:pt x="756" y="1007"/>
                    </a:lnTo>
                    <a:lnTo>
                      <a:pt x="759" y="1018"/>
                    </a:lnTo>
                    <a:lnTo>
                      <a:pt x="765" y="1028"/>
                    </a:lnTo>
                    <a:lnTo>
                      <a:pt x="767" y="1033"/>
                    </a:lnTo>
                    <a:lnTo>
                      <a:pt x="771" y="1039"/>
                    </a:lnTo>
                    <a:lnTo>
                      <a:pt x="775" y="1043"/>
                    </a:lnTo>
                    <a:lnTo>
                      <a:pt x="779" y="1046"/>
                    </a:lnTo>
                    <a:lnTo>
                      <a:pt x="785" y="1049"/>
                    </a:lnTo>
                    <a:lnTo>
                      <a:pt x="790" y="1052"/>
                    </a:lnTo>
                    <a:lnTo>
                      <a:pt x="797" y="1053"/>
                    </a:lnTo>
                    <a:lnTo>
                      <a:pt x="803" y="1053"/>
                    </a:lnTo>
                    <a:lnTo>
                      <a:pt x="810" y="1063"/>
                    </a:lnTo>
                    <a:lnTo>
                      <a:pt x="814" y="1071"/>
                    </a:lnTo>
                    <a:lnTo>
                      <a:pt x="815" y="1076"/>
                    </a:lnTo>
                    <a:lnTo>
                      <a:pt x="815" y="1081"/>
                    </a:lnTo>
                    <a:lnTo>
                      <a:pt x="809" y="1094"/>
                    </a:lnTo>
                    <a:lnTo>
                      <a:pt x="797" y="1115"/>
                    </a:lnTo>
                    <a:lnTo>
                      <a:pt x="776" y="1115"/>
                    </a:lnTo>
                    <a:lnTo>
                      <a:pt x="755" y="1115"/>
                    </a:lnTo>
                    <a:lnTo>
                      <a:pt x="734" y="1115"/>
                    </a:lnTo>
                    <a:lnTo>
                      <a:pt x="718" y="1115"/>
                    </a:lnTo>
                    <a:lnTo>
                      <a:pt x="718" y="1127"/>
                    </a:lnTo>
                    <a:lnTo>
                      <a:pt x="718" y="1139"/>
                    </a:lnTo>
                    <a:lnTo>
                      <a:pt x="711" y="1143"/>
                    </a:lnTo>
                    <a:lnTo>
                      <a:pt x="697" y="1152"/>
                    </a:lnTo>
                    <a:lnTo>
                      <a:pt x="687" y="1157"/>
                    </a:lnTo>
                    <a:lnTo>
                      <a:pt x="675" y="1161"/>
                    </a:lnTo>
                    <a:lnTo>
                      <a:pt x="663" y="1163"/>
                    </a:lnTo>
                    <a:lnTo>
                      <a:pt x="651" y="1164"/>
                    </a:lnTo>
                    <a:lnTo>
                      <a:pt x="628" y="1166"/>
                    </a:lnTo>
                    <a:lnTo>
                      <a:pt x="598" y="1170"/>
                    </a:lnTo>
                    <a:lnTo>
                      <a:pt x="583" y="1171"/>
                    </a:lnTo>
                    <a:lnTo>
                      <a:pt x="566" y="1172"/>
                    </a:lnTo>
                    <a:lnTo>
                      <a:pt x="549" y="1172"/>
                    </a:lnTo>
                    <a:lnTo>
                      <a:pt x="531" y="1170"/>
                    </a:lnTo>
                    <a:lnTo>
                      <a:pt x="515" y="1158"/>
                    </a:lnTo>
                    <a:lnTo>
                      <a:pt x="496" y="1141"/>
                    </a:lnTo>
                    <a:lnTo>
                      <a:pt x="486" y="1133"/>
                    </a:lnTo>
                    <a:lnTo>
                      <a:pt x="475" y="1127"/>
                    </a:lnTo>
                    <a:lnTo>
                      <a:pt x="470" y="1124"/>
                    </a:lnTo>
                    <a:lnTo>
                      <a:pt x="464" y="1123"/>
                    </a:lnTo>
                    <a:lnTo>
                      <a:pt x="457" y="1121"/>
                    </a:lnTo>
                    <a:lnTo>
                      <a:pt x="452" y="1121"/>
                    </a:lnTo>
                    <a:lnTo>
                      <a:pt x="432" y="1122"/>
                    </a:lnTo>
                    <a:lnTo>
                      <a:pt x="405" y="1124"/>
                    </a:lnTo>
                    <a:lnTo>
                      <a:pt x="390" y="1125"/>
                    </a:lnTo>
                    <a:lnTo>
                      <a:pt x="375" y="1126"/>
                    </a:lnTo>
                    <a:lnTo>
                      <a:pt x="360" y="1126"/>
                    </a:lnTo>
                    <a:lnTo>
                      <a:pt x="345" y="1125"/>
                    </a:lnTo>
                    <a:lnTo>
                      <a:pt x="331" y="1123"/>
                    </a:lnTo>
                    <a:lnTo>
                      <a:pt x="319" y="1120"/>
                    </a:lnTo>
                    <a:lnTo>
                      <a:pt x="314" y="1117"/>
                    </a:lnTo>
                    <a:lnTo>
                      <a:pt x="308" y="1115"/>
                    </a:lnTo>
                    <a:lnTo>
                      <a:pt x="304" y="1112"/>
                    </a:lnTo>
                    <a:lnTo>
                      <a:pt x="300" y="1108"/>
                    </a:lnTo>
                    <a:lnTo>
                      <a:pt x="297" y="1104"/>
                    </a:lnTo>
                    <a:lnTo>
                      <a:pt x="295" y="1100"/>
                    </a:lnTo>
                    <a:lnTo>
                      <a:pt x="293" y="1095"/>
                    </a:lnTo>
                    <a:lnTo>
                      <a:pt x="292" y="1088"/>
                    </a:lnTo>
                    <a:lnTo>
                      <a:pt x="293" y="1082"/>
                    </a:lnTo>
                    <a:lnTo>
                      <a:pt x="294" y="1075"/>
                    </a:lnTo>
                    <a:lnTo>
                      <a:pt x="295" y="1068"/>
                    </a:lnTo>
                    <a:lnTo>
                      <a:pt x="298" y="1060"/>
                    </a:lnTo>
                    <a:lnTo>
                      <a:pt x="291" y="1049"/>
                    </a:lnTo>
                    <a:lnTo>
                      <a:pt x="283" y="1039"/>
                    </a:lnTo>
                    <a:lnTo>
                      <a:pt x="274" y="1029"/>
                    </a:lnTo>
                    <a:lnTo>
                      <a:pt x="265" y="1021"/>
                    </a:lnTo>
                    <a:lnTo>
                      <a:pt x="248" y="1005"/>
                    </a:lnTo>
                    <a:lnTo>
                      <a:pt x="230" y="990"/>
                    </a:lnTo>
                    <a:lnTo>
                      <a:pt x="222" y="983"/>
                    </a:lnTo>
                    <a:lnTo>
                      <a:pt x="216" y="974"/>
                    </a:lnTo>
                    <a:lnTo>
                      <a:pt x="209" y="966"/>
                    </a:lnTo>
                    <a:lnTo>
                      <a:pt x="204" y="957"/>
                    </a:lnTo>
                    <a:lnTo>
                      <a:pt x="198" y="947"/>
                    </a:lnTo>
                    <a:lnTo>
                      <a:pt x="195" y="937"/>
                    </a:lnTo>
                    <a:lnTo>
                      <a:pt x="193" y="925"/>
                    </a:lnTo>
                    <a:lnTo>
                      <a:pt x="193" y="911"/>
                    </a:lnTo>
                    <a:lnTo>
                      <a:pt x="180" y="911"/>
                    </a:lnTo>
                    <a:lnTo>
                      <a:pt x="169" y="909"/>
                    </a:lnTo>
                    <a:lnTo>
                      <a:pt x="160" y="907"/>
                    </a:lnTo>
                    <a:lnTo>
                      <a:pt x="152" y="903"/>
                    </a:lnTo>
                    <a:lnTo>
                      <a:pt x="146" y="898"/>
                    </a:lnTo>
                    <a:lnTo>
                      <a:pt x="140" y="893"/>
                    </a:lnTo>
                    <a:lnTo>
                      <a:pt x="136" y="887"/>
                    </a:lnTo>
                    <a:lnTo>
                      <a:pt x="131" y="880"/>
                    </a:lnTo>
                    <a:lnTo>
                      <a:pt x="120" y="846"/>
                    </a:lnTo>
                    <a:lnTo>
                      <a:pt x="106" y="806"/>
                    </a:lnTo>
                    <a:lnTo>
                      <a:pt x="105" y="801"/>
                    </a:lnTo>
                    <a:lnTo>
                      <a:pt x="103" y="796"/>
                    </a:lnTo>
                    <a:lnTo>
                      <a:pt x="99" y="792"/>
                    </a:lnTo>
                    <a:lnTo>
                      <a:pt x="97" y="788"/>
                    </a:lnTo>
                    <a:lnTo>
                      <a:pt x="90" y="780"/>
                    </a:lnTo>
                    <a:lnTo>
                      <a:pt x="83" y="774"/>
                    </a:lnTo>
                    <a:lnTo>
                      <a:pt x="75" y="768"/>
                    </a:lnTo>
                    <a:lnTo>
                      <a:pt x="69" y="761"/>
                    </a:lnTo>
                    <a:lnTo>
                      <a:pt x="65" y="758"/>
                    </a:lnTo>
                    <a:lnTo>
                      <a:pt x="63" y="753"/>
                    </a:lnTo>
                    <a:lnTo>
                      <a:pt x="61" y="749"/>
                    </a:lnTo>
                    <a:lnTo>
                      <a:pt x="60" y="745"/>
                    </a:lnTo>
                    <a:lnTo>
                      <a:pt x="46" y="711"/>
                    </a:lnTo>
                    <a:lnTo>
                      <a:pt x="33" y="676"/>
                    </a:lnTo>
                    <a:lnTo>
                      <a:pt x="25" y="659"/>
                    </a:lnTo>
                    <a:lnTo>
                      <a:pt x="17" y="643"/>
                    </a:lnTo>
                    <a:lnTo>
                      <a:pt x="9" y="628"/>
                    </a:lnTo>
                    <a:lnTo>
                      <a:pt x="0" y="616"/>
                    </a:lnTo>
                    <a:lnTo>
                      <a:pt x="4" y="611"/>
                    </a:lnTo>
                    <a:lnTo>
                      <a:pt x="8" y="607"/>
                    </a:lnTo>
                    <a:lnTo>
                      <a:pt x="11" y="602"/>
                    </a:lnTo>
                    <a:lnTo>
                      <a:pt x="13" y="598"/>
                    </a:lnTo>
                    <a:lnTo>
                      <a:pt x="16" y="587"/>
                    </a:lnTo>
                    <a:lnTo>
                      <a:pt x="18" y="577"/>
                    </a:lnTo>
                    <a:lnTo>
                      <a:pt x="19" y="567"/>
                    </a:lnTo>
                    <a:lnTo>
                      <a:pt x="20" y="555"/>
                    </a:lnTo>
                    <a:lnTo>
                      <a:pt x="23" y="543"/>
                    </a:lnTo>
                    <a:lnTo>
                      <a:pt x="26" y="529"/>
                    </a:lnTo>
                    <a:lnTo>
                      <a:pt x="29" y="521"/>
                    </a:lnTo>
                    <a:lnTo>
                      <a:pt x="33" y="514"/>
                    </a:lnTo>
                    <a:lnTo>
                      <a:pt x="37" y="507"/>
                    </a:lnTo>
                    <a:lnTo>
                      <a:pt x="41" y="500"/>
                    </a:lnTo>
                    <a:lnTo>
                      <a:pt x="52" y="487"/>
                    </a:lnTo>
                    <a:lnTo>
                      <a:pt x="64" y="474"/>
                    </a:lnTo>
                    <a:lnTo>
                      <a:pt x="78" y="464"/>
                    </a:lnTo>
                    <a:lnTo>
                      <a:pt x="90" y="456"/>
                    </a:lnTo>
                    <a:lnTo>
                      <a:pt x="102" y="449"/>
                    </a:lnTo>
                    <a:lnTo>
                      <a:pt x="113" y="443"/>
                    </a:lnTo>
                    <a:lnTo>
                      <a:pt x="113" y="222"/>
                    </a:lnTo>
                    <a:lnTo>
                      <a:pt x="113" y="212"/>
                    </a:lnTo>
                    <a:lnTo>
                      <a:pt x="113" y="200"/>
                    </a:lnTo>
                    <a:lnTo>
                      <a:pt x="113" y="188"/>
                    </a:lnTo>
                    <a:lnTo>
                      <a:pt x="113" y="178"/>
                    </a:lnTo>
                    <a:lnTo>
                      <a:pt x="123" y="179"/>
                    </a:lnTo>
                    <a:lnTo>
                      <a:pt x="131" y="179"/>
                    </a:lnTo>
                    <a:lnTo>
                      <a:pt x="139" y="178"/>
                    </a:lnTo>
                    <a:lnTo>
                      <a:pt x="146" y="176"/>
                    </a:lnTo>
                    <a:lnTo>
                      <a:pt x="150" y="174"/>
                    </a:lnTo>
                    <a:lnTo>
                      <a:pt x="153" y="171"/>
                    </a:lnTo>
                    <a:lnTo>
                      <a:pt x="157" y="167"/>
                    </a:lnTo>
                    <a:lnTo>
                      <a:pt x="159" y="162"/>
                    </a:lnTo>
                    <a:lnTo>
                      <a:pt x="160" y="152"/>
                    </a:lnTo>
                    <a:lnTo>
                      <a:pt x="160" y="137"/>
                    </a:lnTo>
                    <a:lnTo>
                      <a:pt x="160" y="122"/>
                    </a:lnTo>
                    <a:lnTo>
                      <a:pt x="159" y="105"/>
                    </a:lnTo>
                    <a:lnTo>
                      <a:pt x="159" y="93"/>
                    </a:lnTo>
                    <a:lnTo>
                      <a:pt x="159" y="83"/>
                    </a:lnTo>
                    <a:lnTo>
                      <a:pt x="159" y="76"/>
                    </a:lnTo>
                    <a:lnTo>
                      <a:pt x="159" y="67"/>
                    </a:lnTo>
                    <a:lnTo>
                      <a:pt x="664" y="73"/>
                    </a:lnTo>
                    <a:lnTo>
                      <a:pt x="668" y="74"/>
                    </a:lnTo>
                    <a:lnTo>
                      <a:pt x="672" y="73"/>
                    </a:lnTo>
                    <a:lnTo>
                      <a:pt x="676" y="72"/>
                    </a:lnTo>
                    <a:lnTo>
                      <a:pt x="679" y="69"/>
                    </a:lnTo>
                    <a:lnTo>
                      <a:pt x="688" y="63"/>
                    </a:lnTo>
                    <a:lnTo>
                      <a:pt x="695" y="54"/>
                    </a:lnTo>
                    <a:lnTo>
                      <a:pt x="707" y="38"/>
                    </a:lnTo>
                    <a:lnTo>
                      <a:pt x="711" y="3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835" name="Group 384">
                <a:extLst>
                  <a:ext uri="{FF2B5EF4-FFF2-40B4-BE49-F238E27FC236}">
                    <a16:creationId xmlns:a16="http://schemas.microsoft.com/office/drawing/2014/main" id="{76EEE9B9-17C6-421D-880F-9FC5F1A7382D}"/>
                  </a:ext>
                </a:extLst>
              </p:cNvPr>
              <p:cNvGrpSpPr>
                <a:grpSpLocks/>
              </p:cNvGrpSpPr>
              <p:nvPr>
                <p:custDataLst>
                  <p:tags r:id="rId273"/>
                </p:custDataLst>
              </p:nvPr>
            </p:nvGrpSpPr>
            <p:grpSpPr bwMode="auto">
              <a:xfrm>
                <a:off x="3203801" y="3915876"/>
                <a:ext cx="97626" cy="92813"/>
                <a:chOff x="2352" y="2343"/>
                <a:chExt cx="65" cy="53"/>
              </a:xfrm>
            </p:grpSpPr>
            <p:sp>
              <p:nvSpPr>
                <p:cNvPr id="999" name="Freeform 385">
                  <a:extLst>
                    <a:ext uri="{FF2B5EF4-FFF2-40B4-BE49-F238E27FC236}">
                      <a16:creationId xmlns:a16="http://schemas.microsoft.com/office/drawing/2014/main" id="{3A1547B0-3E57-4267-9326-32B0541AE4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2" y="2343"/>
                  <a:ext cx="16" cy="11"/>
                </a:xfrm>
                <a:custGeom>
                  <a:avLst/>
                  <a:gdLst>
                    <a:gd name="T0" fmla="*/ 4 w 51"/>
                    <a:gd name="T1" fmla="*/ 0 h 33"/>
                    <a:gd name="T2" fmla="*/ 0 w 51"/>
                    <a:gd name="T3" fmla="*/ 1 h 33"/>
                    <a:gd name="T4" fmla="*/ 0 w 51"/>
                    <a:gd name="T5" fmla="*/ 3 h 33"/>
                    <a:gd name="T6" fmla="*/ 1 w 51"/>
                    <a:gd name="T7" fmla="*/ 4 h 33"/>
                    <a:gd name="T8" fmla="*/ 3 w 51"/>
                    <a:gd name="T9" fmla="*/ 3 h 33"/>
                    <a:gd name="T10" fmla="*/ 5 w 51"/>
                    <a:gd name="T11" fmla="*/ 2 h 33"/>
                    <a:gd name="T12" fmla="*/ 5 w 51"/>
                    <a:gd name="T13" fmla="*/ 1 h 33"/>
                    <a:gd name="T14" fmla="*/ 4 w 51"/>
                    <a:gd name="T15" fmla="*/ 0 h 33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</a:gdLst>
                  <a:ahLst/>
                  <a:cxnLst>
                    <a:cxn ang="T16">
                      <a:pos x="T0" y="T1"/>
                    </a:cxn>
                    <a:cxn ang="T17">
                      <a:pos x="T2" y="T3"/>
                    </a:cxn>
                    <a:cxn ang="T18">
                      <a:pos x="T4" y="T5"/>
                    </a:cxn>
                    <a:cxn ang="T19">
                      <a:pos x="T6" y="T7"/>
                    </a:cxn>
                    <a:cxn ang="T20">
                      <a:pos x="T8" y="T9"/>
                    </a:cxn>
                    <a:cxn ang="T21">
                      <a:pos x="T10" y="T11"/>
                    </a:cxn>
                    <a:cxn ang="T22">
                      <a:pos x="T12" y="T13"/>
                    </a:cxn>
                    <a:cxn ang="T23">
                      <a:pos x="T14" y="T15"/>
                    </a:cxn>
                  </a:cxnLst>
                  <a:rect l="0" t="0" r="r" b="b"/>
                  <a:pathLst>
                    <a:path w="51" h="33">
                      <a:moveTo>
                        <a:pt x="46" y="0"/>
                      </a:moveTo>
                      <a:lnTo>
                        <a:pt x="0" y="5"/>
                      </a:lnTo>
                      <a:lnTo>
                        <a:pt x="4" y="28"/>
                      </a:lnTo>
                      <a:lnTo>
                        <a:pt x="10" y="33"/>
                      </a:lnTo>
                      <a:lnTo>
                        <a:pt x="35" y="25"/>
                      </a:lnTo>
                      <a:lnTo>
                        <a:pt x="48" y="15"/>
                      </a:lnTo>
                      <a:lnTo>
                        <a:pt x="51" y="8"/>
                      </a:lnTo>
                      <a:lnTo>
                        <a:pt x="46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00" name="Freeform 386">
                  <a:extLst>
                    <a:ext uri="{FF2B5EF4-FFF2-40B4-BE49-F238E27FC236}">
                      <a16:creationId xmlns:a16="http://schemas.microsoft.com/office/drawing/2014/main" id="{D2748E6B-DAA7-496F-8116-D5F4D090DB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3" y="2354"/>
                  <a:ext cx="19" cy="7"/>
                </a:xfrm>
                <a:custGeom>
                  <a:avLst/>
                  <a:gdLst>
                    <a:gd name="T0" fmla="*/ 7 w 61"/>
                    <a:gd name="T1" fmla="*/ 1 h 20"/>
                    <a:gd name="T2" fmla="*/ 6 w 61"/>
                    <a:gd name="T3" fmla="*/ 0 h 20"/>
                    <a:gd name="T4" fmla="*/ 0 w 61"/>
                    <a:gd name="T5" fmla="*/ 0 h 20"/>
                    <a:gd name="T6" fmla="*/ 0 w 61"/>
                    <a:gd name="T7" fmla="*/ 2 h 20"/>
                    <a:gd name="T8" fmla="*/ 1 w 61"/>
                    <a:gd name="T9" fmla="*/ 2 h 20"/>
                    <a:gd name="T10" fmla="*/ 2 w 61"/>
                    <a:gd name="T11" fmla="*/ 2 h 20"/>
                    <a:gd name="T12" fmla="*/ 7 w 61"/>
                    <a:gd name="T13" fmla="*/ 1 h 20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61" h="20">
                      <a:moveTo>
                        <a:pt x="61" y="6"/>
                      </a:moveTo>
                      <a:lnTo>
                        <a:pt x="53" y="2"/>
                      </a:lnTo>
                      <a:lnTo>
                        <a:pt x="0" y="0"/>
                      </a:lnTo>
                      <a:lnTo>
                        <a:pt x="2" y="14"/>
                      </a:lnTo>
                      <a:lnTo>
                        <a:pt x="7" y="20"/>
                      </a:lnTo>
                      <a:lnTo>
                        <a:pt x="18" y="13"/>
                      </a:lnTo>
                      <a:lnTo>
                        <a:pt x="61" y="6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01" name="Freeform 387">
                  <a:extLst>
                    <a:ext uri="{FF2B5EF4-FFF2-40B4-BE49-F238E27FC236}">
                      <a16:creationId xmlns:a16="http://schemas.microsoft.com/office/drawing/2014/main" id="{DC05DD7C-AFA3-482E-B1A8-BED83B7B30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9" y="2346"/>
                  <a:ext cx="6" cy="12"/>
                </a:xfrm>
                <a:custGeom>
                  <a:avLst/>
                  <a:gdLst>
                    <a:gd name="T0" fmla="*/ 0 w 15"/>
                    <a:gd name="T1" fmla="*/ 0 h 36"/>
                    <a:gd name="T2" fmla="*/ 0 w 15"/>
                    <a:gd name="T3" fmla="*/ 2 h 36"/>
                    <a:gd name="T4" fmla="*/ 0 w 15"/>
                    <a:gd name="T5" fmla="*/ 4 h 36"/>
                    <a:gd name="T6" fmla="*/ 1 w 15"/>
                    <a:gd name="T7" fmla="*/ 4 h 36"/>
                    <a:gd name="T8" fmla="*/ 2 w 15"/>
                    <a:gd name="T9" fmla="*/ 2 h 36"/>
                    <a:gd name="T10" fmla="*/ 0 w 15"/>
                    <a:gd name="T11" fmla="*/ 0 h 36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0" t="0" r="r" b="b"/>
                  <a:pathLst>
                    <a:path w="15" h="36">
                      <a:moveTo>
                        <a:pt x="2" y="0"/>
                      </a:moveTo>
                      <a:lnTo>
                        <a:pt x="0" y="20"/>
                      </a:lnTo>
                      <a:lnTo>
                        <a:pt x="0" y="36"/>
                      </a:lnTo>
                      <a:lnTo>
                        <a:pt x="11" y="35"/>
                      </a:lnTo>
                      <a:lnTo>
                        <a:pt x="15" y="14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02" name="Freeform 388">
                  <a:extLst>
                    <a:ext uri="{FF2B5EF4-FFF2-40B4-BE49-F238E27FC236}">
                      <a16:creationId xmlns:a16="http://schemas.microsoft.com/office/drawing/2014/main" id="{70EF7600-6DB6-47A8-BF13-AC5A712907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9" y="2361"/>
                  <a:ext cx="11" cy="8"/>
                </a:xfrm>
                <a:custGeom>
                  <a:avLst/>
                  <a:gdLst>
                    <a:gd name="T0" fmla="*/ 0 w 37"/>
                    <a:gd name="T1" fmla="*/ 0 h 33"/>
                    <a:gd name="T2" fmla="*/ 2 w 37"/>
                    <a:gd name="T3" fmla="*/ 0 h 33"/>
                    <a:gd name="T4" fmla="*/ 3 w 37"/>
                    <a:gd name="T5" fmla="*/ 1 h 33"/>
                    <a:gd name="T6" fmla="*/ 3 w 37"/>
                    <a:gd name="T7" fmla="*/ 2 h 33"/>
                    <a:gd name="T8" fmla="*/ 2 w 37"/>
                    <a:gd name="T9" fmla="*/ 4 h 33"/>
                    <a:gd name="T10" fmla="*/ 1 w 37"/>
                    <a:gd name="T11" fmla="*/ 4 h 33"/>
                    <a:gd name="T12" fmla="*/ 0 w 37"/>
                    <a:gd name="T13" fmla="*/ 3 h 33"/>
                    <a:gd name="T14" fmla="*/ 0 w 37"/>
                    <a:gd name="T15" fmla="*/ 2 h 33"/>
                    <a:gd name="T16" fmla="*/ 0 w 37"/>
                    <a:gd name="T17" fmla="*/ 0 h 3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37" h="33">
                      <a:moveTo>
                        <a:pt x="4" y="4"/>
                      </a:moveTo>
                      <a:lnTo>
                        <a:pt x="22" y="0"/>
                      </a:lnTo>
                      <a:lnTo>
                        <a:pt x="35" y="6"/>
                      </a:lnTo>
                      <a:lnTo>
                        <a:pt x="37" y="22"/>
                      </a:lnTo>
                      <a:lnTo>
                        <a:pt x="24" y="33"/>
                      </a:lnTo>
                      <a:lnTo>
                        <a:pt x="11" y="33"/>
                      </a:lnTo>
                      <a:lnTo>
                        <a:pt x="2" y="24"/>
                      </a:lnTo>
                      <a:lnTo>
                        <a:pt x="0" y="1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03" name="Freeform 389">
                  <a:extLst>
                    <a:ext uri="{FF2B5EF4-FFF2-40B4-BE49-F238E27FC236}">
                      <a16:creationId xmlns:a16="http://schemas.microsoft.com/office/drawing/2014/main" id="{28D85658-0987-4F71-B33E-9A1BC43277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1" y="2373"/>
                  <a:ext cx="18" cy="18"/>
                </a:xfrm>
                <a:custGeom>
                  <a:avLst/>
                  <a:gdLst>
                    <a:gd name="T0" fmla="*/ 0 w 49"/>
                    <a:gd name="T1" fmla="*/ 0 h 54"/>
                    <a:gd name="T2" fmla="*/ 0 w 49"/>
                    <a:gd name="T3" fmla="*/ 0 h 54"/>
                    <a:gd name="T4" fmla="*/ 0 w 49"/>
                    <a:gd name="T5" fmla="*/ 6 h 54"/>
                    <a:gd name="T6" fmla="*/ 2 w 49"/>
                    <a:gd name="T7" fmla="*/ 6 h 54"/>
                    <a:gd name="T8" fmla="*/ 5 w 49"/>
                    <a:gd name="T9" fmla="*/ 5 h 54"/>
                    <a:gd name="T10" fmla="*/ 5 w 49"/>
                    <a:gd name="T11" fmla="*/ 3 h 54"/>
                    <a:gd name="T12" fmla="*/ 4 w 49"/>
                    <a:gd name="T13" fmla="*/ 2 h 54"/>
                    <a:gd name="T14" fmla="*/ 2 w 49"/>
                    <a:gd name="T15" fmla="*/ 1 h 54"/>
                    <a:gd name="T16" fmla="*/ 0 w 49"/>
                    <a:gd name="T17" fmla="*/ 0 h 54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0" t="0" r="r" b="b"/>
                  <a:pathLst>
                    <a:path w="49" h="54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50"/>
                      </a:lnTo>
                      <a:lnTo>
                        <a:pt x="18" y="54"/>
                      </a:lnTo>
                      <a:lnTo>
                        <a:pt x="44" y="45"/>
                      </a:lnTo>
                      <a:lnTo>
                        <a:pt x="49" y="31"/>
                      </a:lnTo>
                      <a:lnTo>
                        <a:pt x="40" y="21"/>
                      </a:lnTo>
                      <a:lnTo>
                        <a:pt x="19" y="8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1004" name="Freeform 390">
                  <a:extLst>
                    <a:ext uri="{FF2B5EF4-FFF2-40B4-BE49-F238E27FC236}">
                      <a16:creationId xmlns:a16="http://schemas.microsoft.com/office/drawing/2014/main" id="{0B03DB6E-C86B-4FC3-BBE8-F7C99B9CF55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4" y="2383"/>
                  <a:ext cx="11" cy="7"/>
                </a:xfrm>
                <a:custGeom>
                  <a:avLst/>
                  <a:gdLst>
                    <a:gd name="T0" fmla="*/ 2 w 26"/>
                    <a:gd name="T1" fmla="*/ 0 h 22"/>
                    <a:gd name="T2" fmla="*/ 0 w 26"/>
                    <a:gd name="T3" fmla="*/ 0 h 22"/>
                    <a:gd name="T4" fmla="*/ 0 w 26"/>
                    <a:gd name="T5" fmla="*/ 2 h 22"/>
                    <a:gd name="T6" fmla="*/ 1 w 26"/>
                    <a:gd name="T7" fmla="*/ 2 h 22"/>
                    <a:gd name="T8" fmla="*/ 2 w 26"/>
                    <a:gd name="T9" fmla="*/ 2 h 22"/>
                    <a:gd name="T10" fmla="*/ 3 w 26"/>
                    <a:gd name="T11" fmla="*/ 1 h 22"/>
                    <a:gd name="T12" fmla="*/ 2 w 26"/>
                    <a:gd name="T13" fmla="*/ 0 h 22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26" h="22">
                      <a:moveTo>
                        <a:pt x="18" y="0"/>
                      </a:moveTo>
                      <a:lnTo>
                        <a:pt x="3" y="2"/>
                      </a:lnTo>
                      <a:lnTo>
                        <a:pt x="0" y="15"/>
                      </a:lnTo>
                      <a:lnTo>
                        <a:pt x="6" y="21"/>
                      </a:lnTo>
                      <a:lnTo>
                        <a:pt x="19" y="22"/>
                      </a:lnTo>
                      <a:lnTo>
                        <a:pt x="26" y="11"/>
                      </a:lnTo>
                      <a:lnTo>
                        <a:pt x="18" y="0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grpSp>
            <p:nvGrpSpPr>
              <p:cNvPr id="836" name="Group 391">
                <a:extLst>
                  <a:ext uri="{FF2B5EF4-FFF2-40B4-BE49-F238E27FC236}">
                    <a16:creationId xmlns:a16="http://schemas.microsoft.com/office/drawing/2014/main" id="{49179B76-3EBE-41BE-910C-DFF8AF2564E1}"/>
                  </a:ext>
                </a:extLst>
              </p:cNvPr>
              <p:cNvGrpSpPr>
                <a:grpSpLocks/>
              </p:cNvGrpSpPr>
              <p:nvPr>
                <p:custDataLst>
                  <p:tags r:id="rId274"/>
                </p:custDataLst>
              </p:nvPr>
            </p:nvGrpSpPr>
            <p:grpSpPr bwMode="auto">
              <a:xfrm>
                <a:off x="606175" y="1734776"/>
                <a:ext cx="2279407" cy="1274391"/>
                <a:chOff x="527" y="1110"/>
                <a:chExt cx="1405" cy="709"/>
              </a:xfrm>
            </p:grpSpPr>
            <p:sp>
              <p:nvSpPr>
                <p:cNvPr id="957" name="Freeform 392">
                  <a:extLst>
                    <a:ext uri="{FF2B5EF4-FFF2-40B4-BE49-F238E27FC236}">
                      <a16:creationId xmlns:a16="http://schemas.microsoft.com/office/drawing/2014/main" id="{347F3405-F788-4227-85E7-857ACD7B59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01" y="1427"/>
                  <a:ext cx="28" cy="22"/>
                </a:xfrm>
                <a:custGeom>
                  <a:avLst/>
                  <a:gdLst>
                    <a:gd name="T0" fmla="*/ 0 w 98"/>
                    <a:gd name="T1" fmla="*/ 4 h 54"/>
                    <a:gd name="T2" fmla="*/ 1 w 98"/>
                    <a:gd name="T3" fmla="*/ 4 h 54"/>
                    <a:gd name="T4" fmla="*/ 1 w 98"/>
                    <a:gd name="T5" fmla="*/ 5 h 54"/>
                    <a:gd name="T6" fmla="*/ 2 w 98"/>
                    <a:gd name="T7" fmla="*/ 5 h 54"/>
                    <a:gd name="T8" fmla="*/ 3 w 98"/>
                    <a:gd name="T9" fmla="*/ 5 h 54"/>
                    <a:gd name="T10" fmla="*/ 4 w 98"/>
                    <a:gd name="T11" fmla="*/ 5 h 54"/>
                    <a:gd name="T12" fmla="*/ 4 w 98"/>
                    <a:gd name="T13" fmla="*/ 5 h 54"/>
                    <a:gd name="T14" fmla="*/ 5 w 98"/>
                    <a:gd name="T15" fmla="*/ 5 h 54"/>
                    <a:gd name="T16" fmla="*/ 6 w 98"/>
                    <a:gd name="T17" fmla="*/ 5 h 54"/>
                    <a:gd name="T18" fmla="*/ 7 w 98"/>
                    <a:gd name="T19" fmla="*/ 4 h 54"/>
                    <a:gd name="T20" fmla="*/ 8 w 98"/>
                    <a:gd name="T21" fmla="*/ 3 h 54"/>
                    <a:gd name="T22" fmla="*/ 9 w 98"/>
                    <a:gd name="T23" fmla="*/ 3 h 54"/>
                    <a:gd name="T24" fmla="*/ 9 w 98"/>
                    <a:gd name="T25" fmla="*/ 2 h 54"/>
                    <a:gd name="T26" fmla="*/ 9 w 98"/>
                    <a:gd name="T27" fmla="*/ 1 h 54"/>
                    <a:gd name="T28" fmla="*/ 10 w 98"/>
                    <a:gd name="T29" fmla="*/ 0 h 54"/>
                    <a:gd name="T30" fmla="*/ 9 w 98"/>
                    <a:gd name="T31" fmla="*/ 0 h 54"/>
                    <a:gd name="T32" fmla="*/ 8 w 98"/>
                    <a:gd name="T33" fmla="*/ 0 h 54"/>
                    <a:gd name="T34" fmla="*/ 8 w 98"/>
                    <a:gd name="T35" fmla="*/ 0 h 54"/>
                    <a:gd name="T36" fmla="*/ 7 w 98"/>
                    <a:gd name="T37" fmla="*/ 0 h 54"/>
                    <a:gd name="T38" fmla="*/ 6 w 98"/>
                    <a:gd name="T39" fmla="*/ 0 h 54"/>
                    <a:gd name="T40" fmla="*/ 5 w 98"/>
                    <a:gd name="T41" fmla="*/ 0 h 54"/>
                    <a:gd name="T42" fmla="*/ 4 w 98"/>
                    <a:gd name="T43" fmla="*/ 1 h 54"/>
                    <a:gd name="T44" fmla="*/ 4 w 98"/>
                    <a:gd name="T45" fmla="*/ 1 h 54"/>
                    <a:gd name="T46" fmla="*/ 2 w 98"/>
                    <a:gd name="T47" fmla="*/ 2 h 54"/>
                    <a:gd name="T48" fmla="*/ 1 w 98"/>
                    <a:gd name="T49" fmla="*/ 3 h 54"/>
                    <a:gd name="T50" fmla="*/ 1 w 98"/>
                    <a:gd name="T51" fmla="*/ 3 h 54"/>
                    <a:gd name="T52" fmla="*/ 0 w 98"/>
                    <a:gd name="T53" fmla="*/ 3 h 54"/>
                    <a:gd name="T54" fmla="*/ 0 w 98"/>
                    <a:gd name="T55" fmla="*/ 4 h 54"/>
                    <a:gd name="T56" fmla="*/ 0 w 98"/>
                    <a:gd name="T57" fmla="*/ 4 h 54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98" h="54">
                      <a:moveTo>
                        <a:pt x="0" y="41"/>
                      </a:moveTo>
                      <a:lnTo>
                        <a:pt x="5" y="46"/>
                      </a:lnTo>
                      <a:lnTo>
                        <a:pt x="13" y="50"/>
                      </a:lnTo>
                      <a:lnTo>
                        <a:pt x="23" y="53"/>
                      </a:lnTo>
                      <a:lnTo>
                        <a:pt x="32" y="54"/>
                      </a:lnTo>
                      <a:lnTo>
                        <a:pt x="38" y="54"/>
                      </a:lnTo>
                      <a:lnTo>
                        <a:pt x="45" y="53"/>
                      </a:lnTo>
                      <a:lnTo>
                        <a:pt x="50" y="51"/>
                      </a:lnTo>
                      <a:lnTo>
                        <a:pt x="56" y="49"/>
                      </a:lnTo>
                      <a:lnTo>
                        <a:pt x="67" y="42"/>
                      </a:lnTo>
                      <a:lnTo>
                        <a:pt x="75" y="35"/>
                      </a:lnTo>
                      <a:lnTo>
                        <a:pt x="84" y="28"/>
                      </a:lnTo>
                      <a:lnTo>
                        <a:pt x="91" y="20"/>
                      </a:lnTo>
                      <a:lnTo>
                        <a:pt x="95" y="12"/>
                      </a:lnTo>
                      <a:lnTo>
                        <a:pt x="98" y="4"/>
                      </a:lnTo>
                      <a:lnTo>
                        <a:pt x="91" y="2"/>
                      </a:lnTo>
                      <a:lnTo>
                        <a:pt x="83" y="0"/>
                      </a:lnTo>
                      <a:lnTo>
                        <a:pt x="75" y="0"/>
                      </a:lnTo>
                      <a:lnTo>
                        <a:pt x="68" y="0"/>
                      </a:lnTo>
                      <a:lnTo>
                        <a:pt x="59" y="1"/>
                      </a:lnTo>
                      <a:lnTo>
                        <a:pt x="51" y="3"/>
                      </a:lnTo>
                      <a:lnTo>
                        <a:pt x="43" y="6"/>
                      </a:lnTo>
                      <a:lnTo>
                        <a:pt x="37" y="9"/>
                      </a:lnTo>
                      <a:lnTo>
                        <a:pt x="23" y="17"/>
                      </a:lnTo>
                      <a:lnTo>
                        <a:pt x="12" y="25"/>
                      </a:lnTo>
                      <a:lnTo>
                        <a:pt x="7" y="29"/>
                      </a:lnTo>
                      <a:lnTo>
                        <a:pt x="4" y="33"/>
                      </a:lnTo>
                      <a:lnTo>
                        <a:pt x="1" y="37"/>
                      </a:lnTo>
                      <a:lnTo>
                        <a:pt x="0" y="41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58" name="Freeform 393">
                  <a:extLst>
                    <a:ext uri="{FF2B5EF4-FFF2-40B4-BE49-F238E27FC236}">
                      <a16:creationId xmlns:a16="http://schemas.microsoft.com/office/drawing/2014/main" id="{6AFA2708-50A7-4F43-9F66-78A7C60D907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7" y="1551"/>
                  <a:ext cx="21" cy="8"/>
                </a:xfrm>
                <a:custGeom>
                  <a:avLst/>
                  <a:gdLst>
                    <a:gd name="T0" fmla="*/ 0 w 67"/>
                    <a:gd name="T1" fmla="*/ 2 h 28"/>
                    <a:gd name="T2" fmla="*/ 1 w 67"/>
                    <a:gd name="T3" fmla="*/ 2 h 28"/>
                    <a:gd name="T4" fmla="*/ 2 w 67"/>
                    <a:gd name="T5" fmla="*/ 2 h 28"/>
                    <a:gd name="T6" fmla="*/ 3 w 67"/>
                    <a:gd name="T7" fmla="*/ 2 h 28"/>
                    <a:gd name="T8" fmla="*/ 4 w 67"/>
                    <a:gd name="T9" fmla="*/ 2 h 28"/>
                    <a:gd name="T10" fmla="*/ 5 w 67"/>
                    <a:gd name="T11" fmla="*/ 1 h 28"/>
                    <a:gd name="T12" fmla="*/ 6 w 67"/>
                    <a:gd name="T13" fmla="*/ 1 h 28"/>
                    <a:gd name="T14" fmla="*/ 6 w 67"/>
                    <a:gd name="T15" fmla="*/ 1 h 28"/>
                    <a:gd name="T16" fmla="*/ 7 w 67"/>
                    <a:gd name="T17" fmla="*/ 0 h 28"/>
                    <a:gd name="T18" fmla="*/ 6 w 67"/>
                    <a:gd name="T19" fmla="*/ 0 h 28"/>
                    <a:gd name="T20" fmla="*/ 4 w 67"/>
                    <a:gd name="T21" fmla="*/ 0 h 28"/>
                    <a:gd name="T22" fmla="*/ 3 w 67"/>
                    <a:gd name="T23" fmla="*/ 0 h 28"/>
                    <a:gd name="T24" fmla="*/ 3 w 67"/>
                    <a:gd name="T25" fmla="*/ 0 h 28"/>
                    <a:gd name="T26" fmla="*/ 2 w 67"/>
                    <a:gd name="T27" fmla="*/ 1 h 28"/>
                    <a:gd name="T28" fmla="*/ 1 w 67"/>
                    <a:gd name="T29" fmla="*/ 1 h 28"/>
                    <a:gd name="T30" fmla="*/ 1 w 67"/>
                    <a:gd name="T31" fmla="*/ 1 h 28"/>
                    <a:gd name="T32" fmla="*/ 0 w 67"/>
                    <a:gd name="T33" fmla="*/ 1 h 28"/>
                    <a:gd name="T34" fmla="*/ 0 w 67"/>
                    <a:gd name="T35" fmla="*/ 2 h 28"/>
                    <a:gd name="T36" fmla="*/ 0 w 67"/>
                    <a:gd name="T37" fmla="*/ 2 h 28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</a:gdLst>
                  <a:ahLst/>
                  <a:cxnLst>
                    <a:cxn ang="T38">
                      <a:pos x="T0" y="T1"/>
                    </a:cxn>
                    <a:cxn ang="T39">
                      <a:pos x="T2" y="T3"/>
                    </a:cxn>
                    <a:cxn ang="T40">
                      <a:pos x="T4" y="T5"/>
                    </a:cxn>
                    <a:cxn ang="T41">
                      <a:pos x="T6" y="T7"/>
                    </a:cxn>
                    <a:cxn ang="T42">
                      <a:pos x="T8" y="T9"/>
                    </a:cxn>
                    <a:cxn ang="T43">
                      <a:pos x="T10" y="T11"/>
                    </a:cxn>
                    <a:cxn ang="T44">
                      <a:pos x="T12" y="T13"/>
                    </a:cxn>
                    <a:cxn ang="T45">
                      <a:pos x="T14" y="T15"/>
                    </a:cxn>
                    <a:cxn ang="T46">
                      <a:pos x="T16" y="T17"/>
                    </a:cxn>
                    <a:cxn ang="T47">
                      <a:pos x="T18" y="T19"/>
                    </a:cxn>
                    <a:cxn ang="T48">
                      <a:pos x="T20" y="T21"/>
                    </a:cxn>
                    <a:cxn ang="T49">
                      <a:pos x="T22" y="T23"/>
                    </a:cxn>
                    <a:cxn ang="T50">
                      <a:pos x="T24" y="T25"/>
                    </a:cxn>
                    <a:cxn ang="T51">
                      <a:pos x="T26" y="T27"/>
                    </a:cxn>
                    <a:cxn ang="T52">
                      <a:pos x="T28" y="T29"/>
                    </a:cxn>
                    <a:cxn ang="T53">
                      <a:pos x="T30" y="T31"/>
                    </a:cxn>
                    <a:cxn ang="T54">
                      <a:pos x="T32" y="T33"/>
                    </a:cxn>
                    <a:cxn ang="T55">
                      <a:pos x="T34" y="T35"/>
                    </a:cxn>
                    <a:cxn ang="T56">
                      <a:pos x="T36" y="T37"/>
                    </a:cxn>
                  </a:cxnLst>
                  <a:rect l="0" t="0" r="r" b="b"/>
                  <a:pathLst>
                    <a:path w="67" h="28">
                      <a:moveTo>
                        <a:pt x="0" y="27"/>
                      </a:moveTo>
                      <a:lnTo>
                        <a:pt x="11" y="28"/>
                      </a:lnTo>
                      <a:lnTo>
                        <a:pt x="21" y="27"/>
                      </a:lnTo>
                      <a:lnTo>
                        <a:pt x="31" y="25"/>
                      </a:lnTo>
                      <a:lnTo>
                        <a:pt x="41" y="21"/>
                      </a:lnTo>
                      <a:lnTo>
                        <a:pt x="49" y="17"/>
                      </a:lnTo>
                      <a:lnTo>
                        <a:pt x="57" y="12"/>
                      </a:lnTo>
                      <a:lnTo>
                        <a:pt x="63" y="7"/>
                      </a:lnTo>
                      <a:lnTo>
                        <a:pt x="67" y="3"/>
                      </a:lnTo>
                      <a:lnTo>
                        <a:pt x="57" y="1"/>
                      </a:lnTo>
                      <a:lnTo>
                        <a:pt x="46" y="0"/>
                      </a:lnTo>
                      <a:lnTo>
                        <a:pt x="36" y="1"/>
                      </a:lnTo>
                      <a:lnTo>
                        <a:pt x="26" y="3"/>
                      </a:lnTo>
                      <a:lnTo>
                        <a:pt x="17" y="7"/>
                      </a:lnTo>
                      <a:lnTo>
                        <a:pt x="10" y="12"/>
                      </a:lnTo>
                      <a:lnTo>
                        <a:pt x="7" y="15"/>
                      </a:lnTo>
                      <a:lnTo>
                        <a:pt x="4" y="19"/>
                      </a:lnTo>
                      <a:lnTo>
                        <a:pt x="2" y="22"/>
                      </a:lnTo>
                      <a:lnTo>
                        <a:pt x="0" y="27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59" name="Freeform 394">
                  <a:extLst>
                    <a:ext uri="{FF2B5EF4-FFF2-40B4-BE49-F238E27FC236}">
                      <a16:creationId xmlns:a16="http://schemas.microsoft.com/office/drawing/2014/main" id="{54B31548-EA72-4D5B-A45A-FBB6853185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" y="1608"/>
                  <a:ext cx="11" cy="11"/>
                </a:xfrm>
                <a:custGeom>
                  <a:avLst/>
                  <a:gdLst>
                    <a:gd name="T0" fmla="*/ 0 w 32"/>
                    <a:gd name="T1" fmla="*/ 2 h 36"/>
                    <a:gd name="T2" fmla="*/ 0 w 32"/>
                    <a:gd name="T3" fmla="*/ 2 h 36"/>
                    <a:gd name="T4" fmla="*/ 0 w 32"/>
                    <a:gd name="T5" fmla="*/ 3 h 36"/>
                    <a:gd name="T6" fmla="*/ 1 w 32"/>
                    <a:gd name="T7" fmla="*/ 3 h 36"/>
                    <a:gd name="T8" fmla="*/ 1 w 32"/>
                    <a:gd name="T9" fmla="*/ 3 h 36"/>
                    <a:gd name="T10" fmla="*/ 1 w 32"/>
                    <a:gd name="T11" fmla="*/ 3 h 36"/>
                    <a:gd name="T12" fmla="*/ 1 w 32"/>
                    <a:gd name="T13" fmla="*/ 3 h 36"/>
                    <a:gd name="T14" fmla="*/ 4 w 32"/>
                    <a:gd name="T15" fmla="*/ 3 h 36"/>
                    <a:gd name="T16" fmla="*/ 4 w 32"/>
                    <a:gd name="T17" fmla="*/ 2 h 36"/>
                    <a:gd name="T18" fmla="*/ 4 w 32"/>
                    <a:gd name="T19" fmla="*/ 1 h 36"/>
                    <a:gd name="T20" fmla="*/ 3 w 32"/>
                    <a:gd name="T21" fmla="*/ 1 h 36"/>
                    <a:gd name="T22" fmla="*/ 3 w 32"/>
                    <a:gd name="T23" fmla="*/ 0 h 36"/>
                    <a:gd name="T24" fmla="*/ 2 w 32"/>
                    <a:gd name="T25" fmla="*/ 0 h 36"/>
                    <a:gd name="T26" fmla="*/ 1 w 32"/>
                    <a:gd name="T27" fmla="*/ 1 h 36"/>
                    <a:gd name="T28" fmla="*/ 1 w 32"/>
                    <a:gd name="T29" fmla="*/ 1 h 36"/>
                    <a:gd name="T30" fmla="*/ 0 w 32"/>
                    <a:gd name="T31" fmla="*/ 1 h 36"/>
                    <a:gd name="T32" fmla="*/ 0 w 32"/>
                    <a:gd name="T33" fmla="*/ 2 h 36"/>
                    <a:gd name="T34" fmla="*/ 0 w 32"/>
                    <a:gd name="T35" fmla="*/ 2 h 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32" h="36">
                      <a:moveTo>
                        <a:pt x="0" y="18"/>
                      </a:moveTo>
                      <a:lnTo>
                        <a:pt x="1" y="24"/>
                      </a:lnTo>
                      <a:lnTo>
                        <a:pt x="4" y="29"/>
                      </a:lnTo>
                      <a:lnTo>
                        <a:pt x="6" y="32"/>
                      </a:lnTo>
                      <a:lnTo>
                        <a:pt x="8" y="34"/>
                      </a:lnTo>
                      <a:lnTo>
                        <a:pt x="11" y="36"/>
                      </a:lnTo>
                      <a:lnTo>
                        <a:pt x="13" y="36"/>
                      </a:lnTo>
                      <a:lnTo>
                        <a:pt x="32" y="36"/>
                      </a:lnTo>
                      <a:lnTo>
                        <a:pt x="32" y="22"/>
                      </a:lnTo>
                      <a:lnTo>
                        <a:pt x="31" y="14"/>
                      </a:lnTo>
                      <a:lnTo>
                        <a:pt x="30" y="7"/>
                      </a:lnTo>
                      <a:lnTo>
                        <a:pt x="26" y="0"/>
                      </a:lnTo>
                      <a:lnTo>
                        <a:pt x="19" y="2"/>
                      </a:lnTo>
                      <a:lnTo>
                        <a:pt x="11" y="7"/>
                      </a:lnTo>
                      <a:lnTo>
                        <a:pt x="6" y="10"/>
                      </a:lnTo>
                      <a:lnTo>
                        <a:pt x="3" y="13"/>
                      </a:lnTo>
                      <a:lnTo>
                        <a:pt x="1" y="16"/>
                      </a:lnTo>
                      <a:lnTo>
                        <a:pt x="0" y="18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0" name="Freeform 395">
                  <a:extLst>
                    <a:ext uri="{FF2B5EF4-FFF2-40B4-BE49-F238E27FC236}">
                      <a16:creationId xmlns:a16="http://schemas.microsoft.com/office/drawing/2014/main" id="{D8A23836-3FD1-439A-B4B2-7CFB6C0A9B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5" y="1314"/>
                  <a:ext cx="48" cy="17"/>
                </a:xfrm>
                <a:custGeom>
                  <a:avLst/>
                  <a:gdLst>
                    <a:gd name="T0" fmla="*/ 0 w 146"/>
                    <a:gd name="T1" fmla="*/ 5 h 52"/>
                    <a:gd name="T2" fmla="*/ 1 w 146"/>
                    <a:gd name="T3" fmla="*/ 5 h 52"/>
                    <a:gd name="T4" fmla="*/ 2 w 146"/>
                    <a:gd name="T5" fmla="*/ 5 h 52"/>
                    <a:gd name="T6" fmla="*/ 3 w 146"/>
                    <a:gd name="T7" fmla="*/ 6 h 52"/>
                    <a:gd name="T8" fmla="*/ 4 w 146"/>
                    <a:gd name="T9" fmla="*/ 6 h 52"/>
                    <a:gd name="T10" fmla="*/ 6 w 146"/>
                    <a:gd name="T11" fmla="*/ 6 h 52"/>
                    <a:gd name="T12" fmla="*/ 8 w 146"/>
                    <a:gd name="T13" fmla="*/ 6 h 52"/>
                    <a:gd name="T14" fmla="*/ 12 w 146"/>
                    <a:gd name="T15" fmla="*/ 5 h 52"/>
                    <a:gd name="T16" fmla="*/ 14 w 146"/>
                    <a:gd name="T17" fmla="*/ 5 h 52"/>
                    <a:gd name="T18" fmla="*/ 14 w 146"/>
                    <a:gd name="T19" fmla="*/ 4 h 52"/>
                    <a:gd name="T20" fmla="*/ 14 w 146"/>
                    <a:gd name="T21" fmla="*/ 3 h 52"/>
                    <a:gd name="T22" fmla="*/ 14 w 146"/>
                    <a:gd name="T23" fmla="*/ 3 h 52"/>
                    <a:gd name="T24" fmla="*/ 14 w 146"/>
                    <a:gd name="T25" fmla="*/ 2 h 52"/>
                    <a:gd name="T26" fmla="*/ 13 w 146"/>
                    <a:gd name="T27" fmla="*/ 2 h 52"/>
                    <a:gd name="T28" fmla="*/ 13 w 146"/>
                    <a:gd name="T29" fmla="*/ 1 h 52"/>
                    <a:gd name="T30" fmla="*/ 12 w 146"/>
                    <a:gd name="T31" fmla="*/ 1 h 52"/>
                    <a:gd name="T32" fmla="*/ 12 w 146"/>
                    <a:gd name="T33" fmla="*/ 1 h 52"/>
                    <a:gd name="T34" fmla="*/ 11 w 146"/>
                    <a:gd name="T35" fmla="*/ 0 h 52"/>
                    <a:gd name="T36" fmla="*/ 10 w 146"/>
                    <a:gd name="T37" fmla="*/ 0 h 52"/>
                    <a:gd name="T38" fmla="*/ 9 w 146"/>
                    <a:gd name="T39" fmla="*/ 0 h 52"/>
                    <a:gd name="T40" fmla="*/ 8 w 146"/>
                    <a:gd name="T41" fmla="*/ 0 h 52"/>
                    <a:gd name="T42" fmla="*/ 7 w 146"/>
                    <a:gd name="T43" fmla="*/ 1 h 52"/>
                    <a:gd name="T44" fmla="*/ 5 w 146"/>
                    <a:gd name="T45" fmla="*/ 1 h 52"/>
                    <a:gd name="T46" fmla="*/ 4 w 146"/>
                    <a:gd name="T47" fmla="*/ 2 h 52"/>
                    <a:gd name="T48" fmla="*/ 3 w 146"/>
                    <a:gd name="T49" fmla="*/ 2 h 52"/>
                    <a:gd name="T50" fmla="*/ 2 w 146"/>
                    <a:gd name="T51" fmla="*/ 3 h 52"/>
                    <a:gd name="T52" fmla="*/ 1 w 146"/>
                    <a:gd name="T53" fmla="*/ 3 h 52"/>
                    <a:gd name="T54" fmla="*/ 1 w 146"/>
                    <a:gd name="T55" fmla="*/ 4 h 52"/>
                    <a:gd name="T56" fmla="*/ 0 w 146"/>
                    <a:gd name="T57" fmla="*/ 5 h 5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146" h="52">
                      <a:moveTo>
                        <a:pt x="0" y="43"/>
                      </a:moveTo>
                      <a:lnTo>
                        <a:pt x="11" y="46"/>
                      </a:lnTo>
                      <a:lnTo>
                        <a:pt x="22" y="48"/>
                      </a:lnTo>
                      <a:lnTo>
                        <a:pt x="33" y="51"/>
                      </a:lnTo>
                      <a:lnTo>
                        <a:pt x="43" y="52"/>
                      </a:lnTo>
                      <a:lnTo>
                        <a:pt x="63" y="52"/>
                      </a:lnTo>
                      <a:lnTo>
                        <a:pt x="82" y="51"/>
                      </a:lnTo>
                      <a:lnTo>
                        <a:pt x="117" y="46"/>
                      </a:lnTo>
                      <a:lnTo>
                        <a:pt x="146" y="43"/>
                      </a:lnTo>
                      <a:lnTo>
                        <a:pt x="144" y="36"/>
                      </a:lnTo>
                      <a:lnTo>
                        <a:pt x="142" y="30"/>
                      </a:lnTo>
                      <a:lnTo>
                        <a:pt x="139" y="24"/>
                      </a:lnTo>
                      <a:lnTo>
                        <a:pt x="137" y="19"/>
                      </a:lnTo>
                      <a:lnTo>
                        <a:pt x="134" y="15"/>
                      </a:lnTo>
                      <a:lnTo>
                        <a:pt x="129" y="11"/>
                      </a:lnTo>
                      <a:lnTo>
                        <a:pt x="125" y="8"/>
                      </a:lnTo>
                      <a:lnTo>
                        <a:pt x="121" y="6"/>
                      </a:lnTo>
                      <a:lnTo>
                        <a:pt x="111" y="2"/>
                      </a:lnTo>
                      <a:lnTo>
                        <a:pt x="101" y="0"/>
                      </a:lnTo>
                      <a:lnTo>
                        <a:pt x="89" y="1"/>
                      </a:lnTo>
                      <a:lnTo>
                        <a:pt x="78" y="2"/>
                      </a:lnTo>
                      <a:lnTo>
                        <a:pt x="66" y="5"/>
                      </a:lnTo>
                      <a:lnTo>
                        <a:pt x="54" y="9"/>
                      </a:lnTo>
                      <a:lnTo>
                        <a:pt x="43" y="14"/>
                      </a:lnTo>
                      <a:lnTo>
                        <a:pt x="32" y="19"/>
                      </a:lnTo>
                      <a:lnTo>
                        <a:pt x="22" y="25"/>
                      </a:lnTo>
                      <a:lnTo>
                        <a:pt x="13" y="31"/>
                      </a:lnTo>
                      <a:lnTo>
                        <a:pt x="5" y="37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1" name="Freeform 396">
                  <a:extLst>
                    <a:ext uri="{FF2B5EF4-FFF2-40B4-BE49-F238E27FC236}">
                      <a16:creationId xmlns:a16="http://schemas.microsoft.com/office/drawing/2014/main" id="{C9FC7762-26D1-426F-B193-189432BD5F8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61" y="1252"/>
                  <a:ext cx="20" cy="10"/>
                </a:xfrm>
                <a:custGeom>
                  <a:avLst/>
                  <a:gdLst>
                    <a:gd name="T0" fmla="*/ 7 w 60"/>
                    <a:gd name="T1" fmla="*/ 0 h 31"/>
                    <a:gd name="T2" fmla="*/ 5 w 60"/>
                    <a:gd name="T3" fmla="*/ 0 h 31"/>
                    <a:gd name="T4" fmla="*/ 4 w 60"/>
                    <a:gd name="T5" fmla="*/ 0 h 31"/>
                    <a:gd name="T6" fmla="*/ 3 w 60"/>
                    <a:gd name="T7" fmla="*/ 0 h 31"/>
                    <a:gd name="T8" fmla="*/ 3 w 60"/>
                    <a:gd name="T9" fmla="*/ 0 h 31"/>
                    <a:gd name="T10" fmla="*/ 2 w 60"/>
                    <a:gd name="T11" fmla="*/ 0 h 31"/>
                    <a:gd name="T12" fmla="*/ 1 w 60"/>
                    <a:gd name="T13" fmla="*/ 0 h 31"/>
                    <a:gd name="T14" fmla="*/ 1 w 60"/>
                    <a:gd name="T15" fmla="*/ 0 h 31"/>
                    <a:gd name="T16" fmla="*/ 0 w 60"/>
                    <a:gd name="T17" fmla="*/ 1 h 31"/>
                    <a:gd name="T18" fmla="*/ 0 w 60"/>
                    <a:gd name="T19" fmla="*/ 1 h 31"/>
                    <a:gd name="T20" fmla="*/ 0 w 60"/>
                    <a:gd name="T21" fmla="*/ 1 h 31"/>
                    <a:gd name="T22" fmla="*/ 0 w 60"/>
                    <a:gd name="T23" fmla="*/ 2 h 31"/>
                    <a:gd name="T24" fmla="*/ 0 w 60"/>
                    <a:gd name="T25" fmla="*/ 2 h 31"/>
                    <a:gd name="T26" fmla="*/ 1 w 60"/>
                    <a:gd name="T27" fmla="*/ 2 h 31"/>
                    <a:gd name="T28" fmla="*/ 1 w 60"/>
                    <a:gd name="T29" fmla="*/ 3 h 31"/>
                    <a:gd name="T30" fmla="*/ 1 w 60"/>
                    <a:gd name="T31" fmla="*/ 3 h 31"/>
                    <a:gd name="T32" fmla="*/ 2 w 60"/>
                    <a:gd name="T33" fmla="*/ 3 h 31"/>
                    <a:gd name="T34" fmla="*/ 2 w 60"/>
                    <a:gd name="T35" fmla="*/ 3 h 31"/>
                    <a:gd name="T36" fmla="*/ 3 w 60"/>
                    <a:gd name="T37" fmla="*/ 3 h 31"/>
                    <a:gd name="T38" fmla="*/ 4 w 60"/>
                    <a:gd name="T39" fmla="*/ 3 h 31"/>
                    <a:gd name="T40" fmla="*/ 4 w 60"/>
                    <a:gd name="T41" fmla="*/ 3 h 31"/>
                    <a:gd name="T42" fmla="*/ 5 w 60"/>
                    <a:gd name="T43" fmla="*/ 3 h 31"/>
                    <a:gd name="T44" fmla="*/ 5 w 60"/>
                    <a:gd name="T45" fmla="*/ 2 h 31"/>
                    <a:gd name="T46" fmla="*/ 6 w 60"/>
                    <a:gd name="T47" fmla="*/ 1 h 31"/>
                    <a:gd name="T48" fmla="*/ 7 w 60"/>
                    <a:gd name="T49" fmla="*/ 1 h 31"/>
                    <a:gd name="T50" fmla="*/ 7 w 60"/>
                    <a:gd name="T51" fmla="*/ 0 h 31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60" h="31">
                      <a:moveTo>
                        <a:pt x="60" y="0"/>
                      </a:moveTo>
                      <a:lnTo>
                        <a:pt x="49" y="0"/>
                      </a:lnTo>
                      <a:lnTo>
                        <a:pt x="38" y="0"/>
                      </a:lnTo>
                      <a:lnTo>
                        <a:pt x="31" y="0"/>
                      </a:lnTo>
                      <a:lnTo>
                        <a:pt x="27" y="0"/>
                      </a:lnTo>
                      <a:lnTo>
                        <a:pt x="18" y="0"/>
                      </a:lnTo>
                      <a:lnTo>
                        <a:pt x="9" y="2"/>
                      </a:lnTo>
                      <a:lnTo>
                        <a:pt x="5" y="3"/>
                      </a:lnTo>
                      <a:lnTo>
                        <a:pt x="2" y="5"/>
                      </a:lnTo>
                      <a:lnTo>
                        <a:pt x="1" y="8"/>
                      </a:lnTo>
                      <a:lnTo>
                        <a:pt x="0" y="12"/>
                      </a:lnTo>
                      <a:lnTo>
                        <a:pt x="1" y="15"/>
                      </a:lnTo>
                      <a:lnTo>
                        <a:pt x="2" y="18"/>
                      </a:lnTo>
                      <a:lnTo>
                        <a:pt x="5" y="22"/>
                      </a:lnTo>
                      <a:lnTo>
                        <a:pt x="9" y="24"/>
                      </a:lnTo>
                      <a:lnTo>
                        <a:pt x="12" y="27"/>
                      </a:lnTo>
                      <a:lnTo>
                        <a:pt x="18" y="29"/>
                      </a:lnTo>
                      <a:lnTo>
                        <a:pt x="22" y="31"/>
                      </a:lnTo>
                      <a:lnTo>
                        <a:pt x="27" y="31"/>
                      </a:lnTo>
                      <a:lnTo>
                        <a:pt x="32" y="30"/>
                      </a:lnTo>
                      <a:lnTo>
                        <a:pt x="37" y="28"/>
                      </a:lnTo>
                      <a:lnTo>
                        <a:pt x="43" y="24"/>
                      </a:lnTo>
                      <a:lnTo>
                        <a:pt x="48" y="18"/>
                      </a:lnTo>
                      <a:lnTo>
                        <a:pt x="57" y="10"/>
                      </a:lnTo>
                      <a:lnTo>
                        <a:pt x="60" y="6"/>
                      </a:lnTo>
                      <a:lnTo>
                        <a:pt x="60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2" name="Freeform 397">
                  <a:extLst>
                    <a:ext uri="{FF2B5EF4-FFF2-40B4-BE49-F238E27FC236}">
                      <a16:creationId xmlns:a16="http://schemas.microsoft.com/office/drawing/2014/main" id="{ED39FCB5-4BCB-4015-A947-03AB27DE3E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29" y="1713"/>
                  <a:ext cx="27" cy="20"/>
                </a:xfrm>
                <a:custGeom>
                  <a:avLst/>
                  <a:gdLst>
                    <a:gd name="T0" fmla="*/ 0 w 80"/>
                    <a:gd name="T1" fmla="*/ 5 h 62"/>
                    <a:gd name="T2" fmla="*/ 0 w 80"/>
                    <a:gd name="T3" fmla="*/ 5 h 62"/>
                    <a:gd name="T4" fmla="*/ 0 w 80"/>
                    <a:gd name="T5" fmla="*/ 5 h 62"/>
                    <a:gd name="T6" fmla="*/ 0 w 80"/>
                    <a:gd name="T7" fmla="*/ 5 h 62"/>
                    <a:gd name="T8" fmla="*/ 0 w 80"/>
                    <a:gd name="T9" fmla="*/ 5 h 62"/>
                    <a:gd name="T10" fmla="*/ 1 w 80"/>
                    <a:gd name="T11" fmla="*/ 6 h 62"/>
                    <a:gd name="T12" fmla="*/ 2 w 80"/>
                    <a:gd name="T13" fmla="*/ 6 h 62"/>
                    <a:gd name="T14" fmla="*/ 3 w 80"/>
                    <a:gd name="T15" fmla="*/ 6 h 62"/>
                    <a:gd name="T16" fmla="*/ 4 w 80"/>
                    <a:gd name="T17" fmla="*/ 6 h 62"/>
                    <a:gd name="T18" fmla="*/ 5 w 80"/>
                    <a:gd name="T19" fmla="*/ 6 h 62"/>
                    <a:gd name="T20" fmla="*/ 5 w 80"/>
                    <a:gd name="T21" fmla="*/ 6 h 62"/>
                    <a:gd name="T22" fmla="*/ 6 w 80"/>
                    <a:gd name="T23" fmla="*/ 6 h 62"/>
                    <a:gd name="T24" fmla="*/ 6 w 80"/>
                    <a:gd name="T25" fmla="*/ 5 h 62"/>
                    <a:gd name="T26" fmla="*/ 7 w 80"/>
                    <a:gd name="T27" fmla="*/ 5 h 62"/>
                    <a:gd name="T28" fmla="*/ 7 w 80"/>
                    <a:gd name="T29" fmla="*/ 4 h 62"/>
                    <a:gd name="T30" fmla="*/ 8 w 80"/>
                    <a:gd name="T31" fmla="*/ 3 h 62"/>
                    <a:gd name="T32" fmla="*/ 8 w 80"/>
                    <a:gd name="T33" fmla="*/ 2 h 62"/>
                    <a:gd name="T34" fmla="*/ 8 w 80"/>
                    <a:gd name="T35" fmla="*/ 1 h 62"/>
                    <a:gd name="T36" fmla="*/ 8 w 80"/>
                    <a:gd name="T37" fmla="*/ 0 h 62"/>
                    <a:gd name="T38" fmla="*/ 7 w 80"/>
                    <a:gd name="T39" fmla="*/ 0 h 62"/>
                    <a:gd name="T40" fmla="*/ 6 w 80"/>
                    <a:gd name="T41" fmla="*/ 0 h 62"/>
                    <a:gd name="T42" fmla="*/ 5 w 80"/>
                    <a:gd name="T43" fmla="*/ 1 h 62"/>
                    <a:gd name="T44" fmla="*/ 4 w 80"/>
                    <a:gd name="T45" fmla="*/ 1 h 62"/>
                    <a:gd name="T46" fmla="*/ 2 w 80"/>
                    <a:gd name="T47" fmla="*/ 2 h 62"/>
                    <a:gd name="T48" fmla="*/ 1 w 80"/>
                    <a:gd name="T49" fmla="*/ 3 h 62"/>
                    <a:gd name="T50" fmla="*/ 1 w 80"/>
                    <a:gd name="T51" fmla="*/ 3 h 62"/>
                    <a:gd name="T52" fmla="*/ 0 w 80"/>
                    <a:gd name="T53" fmla="*/ 4 h 62"/>
                    <a:gd name="T54" fmla="*/ 0 w 80"/>
                    <a:gd name="T55" fmla="*/ 4 h 62"/>
                    <a:gd name="T56" fmla="*/ 0 w 80"/>
                    <a:gd name="T57" fmla="*/ 5 h 62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</a:gdLst>
                  <a:ahLst/>
                  <a:cxnLst>
                    <a:cxn ang="T58">
                      <a:pos x="T0" y="T1"/>
                    </a:cxn>
                    <a:cxn ang="T59">
                      <a:pos x="T2" y="T3"/>
                    </a:cxn>
                    <a:cxn ang="T60">
                      <a:pos x="T4" y="T5"/>
                    </a:cxn>
                    <a:cxn ang="T61">
                      <a:pos x="T6" y="T7"/>
                    </a:cxn>
                    <a:cxn ang="T62">
                      <a:pos x="T8" y="T9"/>
                    </a:cxn>
                    <a:cxn ang="T63">
                      <a:pos x="T10" y="T11"/>
                    </a:cxn>
                    <a:cxn ang="T64">
                      <a:pos x="T12" y="T13"/>
                    </a:cxn>
                    <a:cxn ang="T65">
                      <a:pos x="T14" y="T15"/>
                    </a:cxn>
                    <a:cxn ang="T66">
                      <a:pos x="T16" y="T17"/>
                    </a:cxn>
                    <a:cxn ang="T67">
                      <a:pos x="T18" y="T19"/>
                    </a:cxn>
                    <a:cxn ang="T68">
                      <a:pos x="T20" y="T21"/>
                    </a:cxn>
                    <a:cxn ang="T69">
                      <a:pos x="T22" y="T23"/>
                    </a:cxn>
                    <a:cxn ang="T70">
                      <a:pos x="T24" y="T25"/>
                    </a:cxn>
                    <a:cxn ang="T71">
                      <a:pos x="T26" y="T27"/>
                    </a:cxn>
                    <a:cxn ang="T72">
                      <a:pos x="T28" y="T29"/>
                    </a:cxn>
                    <a:cxn ang="T73">
                      <a:pos x="T30" y="T31"/>
                    </a:cxn>
                    <a:cxn ang="T74">
                      <a:pos x="T32" y="T33"/>
                    </a:cxn>
                    <a:cxn ang="T75">
                      <a:pos x="T34" y="T35"/>
                    </a:cxn>
                    <a:cxn ang="T76">
                      <a:pos x="T36" y="T37"/>
                    </a:cxn>
                    <a:cxn ang="T77">
                      <a:pos x="T38" y="T39"/>
                    </a:cxn>
                    <a:cxn ang="T78">
                      <a:pos x="T40" y="T41"/>
                    </a:cxn>
                    <a:cxn ang="T79">
                      <a:pos x="T42" y="T43"/>
                    </a:cxn>
                    <a:cxn ang="T80">
                      <a:pos x="T44" y="T45"/>
                    </a:cxn>
                    <a:cxn ang="T81">
                      <a:pos x="T46" y="T47"/>
                    </a:cxn>
                    <a:cxn ang="T82">
                      <a:pos x="T48" y="T49"/>
                    </a:cxn>
                    <a:cxn ang="T83">
                      <a:pos x="T50" y="T51"/>
                    </a:cxn>
                    <a:cxn ang="T84">
                      <a:pos x="T52" y="T53"/>
                    </a:cxn>
                    <a:cxn ang="T85">
                      <a:pos x="T54" y="T55"/>
                    </a:cxn>
                    <a:cxn ang="T86">
                      <a:pos x="T56" y="T57"/>
                    </a:cxn>
                  </a:cxnLst>
                  <a:rect l="0" t="0" r="r" b="b"/>
                  <a:pathLst>
                    <a:path w="80" h="62">
                      <a:moveTo>
                        <a:pt x="0" y="43"/>
                      </a:moveTo>
                      <a:lnTo>
                        <a:pt x="1" y="46"/>
                      </a:lnTo>
                      <a:lnTo>
                        <a:pt x="1" y="49"/>
                      </a:lnTo>
                      <a:lnTo>
                        <a:pt x="3" y="51"/>
                      </a:lnTo>
                      <a:lnTo>
                        <a:pt x="4" y="53"/>
                      </a:lnTo>
                      <a:lnTo>
                        <a:pt x="10" y="57"/>
                      </a:lnTo>
                      <a:lnTo>
                        <a:pt x="15" y="59"/>
                      </a:lnTo>
                      <a:lnTo>
                        <a:pt x="28" y="62"/>
                      </a:lnTo>
                      <a:lnTo>
                        <a:pt x="40" y="62"/>
                      </a:lnTo>
                      <a:lnTo>
                        <a:pt x="45" y="62"/>
                      </a:lnTo>
                      <a:lnTo>
                        <a:pt x="49" y="59"/>
                      </a:lnTo>
                      <a:lnTo>
                        <a:pt x="54" y="57"/>
                      </a:lnTo>
                      <a:lnTo>
                        <a:pt x="58" y="54"/>
                      </a:lnTo>
                      <a:lnTo>
                        <a:pt x="65" y="47"/>
                      </a:lnTo>
                      <a:lnTo>
                        <a:pt x="70" y="38"/>
                      </a:lnTo>
                      <a:lnTo>
                        <a:pt x="74" y="28"/>
                      </a:lnTo>
                      <a:lnTo>
                        <a:pt x="78" y="18"/>
                      </a:lnTo>
                      <a:lnTo>
                        <a:pt x="79" y="8"/>
                      </a:lnTo>
                      <a:lnTo>
                        <a:pt x="80" y="0"/>
                      </a:lnTo>
                      <a:lnTo>
                        <a:pt x="71" y="0"/>
                      </a:lnTo>
                      <a:lnTo>
                        <a:pt x="59" y="3"/>
                      </a:lnTo>
                      <a:lnTo>
                        <a:pt x="46" y="8"/>
                      </a:lnTo>
                      <a:lnTo>
                        <a:pt x="33" y="13"/>
                      </a:lnTo>
                      <a:lnTo>
                        <a:pt x="21" y="19"/>
                      </a:lnTo>
                      <a:lnTo>
                        <a:pt x="10" y="26"/>
                      </a:lnTo>
                      <a:lnTo>
                        <a:pt x="6" y="30"/>
                      </a:lnTo>
                      <a:lnTo>
                        <a:pt x="3" y="34"/>
                      </a:lnTo>
                      <a:lnTo>
                        <a:pt x="1" y="39"/>
                      </a:lnTo>
                      <a:lnTo>
                        <a:pt x="0" y="4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3" name="Freeform 398">
                  <a:extLst>
                    <a:ext uri="{FF2B5EF4-FFF2-40B4-BE49-F238E27FC236}">
                      <a16:creationId xmlns:a16="http://schemas.microsoft.com/office/drawing/2014/main" id="{3FEBF3CB-72FC-4BEC-96FF-C91C85C35E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3" y="1674"/>
                  <a:ext cx="30" cy="16"/>
                </a:xfrm>
                <a:custGeom>
                  <a:avLst/>
                  <a:gdLst>
                    <a:gd name="T0" fmla="*/ 8 w 106"/>
                    <a:gd name="T1" fmla="*/ 1 h 49"/>
                    <a:gd name="T2" fmla="*/ 7 w 106"/>
                    <a:gd name="T3" fmla="*/ 1 h 49"/>
                    <a:gd name="T4" fmla="*/ 7 w 106"/>
                    <a:gd name="T5" fmla="*/ 1 h 49"/>
                    <a:gd name="T6" fmla="*/ 6 w 106"/>
                    <a:gd name="T7" fmla="*/ 1 h 49"/>
                    <a:gd name="T8" fmla="*/ 5 w 106"/>
                    <a:gd name="T9" fmla="*/ 1 h 49"/>
                    <a:gd name="T10" fmla="*/ 5 w 106"/>
                    <a:gd name="T11" fmla="*/ 0 h 49"/>
                    <a:gd name="T12" fmla="*/ 4 w 106"/>
                    <a:gd name="T13" fmla="*/ 0 h 49"/>
                    <a:gd name="T14" fmla="*/ 3 w 106"/>
                    <a:gd name="T15" fmla="*/ 0 h 49"/>
                    <a:gd name="T16" fmla="*/ 2 w 106"/>
                    <a:gd name="T17" fmla="*/ 0 h 49"/>
                    <a:gd name="T18" fmla="*/ 2 w 106"/>
                    <a:gd name="T19" fmla="*/ 0 h 49"/>
                    <a:gd name="T20" fmla="*/ 0 w 106"/>
                    <a:gd name="T21" fmla="*/ 0 h 49"/>
                    <a:gd name="T22" fmla="*/ 1 w 106"/>
                    <a:gd name="T23" fmla="*/ 1 h 49"/>
                    <a:gd name="T24" fmla="*/ 2 w 106"/>
                    <a:gd name="T25" fmla="*/ 2 h 49"/>
                    <a:gd name="T26" fmla="*/ 2 w 106"/>
                    <a:gd name="T27" fmla="*/ 3 h 49"/>
                    <a:gd name="T28" fmla="*/ 3 w 106"/>
                    <a:gd name="T29" fmla="*/ 4 h 49"/>
                    <a:gd name="T30" fmla="*/ 4 w 106"/>
                    <a:gd name="T31" fmla="*/ 5 h 49"/>
                    <a:gd name="T32" fmla="*/ 5 w 106"/>
                    <a:gd name="T33" fmla="*/ 5 h 49"/>
                    <a:gd name="T34" fmla="*/ 6 w 106"/>
                    <a:gd name="T35" fmla="*/ 5 h 49"/>
                    <a:gd name="T36" fmla="*/ 7 w 106"/>
                    <a:gd name="T37" fmla="*/ 5 h 49"/>
                    <a:gd name="T38" fmla="*/ 8 w 106"/>
                    <a:gd name="T39" fmla="*/ 5 h 49"/>
                    <a:gd name="T40" fmla="*/ 8 w 106"/>
                    <a:gd name="T41" fmla="*/ 5 h 49"/>
                    <a:gd name="T42" fmla="*/ 9 w 106"/>
                    <a:gd name="T43" fmla="*/ 4 h 49"/>
                    <a:gd name="T44" fmla="*/ 10 w 106"/>
                    <a:gd name="T45" fmla="*/ 3 h 49"/>
                    <a:gd name="T46" fmla="*/ 10 w 106"/>
                    <a:gd name="T47" fmla="*/ 3 h 49"/>
                    <a:gd name="T48" fmla="*/ 10 w 106"/>
                    <a:gd name="T49" fmla="*/ 3 h 49"/>
                    <a:gd name="T50" fmla="*/ 9 w 106"/>
                    <a:gd name="T51" fmla="*/ 3 h 49"/>
                    <a:gd name="T52" fmla="*/ 9 w 106"/>
                    <a:gd name="T53" fmla="*/ 2 h 49"/>
                    <a:gd name="T54" fmla="*/ 8 w 106"/>
                    <a:gd name="T55" fmla="*/ 2 h 49"/>
                    <a:gd name="T56" fmla="*/ 8 w 106"/>
                    <a:gd name="T57" fmla="*/ 2 h 49"/>
                    <a:gd name="T58" fmla="*/ 8 w 106"/>
                    <a:gd name="T59" fmla="*/ 2 h 49"/>
                    <a:gd name="T60" fmla="*/ 8 w 106"/>
                    <a:gd name="T61" fmla="*/ 1 h 49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106" h="49">
                      <a:moveTo>
                        <a:pt x="80" y="13"/>
                      </a:moveTo>
                      <a:lnTo>
                        <a:pt x="72" y="12"/>
                      </a:lnTo>
                      <a:lnTo>
                        <a:pt x="66" y="11"/>
                      </a:lnTo>
                      <a:lnTo>
                        <a:pt x="59" y="8"/>
                      </a:lnTo>
                      <a:lnTo>
                        <a:pt x="53" y="6"/>
                      </a:lnTo>
                      <a:lnTo>
                        <a:pt x="47" y="4"/>
                      </a:lnTo>
                      <a:lnTo>
                        <a:pt x="41" y="2"/>
                      </a:lnTo>
                      <a:lnTo>
                        <a:pt x="34" y="0"/>
                      </a:lnTo>
                      <a:lnTo>
                        <a:pt x="26" y="0"/>
                      </a:lnTo>
                      <a:lnTo>
                        <a:pt x="15" y="0"/>
                      </a:lnTo>
                      <a:lnTo>
                        <a:pt x="0" y="0"/>
                      </a:lnTo>
                      <a:lnTo>
                        <a:pt x="9" y="11"/>
                      </a:lnTo>
                      <a:lnTo>
                        <a:pt x="17" y="21"/>
                      </a:lnTo>
                      <a:lnTo>
                        <a:pt x="26" y="29"/>
                      </a:lnTo>
                      <a:lnTo>
                        <a:pt x="34" y="36"/>
                      </a:lnTo>
                      <a:lnTo>
                        <a:pt x="42" y="42"/>
                      </a:lnTo>
                      <a:lnTo>
                        <a:pt x="52" y="46"/>
                      </a:lnTo>
                      <a:lnTo>
                        <a:pt x="61" y="48"/>
                      </a:lnTo>
                      <a:lnTo>
                        <a:pt x="72" y="49"/>
                      </a:lnTo>
                      <a:lnTo>
                        <a:pt x="79" y="48"/>
                      </a:lnTo>
                      <a:lnTo>
                        <a:pt x="87" y="45"/>
                      </a:lnTo>
                      <a:lnTo>
                        <a:pt x="97" y="39"/>
                      </a:lnTo>
                      <a:lnTo>
                        <a:pt x="106" y="31"/>
                      </a:lnTo>
                      <a:lnTo>
                        <a:pt x="101" y="30"/>
                      </a:lnTo>
                      <a:lnTo>
                        <a:pt x="98" y="28"/>
                      </a:lnTo>
                      <a:lnTo>
                        <a:pt x="93" y="25"/>
                      </a:lnTo>
                      <a:lnTo>
                        <a:pt x="90" y="22"/>
                      </a:lnTo>
                      <a:lnTo>
                        <a:pt x="88" y="19"/>
                      </a:lnTo>
                      <a:lnTo>
                        <a:pt x="84" y="16"/>
                      </a:lnTo>
                      <a:lnTo>
                        <a:pt x="82" y="14"/>
                      </a:lnTo>
                      <a:lnTo>
                        <a:pt x="80" y="1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4" name="Freeform 399">
                  <a:extLst>
                    <a:ext uri="{FF2B5EF4-FFF2-40B4-BE49-F238E27FC236}">
                      <a16:creationId xmlns:a16="http://schemas.microsoft.com/office/drawing/2014/main" id="{80D6FB90-BE78-48D5-9D62-20FD482A8F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99" y="1713"/>
                  <a:ext cx="15" cy="7"/>
                </a:xfrm>
                <a:custGeom>
                  <a:avLst/>
                  <a:gdLst>
                    <a:gd name="T0" fmla="*/ 0 w 47"/>
                    <a:gd name="T1" fmla="*/ 2 h 22"/>
                    <a:gd name="T2" fmla="*/ 1 w 47"/>
                    <a:gd name="T3" fmla="*/ 2 h 22"/>
                    <a:gd name="T4" fmla="*/ 1 w 47"/>
                    <a:gd name="T5" fmla="*/ 2 h 22"/>
                    <a:gd name="T6" fmla="*/ 2 w 47"/>
                    <a:gd name="T7" fmla="*/ 2 h 22"/>
                    <a:gd name="T8" fmla="*/ 3 w 47"/>
                    <a:gd name="T9" fmla="*/ 2 h 22"/>
                    <a:gd name="T10" fmla="*/ 4 w 47"/>
                    <a:gd name="T11" fmla="*/ 2 h 22"/>
                    <a:gd name="T12" fmla="*/ 4 w 47"/>
                    <a:gd name="T13" fmla="*/ 2 h 22"/>
                    <a:gd name="T14" fmla="*/ 4 w 47"/>
                    <a:gd name="T15" fmla="*/ 1 h 22"/>
                    <a:gd name="T16" fmla="*/ 4 w 47"/>
                    <a:gd name="T17" fmla="*/ 1 h 22"/>
                    <a:gd name="T18" fmla="*/ 4 w 47"/>
                    <a:gd name="T19" fmla="*/ 1 h 22"/>
                    <a:gd name="T20" fmla="*/ 5 w 47"/>
                    <a:gd name="T21" fmla="*/ 0 h 22"/>
                    <a:gd name="T22" fmla="*/ 0 w 47"/>
                    <a:gd name="T23" fmla="*/ 2 h 22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47" h="22">
                      <a:moveTo>
                        <a:pt x="0" y="19"/>
                      </a:moveTo>
                      <a:lnTo>
                        <a:pt x="5" y="21"/>
                      </a:lnTo>
                      <a:lnTo>
                        <a:pt x="12" y="22"/>
                      </a:lnTo>
                      <a:lnTo>
                        <a:pt x="18" y="22"/>
                      </a:lnTo>
                      <a:lnTo>
                        <a:pt x="26" y="21"/>
                      </a:lnTo>
                      <a:lnTo>
                        <a:pt x="33" y="19"/>
                      </a:lnTo>
                      <a:lnTo>
                        <a:pt x="38" y="15"/>
                      </a:lnTo>
                      <a:lnTo>
                        <a:pt x="41" y="12"/>
                      </a:lnTo>
                      <a:lnTo>
                        <a:pt x="44" y="9"/>
                      </a:lnTo>
                      <a:lnTo>
                        <a:pt x="45" y="5"/>
                      </a:lnTo>
                      <a:lnTo>
                        <a:pt x="47" y="0"/>
                      </a:lnTo>
                      <a:lnTo>
                        <a:pt x="0" y="19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5" name="Freeform 400">
                  <a:extLst>
                    <a:ext uri="{FF2B5EF4-FFF2-40B4-BE49-F238E27FC236}">
                      <a16:creationId xmlns:a16="http://schemas.microsoft.com/office/drawing/2014/main" id="{5AEEC4D5-68FF-416F-8A98-9F254F7EAB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8" y="1742"/>
                  <a:ext cx="17" cy="16"/>
                </a:xfrm>
                <a:custGeom>
                  <a:avLst/>
                  <a:gdLst>
                    <a:gd name="T0" fmla="*/ 5 w 53"/>
                    <a:gd name="T1" fmla="*/ 0 h 32"/>
                    <a:gd name="T2" fmla="*/ 4 w 53"/>
                    <a:gd name="T3" fmla="*/ 1 h 32"/>
                    <a:gd name="T4" fmla="*/ 2 w 53"/>
                    <a:gd name="T5" fmla="*/ 2 h 32"/>
                    <a:gd name="T6" fmla="*/ 1 w 53"/>
                    <a:gd name="T7" fmla="*/ 3 h 32"/>
                    <a:gd name="T8" fmla="*/ 0 w 53"/>
                    <a:gd name="T9" fmla="*/ 4 h 32"/>
                    <a:gd name="T10" fmla="*/ 1 w 53"/>
                    <a:gd name="T11" fmla="*/ 4 h 32"/>
                    <a:gd name="T12" fmla="*/ 3 w 53"/>
                    <a:gd name="T13" fmla="*/ 4 h 32"/>
                    <a:gd name="T14" fmla="*/ 4 w 53"/>
                    <a:gd name="T15" fmla="*/ 4 h 32"/>
                    <a:gd name="T16" fmla="*/ 5 w 53"/>
                    <a:gd name="T17" fmla="*/ 4 h 32"/>
                    <a:gd name="T18" fmla="*/ 5 w 53"/>
                    <a:gd name="T19" fmla="*/ 3 h 32"/>
                    <a:gd name="T20" fmla="*/ 5 w 53"/>
                    <a:gd name="T21" fmla="*/ 2 h 32"/>
                    <a:gd name="T22" fmla="*/ 5 w 53"/>
                    <a:gd name="T23" fmla="*/ 1 h 32"/>
                    <a:gd name="T24" fmla="*/ 5 w 53"/>
                    <a:gd name="T25" fmla="*/ 0 h 32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53" h="32">
                      <a:moveTo>
                        <a:pt x="53" y="0"/>
                      </a:moveTo>
                      <a:lnTo>
                        <a:pt x="37" y="9"/>
                      </a:lnTo>
                      <a:lnTo>
                        <a:pt x="23" y="18"/>
                      </a:lnTo>
                      <a:lnTo>
                        <a:pt x="11" y="26"/>
                      </a:lnTo>
                      <a:lnTo>
                        <a:pt x="0" y="32"/>
                      </a:lnTo>
                      <a:lnTo>
                        <a:pt x="13" y="32"/>
                      </a:lnTo>
                      <a:lnTo>
                        <a:pt x="26" y="32"/>
                      </a:lnTo>
                      <a:lnTo>
                        <a:pt x="39" y="32"/>
                      </a:lnTo>
                      <a:lnTo>
                        <a:pt x="53" y="32"/>
                      </a:lnTo>
                      <a:lnTo>
                        <a:pt x="53" y="24"/>
                      </a:lnTo>
                      <a:lnTo>
                        <a:pt x="53" y="16"/>
                      </a:lnTo>
                      <a:lnTo>
                        <a:pt x="53" y="9"/>
                      </a:lnTo>
                      <a:lnTo>
                        <a:pt x="53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6" name="Freeform 401">
                  <a:extLst>
                    <a:ext uri="{FF2B5EF4-FFF2-40B4-BE49-F238E27FC236}">
                      <a16:creationId xmlns:a16="http://schemas.microsoft.com/office/drawing/2014/main" id="{759067A5-AF0D-4B93-935A-46DA07D154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9" y="1438"/>
                  <a:ext cx="15" cy="17"/>
                </a:xfrm>
                <a:custGeom>
                  <a:avLst/>
                  <a:gdLst>
                    <a:gd name="T0" fmla="*/ 2 w 46"/>
                    <a:gd name="T1" fmla="*/ 0 h 34"/>
                    <a:gd name="T2" fmla="*/ 0 w 46"/>
                    <a:gd name="T3" fmla="*/ 2 h 34"/>
                    <a:gd name="T4" fmla="*/ 0 w 46"/>
                    <a:gd name="T5" fmla="*/ 4 h 34"/>
                    <a:gd name="T6" fmla="*/ 2 w 46"/>
                    <a:gd name="T7" fmla="*/ 4 h 34"/>
                    <a:gd name="T8" fmla="*/ 3 w 46"/>
                    <a:gd name="T9" fmla="*/ 4 h 34"/>
                    <a:gd name="T10" fmla="*/ 3 w 46"/>
                    <a:gd name="T11" fmla="*/ 4 h 34"/>
                    <a:gd name="T12" fmla="*/ 4 w 46"/>
                    <a:gd name="T13" fmla="*/ 3 h 34"/>
                    <a:gd name="T14" fmla="*/ 4 w 46"/>
                    <a:gd name="T15" fmla="*/ 2 h 34"/>
                    <a:gd name="T16" fmla="*/ 4 w 46"/>
                    <a:gd name="T17" fmla="*/ 2 h 34"/>
                    <a:gd name="T18" fmla="*/ 4 w 46"/>
                    <a:gd name="T19" fmla="*/ 2 h 34"/>
                    <a:gd name="T20" fmla="*/ 4 w 46"/>
                    <a:gd name="T21" fmla="*/ 1 h 34"/>
                    <a:gd name="T22" fmla="*/ 4 w 46"/>
                    <a:gd name="T23" fmla="*/ 0 h 34"/>
                    <a:gd name="T24" fmla="*/ 4 w 46"/>
                    <a:gd name="T25" fmla="*/ 0 h 34"/>
                    <a:gd name="T26" fmla="*/ 4 w 46"/>
                    <a:gd name="T27" fmla="*/ 0 h 34"/>
                    <a:gd name="T28" fmla="*/ 4 w 46"/>
                    <a:gd name="T29" fmla="*/ 0 h 34"/>
                    <a:gd name="T30" fmla="*/ 4 w 46"/>
                    <a:gd name="T31" fmla="*/ 0 h 34"/>
                    <a:gd name="T32" fmla="*/ 3 w 46"/>
                    <a:gd name="T33" fmla="*/ 0 h 34"/>
                    <a:gd name="T34" fmla="*/ 2 w 46"/>
                    <a:gd name="T35" fmla="*/ 0 h 34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</a:gdLst>
                  <a:ahLst/>
                  <a:cxnLst>
                    <a:cxn ang="T36">
                      <a:pos x="T0" y="T1"/>
                    </a:cxn>
                    <a:cxn ang="T37">
                      <a:pos x="T2" y="T3"/>
                    </a:cxn>
                    <a:cxn ang="T38">
                      <a:pos x="T4" y="T5"/>
                    </a:cxn>
                    <a:cxn ang="T39">
                      <a:pos x="T6" y="T7"/>
                    </a:cxn>
                    <a:cxn ang="T40">
                      <a:pos x="T8" y="T9"/>
                    </a:cxn>
                    <a:cxn ang="T41">
                      <a:pos x="T10" y="T11"/>
                    </a:cxn>
                    <a:cxn ang="T42">
                      <a:pos x="T12" y="T13"/>
                    </a:cxn>
                    <a:cxn ang="T43">
                      <a:pos x="T14" y="T15"/>
                    </a:cxn>
                    <a:cxn ang="T44">
                      <a:pos x="T16" y="T17"/>
                    </a:cxn>
                    <a:cxn ang="T45">
                      <a:pos x="T18" y="T19"/>
                    </a:cxn>
                    <a:cxn ang="T46">
                      <a:pos x="T20" y="T21"/>
                    </a:cxn>
                    <a:cxn ang="T47">
                      <a:pos x="T22" y="T23"/>
                    </a:cxn>
                    <a:cxn ang="T48">
                      <a:pos x="T24" y="T25"/>
                    </a:cxn>
                    <a:cxn ang="T49">
                      <a:pos x="T26" y="T27"/>
                    </a:cxn>
                    <a:cxn ang="T50">
                      <a:pos x="T28" y="T29"/>
                    </a:cxn>
                    <a:cxn ang="T51">
                      <a:pos x="T30" y="T31"/>
                    </a:cxn>
                    <a:cxn ang="T52">
                      <a:pos x="T32" y="T33"/>
                    </a:cxn>
                    <a:cxn ang="T53">
                      <a:pos x="T34" y="T35"/>
                    </a:cxn>
                  </a:cxnLst>
                  <a:rect l="0" t="0" r="r" b="b"/>
                  <a:pathLst>
                    <a:path w="46" h="34">
                      <a:moveTo>
                        <a:pt x="27" y="3"/>
                      </a:moveTo>
                      <a:lnTo>
                        <a:pt x="0" y="16"/>
                      </a:lnTo>
                      <a:lnTo>
                        <a:pt x="0" y="34"/>
                      </a:lnTo>
                      <a:lnTo>
                        <a:pt x="27" y="34"/>
                      </a:lnTo>
                      <a:lnTo>
                        <a:pt x="31" y="32"/>
                      </a:lnTo>
                      <a:lnTo>
                        <a:pt x="35" y="28"/>
                      </a:lnTo>
                      <a:lnTo>
                        <a:pt x="39" y="25"/>
                      </a:lnTo>
                      <a:lnTo>
                        <a:pt x="42" y="21"/>
                      </a:lnTo>
                      <a:lnTo>
                        <a:pt x="44" y="17"/>
                      </a:lnTo>
                      <a:lnTo>
                        <a:pt x="45" y="13"/>
                      </a:lnTo>
                      <a:lnTo>
                        <a:pt x="46" y="8"/>
                      </a:lnTo>
                      <a:lnTo>
                        <a:pt x="46" y="3"/>
                      </a:lnTo>
                      <a:lnTo>
                        <a:pt x="46" y="1"/>
                      </a:lnTo>
                      <a:lnTo>
                        <a:pt x="44" y="0"/>
                      </a:lnTo>
                      <a:lnTo>
                        <a:pt x="42" y="0"/>
                      </a:lnTo>
                      <a:lnTo>
                        <a:pt x="39" y="0"/>
                      </a:lnTo>
                      <a:lnTo>
                        <a:pt x="32" y="2"/>
                      </a:lnTo>
                      <a:lnTo>
                        <a:pt x="27" y="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7" name="Freeform 402">
                  <a:extLst>
                    <a:ext uri="{FF2B5EF4-FFF2-40B4-BE49-F238E27FC236}">
                      <a16:creationId xmlns:a16="http://schemas.microsoft.com/office/drawing/2014/main" id="{7CE742E9-F101-4207-86B7-C1DBC261AA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4" y="1224"/>
                  <a:ext cx="17" cy="8"/>
                </a:xfrm>
                <a:custGeom>
                  <a:avLst/>
                  <a:gdLst>
                    <a:gd name="T0" fmla="*/ 0 w 48"/>
                    <a:gd name="T1" fmla="*/ 3 h 25"/>
                    <a:gd name="T2" fmla="*/ 2 w 48"/>
                    <a:gd name="T3" fmla="*/ 3 h 25"/>
                    <a:gd name="T4" fmla="*/ 3 w 48"/>
                    <a:gd name="T5" fmla="*/ 3 h 25"/>
                    <a:gd name="T6" fmla="*/ 3 w 48"/>
                    <a:gd name="T7" fmla="*/ 3 h 25"/>
                    <a:gd name="T8" fmla="*/ 4 w 48"/>
                    <a:gd name="T9" fmla="*/ 2 h 25"/>
                    <a:gd name="T10" fmla="*/ 4 w 48"/>
                    <a:gd name="T11" fmla="*/ 2 h 25"/>
                    <a:gd name="T12" fmla="*/ 4 w 48"/>
                    <a:gd name="T13" fmla="*/ 2 h 25"/>
                    <a:gd name="T14" fmla="*/ 5 w 48"/>
                    <a:gd name="T15" fmla="*/ 1 h 25"/>
                    <a:gd name="T16" fmla="*/ 5 w 48"/>
                    <a:gd name="T17" fmla="*/ 0 h 25"/>
                    <a:gd name="T18" fmla="*/ 4 w 48"/>
                    <a:gd name="T19" fmla="*/ 0 h 25"/>
                    <a:gd name="T20" fmla="*/ 4 w 48"/>
                    <a:gd name="T21" fmla="*/ 0 h 25"/>
                    <a:gd name="T22" fmla="*/ 3 w 48"/>
                    <a:gd name="T23" fmla="*/ 1 h 25"/>
                    <a:gd name="T24" fmla="*/ 2 w 48"/>
                    <a:gd name="T25" fmla="*/ 1 h 25"/>
                    <a:gd name="T26" fmla="*/ 1 w 48"/>
                    <a:gd name="T27" fmla="*/ 2 h 25"/>
                    <a:gd name="T28" fmla="*/ 0 w 48"/>
                    <a:gd name="T29" fmla="*/ 3 h 25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</a:gdLst>
                  <a:ahLst/>
                  <a:cxnLst>
                    <a:cxn ang="T30">
                      <a:pos x="T0" y="T1"/>
                    </a:cxn>
                    <a:cxn ang="T31">
                      <a:pos x="T2" y="T3"/>
                    </a:cxn>
                    <a:cxn ang="T32">
                      <a:pos x="T4" y="T5"/>
                    </a:cxn>
                    <a:cxn ang="T33">
                      <a:pos x="T6" y="T7"/>
                    </a:cxn>
                    <a:cxn ang="T34">
                      <a:pos x="T8" y="T9"/>
                    </a:cxn>
                    <a:cxn ang="T35">
                      <a:pos x="T10" y="T11"/>
                    </a:cxn>
                    <a:cxn ang="T36">
                      <a:pos x="T12" y="T13"/>
                    </a:cxn>
                    <a:cxn ang="T37">
                      <a:pos x="T14" y="T15"/>
                    </a:cxn>
                    <a:cxn ang="T38">
                      <a:pos x="T16" y="T17"/>
                    </a:cxn>
                    <a:cxn ang="T39">
                      <a:pos x="T18" y="T19"/>
                    </a:cxn>
                    <a:cxn ang="T40">
                      <a:pos x="T20" y="T21"/>
                    </a:cxn>
                    <a:cxn ang="T41">
                      <a:pos x="T22" y="T23"/>
                    </a:cxn>
                    <a:cxn ang="T42">
                      <a:pos x="T24" y="T25"/>
                    </a:cxn>
                    <a:cxn ang="T43">
                      <a:pos x="T26" y="T27"/>
                    </a:cxn>
                    <a:cxn ang="T44">
                      <a:pos x="T28" y="T29"/>
                    </a:cxn>
                  </a:cxnLst>
                  <a:rect l="0" t="0" r="r" b="b"/>
                  <a:pathLst>
                    <a:path w="48" h="25">
                      <a:moveTo>
                        <a:pt x="0" y="25"/>
                      </a:moveTo>
                      <a:lnTo>
                        <a:pt x="14" y="25"/>
                      </a:lnTo>
                      <a:lnTo>
                        <a:pt x="28" y="25"/>
                      </a:lnTo>
                      <a:lnTo>
                        <a:pt x="30" y="24"/>
                      </a:lnTo>
                      <a:lnTo>
                        <a:pt x="33" y="22"/>
                      </a:lnTo>
                      <a:lnTo>
                        <a:pt x="37" y="18"/>
                      </a:lnTo>
                      <a:lnTo>
                        <a:pt x="40" y="15"/>
                      </a:lnTo>
                      <a:lnTo>
                        <a:pt x="45" y="7"/>
                      </a:lnTo>
                      <a:lnTo>
                        <a:pt x="48" y="0"/>
                      </a:lnTo>
                      <a:lnTo>
                        <a:pt x="40" y="1"/>
                      </a:lnTo>
                      <a:lnTo>
                        <a:pt x="33" y="2"/>
                      </a:lnTo>
                      <a:lnTo>
                        <a:pt x="28" y="5"/>
                      </a:lnTo>
                      <a:lnTo>
                        <a:pt x="21" y="8"/>
                      </a:lnTo>
                      <a:lnTo>
                        <a:pt x="11" y="16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8" name="Freeform 403">
                  <a:extLst>
                    <a:ext uri="{FF2B5EF4-FFF2-40B4-BE49-F238E27FC236}">
                      <a16:creationId xmlns:a16="http://schemas.microsoft.com/office/drawing/2014/main" id="{63147B85-9A09-45CF-8D24-1D20E59EBF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3" y="1188"/>
                  <a:ext cx="8" cy="11"/>
                </a:xfrm>
                <a:custGeom>
                  <a:avLst/>
                  <a:gdLst>
                    <a:gd name="T0" fmla="*/ 0 w 30"/>
                    <a:gd name="T1" fmla="*/ 0 h 37"/>
                    <a:gd name="T2" fmla="*/ 0 w 30"/>
                    <a:gd name="T3" fmla="*/ 3 h 37"/>
                    <a:gd name="T4" fmla="*/ 1 w 30"/>
                    <a:gd name="T5" fmla="*/ 3 h 37"/>
                    <a:gd name="T6" fmla="*/ 1 w 30"/>
                    <a:gd name="T7" fmla="*/ 3 h 37"/>
                    <a:gd name="T8" fmla="*/ 2 w 30"/>
                    <a:gd name="T9" fmla="*/ 3 h 37"/>
                    <a:gd name="T10" fmla="*/ 2 w 30"/>
                    <a:gd name="T11" fmla="*/ 3 h 37"/>
                    <a:gd name="T12" fmla="*/ 2 w 30"/>
                    <a:gd name="T13" fmla="*/ 3 h 37"/>
                    <a:gd name="T14" fmla="*/ 2 w 30"/>
                    <a:gd name="T15" fmla="*/ 2 h 37"/>
                    <a:gd name="T16" fmla="*/ 2 w 30"/>
                    <a:gd name="T17" fmla="*/ 2 h 37"/>
                    <a:gd name="T18" fmla="*/ 2 w 30"/>
                    <a:gd name="T19" fmla="*/ 1 h 37"/>
                    <a:gd name="T20" fmla="*/ 2 w 30"/>
                    <a:gd name="T21" fmla="*/ 1 h 37"/>
                    <a:gd name="T22" fmla="*/ 2 w 30"/>
                    <a:gd name="T23" fmla="*/ 0 h 37"/>
                    <a:gd name="T24" fmla="*/ 0 w 30"/>
                    <a:gd name="T25" fmla="*/ 0 h 37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0" h="37">
                      <a:moveTo>
                        <a:pt x="0" y="0"/>
                      </a:moveTo>
                      <a:lnTo>
                        <a:pt x="0" y="37"/>
                      </a:lnTo>
                      <a:lnTo>
                        <a:pt x="11" y="36"/>
                      </a:lnTo>
                      <a:lnTo>
                        <a:pt x="20" y="34"/>
                      </a:lnTo>
                      <a:lnTo>
                        <a:pt x="22" y="33"/>
                      </a:lnTo>
                      <a:lnTo>
                        <a:pt x="26" y="32"/>
                      </a:lnTo>
                      <a:lnTo>
                        <a:pt x="28" y="30"/>
                      </a:lnTo>
                      <a:lnTo>
                        <a:pt x="29" y="28"/>
                      </a:lnTo>
                      <a:lnTo>
                        <a:pt x="30" y="23"/>
                      </a:lnTo>
                      <a:lnTo>
                        <a:pt x="30" y="16"/>
                      </a:lnTo>
                      <a:lnTo>
                        <a:pt x="29" y="9"/>
                      </a:lnTo>
                      <a:lnTo>
                        <a:pt x="2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69" name="Freeform 404">
                  <a:extLst>
                    <a:ext uri="{FF2B5EF4-FFF2-40B4-BE49-F238E27FC236}">
                      <a16:creationId xmlns:a16="http://schemas.microsoft.com/office/drawing/2014/main" id="{673D9995-0772-49A9-94B4-9E7C177F0B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3" y="1208"/>
                  <a:ext cx="37" cy="21"/>
                </a:xfrm>
                <a:custGeom>
                  <a:avLst/>
                  <a:gdLst>
                    <a:gd name="T0" fmla="*/ 4 w 113"/>
                    <a:gd name="T1" fmla="*/ 0 h 46"/>
                    <a:gd name="T2" fmla="*/ 2 w 113"/>
                    <a:gd name="T3" fmla="*/ 0 h 46"/>
                    <a:gd name="T4" fmla="*/ 1 w 113"/>
                    <a:gd name="T5" fmla="*/ 1 h 46"/>
                    <a:gd name="T6" fmla="*/ 1 w 113"/>
                    <a:gd name="T7" fmla="*/ 1 h 46"/>
                    <a:gd name="T8" fmla="*/ 0 w 113"/>
                    <a:gd name="T9" fmla="*/ 1 h 46"/>
                    <a:gd name="T10" fmla="*/ 0 w 113"/>
                    <a:gd name="T11" fmla="*/ 2 h 46"/>
                    <a:gd name="T12" fmla="*/ 0 w 113"/>
                    <a:gd name="T13" fmla="*/ 2 h 46"/>
                    <a:gd name="T14" fmla="*/ 1 w 113"/>
                    <a:gd name="T15" fmla="*/ 3 h 46"/>
                    <a:gd name="T16" fmla="*/ 1 w 113"/>
                    <a:gd name="T17" fmla="*/ 4 h 46"/>
                    <a:gd name="T18" fmla="*/ 2 w 113"/>
                    <a:gd name="T19" fmla="*/ 5 h 46"/>
                    <a:gd name="T20" fmla="*/ 2 w 113"/>
                    <a:gd name="T21" fmla="*/ 5 h 46"/>
                    <a:gd name="T22" fmla="*/ 3 w 113"/>
                    <a:gd name="T23" fmla="*/ 5 h 46"/>
                    <a:gd name="T24" fmla="*/ 3 w 113"/>
                    <a:gd name="T25" fmla="*/ 6 h 46"/>
                    <a:gd name="T26" fmla="*/ 4 w 113"/>
                    <a:gd name="T27" fmla="*/ 6 h 46"/>
                    <a:gd name="T28" fmla="*/ 4 w 113"/>
                    <a:gd name="T29" fmla="*/ 6 h 46"/>
                    <a:gd name="T30" fmla="*/ 6 w 113"/>
                    <a:gd name="T31" fmla="*/ 6 h 46"/>
                    <a:gd name="T32" fmla="*/ 7 w 113"/>
                    <a:gd name="T33" fmla="*/ 5 h 46"/>
                    <a:gd name="T34" fmla="*/ 8 w 113"/>
                    <a:gd name="T35" fmla="*/ 5 h 46"/>
                    <a:gd name="T36" fmla="*/ 8 w 113"/>
                    <a:gd name="T37" fmla="*/ 5 h 46"/>
                    <a:gd name="T38" fmla="*/ 9 w 113"/>
                    <a:gd name="T39" fmla="*/ 5 h 46"/>
                    <a:gd name="T40" fmla="*/ 9 w 113"/>
                    <a:gd name="T41" fmla="*/ 4 h 46"/>
                    <a:gd name="T42" fmla="*/ 10 w 113"/>
                    <a:gd name="T43" fmla="*/ 3 h 46"/>
                    <a:gd name="T44" fmla="*/ 11 w 113"/>
                    <a:gd name="T45" fmla="*/ 2 h 46"/>
                    <a:gd name="T46" fmla="*/ 11 w 113"/>
                    <a:gd name="T47" fmla="*/ 1 h 46"/>
                    <a:gd name="T48" fmla="*/ 11 w 113"/>
                    <a:gd name="T49" fmla="*/ 0 h 46"/>
                    <a:gd name="T50" fmla="*/ 10 w 113"/>
                    <a:gd name="T51" fmla="*/ 0 h 46"/>
                    <a:gd name="T52" fmla="*/ 9 w 113"/>
                    <a:gd name="T53" fmla="*/ 0 h 46"/>
                    <a:gd name="T54" fmla="*/ 8 w 113"/>
                    <a:gd name="T55" fmla="*/ 0 h 46"/>
                    <a:gd name="T56" fmla="*/ 7 w 113"/>
                    <a:gd name="T57" fmla="*/ 0 h 46"/>
                    <a:gd name="T58" fmla="*/ 5 w 113"/>
                    <a:gd name="T59" fmla="*/ 0 h 46"/>
                    <a:gd name="T60" fmla="*/ 4 w 113"/>
                    <a:gd name="T61" fmla="*/ 0 h 4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113" h="46">
                      <a:moveTo>
                        <a:pt x="33" y="3"/>
                      </a:moveTo>
                      <a:lnTo>
                        <a:pt x="22" y="3"/>
                      </a:lnTo>
                      <a:lnTo>
                        <a:pt x="12" y="5"/>
                      </a:lnTo>
                      <a:lnTo>
                        <a:pt x="7" y="7"/>
                      </a:lnTo>
                      <a:lnTo>
                        <a:pt x="3" y="11"/>
                      </a:lnTo>
                      <a:lnTo>
                        <a:pt x="1" y="15"/>
                      </a:lnTo>
                      <a:lnTo>
                        <a:pt x="0" y="21"/>
                      </a:lnTo>
                      <a:lnTo>
                        <a:pt x="6" y="27"/>
                      </a:lnTo>
                      <a:lnTo>
                        <a:pt x="10" y="33"/>
                      </a:lnTo>
                      <a:lnTo>
                        <a:pt x="16" y="37"/>
                      </a:lnTo>
                      <a:lnTo>
                        <a:pt x="20" y="41"/>
                      </a:lnTo>
                      <a:lnTo>
                        <a:pt x="25" y="43"/>
                      </a:lnTo>
                      <a:lnTo>
                        <a:pt x="30" y="45"/>
                      </a:lnTo>
                      <a:lnTo>
                        <a:pt x="35" y="46"/>
                      </a:lnTo>
                      <a:lnTo>
                        <a:pt x="40" y="46"/>
                      </a:lnTo>
                      <a:lnTo>
                        <a:pt x="56" y="46"/>
                      </a:lnTo>
                      <a:lnTo>
                        <a:pt x="70" y="43"/>
                      </a:lnTo>
                      <a:lnTo>
                        <a:pt x="76" y="41"/>
                      </a:lnTo>
                      <a:lnTo>
                        <a:pt x="81" y="38"/>
                      </a:lnTo>
                      <a:lnTo>
                        <a:pt x="87" y="36"/>
                      </a:lnTo>
                      <a:lnTo>
                        <a:pt x="91" y="33"/>
                      </a:lnTo>
                      <a:lnTo>
                        <a:pt x="99" y="27"/>
                      </a:lnTo>
                      <a:lnTo>
                        <a:pt x="106" y="20"/>
                      </a:lnTo>
                      <a:lnTo>
                        <a:pt x="110" y="12"/>
                      </a:lnTo>
                      <a:lnTo>
                        <a:pt x="113" y="3"/>
                      </a:lnTo>
                      <a:lnTo>
                        <a:pt x="99" y="1"/>
                      </a:lnTo>
                      <a:lnTo>
                        <a:pt x="87" y="0"/>
                      </a:lnTo>
                      <a:lnTo>
                        <a:pt x="76" y="0"/>
                      </a:lnTo>
                      <a:lnTo>
                        <a:pt x="66" y="1"/>
                      </a:lnTo>
                      <a:lnTo>
                        <a:pt x="48" y="2"/>
                      </a:lnTo>
                      <a:lnTo>
                        <a:pt x="33" y="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0" name="Freeform 405">
                  <a:extLst>
                    <a:ext uri="{FF2B5EF4-FFF2-40B4-BE49-F238E27FC236}">
                      <a16:creationId xmlns:a16="http://schemas.microsoft.com/office/drawing/2014/main" id="{942BB65F-77C6-42CF-879E-43B765FA41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2" y="1201"/>
                  <a:ext cx="48" cy="28"/>
                </a:xfrm>
                <a:custGeom>
                  <a:avLst/>
                  <a:gdLst>
                    <a:gd name="T0" fmla="*/ 0 w 153"/>
                    <a:gd name="T1" fmla="*/ 9 h 82"/>
                    <a:gd name="T2" fmla="*/ 0 w 153"/>
                    <a:gd name="T3" fmla="*/ 10 h 82"/>
                    <a:gd name="T4" fmla="*/ 1 w 153"/>
                    <a:gd name="T5" fmla="*/ 10 h 82"/>
                    <a:gd name="T6" fmla="*/ 1 w 153"/>
                    <a:gd name="T7" fmla="*/ 10 h 82"/>
                    <a:gd name="T8" fmla="*/ 1 w 153"/>
                    <a:gd name="T9" fmla="*/ 10 h 82"/>
                    <a:gd name="T10" fmla="*/ 2 w 153"/>
                    <a:gd name="T11" fmla="*/ 9 h 82"/>
                    <a:gd name="T12" fmla="*/ 4 w 153"/>
                    <a:gd name="T13" fmla="*/ 9 h 82"/>
                    <a:gd name="T14" fmla="*/ 4 w 153"/>
                    <a:gd name="T15" fmla="*/ 9 h 82"/>
                    <a:gd name="T16" fmla="*/ 5 w 153"/>
                    <a:gd name="T17" fmla="*/ 9 h 82"/>
                    <a:gd name="T18" fmla="*/ 6 w 153"/>
                    <a:gd name="T19" fmla="*/ 9 h 82"/>
                    <a:gd name="T20" fmla="*/ 7 w 153"/>
                    <a:gd name="T21" fmla="*/ 9 h 82"/>
                    <a:gd name="T22" fmla="*/ 9 w 153"/>
                    <a:gd name="T23" fmla="*/ 8 h 82"/>
                    <a:gd name="T24" fmla="*/ 11 w 153"/>
                    <a:gd name="T25" fmla="*/ 7 h 82"/>
                    <a:gd name="T26" fmla="*/ 12 w 153"/>
                    <a:gd name="T27" fmla="*/ 6 h 82"/>
                    <a:gd name="T28" fmla="*/ 12 w 153"/>
                    <a:gd name="T29" fmla="*/ 6 h 82"/>
                    <a:gd name="T30" fmla="*/ 13 w 153"/>
                    <a:gd name="T31" fmla="*/ 5 h 82"/>
                    <a:gd name="T32" fmla="*/ 14 w 153"/>
                    <a:gd name="T33" fmla="*/ 4 h 82"/>
                    <a:gd name="T34" fmla="*/ 14 w 153"/>
                    <a:gd name="T35" fmla="*/ 4 h 82"/>
                    <a:gd name="T36" fmla="*/ 15 w 153"/>
                    <a:gd name="T37" fmla="*/ 3 h 82"/>
                    <a:gd name="T38" fmla="*/ 15 w 153"/>
                    <a:gd name="T39" fmla="*/ 2 h 82"/>
                    <a:gd name="T40" fmla="*/ 16 w 153"/>
                    <a:gd name="T41" fmla="*/ 1 h 82"/>
                    <a:gd name="T42" fmla="*/ 14 w 153"/>
                    <a:gd name="T43" fmla="*/ 1 h 82"/>
                    <a:gd name="T44" fmla="*/ 12 w 153"/>
                    <a:gd name="T45" fmla="*/ 0 h 82"/>
                    <a:gd name="T46" fmla="*/ 10 w 153"/>
                    <a:gd name="T47" fmla="*/ 0 h 82"/>
                    <a:gd name="T48" fmla="*/ 8 w 153"/>
                    <a:gd name="T49" fmla="*/ 0 h 82"/>
                    <a:gd name="T50" fmla="*/ 7 w 153"/>
                    <a:gd name="T51" fmla="*/ 0 h 82"/>
                    <a:gd name="T52" fmla="*/ 6 w 153"/>
                    <a:gd name="T53" fmla="*/ 0 h 82"/>
                    <a:gd name="T54" fmla="*/ 5 w 153"/>
                    <a:gd name="T55" fmla="*/ 0 h 82"/>
                    <a:gd name="T56" fmla="*/ 4 w 153"/>
                    <a:gd name="T57" fmla="*/ 0 h 82"/>
                    <a:gd name="T58" fmla="*/ 4 w 153"/>
                    <a:gd name="T59" fmla="*/ 1 h 82"/>
                    <a:gd name="T60" fmla="*/ 4 w 153"/>
                    <a:gd name="T61" fmla="*/ 1 h 82"/>
                    <a:gd name="T62" fmla="*/ 3 w 153"/>
                    <a:gd name="T63" fmla="*/ 2 h 82"/>
                    <a:gd name="T64" fmla="*/ 3 w 153"/>
                    <a:gd name="T65" fmla="*/ 2 h 82"/>
                    <a:gd name="T66" fmla="*/ 3 w 153"/>
                    <a:gd name="T67" fmla="*/ 3 h 82"/>
                    <a:gd name="T68" fmla="*/ 4 w 153"/>
                    <a:gd name="T69" fmla="*/ 3 h 82"/>
                    <a:gd name="T70" fmla="*/ 4 w 153"/>
                    <a:gd name="T71" fmla="*/ 4 h 82"/>
                    <a:gd name="T72" fmla="*/ 4 w 153"/>
                    <a:gd name="T73" fmla="*/ 4 h 82"/>
                    <a:gd name="T74" fmla="*/ 4 w 153"/>
                    <a:gd name="T75" fmla="*/ 4 h 82"/>
                    <a:gd name="T76" fmla="*/ 5 w 153"/>
                    <a:gd name="T77" fmla="*/ 4 h 82"/>
                    <a:gd name="T78" fmla="*/ 4 w 153"/>
                    <a:gd name="T79" fmla="*/ 5 h 82"/>
                    <a:gd name="T80" fmla="*/ 4 w 153"/>
                    <a:gd name="T81" fmla="*/ 5 h 82"/>
                    <a:gd name="T82" fmla="*/ 3 w 153"/>
                    <a:gd name="T83" fmla="*/ 6 h 82"/>
                    <a:gd name="T84" fmla="*/ 2 w 153"/>
                    <a:gd name="T85" fmla="*/ 6 h 82"/>
                    <a:gd name="T86" fmla="*/ 2 w 153"/>
                    <a:gd name="T87" fmla="*/ 8 h 82"/>
                    <a:gd name="T88" fmla="*/ 1 w 153"/>
                    <a:gd name="T89" fmla="*/ 8 h 82"/>
                    <a:gd name="T90" fmla="*/ 1 w 153"/>
                    <a:gd name="T91" fmla="*/ 9 h 82"/>
                    <a:gd name="T92" fmla="*/ 0 w 153"/>
                    <a:gd name="T93" fmla="*/ 9 h 82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</a:gdLst>
                  <a:ahLst/>
                  <a:cxnLst>
                    <a:cxn ang="T94">
                      <a:pos x="T0" y="T1"/>
                    </a:cxn>
                    <a:cxn ang="T95">
                      <a:pos x="T2" y="T3"/>
                    </a:cxn>
                    <a:cxn ang="T96">
                      <a:pos x="T4" y="T5"/>
                    </a:cxn>
                    <a:cxn ang="T97">
                      <a:pos x="T6" y="T7"/>
                    </a:cxn>
                    <a:cxn ang="T98">
                      <a:pos x="T8" y="T9"/>
                    </a:cxn>
                    <a:cxn ang="T99">
                      <a:pos x="T10" y="T11"/>
                    </a:cxn>
                    <a:cxn ang="T100">
                      <a:pos x="T12" y="T13"/>
                    </a:cxn>
                    <a:cxn ang="T101">
                      <a:pos x="T14" y="T15"/>
                    </a:cxn>
                    <a:cxn ang="T102">
                      <a:pos x="T16" y="T17"/>
                    </a:cxn>
                    <a:cxn ang="T103">
                      <a:pos x="T18" y="T19"/>
                    </a:cxn>
                    <a:cxn ang="T104">
                      <a:pos x="T20" y="T21"/>
                    </a:cxn>
                    <a:cxn ang="T105">
                      <a:pos x="T22" y="T23"/>
                    </a:cxn>
                    <a:cxn ang="T106">
                      <a:pos x="T24" y="T25"/>
                    </a:cxn>
                    <a:cxn ang="T107">
                      <a:pos x="T26" y="T27"/>
                    </a:cxn>
                    <a:cxn ang="T108">
                      <a:pos x="T28" y="T29"/>
                    </a:cxn>
                    <a:cxn ang="T109">
                      <a:pos x="T30" y="T31"/>
                    </a:cxn>
                    <a:cxn ang="T110">
                      <a:pos x="T32" y="T33"/>
                    </a:cxn>
                    <a:cxn ang="T111">
                      <a:pos x="T34" y="T35"/>
                    </a:cxn>
                    <a:cxn ang="T112">
                      <a:pos x="T36" y="T37"/>
                    </a:cxn>
                    <a:cxn ang="T113">
                      <a:pos x="T38" y="T39"/>
                    </a:cxn>
                    <a:cxn ang="T114">
                      <a:pos x="T40" y="T41"/>
                    </a:cxn>
                    <a:cxn ang="T115">
                      <a:pos x="T42" y="T43"/>
                    </a:cxn>
                    <a:cxn ang="T116">
                      <a:pos x="T44" y="T45"/>
                    </a:cxn>
                    <a:cxn ang="T117">
                      <a:pos x="T46" y="T47"/>
                    </a:cxn>
                    <a:cxn ang="T118">
                      <a:pos x="T48" y="T49"/>
                    </a:cxn>
                    <a:cxn ang="T119">
                      <a:pos x="T50" y="T51"/>
                    </a:cxn>
                    <a:cxn ang="T120">
                      <a:pos x="T52" y="T53"/>
                    </a:cxn>
                    <a:cxn ang="T121">
                      <a:pos x="T54" y="T55"/>
                    </a:cxn>
                    <a:cxn ang="T122">
                      <a:pos x="T56" y="T57"/>
                    </a:cxn>
                    <a:cxn ang="T123">
                      <a:pos x="T58" y="T59"/>
                    </a:cxn>
                    <a:cxn ang="T124">
                      <a:pos x="T60" y="T61"/>
                    </a:cxn>
                    <a:cxn ang="T125">
                      <a:pos x="T62" y="T63"/>
                    </a:cxn>
                    <a:cxn ang="T126">
                      <a:pos x="T64" y="T65"/>
                    </a:cxn>
                    <a:cxn ang="T127">
                      <a:pos x="T66" y="T67"/>
                    </a:cxn>
                    <a:cxn ang="T128">
                      <a:pos x="T68" y="T69"/>
                    </a:cxn>
                    <a:cxn ang="T129">
                      <a:pos x="T70" y="T71"/>
                    </a:cxn>
                    <a:cxn ang="T130">
                      <a:pos x="T72" y="T73"/>
                    </a:cxn>
                    <a:cxn ang="T131">
                      <a:pos x="T74" y="T75"/>
                    </a:cxn>
                    <a:cxn ang="T132">
                      <a:pos x="T76" y="T77"/>
                    </a:cxn>
                    <a:cxn ang="T133">
                      <a:pos x="T78" y="T79"/>
                    </a:cxn>
                    <a:cxn ang="T134">
                      <a:pos x="T80" y="T81"/>
                    </a:cxn>
                    <a:cxn ang="T135">
                      <a:pos x="T82" y="T83"/>
                    </a:cxn>
                    <a:cxn ang="T136">
                      <a:pos x="T84" y="T85"/>
                    </a:cxn>
                    <a:cxn ang="T137">
                      <a:pos x="T86" y="T87"/>
                    </a:cxn>
                    <a:cxn ang="T138">
                      <a:pos x="T88" y="T89"/>
                    </a:cxn>
                    <a:cxn ang="T139">
                      <a:pos x="T90" y="T91"/>
                    </a:cxn>
                    <a:cxn ang="T140">
                      <a:pos x="T92" y="T93"/>
                    </a:cxn>
                  </a:cxnLst>
                  <a:rect l="0" t="0" r="r" b="b"/>
                  <a:pathLst>
                    <a:path w="153" h="82">
                      <a:moveTo>
                        <a:pt x="0" y="79"/>
                      </a:moveTo>
                      <a:lnTo>
                        <a:pt x="2" y="81"/>
                      </a:lnTo>
                      <a:lnTo>
                        <a:pt x="6" y="82"/>
                      </a:lnTo>
                      <a:lnTo>
                        <a:pt x="10" y="82"/>
                      </a:lnTo>
                      <a:lnTo>
                        <a:pt x="14" y="82"/>
                      </a:lnTo>
                      <a:lnTo>
                        <a:pt x="23" y="80"/>
                      </a:lnTo>
                      <a:lnTo>
                        <a:pt x="33" y="79"/>
                      </a:lnTo>
                      <a:lnTo>
                        <a:pt x="40" y="79"/>
                      </a:lnTo>
                      <a:lnTo>
                        <a:pt x="47" y="78"/>
                      </a:lnTo>
                      <a:lnTo>
                        <a:pt x="56" y="76"/>
                      </a:lnTo>
                      <a:lnTo>
                        <a:pt x="65" y="74"/>
                      </a:lnTo>
                      <a:lnTo>
                        <a:pt x="83" y="68"/>
                      </a:lnTo>
                      <a:lnTo>
                        <a:pt x="103" y="59"/>
                      </a:lnTo>
                      <a:lnTo>
                        <a:pt x="112" y="54"/>
                      </a:lnTo>
                      <a:lnTo>
                        <a:pt x="121" y="49"/>
                      </a:lnTo>
                      <a:lnTo>
                        <a:pt x="129" y="43"/>
                      </a:lnTo>
                      <a:lnTo>
                        <a:pt x="136" y="38"/>
                      </a:lnTo>
                      <a:lnTo>
                        <a:pt x="142" y="32"/>
                      </a:lnTo>
                      <a:lnTo>
                        <a:pt x="147" y="25"/>
                      </a:lnTo>
                      <a:lnTo>
                        <a:pt x="150" y="19"/>
                      </a:lnTo>
                      <a:lnTo>
                        <a:pt x="153" y="12"/>
                      </a:lnTo>
                      <a:lnTo>
                        <a:pt x="134" y="8"/>
                      </a:lnTo>
                      <a:lnTo>
                        <a:pt x="115" y="3"/>
                      </a:lnTo>
                      <a:lnTo>
                        <a:pt x="96" y="1"/>
                      </a:lnTo>
                      <a:lnTo>
                        <a:pt x="77" y="0"/>
                      </a:lnTo>
                      <a:lnTo>
                        <a:pt x="68" y="1"/>
                      </a:lnTo>
                      <a:lnTo>
                        <a:pt x="60" y="1"/>
                      </a:lnTo>
                      <a:lnTo>
                        <a:pt x="52" y="2"/>
                      </a:lnTo>
                      <a:lnTo>
                        <a:pt x="45" y="4"/>
                      </a:lnTo>
                      <a:lnTo>
                        <a:pt x="38" y="7"/>
                      </a:lnTo>
                      <a:lnTo>
                        <a:pt x="34" y="10"/>
                      </a:lnTo>
                      <a:lnTo>
                        <a:pt x="30" y="14"/>
                      </a:lnTo>
                      <a:lnTo>
                        <a:pt x="26" y="18"/>
                      </a:lnTo>
                      <a:lnTo>
                        <a:pt x="32" y="23"/>
                      </a:lnTo>
                      <a:lnTo>
                        <a:pt x="36" y="29"/>
                      </a:lnTo>
                      <a:lnTo>
                        <a:pt x="38" y="32"/>
                      </a:lnTo>
                      <a:lnTo>
                        <a:pt x="42" y="34"/>
                      </a:lnTo>
                      <a:lnTo>
                        <a:pt x="44" y="36"/>
                      </a:lnTo>
                      <a:lnTo>
                        <a:pt x="46" y="36"/>
                      </a:lnTo>
                      <a:lnTo>
                        <a:pt x="40" y="41"/>
                      </a:lnTo>
                      <a:lnTo>
                        <a:pt x="33" y="46"/>
                      </a:lnTo>
                      <a:lnTo>
                        <a:pt x="29" y="52"/>
                      </a:lnTo>
                      <a:lnTo>
                        <a:pt x="23" y="57"/>
                      </a:lnTo>
                      <a:lnTo>
                        <a:pt x="18" y="64"/>
                      </a:lnTo>
                      <a:lnTo>
                        <a:pt x="13" y="69"/>
                      </a:lnTo>
                      <a:lnTo>
                        <a:pt x="7" y="75"/>
                      </a:lnTo>
                      <a:lnTo>
                        <a:pt x="0" y="79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1" name="Freeform 406">
                  <a:extLst>
                    <a:ext uri="{FF2B5EF4-FFF2-40B4-BE49-F238E27FC236}">
                      <a16:creationId xmlns:a16="http://schemas.microsoft.com/office/drawing/2014/main" id="{3E0BCF1C-76E9-44CE-B529-F6CCA2B989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0" y="1217"/>
                  <a:ext cx="29" cy="22"/>
                </a:xfrm>
                <a:custGeom>
                  <a:avLst/>
                  <a:gdLst>
                    <a:gd name="T0" fmla="*/ 0 w 86"/>
                    <a:gd name="T1" fmla="*/ 4 h 50"/>
                    <a:gd name="T2" fmla="*/ 1 w 86"/>
                    <a:gd name="T3" fmla="*/ 5 h 50"/>
                    <a:gd name="T4" fmla="*/ 1 w 86"/>
                    <a:gd name="T5" fmla="*/ 5 h 50"/>
                    <a:gd name="T6" fmla="*/ 2 w 86"/>
                    <a:gd name="T7" fmla="*/ 5 h 50"/>
                    <a:gd name="T8" fmla="*/ 3 w 86"/>
                    <a:gd name="T9" fmla="*/ 5 h 50"/>
                    <a:gd name="T10" fmla="*/ 4 w 86"/>
                    <a:gd name="T11" fmla="*/ 6 h 50"/>
                    <a:gd name="T12" fmla="*/ 5 w 86"/>
                    <a:gd name="T13" fmla="*/ 6 h 50"/>
                    <a:gd name="T14" fmla="*/ 7 w 86"/>
                    <a:gd name="T15" fmla="*/ 6 h 50"/>
                    <a:gd name="T16" fmla="*/ 8 w 86"/>
                    <a:gd name="T17" fmla="*/ 5 h 50"/>
                    <a:gd name="T18" fmla="*/ 8 w 86"/>
                    <a:gd name="T19" fmla="*/ 5 h 50"/>
                    <a:gd name="T20" fmla="*/ 9 w 86"/>
                    <a:gd name="T21" fmla="*/ 5 h 50"/>
                    <a:gd name="T22" fmla="*/ 9 w 86"/>
                    <a:gd name="T23" fmla="*/ 5 h 50"/>
                    <a:gd name="T24" fmla="*/ 9 w 86"/>
                    <a:gd name="T25" fmla="*/ 4 h 50"/>
                    <a:gd name="T26" fmla="*/ 10 w 86"/>
                    <a:gd name="T27" fmla="*/ 4 h 50"/>
                    <a:gd name="T28" fmla="*/ 10 w 86"/>
                    <a:gd name="T29" fmla="*/ 3 h 50"/>
                    <a:gd name="T30" fmla="*/ 10 w 86"/>
                    <a:gd name="T31" fmla="*/ 2 h 50"/>
                    <a:gd name="T32" fmla="*/ 9 w 86"/>
                    <a:gd name="T33" fmla="*/ 1 h 50"/>
                    <a:gd name="T34" fmla="*/ 9 w 86"/>
                    <a:gd name="T35" fmla="*/ 1 h 50"/>
                    <a:gd name="T36" fmla="*/ 9 w 86"/>
                    <a:gd name="T37" fmla="*/ 1 h 50"/>
                    <a:gd name="T38" fmla="*/ 9 w 86"/>
                    <a:gd name="T39" fmla="*/ 0 h 50"/>
                    <a:gd name="T40" fmla="*/ 8 w 86"/>
                    <a:gd name="T41" fmla="*/ 0 h 50"/>
                    <a:gd name="T42" fmla="*/ 0 w 86"/>
                    <a:gd name="T43" fmla="*/ 4 h 50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</a:gdLst>
                  <a:ahLst/>
                  <a:cxnLst>
                    <a:cxn ang="T44">
                      <a:pos x="T0" y="T1"/>
                    </a:cxn>
                    <a:cxn ang="T45">
                      <a:pos x="T2" y="T3"/>
                    </a:cxn>
                    <a:cxn ang="T46">
                      <a:pos x="T4" y="T5"/>
                    </a:cxn>
                    <a:cxn ang="T47">
                      <a:pos x="T6" y="T7"/>
                    </a:cxn>
                    <a:cxn ang="T48">
                      <a:pos x="T8" y="T9"/>
                    </a:cxn>
                    <a:cxn ang="T49">
                      <a:pos x="T10" y="T11"/>
                    </a:cxn>
                    <a:cxn ang="T50">
                      <a:pos x="T12" y="T13"/>
                    </a:cxn>
                    <a:cxn ang="T51">
                      <a:pos x="T14" y="T15"/>
                    </a:cxn>
                    <a:cxn ang="T52">
                      <a:pos x="T16" y="T17"/>
                    </a:cxn>
                    <a:cxn ang="T53">
                      <a:pos x="T18" y="T19"/>
                    </a:cxn>
                    <a:cxn ang="T54">
                      <a:pos x="T20" y="T21"/>
                    </a:cxn>
                    <a:cxn ang="T55">
                      <a:pos x="T22" y="T23"/>
                    </a:cxn>
                    <a:cxn ang="T56">
                      <a:pos x="T24" y="T25"/>
                    </a:cxn>
                    <a:cxn ang="T57">
                      <a:pos x="T26" y="T27"/>
                    </a:cxn>
                    <a:cxn ang="T58">
                      <a:pos x="T28" y="T29"/>
                    </a:cxn>
                    <a:cxn ang="T59">
                      <a:pos x="T30" y="T31"/>
                    </a:cxn>
                    <a:cxn ang="T60">
                      <a:pos x="T32" y="T33"/>
                    </a:cxn>
                    <a:cxn ang="T61">
                      <a:pos x="T34" y="T35"/>
                    </a:cxn>
                    <a:cxn ang="T62">
                      <a:pos x="T36" y="T37"/>
                    </a:cxn>
                    <a:cxn ang="T63">
                      <a:pos x="T38" y="T39"/>
                    </a:cxn>
                    <a:cxn ang="T64">
                      <a:pos x="T40" y="T41"/>
                    </a:cxn>
                    <a:cxn ang="T65">
                      <a:pos x="T42" y="T43"/>
                    </a:cxn>
                  </a:cxnLst>
                  <a:rect l="0" t="0" r="r" b="b"/>
                  <a:pathLst>
                    <a:path w="86" h="50">
                      <a:moveTo>
                        <a:pt x="0" y="37"/>
                      </a:moveTo>
                      <a:lnTo>
                        <a:pt x="5" y="41"/>
                      </a:lnTo>
                      <a:lnTo>
                        <a:pt x="11" y="44"/>
                      </a:lnTo>
                      <a:lnTo>
                        <a:pt x="16" y="47"/>
                      </a:lnTo>
                      <a:lnTo>
                        <a:pt x="23" y="48"/>
                      </a:lnTo>
                      <a:lnTo>
                        <a:pt x="35" y="49"/>
                      </a:lnTo>
                      <a:lnTo>
                        <a:pt x="46" y="50"/>
                      </a:lnTo>
                      <a:lnTo>
                        <a:pt x="58" y="49"/>
                      </a:lnTo>
                      <a:lnTo>
                        <a:pt x="67" y="48"/>
                      </a:lnTo>
                      <a:lnTo>
                        <a:pt x="73" y="47"/>
                      </a:lnTo>
                      <a:lnTo>
                        <a:pt x="79" y="44"/>
                      </a:lnTo>
                      <a:lnTo>
                        <a:pt x="82" y="41"/>
                      </a:lnTo>
                      <a:lnTo>
                        <a:pt x="84" y="37"/>
                      </a:lnTo>
                      <a:lnTo>
                        <a:pt x="85" y="32"/>
                      </a:lnTo>
                      <a:lnTo>
                        <a:pt x="86" y="25"/>
                      </a:lnTo>
                      <a:lnTo>
                        <a:pt x="85" y="17"/>
                      </a:lnTo>
                      <a:lnTo>
                        <a:pt x="84" y="10"/>
                      </a:lnTo>
                      <a:lnTo>
                        <a:pt x="83" y="7"/>
                      </a:lnTo>
                      <a:lnTo>
                        <a:pt x="81" y="5"/>
                      </a:lnTo>
                      <a:lnTo>
                        <a:pt x="77" y="2"/>
                      </a:lnTo>
                      <a:lnTo>
                        <a:pt x="73" y="0"/>
                      </a:lnTo>
                      <a:lnTo>
                        <a:pt x="0" y="37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2" name="Freeform 407">
                  <a:extLst>
                    <a:ext uri="{FF2B5EF4-FFF2-40B4-BE49-F238E27FC236}">
                      <a16:creationId xmlns:a16="http://schemas.microsoft.com/office/drawing/2014/main" id="{0DDE985E-4F03-4188-997B-6BE28C1E93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9" y="1163"/>
                  <a:ext cx="55" cy="25"/>
                </a:xfrm>
                <a:custGeom>
                  <a:avLst/>
                  <a:gdLst>
                    <a:gd name="T0" fmla="*/ 12 w 172"/>
                    <a:gd name="T1" fmla="*/ 7 h 74"/>
                    <a:gd name="T2" fmla="*/ 11 w 172"/>
                    <a:gd name="T3" fmla="*/ 7 h 74"/>
                    <a:gd name="T4" fmla="*/ 10 w 172"/>
                    <a:gd name="T5" fmla="*/ 7 h 74"/>
                    <a:gd name="T6" fmla="*/ 9 w 172"/>
                    <a:gd name="T7" fmla="*/ 7 h 74"/>
                    <a:gd name="T8" fmla="*/ 8 w 172"/>
                    <a:gd name="T9" fmla="*/ 7 h 74"/>
                    <a:gd name="T10" fmla="*/ 6 w 172"/>
                    <a:gd name="T11" fmla="*/ 8 h 74"/>
                    <a:gd name="T12" fmla="*/ 4 w 172"/>
                    <a:gd name="T13" fmla="*/ 8 h 74"/>
                    <a:gd name="T14" fmla="*/ 4 w 172"/>
                    <a:gd name="T15" fmla="*/ 7 h 74"/>
                    <a:gd name="T16" fmla="*/ 4 w 172"/>
                    <a:gd name="T17" fmla="*/ 6 h 74"/>
                    <a:gd name="T18" fmla="*/ 3 w 172"/>
                    <a:gd name="T19" fmla="*/ 6 h 74"/>
                    <a:gd name="T20" fmla="*/ 2 w 172"/>
                    <a:gd name="T21" fmla="*/ 5 h 74"/>
                    <a:gd name="T22" fmla="*/ 2 w 172"/>
                    <a:gd name="T23" fmla="*/ 5 h 74"/>
                    <a:gd name="T24" fmla="*/ 1 w 172"/>
                    <a:gd name="T25" fmla="*/ 5 h 74"/>
                    <a:gd name="T26" fmla="*/ 1 w 172"/>
                    <a:gd name="T27" fmla="*/ 5 h 74"/>
                    <a:gd name="T28" fmla="*/ 0 w 172"/>
                    <a:gd name="T29" fmla="*/ 4 h 74"/>
                    <a:gd name="T30" fmla="*/ 0 w 172"/>
                    <a:gd name="T31" fmla="*/ 4 h 74"/>
                    <a:gd name="T32" fmla="*/ 0 w 172"/>
                    <a:gd name="T33" fmla="*/ 3 h 74"/>
                    <a:gd name="T34" fmla="*/ 0 w 172"/>
                    <a:gd name="T35" fmla="*/ 3 h 74"/>
                    <a:gd name="T36" fmla="*/ 0 w 172"/>
                    <a:gd name="T37" fmla="*/ 2 h 74"/>
                    <a:gd name="T38" fmla="*/ 1 w 172"/>
                    <a:gd name="T39" fmla="*/ 2 h 74"/>
                    <a:gd name="T40" fmla="*/ 1 w 172"/>
                    <a:gd name="T41" fmla="*/ 2 h 74"/>
                    <a:gd name="T42" fmla="*/ 1 w 172"/>
                    <a:gd name="T43" fmla="*/ 1 h 74"/>
                    <a:gd name="T44" fmla="*/ 2 w 172"/>
                    <a:gd name="T45" fmla="*/ 1 h 74"/>
                    <a:gd name="T46" fmla="*/ 3 w 172"/>
                    <a:gd name="T47" fmla="*/ 1 h 74"/>
                    <a:gd name="T48" fmla="*/ 3 w 172"/>
                    <a:gd name="T49" fmla="*/ 0 h 74"/>
                    <a:gd name="T50" fmla="*/ 4 w 172"/>
                    <a:gd name="T51" fmla="*/ 0 h 74"/>
                    <a:gd name="T52" fmla="*/ 6 w 172"/>
                    <a:gd name="T53" fmla="*/ 0 h 74"/>
                    <a:gd name="T54" fmla="*/ 7 w 172"/>
                    <a:gd name="T55" fmla="*/ 0 h 74"/>
                    <a:gd name="T56" fmla="*/ 8 w 172"/>
                    <a:gd name="T57" fmla="*/ 0 h 74"/>
                    <a:gd name="T58" fmla="*/ 10 w 172"/>
                    <a:gd name="T59" fmla="*/ 0 h 74"/>
                    <a:gd name="T60" fmla="*/ 11 w 172"/>
                    <a:gd name="T61" fmla="*/ 0 h 74"/>
                    <a:gd name="T62" fmla="*/ 12 w 172"/>
                    <a:gd name="T63" fmla="*/ 1 h 74"/>
                    <a:gd name="T64" fmla="*/ 13 w 172"/>
                    <a:gd name="T65" fmla="*/ 1 h 74"/>
                    <a:gd name="T66" fmla="*/ 14 w 172"/>
                    <a:gd name="T67" fmla="*/ 2 h 74"/>
                    <a:gd name="T68" fmla="*/ 15 w 172"/>
                    <a:gd name="T69" fmla="*/ 2 h 74"/>
                    <a:gd name="T70" fmla="*/ 16 w 172"/>
                    <a:gd name="T71" fmla="*/ 3 h 74"/>
                    <a:gd name="T72" fmla="*/ 18 w 172"/>
                    <a:gd name="T73" fmla="*/ 3 h 74"/>
                    <a:gd name="T74" fmla="*/ 18 w 172"/>
                    <a:gd name="T75" fmla="*/ 5 h 74"/>
                    <a:gd name="T76" fmla="*/ 17 w 172"/>
                    <a:gd name="T77" fmla="*/ 5 h 74"/>
                    <a:gd name="T78" fmla="*/ 17 w 172"/>
                    <a:gd name="T79" fmla="*/ 6 h 74"/>
                    <a:gd name="T80" fmla="*/ 16 w 172"/>
                    <a:gd name="T81" fmla="*/ 6 h 74"/>
                    <a:gd name="T82" fmla="*/ 16 w 172"/>
                    <a:gd name="T83" fmla="*/ 7 h 74"/>
                    <a:gd name="T84" fmla="*/ 16 w 172"/>
                    <a:gd name="T85" fmla="*/ 7 h 74"/>
                    <a:gd name="T86" fmla="*/ 15 w 172"/>
                    <a:gd name="T87" fmla="*/ 7 h 74"/>
                    <a:gd name="T88" fmla="*/ 15 w 172"/>
                    <a:gd name="T89" fmla="*/ 7 h 74"/>
                    <a:gd name="T90" fmla="*/ 14 w 172"/>
                    <a:gd name="T91" fmla="*/ 7 h 74"/>
                    <a:gd name="T92" fmla="*/ 13 w 172"/>
                    <a:gd name="T93" fmla="*/ 7 h 74"/>
                    <a:gd name="T94" fmla="*/ 12 w 172"/>
                    <a:gd name="T95" fmla="*/ 7 h 74"/>
                    <a:gd name="T96" fmla="*/ 12 w 172"/>
                    <a:gd name="T97" fmla="*/ 7 h 74"/>
                    <a:gd name="T98" fmla="*/ 10 w 172"/>
                    <a:gd name="T99" fmla="*/ 6 h 74"/>
                    <a:gd name="T100" fmla="*/ 11 w 172"/>
                    <a:gd name="T101" fmla="*/ 6 h 74"/>
                    <a:gd name="T102" fmla="*/ 12 w 172"/>
                    <a:gd name="T103" fmla="*/ 7 h 7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0" t="0" r="r" b="b"/>
                  <a:pathLst>
                    <a:path w="172" h="74">
                      <a:moveTo>
                        <a:pt x="119" y="61"/>
                      </a:moveTo>
                      <a:lnTo>
                        <a:pt x="109" y="61"/>
                      </a:lnTo>
                      <a:lnTo>
                        <a:pt x="99" y="61"/>
                      </a:lnTo>
                      <a:lnTo>
                        <a:pt x="90" y="61"/>
                      </a:lnTo>
                      <a:lnTo>
                        <a:pt x="80" y="61"/>
                      </a:lnTo>
                      <a:lnTo>
                        <a:pt x="60" y="74"/>
                      </a:lnTo>
                      <a:lnTo>
                        <a:pt x="33" y="74"/>
                      </a:lnTo>
                      <a:lnTo>
                        <a:pt x="36" y="61"/>
                      </a:lnTo>
                      <a:lnTo>
                        <a:pt x="39" y="49"/>
                      </a:lnTo>
                      <a:lnTo>
                        <a:pt x="30" y="49"/>
                      </a:lnTo>
                      <a:lnTo>
                        <a:pt x="23" y="48"/>
                      </a:lnTo>
                      <a:lnTo>
                        <a:pt x="15" y="47"/>
                      </a:lnTo>
                      <a:lnTo>
                        <a:pt x="9" y="45"/>
                      </a:lnTo>
                      <a:lnTo>
                        <a:pt x="5" y="42"/>
                      </a:lnTo>
                      <a:lnTo>
                        <a:pt x="2" y="39"/>
                      </a:lnTo>
                      <a:lnTo>
                        <a:pt x="1" y="35"/>
                      </a:lnTo>
                      <a:lnTo>
                        <a:pt x="0" y="31"/>
                      </a:lnTo>
                      <a:lnTo>
                        <a:pt x="1" y="26"/>
                      </a:lnTo>
                      <a:lnTo>
                        <a:pt x="2" y="21"/>
                      </a:lnTo>
                      <a:lnTo>
                        <a:pt x="5" y="17"/>
                      </a:lnTo>
                      <a:lnTo>
                        <a:pt x="8" y="14"/>
                      </a:lnTo>
                      <a:lnTo>
                        <a:pt x="13" y="10"/>
                      </a:lnTo>
                      <a:lnTo>
                        <a:pt x="18" y="7"/>
                      </a:lnTo>
                      <a:lnTo>
                        <a:pt x="24" y="5"/>
                      </a:lnTo>
                      <a:lnTo>
                        <a:pt x="29" y="4"/>
                      </a:lnTo>
                      <a:lnTo>
                        <a:pt x="42" y="1"/>
                      </a:lnTo>
                      <a:lnTo>
                        <a:pt x="56" y="0"/>
                      </a:lnTo>
                      <a:lnTo>
                        <a:pt x="69" y="0"/>
                      </a:lnTo>
                      <a:lnTo>
                        <a:pt x="80" y="0"/>
                      </a:lnTo>
                      <a:lnTo>
                        <a:pt x="94" y="1"/>
                      </a:lnTo>
                      <a:lnTo>
                        <a:pt x="106" y="4"/>
                      </a:lnTo>
                      <a:lnTo>
                        <a:pt x="117" y="7"/>
                      </a:lnTo>
                      <a:lnTo>
                        <a:pt x="128" y="13"/>
                      </a:lnTo>
                      <a:lnTo>
                        <a:pt x="139" y="17"/>
                      </a:lnTo>
                      <a:lnTo>
                        <a:pt x="150" y="21"/>
                      </a:lnTo>
                      <a:lnTo>
                        <a:pt x="161" y="24"/>
                      </a:lnTo>
                      <a:lnTo>
                        <a:pt x="172" y="25"/>
                      </a:lnTo>
                      <a:lnTo>
                        <a:pt x="172" y="43"/>
                      </a:lnTo>
                      <a:lnTo>
                        <a:pt x="169" y="48"/>
                      </a:lnTo>
                      <a:lnTo>
                        <a:pt x="165" y="53"/>
                      </a:lnTo>
                      <a:lnTo>
                        <a:pt x="161" y="57"/>
                      </a:lnTo>
                      <a:lnTo>
                        <a:pt x="158" y="60"/>
                      </a:lnTo>
                      <a:lnTo>
                        <a:pt x="153" y="62"/>
                      </a:lnTo>
                      <a:lnTo>
                        <a:pt x="149" y="63"/>
                      </a:lnTo>
                      <a:lnTo>
                        <a:pt x="146" y="65"/>
                      </a:lnTo>
                      <a:lnTo>
                        <a:pt x="141" y="65"/>
                      </a:lnTo>
                      <a:lnTo>
                        <a:pt x="131" y="65"/>
                      </a:lnTo>
                      <a:lnTo>
                        <a:pt x="121" y="63"/>
                      </a:lnTo>
                      <a:lnTo>
                        <a:pt x="112" y="59"/>
                      </a:lnTo>
                      <a:lnTo>
                        <a:pt x="99" y="55"/>
                      </a:lnTo>
                      <a:lnTo>
                        <a:pt x="106" y="55"/>
                      </a:lnTo>
                      <a:lnTo>
                        <a:pt x="119" y="61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3" name="Freeform 408">
                  <a:extLst>
                    <a:ext uri="{FF2B5EF4-FFF2-40B4-BE49-F238E27FC236}">
                      <a16:creationId xmlns:a16="http://schemas.microsoft.com/office/drawing/2014/main" id="{01804378-8551-48DF-8ACE-95282E3CFB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49" y="1171"/>
                  <a:ext cx="38" cy="22"/>
                </a:xfrm>
                <a:custGeom>
                  <a:avLst/>
                  <a:gdLst>
                    <a:gd name="T0" fmla="*/ 3 w 120"/>
                    <a:gd name="T1" fmla="*/ 6 h 49"/>
                    <a:gd name="T2" fmla="*/ 5 w 120"/>
                    <a:gd name="T3" fmla="*/ 6 h 49"/>
                    <a:gd name="T4" fmla="*/ 6 w 120"/>
                    <a:gd name="T5" fmla="*/ 6 h 49"/>
                    <a:gd name="T6" fmla="*/ 8 w 120"/>
                    <a:gd name="T7" fmla="*/ 6 h 49"/>
                    <a:gd name="T8" fmla="*/ 9 w 120"/>
                    <a:gd name="T9" fmla="*/ 5 h 49"/>
                    <a:gd name="T10" fmla="*/ 10 w 120"/>
                    <a:gd name="T11" fmla="*/ 5 h 49"/>
                    <a:gd name="T12" fmla="*/ 10 w 120"/>
                    <a:gd name="T13" fmla="*/ 5 h 49"/>
                    <a:gd name="T14" fmla="*/ 10 w 120"/>
                    <a:gd name="T15" fmla="*/ 4 h 49"/>
                    <a:gd name="T16" fmla="*/ 11 w 120"/>
                    <a:gd name="T17" fmla="*/ 4 h 49"/>
                    <a:gd name="T18" fmla="*/ 11 w 120"/>
                    <a:gd name="T19" fmla="*/ 3 h 49"/>
                    <a:gd name="T20" fmla="*/ 12 w 120"/>
                    <a:gd name="T21" fmla="*/ 1 h 49"/>
                    <a:gd name="T22" fmla="*/ 10 w 120"/>
                    <a:gd name="T23" fmla="*/ 1 h 49"/>
                    <a:gd name="T24" fmla="*/ 9 w 120"/>
                    <a:gd name="T25" fmla="*/ 0 h 49"/>
                    <a:gd name="T26" fmla="*/ 7 w 120"/>
                    <a:gd name="T27" fmla="*/ 0 h 49"/>
                    <a:gd name="T28" fmla="*/ 5 w 120"/>
                    <a:gd name="T29" fmla="*/ 0 h 49"/>
                    <a:gd name="T30" fmla="*/ 3 w 120"/>
                    <a:gd name="T31" fmla="*/ 0 h 49"/>
                    <a:gd name="T32" fmla="*/ 2 w 120"/>
                    <a:gd name="T33" fmla="*/ 0 h 49"/>
                    <a:gd name="T34" fmla="*/ 1 w 120"/>
                    <a:gd name="T35" fmla="*/ 0 h 49"/>
                    <a:gd name="T36" fmla="*/ 0 w 120"/>
                    <a:gd name="T37" fmla="*/ 1 h 49"/>
                    <a:gd name="T38" fmla="*/ 0 w 120"/>
                    <a:gd name="T39" fmla="*/ 3 h 49"/>
                    <a:gd name="T40" fmla="*/ 0 w 120"/>
                    <a:gd name="T41" fmla="*/ 4 h 49"/>
                    <a:gd name="T42" fmla="*/ 1 w 120"/>
                    <a:gd name="T43" fmla="*/ 5 h 49"/>
                    <a:gd name="T44" fmla="*/ 1 w 120"/>
                    <a:gd name="T45" fmla="*/ 5 h 49"/>
                    <a:gd name="T46" fmla="*/ 1 w 120"/>
                    <a:gd name="T47" fmla="*/ 6 h 49"/>
                    <a:gd name="T48" fmla="*/ 2 w 120"/>
                    <a:gd name="T49" fmla="*/ 6 h 49"/>
                    <a:gd name="T50" fmla="*/ 3 w 120"/>
                    <a:gd name="T51" fmla="*/ 6 h 49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120" h="49">
                      <a:moveTo>
                        <a:pt x="27" y="49"/>
                      </a:moveTo>
                      <a:lnTo>
                        <a:pt x="47" y="49"/>
                      </a:lnTo>
                      <a:lnTo>
                        <a:pt x="64" y="48"/>
                      </a:lnTo>
                      <a:lnTo>
                        <a:pt x="78" y="46"/>
                      </a:lnTo>
                      <a:lnTo>
                        <a:pt x="90" y="43"/>
                      </a:lnTo>
                      <a:lnTo>
                        <a:pt x="96" y="39"/>
                      </a:lnTo>
                      <a:lnTo>
                        <a:pt x="100" y="37"/>
                      </a:lnTo>
                      <a:lnTo>
                        <a:pt x="104" y="34"/>
                      </a:lnTo>
                      <a:lnTo>
                        <a:pt x="108" y="31"/>
                      </a:lnTo>
                      <a:lnTo>
                        <a:pt x="114" y="22"/>
                      </a:lnTo>
                      <a:lnTo>
                        <a:pt x="120" y="12"/>
                      </a:lnTo>
                      <a:lnTo>
                        <a:pt x="102" y="6"/>
                      </a:lnTo>
                      <a:lnTo>
                        <a:pt x="84" y="3"/>
                      </a:lnTo>
                      <a:lnTo>
                        <a:pt x="66" y="1"/>
                      </a:lnTo>
                      <a:lnTo>
                        <a:pt x="50" y="0"/>
                      </a:lnTo>
                      <a:lnTo>
                        <a:pt x="34" y="1"/>
                      </a:lnTo>
                      <a:lnTo>
                        <a:pt x="20" y="2"/>
                      </a:lnTo>
                      <a:lnTo>
                        <a:pt x="9" y="4"/>
                      </a:lnTo>
                      <a:lnTo>
                        <a:pt x="0" y="6"/>
                      </a:lnTo>
                      <a:lnTo>
                        <a:pt x="0" y="30"/>
                      </a:lnTo>
                      <a:lnTo>
                        <a:pt x="2" y="35"/>
                      </a:lnTo>
                      <a:lnTo>
                        <a:pt x="6" y="38"/>
                      </a:lnTo>
                      <a:lnTo>
                        <a:pt x="9" y="41"/>
                      </a:lnTo>
                      <a:lnTo>
                        <a:pt x="13" y="45"/>
                      </a:lnTo>
                      <a:lnTo>
                        <a:pt x="20" y="48"/>
                      </a:lnTo>
                      <a:lnTo>
                        <a:pt x="27" y="49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4" name="Freeform 409">
                  <a:extLst>
                    <a:ext uri="{FF2B5EF4-FFF2-40B4-BE49-F238E27FC236}">
                      <a16:creationId xmlns:a16="http://schemas.microsoft.com/office/drawing/2014/main" id="{8247EDAB-7B62-417A-9C24-6D8FDE1446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9" y="1194"/>
                  <a:ext cx="28" cy="19"/>
                </a:xfrm>
                <a:custGeom>
                  <a:avLst/>
                  <a:gdLst>
                    <a:gd name="T0" fmla="*/ 3 w 85"/>
                    <a:gd name="T1" fmla="*/ 0 h 61"/>
                    <a:gd name="T2" fmla="*/ 2 w 85"/>
                    <a:gd name="T3" fmla="*/ 1 h 61"/>
                    <a:gd name="T4" fmla="*/ 1 w 85"/>
                    <a:gd name="T5" fmla="*/ 1 h 61"/>
                    <a:gd name="T6" fmla="*/ 1 w 85"/>
                    <a:gd name="T7" fmla="*/ 2 h 61"/>
                    <a:gd name="T8" fmla="*/ 0 w 85"/>
                    <a:gd name="T9" fmla="*/ 2 h 61"/>
                    <a:gd name="T10" fmla="*/ 0 w 85"/>
                    <a:gd name="T11" fmla="*/ 2 h 61"/>
                    <a:gd name="T12" fmla="*/ 0 w 85"/>
                    <a:gd name="T13" fmla="*/ 3 h 61"/>
                    <a:gd name="T14" fmla="*/ 0 w 85"/>
                    <a:gd name="T15" fmla="*/ 3 h 61"/>
                    <a:gd name="T16" fmla="*/ 0 w 85"/>
                    <a:gd name="T17" fmla="*/ 4 h 61"/>
                    <a:gd name="T18" fmla="*/ 0 w 85"/>
                    <a:gd name="T19" fmla="*/ 4 h 61"/>
                    <a:gd name="T20" fmla="*/ 1 w 85"/>
                    <a:gd name="T21" fmla="*/ 4 h 61"/>
                    <a:gd name="T22" fmla="*/ 1 w 85"/>
                    <a:gd name="T23" fmla="*/ 5 h 61"/>
                    <a:gd name="T24" fmla="*/ 2 w 85"/>
                    <a:gd name="T25" fmla="*/ 5 h 61"/>
                    <a:gd name="T26" fmla="*/ 2 w 85"/>
                    <a:gd name="T27" fmla="*/ 5 h 61"/>
                    <a:gd name="T28" fmla="*/ 3 w 85"/>
                    <a:gd name="T29" fmla="*/ 6 h 61"/>
                    <a:gd name="T30" fmla="*/ 4 w 85"/>
                    <a:gd name="T31" fmla="*/ 6 h 61"/>
                    <a:gd name="T32" fmla="*/ 5 w 85"/>
                    <a:gd name="T33" fmla="*/ 6 h 61"/>
                    <a:gd name="T34" fmla="*/ 5 w 85"/>
                    <a:gd name="T35" fmla="*/ 6 h 61"/>
                    <a:gd name="T36" fmla="*/ 6 w 85"/>
                    <a:gd name="T37" fmla="*/ 6 h 61"/>
                    <a:gd name="T38" fmla="*/ 6 w 85"/>
                    <a:gd name="T39" fmla="*/ 6 h 61"/>
                    <a:gd name="T40" fmla="*/ 6 w 85"/>
                    <a:gd name="T41" fmla="*/ 6 h 61"/>
                    <a:gd name="T42" fmla="*/ 7 w 85"/>
                    <a:gd name="T43" fmla="*/ 5 h 61"/>
                    <a:gd name="T44" fmla="*/ 7 w 85"/>
                    <a:gd name="T45" fmla="*/ 5 h 61"/>
                    <a:gd name="T46" fmla="*/ 7 w 85"/>
                    <a:gd name="T47" fmla="*/ 4 h 61"/>
                    <a:gd name="T48" fmla="*/ 8 w 85"/>
                    <a:gd name="T49" fmla="*/ 3 h 61"/>
                    <a:gd name="T50" fmla="*/ 8 w 85"/>
                    <a:gd name="T51" fmla="*/ 2 h 61"/>
                    <a:gd name="T52" fmla="*/ 8 w 85"/>
                    <a:gd name="T53" fmla="*/ 2 h 61"/>
                    <a:gd name="T54" fmla="*/ 3 w 85"/>
                    <a:gd name="T55" fmla="*/ 0 h 61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85" h="61">
                      <a:moveTo>
                        <a:pt x="33" y="0"/>
                      </a:moveTo>
                      <a:lnTo>
                        <a:pt x="22" y="5"/>
                      </a:lnTo>
                      <a:lnTo>
                        <a:pt x="11" y="12"/>
                      </a:lnTo>
                      <a:lnTo>
                        <a:pt x="6" y="17"/>
                      </a:lnTo>
                      <a:lnTo>
                        <a:pt x="3" y="21"/>
                      </a:lnTo>
                      <a:lnTo>
                        <a:pt x="0" y="25"/>
                      </a:lnTo>
                      <a:lnTo>
                        <a:pt x="0" y="31"/>
                      </a:lnTo>
                      <a:lnTo>
                        <a:pt x="0" y="34"/>
                      </a:lnTo>
                      <a:lnTo>
                        <a:pt x="1" y="37"/>
                      </a:lnTo>
                      <a:lnTo>
                        <a:pt x="2" y="40"/>
                      </a:lnTo>
                      <a:lnTo>
                        <a:pt x="5" y="43"/>
                      </a:lnTo>
                      <a:lnTo>
                        <a:pt x="11" y="48"/>
                      </a:lnTo>
                      <a:lnTo>
                        <a:pt x="18" y="53"/>
                      </a:lnTo>
                      <a:lnTo>
                        <a:pt x="27" y="56"/>
                      </a:lnTo>
                      <a:lnTo>
                        <a:pt x="36" y="59"/>
                      </a:lnTo>
                      <a:lnTo>
                        <a:pt x="45" y="61"/>
                      </a:lnTo>
                      <a:lnTo>
                        <a:pt x="53" y="61"/>
                      </a:lnTo>
                      <a:lnTo>
                        <a:pt x="56" y="61"/>
                      </a:lnTo>
                      <a:lnTo>
                        <a:pt x="59" y="60"/>
                      </a:lnTo>
                      <a:lnTo>
                        <a:pt x="62" y="59"/>
                      </a:lnTo>
                      <a:lnTo>
                        <a:pt x="66" y="57"/>
                      </a:lnTo>
                      <a:lnTo>
                        <a:pt x="72" y="52"/>
                      </a:lnTo>
                      <a:lnTo>
                        <a:pt x="77" y="47"/>
                      </a:lnTo>
                      <a:lnTo>
                        <a:pt x="80" y="40"/>
                      </a:lnTo>
                      <a:lnTo>
                        <a:pt x="83" y="33"/>
                      </a:lnTo>
                      <a:lnTo>
                        <a:pt x="85" y="25"/>
                      </a:lnTo>
                      <a:lnTo>
                        <a:pt x="85" y="18"/>
                      </a:lnTo>
                      <a:lnTo>
                        <a:pt x="33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5" name="Freeform 410">
                  <a:extLst>
                    <a:ext uri="{FF2B5EF4-FFF2-40B4-BE49-F238E27FC236}">
                      <a16:creationId xmlns:a16="http://schemas.microsoft.com/office/drawing/2014/main" id="{3427F7D4-33D6-4FC0-A8D6-5EF1F23BF6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4" y="1188"/>
                  <a:ext cx="31" cy="6"/>
                </a:xfrm>
                <a:custGeom>
                  <a:avLst/>
                  <a:gdLst>
                    <a:gd name="T0" fmla="*/ 0 w 100"/>
                    <a:gd name="T1" fmla="*/ 1 h 19"/>
                    <a:gd name="T2" fmla="*/ 1 w 100"/>
                    <a:gd name="T3" fmla="*/ 1 h 19"/>
                    <a:gd name="T4" fmla="*/ 1 w 100"/>
                    <a:gd name="T5" fmla="*/ 2 h 19"/>
                    <a:gd name="T6" fmla="*/ 2 w 100"/>
                    <a:gd name="T7" fmla="*/ 2 h 19"/>
                    <a:gd name="T8" fmla="*/ 2 w 100"/>
                    <a:gd name="T9" fmla="*/ 2 h 19"/>
                    <a:gd name="T10" fmla="*/ 10 w 100"/>
                    <a:gd name="T11" fmla="*/ 1 h 19"/>
                    <a:gd name="T12" fmla="*/ 7 w 100"/>
                    <a:gd name="T13" fmla="*/ 0 h 19"/>
                    <a:gd name="T14" fmla="*/ 5 w 100"/>
                    <a:gd name="T15" fmla="*/ 0 h 19"/>
                    <a:gd name="T16" fmla="*/ 3 w 100"/>
                    <a:gd name="T17" fmla="*/ 0 h 19"/>
                    <a:gd name="T18" fmla="*/ 2 w 100"/>
                    <a:gd name="T19" fmla="*/ 0 h 19"/>
                    <a:gd name="T20" fmla="*/ 1 w 100"/>
                    <a:gd name="T21" fmla="*/ 0 h 19"/>
                    <a:gd name="T22" fmla="*/ 0 w 100"/>
                    <a:gd name="T23" fmla="*/ 1 h 19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0" t="0" r="r" b="b"/>
                  <a:pathLst>
                    <a:path w="100" h="19">
                      <a:moveTo>
                        <a:pt x="0" y="6"/>
                      </a:moveTo>
                      <a:lnTo>
                        <a:pt x="7" y="11"/>
                      </a:lnTo>
                      <a:lnTo>
                        <a:pt x="13" y="15"/>
                      </a:lnTo>
                      <a:lnTo>
                        <a:pt x="21" y="18"/>
                      </a:lnTo>
                      <a:lnTo>
                        <a:pt x="27" y="19"/>
                      </a:lnTo>
                      <a:lnTo>
                        <a:pt x="100" y="6"/>
                      </a:lnTo>
                      <a:lnTo>
                        <a:pt x="73" y="2"/>
                      </a:lnTo>
                      <a:lnTo>
                        <a:pt x="47" y="0"/>
                      </a:lnTo>
                      <a:lnTo>
                        <a:pt x="36" y="0"/>
                      </a:lnTo>
                      <a:lnTo>
                        <a:pt x="24" y="1"/>
                      </a:lnTo>
                      <a:lnTo>
                        <a:pt x="12" y="3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6" name="Freeform 411">
                  <a:extLst>
                    <a:ext uri="{FF2B5EF4-FFF2-40B4-BE49-F238E27FC236}">
                      <a16:creationId xmlns:a16="http://schemas.microsoft.com/office/drawing/2014/main" id="{4B2CD1C0-B30F-4C91-A5CA-E9E262DB6E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72" y="1168"/>
                  <a:ext cx="51" cy="20"/>
                </a:xfrm>
                <a:custGeom>
                  <a:avLst/>
                  <a:gdLst>
                    <a:gd name="T0" fmla="*/ 0 w 166"/>
                    <a:gd name="T1" fmla="*/ 3 h 45"/>
                    <a:gd name="T2" fmla="*/ 0 w 166"/>
                    <a:gd name="T3" fmla="*/ 3 h 45"/>
                    <a:gd name="T4" fmla="*/ 0 w 166"/>
                    <a:gd name="T5" fmla="*/ 3 h 45"/>
                    <a:gd name="T6" fmla="*/ 1 w 166"/>
                    <a:gd name="T7" fmla="*/ 4 h 45"/>
                    <a:gd name="T8" fmla="*/ 1 w 166"/>
                    <a:gd name="T9" fmla="*/ 4 h 45"/>
                    <a:gd name="T10" fmla="*/ 3 w 166"/>
                    <a:gd name="T11" fmla="*/ 4 h 45"/>
                    <a:gd name="T12" fmla="*/ 4 w 166"/>
                    <a:gd name="T13" fmla="*/ 5 h 45"/>
                    <a:gd name="T14" fmla="*/ 8 w 166"/>
                    <a:gd name="T15" fmla="*/ 5 h 45"/>
                    <a:gd name="T16" fmla="*/ 9 w 166"/>
                    <a:gd name="T17" fmla="*/ 5 h 45"/>
                    <a:gd name="T18" fmla="*/ 17 w 166"/>
                    <a:gd name="T19" fmla="*/ 3 h 45"/>
                    <a:gd name="T20" fmla="*/ 16 w 166"/>
                    <a:gd name="T21" fmla="*/ 3 h 45"/>
                    <a:gd name="T22" fmla="*/ 14 w 166"/>
                    <a:gd name="T23" fmla="*/ 2 h 45"/>
                    <a:gd name="T24" fmla="*/ 11 w 166"/>
                    <a:gd name="T25" fmla="*/ 1 h 45"/>
                    <a:gd name="T26" fmla="*/ 8 w 166"/>
                    <a:gd name="T27" fmla="*/ 0 h 45"/>
                    <a:gd name="T28" fmla="*/ 7 w 166"/>
                    <a:gd name="T29" fmla="*/ 0 h 45"/>
                    <a:gd name="T30" fmla="*/ 5 w 166"/>
                    <a:gd name="T31" fmla="*/ 0 h 45"/>
                    <a:gd name="T32" fmla="*/ 4 w 166"/>
                    <a:gd name="T33" fmla="*/ 0 h 45"/>
                    <a:gd name="T34" fmla="*/ 3 w 166"/>
                    <a:gd name="T35" fmla="*/ 0 h 45"/>
                    <a:gd name="T36" fmla="*/ 2 w 166"/>
                    <a:gd name="T37" fmla="*/ 0 h 45"/>
                    <a:gd name="T38" fmla="*/ 1 w 166"/>
                    <a:gd name="T39" fmla="*/ 1 h 45"/>
                    <a:gd name="T40" fmla="*/ 1 w 166"/>
                    <a:gd name="T41" fmla="*/ 1 h 45"/>
                    <a:gd name="T42" fmla="*/ 1 w 166"/>
                    <a:gd name="T43" fmla="*/ 1 h 45"/>
                    <a:gd name="T44" fmla="*/ 0 w 166"/>
                    <a:gd name="T45" fmla="*/ 1 h 45"/>
                    <a:gd name="T46" fmla="*/ 0 w 166"/>
                    <a:gd name="T47" fmla="*/ 2 h 45"/>
                    <a:gd name="T48" fmla="*/ 0 w 166"/>
                    <a:gd name="T49" fmla="*/ 2 h 45"/>
                    <a:gd name="T50" fmla="*/ 0 w 166"/>
                    <a:gd name="T51" fmla="*/ 3 h 45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166" h="45">
                      <a:moveTo>
                        <a:pt x="0" y="27"/>
                      </a:moveTo>
                      <a:lnTo>
                        <a:pt x="0" y="29"/>
                      </a:lnTo>
                      <a:lnTo>
                        <a:pt x="3" y="31"/>
                      </a:lnTo>
                      <a:lnTo>
                        <a:pt x="8" y="33"/>
                      </a:lnTo>
                      <a:lnTo>
                        <a:pt x="13" y="35"/>
                      </a:lnTo>
                      <a:lnTo>
                        <a:pt x="27" y="38"/>
                      </a:lnTo>
                      <a:lnTo>
                        <a:pt x="44" y="41"/>
                      </a:lnTo>
                      <a:lnTo>
                        <a:pt x="75" y="44"/>
                      </a:lnTo>
                      <a:lnTo>
                        <a:pt x="92" y="45"/>
                      </a:lnTo>
                      <a:lnTo>
                        <a:pt x="166" y="27"/>
                      </a:lnTo>
                      <a:lnTo>
                        <a:pt x="157" y="25"/>
                      </a:lnTo>
                      <a:lnTo>
                        <a:pt x="137" y="19"/>
                      </a:lnTo>
                      <a:lnTo>
                        <a:pt x="110" y="11"/>
                      </a:lnTo>
                      <a:lnTo>
                        <a:pt x="80" y="4"/>
                      </a:lnTo>
                      <a:lnTo>
                        <a:pt x="65" y="2"/>
                      </a:lnTo>
                      <a:lnTo>
                        <a:pt x="50" y="1"/>
                      </a:lnTo>
                      <a:lnTo>
                        <a:pt x="36" y="0"/>
                      </a:lnTo>
                      <a:lnTo>
                        <a:pt x="24" y="2"/>
                      </a:lnTo>
                      <a:lnTo>
                        <a:pt x="19" y="3"/>
                      </a:lnTo>
                      <a:lnTo>
                        <a:pt x="14" y="5"/>
                      </a:lnTo>
                      <a:lnTo>
                        <a:pt x="10" y="7"/>
                      </a:lnTo>
                      <a:lnTo>
                        <a:pt x="7" y="10"/>
                      </a:lnTo>
                      <a:lnTo>
                        <a:pt x="3" y="13"/>
                      </a:lnTo>
                      <a:lnTo>
                        <a:pt x="1" y="17"/>
                      </a:lnTo>
                      <a:lnTo>
                        <a:pt x="0" y="22"/>
                      </a:lnTo>
                      <a:lnTo>
                        <a:pt x="0" y="27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7" name="Freeform 412">
                  <a:extLst>
                    <a:ext uri="{FF2B5EF4-FFF2-40B4-BE49-F238E27FC236}">
                      <a16:creationId xmlns:a16="http://schemas.microsoft.com/office/drawing/2014/main" id="{64AF6765-1EBA-47AC-9190-4428B354F2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87" y="1422"/>
                  <a:ext cx="10" cy="8"/>
                </a:xfrm>
                <a:custGeom>
                  <a:avLst/>
                  <a:gdLst>
                    <a:gd name="T0" fmla="*/ 0 w 33"/>
                    <a:gd name="T1" fmla="*/ 0 h 25"/>
                    <a:gd name="T2" fmla="*/ 0 w 33"/>
                    <a:gd name="T3" fmla="*/ 1 h 25"/>
                    <a:gd name="T4" fmla="*/ 0 w 33"/>
                    <a:gd name="T5" fmla="*/ 2 h 25"/>
                    <a:gd name="T6" fmla="*/ 1 w 33"/>
                    <a:gd name="T7" fmla="*/ 2 h 25"/>
                    <a:gd name="T8" fmla="*/ 1 w 33"/>
                    <a:gd name="T9" fmla="*/ 2 h 25"/>
                    <a:gd name="T10" fmla="*/ 2 w 33"/>
                    <a:gd name="T11" fmla="*/ 3 h 25"/>
                    <a:gd name="T12" fmla="*/ 2 w 33"/>
                    <a:gd name="T13" fmla="*/ 3 h 25"/>
                    <a:gd name="T14" fmla="*/ 3 w 33"/>
                    <a:gd name="T15" fmla="*/ 3 h 25"/>
                    <a:gd name="T16" fmla="*/ 4 w 33"/>
                    <a:gd name="T17" fmla="*/ 3 h 25"/>
                    <a:gd name="T18" fmla="*/ 4 w 33"/>
                    <a:gd name="T19" fmla="*/ 0 h 25"/>
                    <a:gd name="T20" fmla="*/ 3 w 33"/>
                    <a:gd name="T21" fmla="*/ 0 h 25"/>
                    <a:gd name="T22" fmla="*/ 2 w 33"/>
                    <a:gd name="T23" fmla="*/ 0 h 25"/>
                    <a:gd name="T24" fmla="*/ 1 w 33"/>
                    <a:gd name="T25" fmla="*/ 0 h 25"/>
                    <a:gd name="T26" fmla="*/ 0 w 33"/>
                    <a:gd name="T27" fmla="*/ 0 h 25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</a:gdLst>
                  <a:ahLst/>
                  <a:cxnLst>
                    <a:cxn ang="T28">
                      <a:pos x="T0" y="T1"/>
                    </a:cxn>
                    <a:cxn ang="T29">
                      <a:pos x="T2" y="T3"/>
                    </a:cxn>
                    <a:cxn ang="T30">
                      <a:pos x="T4" y="T5"/>
                    </a:cxn>
                    <a:cxn ang="T31">
                      <a:pos x="T6" y="T7"/>
                    </a:cxn>
                    <a:cxn ang="T32">
                      <a:pos x="T8" y="T9"/>
                    </a:cxn>
                    <a:cxn ang="T33">
                      <a:pos x="T10" y="T11"/>
                    </a:cxn>
                    <a:cxn ang="T34">
                      <a:pos x="T12" y="T13"/>
                    </a:cxn>
                    <a:cxn ang="T35">
                      <a:pos x="T14" y="T15"/>
                    </a:cxn>
                    <a:cxn ang="T36">
                      <a:pos x="T16" y="T17"/>
                    </a:cxn>
                    <a:cxn ang="T37">
                      <a:pos x="T18" y="T19"/>
                    </a:cxn>
                    <a:cxn ang="T38">
                      <a:pos x="T20" y="T21"/>
                    </a:cxn>
                    <a:cxn ang="T39">
                      <a:pos x="T22" y="T23"/>
                    </a:cxn>
                    <a:cxn ang="T40">
                      <a:pos x="T24" y="T25"/>
                    </a:cxn>
                    <a:cxn ang="T41">
                      <a:pos x="T26" y="T27"/>
                    </a:cxn>
                  </a:cxnLst>
                  <a:rect l="0" t="0" r="r" b="b"/>
                  <a:pathLst>
                    <a:path w="33" h="25">
                      <a:moveTo>
                        <a:pt x="0" y="0"/>
                      </a:moveTo>
                      <a:lnTo>
                        <a:pt x="0" y="9"/>
                      </a:lnTo>
                      <a:lnTo>
                        <a:pt x="3" y="15"/>
                      </a:lnTo>
                      <a:lnTo>
                        <a:pt x="6" y="20"/>
                      </a:lnTo>
                      <a:lnTo>
                        <a:pt x="11" y="22"/>
                      </a:lnTo>
                      <a:lnTo>
                        <a:pt x="16" y="24"/>
                      </a:lnTo>
                      <a:lnTo>
                        <a:pt x="22" y="25"/>
                      </a:lnTo>
                      <a:lnTo>
                        <a:pt x="27" y="25"/>
                      </a:lnTo>
                      <a:lnTo>
                        <a:pt x="33" y="25"/>
                      </a:lnTo>
                      <a:lnTo>
                        <a:pt x="33" y="0"/>
                      </a:lnTo>
                      <a:lnTo>
                        <a:pt x="24" y="0"/>
                      </a:lnTo>
                      <a:lnTo>
                        <a:pt x="16" y="0"/>
                      </a:lnTo>
                      <a:lnTo>
                        <a:pt x="9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8" name="Freeform 413">
                  <a:extLst>
                    <a:ext uri="{FF2B5EF4-FFF2-40B4-BE49-F238E27FC236}">
                      <a16:creationId xmlns:a16="http://schemas.microsoft.com/office/drawing/2014/main" id="{182A2AED-64AB-4962-8A68-92F690BED0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3" y="1729"/>
                  <a:ext cx="18" cy="20"/>
                </a:xfrm>
                <a:custGeom>
                  <a:avLst/>
                  <a:gdLst>
                    <a:gd name="T0" fmla="*/ 0 w 48"/>
                    <a:gd name="T1" fmla="*/ 6 h 62"/>
                    <a:gd name="T2" fmla="*/ 1 w 48"/>
                    <a:gd name="T3" fmla="*/ 6 h 62"/>
                    <a:gd name="T4" fmla="*/ 2 w 48"/>
                    <a:gd name="T5" fmla="*/ 5 h 62"/>
                    <a:gd name="T6" fmla="*/ 3 w 48"/>
                    <a:gd name="T7" fmla="*/ 5 h 62"/>
                    <a:gd name="T8" fmla="*/ 4 w 48"/>
                    <a:gd name="T9" fmla="*/ 4 h 62"/>
                    <a:gd name="T10" fmla="*/ 5 w 48"/>
                    <a:gd name="T11" fmla="*/ 3 h 62"/>
                    <a:gd name="T12" fmla="*/ 5 w 48"/>
                    <a:gd name="T13" fmla="*/ 2 h 62"/>
                    <a:gd name="T14" fmla="*/ 5 w 48"/>
                    <a:gd name="T15" fmla="*/ 1 h 62"/>
                    <a:gd name="T16" fmla="*/ 5 w 48"/>
                    <a:gd name="T17" fmla="*/ 0 h 62"/>
                    <a:gd name="T18" fmla="*/ 4 w 48"/>
                    <a:gd name="T19" fmla="*/ 0 h 62"/>
                    <a:gd name="T20" fmla="*/ 4 w 48"/>
                    <a:gd name="T21" fmla="*/ 1 h 62"/>
                    <a:gd name="T22" fmla="*/ 3 w 48"/>
                    <a:gd name="T23" fmla="*/ 1 h 62"/>
                    <a:gd name="T24" fmla="*/ 2 w 48"/>
                    <a:gd name="T25" fmla="*/ 2 h 62"/>
                    <a:gd name="T26" fmla="*/ 1 w 48"/>
                    <a:gd name="T27" fmla="*/ 2 h 62"/>
                    <a:gd name="T28" fmla="*/ 1 w 48"/>
                    <a:gd name="T29" fmla="*/ 3 h 62"/>
                    <a:gd name="T30" fmla="*/ 0 w 48"/>
                    <a:gd name="T31" fmla="*/ 3 h 62"/>
                    <a:gd name="T32" fmla="*/ 0 w 48"/>
                    <a:gd name="T33" fmla="*/ 4 h 62"/>
                    <a:gd name="T34" fmla="*/ 0 w 48"/>
                    <a:gd name="T35" fmla="*/ 4 h 62"/>
                    <a:gd name="T36" fmla="*/ 0 w 48"/>
                    <a:gd name="T37" fmla="*/ 5 h 62"/>
                    <a:gd name="T38" fmla="*/ 0 w 48"/>
                    <a:gd name="T39" fmla="*/ 5 h 62"/>
                    <a:gd name="T40" fmla="*/ 0 w 48"/>
                    <a:gd name="T41" fmla="*/ 6 h 62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</a:gdLst>
                  <a:ahLst/>
                  <a:cxnLst>
                    <a:cxn ang="T42">
                      <a:pos x="T0" y="T1"/>
                    </a:cxn>
                    <a:cxn ang="T43">
                      <a:pos x="T2" y="T3"/>
                    </a:cxn>
                    <a:cxn ang="T44">
                      <a:pos x="T4" y="T5"/>
                    </a:cxn>
                    <a:cxn ang="T45">
                      <a:pos x="T6" y="T7"/>
                    </a:cxn>
                    <a:cxn ang="T46">
                      <a:pos x="T8" y="T9"/>
                    </a:cxn>
                    <a:cxn ang="T47">
                      <a:pos x="T10" y="T11"/>
                    </a:cxn>
                    <a:cxn ang="T48">
                      <a:pos x="T12" y="T13"/>
                    </a:cxn>
                    <a:cxn ang="T49">
                      <a:pos x="T14" y="T15"/>
                    </a:cxn>
                    <a:cxn ang="T50">
                      <a:pos x="T16" y="T17"/>
                    </a:cxn>
                    <a:cxn ang="T51">
                      <a:pos x="T18" y="T19"/>
                    </a:cxn>
                    <a:cxn ang="T52">
                      <a:pos x="T20" y="T21"/>
                    </a:cxn>
                    <a:cxn ang="T53">
                      <a:pos x="T22" y="T23"/>
                    </a:cxn>
                    <a:cxn ang="T54">
                      <a:pos x="T24" y="T25"/>
                    </a:cxn>
                    <a:cxn ang="T55">
                      <a:pos x="T26" y="T27"/>
                    </a:cxn>
                    <a:cxn ang="T56">
                      <a:pos x="T28" y="T29"/>
                    </a:cxn>
                    <a:cxn ang="T57">
                      <a:pos x="T30" y="T31"/>
                    </a:cxn>
                    <a:cxn ang="T58">
                      <a:pos x="T32" y="T33"/>
                    </a:cxn>
                    <a:cxn ang="T59">
                      <a:pos x="T34" y="T35"/>
                    </a:cxn>
                    <a:cxn ang="T60">
                      <a:pos x="T36" y="T37"/>
                    </a:cxn>
                    <a:cxn ang="T61">
                      <a:pos x="T38" y="T39"/>
                    </a:cxn>
                    <a:cxn ang="T62">
                      <a:pos x="T40" y="T41"/>
                    </a:cxn>
                  </a:cxnLst>
                  <a:rect l="0" t="0" r="r" b="b"/>
                  <a:pathLst>
                    <a:path w="48" h="62">
                      <a:moveTo>
                        <a:pt x="0" y="62"/>
                      </a:moveTo>
                      <a:lnTo>
                        <a:pt x="12" y="56"/>
                      </a:lnTo>
                      <a:lnTo>
                        <a:pt x="22" y="50"/>
                      </a:lnTo>
                      <a:lnTo>
                        <a:pt x="30" y="43"/>
                      </a:lnTo>
                      <a:lnTo>
                        <a:pt x="37" y="36"/>
                      </a:lnTo>
                      <a:lnTo>
                        <a:pt x="41" y="28"/>
                      </a:lnTo>
                      <a:lnTo>
                        <a:pt x="44" y="19"/>
                      </a:lnTo>
                      <a:lnTo>
                        <a:pt x="47" y="9"/>
                      </a:lnTo>
                      <a:lnTo>
                        <a:pt x="48" y="0"/>
                      </a:lnTo>
                      <a:lnTo>
                        <a:pt x="40" y="3"/>
                      </a:lnTo>
                      <a:lnTo>
                        <a:pt x="32" y="6"/>
                      </a:lnTo>
                      <a:lnTo>
                        <a:pt x="23" y="10"/>
                      </a:lnTo>
                      <a:lnTo>
                        <a:pt x="17" y="15"/>
                      </a:lnTo>
                      <a:lnTo>
                        <a:pt x="10" y="21"/>
                      </a:lnTo>
                      <a:lnTo>
                        <a:pt x="6" y="27"/>
                      </a:lnTo>
                      <a:lnTo>
                        <a:pt x="4" y="31"/>
                      </a:lnTo>
                      <a:lnTo>
                        <a:pt x="3" y="35"/>
                      </a:lnTo>
                      <a:lnTo>
                        <a:pt x="1" y="39"/>
                      </a:lnTo>
                      <a:lnTo>
                        <a:pt x="0" y="43"/>
                      </a:lnTo>
                      <a:lnTo>
                        <a:pt x="0" y="52"/>
                      </a:lnTo>
                      <a:lnTo>
                        <a:pt x="0" y="62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79" name="Freeform 414">
                  <a:extLst>
                    <a:ext uri="{FF2B5EF4-FFF2-40B4-BE49-F238E27FC236}">
                      <a16:creationId xmlns:a16="http://schemas.microsoft.com/office/drawing/2014/main" id="{D3FA3475-B44E-4063-BE5A-02DF11DED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54" y="1729"/>
                  <a:ext cx="36" cy="20"/>
                </a:xfrm>
                <a:custGeom>
                  <a:avLst/>
                  <a:gdLst>
                    <a:gd name="T0" fmla="*/ 5 w 113"/>
                    <a:gd name="T1" fmla="*/ 0 h 62"/>
                    <a:gd name="T2" fmla="*/ 4 w 113"/>
                    <a:gd name="T3" fmla="*/ 1 h 62"/>
                    <a:gd name="T4" fmla="*/ 2 w 113"/>
                    <a:gd name="T5" fmla="*/ 2 h 62"/>
                    <a:gd name="T6" fmla="*/ 1 w 113"/>
                    <a:gd name="T7" fmla="*/ 3 h 62"/>
                    <a:gd name="T8" fmla="*/ 0 w 113"/>
                    <a:gd name="T9" fmla="*/ 4 h 62"/>
                    <a:gd name="T10" fmla="*/ 2 w 113"/>
                    <a:gd name="T11" fmla="*/ 5 h 62"/>
                    <a:gd name="T12" fmla="*/ 4 w 113"/>
                    <a:gd name="T13" fmla="*/ 5 h 62"/>
                    <a:gd name="T14" fmla="*/ 5 w 113"/>
                    <a:gd name="T15" fmla="*/ 6 h 62"/>
                    <a:gd name="T16" fmla="*/ 6 w 113"/>
                    <a:gd name="T17" fmla="*/ 6 h 62"/>
                    <a:gd name="T18" fmla="*/ 7 w 113"/>
                    <a:gd name="T19" fmla="*/ 6 h 62"/>
                    <a:gd name="T20" fmla="*/ 9 w 113"/>
                    <a:gd name="T21" fmla="*/ 6 h 62"/>
                    <a:gd name="T22" fmla="*/ 10 w 113"/>
                    <a:gd name="T23" fmla="*/ 6 h 62"/>
                    <a:gd name="T24" fmla="*/ 11 w 113"/>
                    <a:gd name="T25" fmla="*/ 6 h 62"/>
                    <a:gd name="T26" fmla="*/ 11 w 113"/>
                    <a:gd name="T27" fmla="*/ 6 h 62"/>
                    <a:gd name="T28" fmla="*/ 11 w 113"/>
                    <a:gd name="T29" fmla="*/ 5 h 62"/>
                    <a:gd name="T30" fmla="*/ 11 w 113"/>
                    <a:gd name="T31" fmla="*/ 5 h 62"/>
                    <a:gd name="T32" fmla="*/ 11 w 113"/>
                    <a:gd name="T33" fmla="*/ 5 h 62"/>
                    <a:gd name="T34" fmla="*/ 9 w 113"/>
                    <a:gd name="T35" fmla="*/ 4 h 62"/>
                    <a:gd name="T36" fmla="*/ 7 w 113"/>
                    <a:gd name="T37" fmla="*/ 3 h 62"/>
                    <a:gd name="T38" fmla="*/ 7 w 113"/>
                    <a:gd name="T39" fmla="*/ 3 h 62"/>
                    <a:gd name="T40" fmla="*/ 6 w 113"/>
                    <a:gd name="T41" fmla="*/ 3 h 62"/>
                    <a:gd name="T42" fmla="*/ 6 w 113"/>
                    <a:gd name="T43" fmla="*/ 2 h 62"/>
                    <a:gd name="T44" fmla="*/ 5 w 113"/>
                    <a:gd name="T45" fmla="*/ 2 h 62"/>
                    <a:gd name="T46" fmla="*/ 5 w 113"/>
                    <a:gd name="T47" fmla="*/ 2 h 62"/>
                    <a:gd name="T48" fmla="*/ 5 w 113"/>
                    <a:gd name="T49" fmla="*/ 1 h 62"/>
                    <a:gd name="T50" fmla="*/ 5 w 113"/>
                    <a:gd name="T51" fmla="*/ 1 h 62"/>
                    <a:gd name="T52" fmla="*/ 5 w 113"/>
                    <a:gd name="T53" fmla="*/ 0 h 62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</a:gdLst>
                  <a:ahLst/>
                  <a:cxnLst>
                    <a:cxn ang="T54">
                      <a:pos x="T0" y="T1"/>
                    </a:cxn>
                    <a:cxn ang="T55">
                      <a:pos x="T2" y="T3"/>
                    </a:cxn>
                    <a:cxn ang="T56">
                      <a:pos x="T4" y="T5"/>
                    </a:cxn>
                    <a:cxn ang="T57">
                      <a:pos x="T6" y="T7"/>
                    </a:cxn>
                    <a:cxn ang="T58">
                      <a:pos x="T8" y="T9"/>
                    </a:cxn>
                    <a:cxn ang="T59">
                      <a:pos x="T10" y="T11"/>
                    </a:cxn>
                    <a:cxn ang="T60">
                      <a:pos x="T12" y="T13"/>
                    </a:cxn>
                    <a:cxn ang="T61">
                      <a:pos x="T14" y="T15"/>
                    </a:cxn>
                    <a:cxn ang="T62">
                      <a:pos x="T16" y="T17"/>
                    </a:cxn>
                    <a:cxn ang="T63">
                      <a:pos x="T18" y="T19"/>
                    </a:cxn>
                    <a:cxn ang="T64">
                      <a:pos x="T20" y="T21"/>
                    </a:cxn>
                    <a:cxn ang="T65">
                      <a:pos x="T22" y="T23"/>
                    </a:cxn>
                    <a:cxn ang="T66">
                      <a:pos x="T24" y="T25"/>
                    </a:cxn>
                    <a:cxn ang="T67">
                      <a:pos x="T26" y="T27"/>
                    </a:cxn>
                    <a:cxn ang="T68">
                      <a:pos x="T28" y="T29"/>
                    </a:cxn>
                    <a:cxn ang="T69">
                      <a:pos x="T30" y="T31"/>
                    </a:cxn>
                    <a:cxn ang="T70">
                      <a:pos x="T32" y="T33"/>
                    </a:cxn>
                    <a:cxn ang="T71">
                      <a:pos x="T34" y="T35"/>
                    </a:cxn>
                    <a:cxn ang="T72">
                      <a:pos x="T36" y="T37"/>
                    </a:cxn>
                    <a:cxn ang="T73">
                      <a:pos x="T38" y="T39"/>
                    </a:cxn>
                    <a:cxn ang="T74">
                      <a:pos x="T40" y="T41"/>
                    </a:cxn>
                    <a:cxn ang="T75">
                      <a:pos x="T42" y="T43"/>
                    </a:cxn>
                    <a:cxn ang="T76">
                      <a:pos x="T44" y="T45"/>
                    </a:cxn>
                    <a:cxn ang="T77">
                      <a:pos x="T46" y="T47"/>
                    </a:cxn>
                    <a:cxn ang="T78">
                      <a:pos x="T48" y="T49"/>
                    </a:cxn>
                    <a:cxn ang="T79">
                      <a:pos x="T50" y="T51"/>
                    </a:cxn>
                    <a:cxn ang="T80">
                      <a:pos x="T52" y="T53"/>
                    </a:cxn>
                  </a:cxnLst>
                  <a:rect l="0" t="0" r="r" b="b"/>
                  <a:pathLst>
                    <a:path w="113" h="62">
                      <a:moveTo>
                        <a:pt x="47" y="0"/>
                      </a:moveTo>
                      <a:lnTo>
                        <a:pt x="36" y="7"/>
                      </a:lnTo>
                      <a:lnTo>
                        <a:pt x="23" y="17"/>
                      </a:lnTo>
                      <a:lnTo>
                        <a:pt x="11" y="27"/>
                      </a:lnTo>
                      <a:lnTo>
                        <a:pt x="0" y="37"/>
                      </a:lnTo>
                      <a:lnTo>
                        <a:pt x="22" y="46"/>
                      </a:lnTo>
                      <a:lnTo>
                        <a:pt x="41" y="54"/>
                      </a:lnTo>
                      <a:lnTo>
                        <a:pt x="51" y="57"/>
                      </a:lnTo>
                      <a:lnTo>
                        <a:pt x="62" y="59"/>
                      </a:lnTo>
                      <a:lnTo>
                        <a:pt x="73" y="61"/>
                      </a:lnTo>
                      <a:lnTo>
                        <a:pt x="87" y="62"/>
                      </a:lnTo>
                      <a:lnTo>
                        <a:pt x="97" y="61"/>
                      </a:lnTo>
                      <a:lnTo>
                        <a:pt x="106" y="58"/>
                      </a:lnTo>
                      <a:lnTo>
                        <a:pt x="109" y="56"/>
                      </a:lnTo>
                      <a:lnTo>
                        <a:pt x="111" y="54"/>
                      </a:lnTo>
                      <a:lnTo>
                        <a:pt x="113" y="52"/>
                      </a:lnTo>
                      <a:lnTo>
                        <a:pt x="113" y="49"/>
                      </a:lnTo>
                      <a:lnTo>
                        <a:pt x="91" y="41"/>
                      </a:lnTo>
                      <a:lnTo>
                        <a:pt x="70" y="32"/>
                      </a:lnTo>
                      <a:lnTo>
                        <a:pt x="65" y="29"/>
                      </a:lnTo>
                      <a:lnTo>
                        <a:pt x="61" y="26"/>
                      </a:lnTo>
                      <a:lnTo>
                        <a:pt x="57" y="23"/>
                      </a:lnTo>
                      <a:lnTo>
                        <a:pt x="54" y="20"/>
                      </a:lnTo>
                      <a:lnTo>
                        <a:pt x="51" y="16"/>
                      </a:lnTo>
                      <a:lnTo>
                        <a:pt x="48" y="10"/>
                      </a:lnTo>
                      <a:lnTo>
                        <a:pt x="47" y="5"/>
                      </a:lnTo>
                      <a:lnTo>
                        <a:pt x="47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0" name="Freeform 415">
                  <a:extLst>
                    <a:ext uri="{FF2B5EF4-FFF2-40B4-BE49-F238E27FC236}">
                      <a16:creationId xmlns:a16="http://schemas.microsoft.com/office/drawing/2014/main" id="{024D96AD-B5AC-4AAE-9953-FA2CB04774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48" y="1188"/>
                  <a:ext cx="29" cy="15"/>
                </a:xfrm>
                <a:custGeom>
                  <a:avLst/>
                  <a:gdLst>
                    <a:gd name="T0" fmla="*/ 0 w 93"/>
                    <a:gd name="T1" fmla="*/ 0 h 50"/>
                    <a:gd name="T2" fmla="*/ 2 w 93"/>
                    <a:gd name="T3" fmla="*/ 0 h 50"/>
                    <a:gd name="T4" fmla="*/ 3 w 93"/>
                    <a:gd name="T5" fmla="*/ 0 h 50"/>
                    <a:gd name="T6" fmla="*/ 4 w 93"/>
                    <a:gd name="T7" fmla="*/ 0 h 50"/>
                    <a:gd name="T8" fmla="*/ 6 w 93"/>
                    <a:gd name="T9" fmla="*/ 1 h 50"/>
                    <a:gd name="T10" fmla="*/ 6 w 93"/>
                    <a:gd name="T11" fmla="*/ 1 h 50"/>
                    <a:gd name="T12" fmla="*/ 7 w 93"/>
                    <a:gd name="T13" fmla="*/ 1 h 50"/>
                    <a:gd name="T14" fmla="*/ 7 w 93"/>
                    <a:gd name="T15" fmla="*/ 1 h 50"/>
                    <a:gd name="T16" fmla="*/ 8 w 93"/>
                    <a:gd name="T17" fmla="*/ 2 h 50"/>
                    <a:gd name="T18" fmla="*/ 8 w 93"/>
                    <a:gd name="T19" fmla="*/ 2 h 50"/>
                    <a:gd name="T20" fmla="*/ 9 w 93"/>
                    <a:gd name="T21" fmla="*/ 2 h 50"/>
                    <a:gd name="T22" fmla="*/ 9 w 93"/>
                    <a:gd name="T23" fmla="*/ 3 h 50"/>
                    <a:gd name="T24" fmla="*/ 9 w 93"/>
                    <a:gd name="T25" fmla="*/ 3 h 50"/>
                    <a:gd name="T26" fmla="*/ 8 w 93"/>
                    <a:gd name="T27" fmla="*/ 3 h 50"/>
                    <a:gd name="T28" fmla="*/ 7 w 93"/>
                    <a:gd name="T29" fmla="*/ 4 h 50"/>
                    <a:gd name="T30" fmla="*/ 6 w 93"/>
                    <a:gd name="T31" fmla="*/ 4 h 50"/>
                    <a:gd name="T32" fmla="*/ 5 w 93"/>
                    <a:gd name="T33" fmla="*/ 4 h 50"/>
                    <a:gd name="T34" fmla="*/ 4 w 93"/>
                    <a:gd name="T35" fmla="*/ 4 h 50"/>
                    <a:gd name="T36" fmla="*/ 3 w 93"/>
                    <a:gd name="T37" fmla="*/ 5 h 50"/>
                    <a:gd name="T38" fmla="*/ 3 w 93"/>
                    <a:gd name="T39" fmla="*/ 5 h 50"/>
                    <a:gd name="T40" fmla="*/ 3 w 93"/>
                    <a:gd name="T41" fmla="*/ 4 h 50"/>
                    <a:gd name="T42" fmla="*/ 2 w 93"/>
                    <a:gd name="T43" fmla="*/ 4 h 50"/>
                    <a:gd name="T44" fmla="*/ 2 w 93"/>
                    <a:gd name="T45" fmla="*/ 4 h 50"/>
                    <a:gd name="T46" fmla="*/ 2 w 93"/>
                    <a:gd name="T47" fmla="*/ 4 h 50"/>
                    <a:gd name="T48" fmla="*/ 2 w 93"/>
                    <a:gd name="T49" fmla="*/ 3 h 50"/>
                    <a:gd name="T50" fmla="*/ 2 w 93"/>
                    <a:gd name="T51" fmla="*/ 3 h 50"/>
                    <a:gd name="T52" fmla="*/ 2 w 93"/>
                    <a:gd name="T53" fmla="*/ 2 h 50"/>
                    <a:gd name="T54" fmla="*/ 2 w 93"/>
                    <a:gd name="T55" fmla="*/ 2 h 50"/>
                    <a:gd name="T56" fmla="*/ 2 w 93"/>
                    <a:gd name="T57" fmla="*/ 2 h 50"/>
                    <a:gd name="T58" fmla="*/ 0 w 93"/>
                    <a:gd name="T59" fmla="*/ 2 h 50"/>
                    <a:gd name="T60" fmla="*/ 0 w 93"/>
                    <a:gd name="T61" fmla="*/ 0 h 50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</a:gdLst>
                  <a:ahLst/>
                  <a:cxnLst>
                    <a:cxn ang="T62">
                      <a:pos x="T0" y="T1"/>
                    </a:cxn>
                    <a:cxn ang="T63">
                      <a:pos x="T2" y="T3"/>
                    </a:cxn>
                    <a:cxn ang="T64">
                      <a:pos x="T4" y="T5"/>
                    </a:cxn>
                    <a:cxn ang="T65">
                      <a:pos x="T6" y="T7"/>
                    </a:cxn>
                    <a:cxn ang="T66">
                      <a:pos x="T8" y="T9"/>
                    </a:cxn>
                    <a:cxn ang="T67">
                      <a:pos x="T10" y="T11"/>
                    </a:cxn>
                    <a:cxn ang="T68">
                      <a:pos x="T12" y="T13"/>
                    </a:cxn>
                    <a:cxn ang="T69">
                      <a:pos x="T14" y="T15"/>
                    </a:cxn>
                    <a:cxn ang="T70">
                      <a:pos x="T16" y="T17"/>
                    </a:cxn>
                    <a:cxn ang="T71">
                      <a:pos x="T18" y="T19"/>
                    </a:cxn>
                    <a:cxn ang="T72">
                      <a:pos x="T20" y="T21"/>
                    </a:cxn>
                    <a:cxn ang="T73">
                      <a:pos x="T22" y="T23"/>
                    </a:cxn>
                    <a:cxn ang="T74">
                      <a:pos x="T24" y="T25"/>
                    </a:cxn>
                    <a:cxn ang="T75">
                      <a:pos x="T26" y="T27"/>
                    </a:cxn>
                    <a:cxn ang="T76">
                      <a:pos x="T28" y="T29"/>
                    </a:cxn>
                    <a:cxn ang="T77">
                      <a:pos x="T30" y="T31"/>
                    </a:cxn>
                    <a:cxn ang="T78">
                      <a:pos x="T32" y="T33"/>
                    </a:cxn>
                    <a:cxn ang="T79">
                      <a:pos x="T34" y="T35"/>
                    </a:cxn>
                    <a:cxn ang="T80">
                      <a:pos x="T36" y="T37"/>
                    </a:cxn>
                    <a:cxn ang="T81">
                      <a:pos x="T38" y="T39"/>
                    </a:cxn>
                    <a:cxn ang="T82">
                      <a:pos x="T40" y="T41"/>
                    </a:cxn>
                    <a:cxn ang="T83">
                      <a:pos x="T42" y="T43"/>
                    </a:cxn>
                    <a:cxn ang="T84">
                      <a:pos x="T44" y="T45"/>
                    </a:cxn>
                    <a:cxn ang="T85">
                      <a:pos x="T46" y="T47"/>
                    </a:cxn>
                    <a:cxn ang="T86">
                      <a:pos x="T48" y="T49"/>
                    </a:cxn>
                    <a:cxn ang="T87">
                      <a:pos x="T50" y="T51"/>
                    </a:cxn>
                    <a:cxn ang="T88">
                      <a:pos x="T52" y="T53"/>
                    </a:cxn>
                    <a:cxn ang="T89">
                      <a:pos x="T54" y="T55"/>
                    </a:cxn>
                    <a:cxn ang="T90">
                      <a:pos x="T56" y="T57"/>
                    </a:cxn>
                    <a:cxn ang="T91">
                      <a:pos x="T58" y="T59"/>
                    </a:cxn>
                    <a:cxn ang="T92">
                      <a:pos x="T60" y="T61"/>
                    </a:cxn>
                  </a:cxnLst>
                  <a:rect l="0" t="0" r="r" b="b"/>
                  <a:pathLst>
                    <a:path w="93" h="50">
                      <a:moveTo>
                        <a:pt x="0" y="0"/>
                      </a:moveTo>
                      <a:lnTo>
                        <a:pt x="15" y="0"/>
                      </a:lnTo>
                      <a:lnTo>
                        <a:pt x="30" y="1"/>
                      </a:lnTo>
                      <a:lnTo>
                        <a:pt x="45" y="2"/>
                      </a:lnTo>
                      <a:lnTo>
                        <a:pt x="59" y="5"/>
                      </a:lnTo>
                      <a:lnTo>
                        <a:pt x="64" y="7"/>
                      </a:lnTo>
                      <a:lnTo>
                        <a:pt x="71" y="9"/>
                      </a:lnTo>
                      <a:lnTo>
                        <a:pt x="75" y="12"/>
                      </a:lnTo>
                      <a:lnTo>
                        <a:pt x="81" y="16"/>
                      </a:lnTo>
                      <a:lnTo>
                        <a:pt x="85" y="20"/>
                      </a:lnTo>
                      <a:lnTo>
                        <a:pt x="89" y="25"/>
                      </a:lnTo>
                      <a:lnTo>
                        <a:pt x="91" y="30"/>
                      </a:lnTo>
                      <a:lnTo>
                        <a:pt x="93" y="37"/>
                      </a:lnTo>
                      <a:lnTo>
                        <a:pt x="79" y="37"/>
                      </a:lnTo>
                      <a:lnTo>
                        <a:pt x="68" y="39"/>
                      </a:lnTo>
                      <a:lnTo>
                        <a:pt x="60" y="41"/>
                      </a:lnTo>
                      <a:lnTo>
                        <a:pt x="52" y="43"/>
                      </a:lnTo>
                      <a:lnTo>
                        <a:pt x="42" y="47"/>
                      </a:lnTo>
                      <a:lnTo>
                        <a:pt x="33" y="50"/>
                      </a:lnTo>
                      <a:lnTo>
                        <a:pt x="30" y="50"/>
                      </a:lnTo>
                      <a:lnTo>
                        <a:pt x="28" y="48"/>
                      </a:lnTo>
                      <a:lnTo>
                        <a:pt x="26" y="47"/>
                      </a:lnTo>
                      <a:lnTo>
                        <a:pt x="25" y="45"/>
                      </a:lnTo>
                      <a:lnTo>
                        <a:pt x="23" y="41"/>
                      </a:lnTo>
                      <a:lnTo>
                        <a:pt x="22" y="36"/>
                      </a:lnTo>
                      <a:lnTo>
                        <a:pt x="22" y="31"/>
                      </a:lnTo>
                      <a:lnTo>
                        <a:pt x="23" y="26"/>
                      </a:lnTo>
                      <a:lnTo>
                        <a:pt x="24" y="22"/>
                      </a:lnTo>
                      <a:lnTo>
                        <a:pt x="26" y="19"/>
                      </a:lnTo>
                      <a:lnTo>
                        <a:pt x="0" y="19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1" name="Freeform 416">
                  <a:extLst>
                    <a:ext uri="{FF2B5EF4-FFF2-40B4-BE49-F238E27FC236}">
                      <a16:creationId xmlns:a16="http://schemas.microsoft.com/office/drawing/2014/main" id="{40978DDB-F7FD-4860-BEBB-B4EE61BFC98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36" y="1246"/>
                  <a:ext cx="331" cy="200"/>
                </a:xfrm>
                <a:custGeom>
                  <a:avLst/>
                  <a:gdLst>
                    <a:gd name="T0" fmla="*/ 2 w 1029"/>
                    <a:gd name="T1" fmla="*/ 12 h 604"/>
                    <a:gd name="T2" fmla="*/ 7 w 1029"/>
                    <a:gd name="T3" fmla="*/ 7 h 604"/>
                    <a:gd name="T4" fmla="*/ 28 w 1029"/>
                    <a:gd name="T5" fmla="*/ 0 h 604"/>
                    <a:gd name="T6" fmla="*/ 21 w 1029"/>
                    <a:gd name="T7" fmla="*/ 5 h 604"/>
                    <a:gd name="T8" fmla="*/ 19 w 1029"/>
                    <a:gd name="T9" fmla="*/ 11 h 604"/>
                    <a:gd name="T10" fmla="*/ 28 w 1029"/>
                    <a:gd name="T11" fmla="*/ 7 h 604"/>
                    <a:gd name="T12" fmla="*/ 41 w 1029"/>
                    <a:gd name="T13" fmla="*/ 2 h 604"/>
                    <a:gd name="T14" fmla="*/ 45 w 1029"/>
                    <a:gd name="T15" fmla="*/ 3 h 604"/>
                    <a:gd name="T16" fmla="*/ 45 w 1029"/>
                    <a:gd name="T17" fmla="*/ 8 h 604"/>
                    <a:gd name="T18" fmla="*/ 60 w 1029"/>
                    <a:gd name="T19" fmla="*/ 9 h 604"/>
                    <a:gd name="T20" fmla="*/ 70 w 1029"/>
                    <a:gd name="T21" fmla="*/ 10 h 604"/>
                    <a:gd name="T22" fmla="*/ 78 w 1029"/>
                    <a:gd name="T23" fmla="*/ 12 h 604"/>
                    <a:gd name="T24" fmla="*/ 78 w 1029"/>
                    <a:gd name="T25" fmla="*/ 14 h 604"/>
                    <a:gd name="T26" fmla="*/ 74 w 1029"/>
                    <a:gd name="T27" fmla="*/ 20 h 604"/>
                    <a:gd name="T28" fmla="*/ 83 w 1029"/>
                    <a:gd name="T29" fmla="*/ 18 h 604"/>
                    <a:gd name="T30" fmla="*/ 90 w 1029"/>
                    <a:gd name="T31" fmla="*/ 21 h 604"/>
                    <a:gd name="T32" fmla="*/ 88 w 1029"/>
                    <a:gd name="T33" fmla="*/ 26 h 604"/>
                    <a:gd name="T34" fmla="*/ 81 w 1029"/>
                    <a:gd name="T35" fmla="*/ 27 h 604"/>
                    <a:gd name="T36" fmla="*/ 89 w 1029"/>
                    <a:gd name="T37" fmla="*/ 30 h 604"/>
                    <a:gd name="T38" fmla="*/ 93 w 1029"/>
                    <a:gd name="T39" fmla="*/ 35 h 604"/>
                    <a:gd name="T40" fmla="*/ 101 w 1029"/>
                    <a:gd name="T41" fmla="*/ 35 h 604"/>
                    <a:gd name="T42" fmla="*/ 106 w 1029"/>
                    <a:gd name="T43" fmla="*/ 38 h 604"/>
                    <a:gd name="T44" fmla="*/ 97 w 1029"/>
                    <a:gd name="T45" fmla="*/ 44 h 604"/>
                    <a:gd name="T46" fmla="*/ 93 w 1029"/>
                    <a:gd name="T47" fmla="*/ 45 h 604"/>
                    <a:gd name="T48" fmla="*/ 90 w 1029"/>
                    <a:gd name="T49" fmla="*/ 48 h 604"/>
                    <a:gd name="T50" fmla="*/ 86 w 1029"/>
                    <a:gd name="T51" fmla="*/ 45 h 604"/>
                    <a:gd name="T52" fmla="*/ 88 w 1029"/>
                    <a:gd name="T53" fmla="*/ 42 h 604"/>
                    <a:gd name="T54" fmla="*/ 82 w 1029"/>
                    <a:gd name="T55" fmla="*/ 41 h 604"/>
                    <a:gd name="T56" fmla="*/ 78 w 1029"/>
                    <a:gd name="T57" fmla="*/ 39 h 604"/>
                    <a:gd name="T58" fmla="*/ 77 w 1029"/>
                    <a:gd name="T59" fmla="*/ 42 h 604"/>
                    <a:gd name="T60" fmla="*/ 77 w 1029"/>
                    <a:gd name="T61" fmla="*/ 48 h 604"/>
                    <a:gd name="T62" fmla="*/ 82 w 1029"/>
                    <a:gd name="T63" fmla="*/ 56 h 604"/>
                    <a:gd name="T64" fmla="*/ 80 w 1029"/>
                    <a:gd name="T65" fmla="*/ 59 h 604"/>
                    <a:gd name="T66" fmla="*/ 73 w 1029"/>
                    <a:gd name="T67" fmla="*/ 60 h 604"/>
                    <a:gd name="T68" fmla="*/ 64 w 1029"/>
                    <a:gd name="T69" fmla="*/ 55 h 604"/>
                    <a:gd name="T70" fmla="*/ 69 w 1029"/>
                    <a:gd name="T71" fmla="*/ 61 h 604"/>
                    <a:gd name="T72" fmla="*/ 69 w 1029"/>
                    <a:gd name="T73" fmla="*/ 65 h 604"/>
                    <a:gd name="T74" fmla="*/ 54 w 1029"/>
                    <a:gd name="T75" fmla="*/ 61 h 604"/>
                    <a:gd name="T76" fmla="*/ 49 w 1029"/>
                    <a:gd name="T77" fmla="*/ 56 h 604"/>
                    <a:gd name="T78" fmla="*/ 42 w 1029"/>
                    <a:gd name="T79" fmla="*/ 51 h 604"/>
                    <a:gd name="T80" fmla="*/ 38 w 1029"/>
                    <a:gd name="T81" fmla="*/ 49 h 604"/>
                    <a:gd name="T82" fmla="*/ 41 w 1029"/>
                    <a:gd name="T83" fmla="*/ 47 h 604"/>
                    <a:gd name="T84" fmla="*/ 48 w 1029"/>
                    <a:gd name="T85" fmla="*/ 43 h 604"/>
                    <a:gd name="T86" fmla="*/ 52 w 1029"/>
                    <a:gd name="T87" fmla="*/ 41 h 604"/>
                    <a:gd name="T88" fmla="*/ 60 w 1029"/>
                    <a:gd name="T89" fmla="*/ 41 h 604"/>
                    <a:gd name="T90" fmla="*/ 64 w 1029"/>
                    <a:gd name="T91" fmla="*/ 42 h 604"/>
                    <a:gd name="T92" fmla="*/ 71 w 1029"/>
                    <a:gd name="T93" fmla="*/ 42 h 604"/>
                    <a:gd name="T94" fmla="*/ 60 w 1029"/>
                    <a:gd name="T95" fmla="*/ 38 h 604"/>
                    <a:gd name="T96" fmla="*/ 56 w 1029"/>
                    <a:gd name="T97" fmla="*/ 39 h 604"/>
                    <a:gd name="T98" fmla="*/ 56 w 1029"/>
                    <a:gd name="T99" fmla="*/ 38 h 604"/>
                    <a:gd name="T100" fmla="*/ 60 w 1029"/>
                    <a:gd name="T101" fmla="*/ 33 h 604"/>
                    <a:gd name="T102" fmla="*/ 60 w 1029"/>
                    <a:gd name="T103" fmla="*/ 30 h 604"/>
                    <a:gd name="T104" fmla="*/ 54 w 1029"/>
                    <a:gd name="T105" fmla="*/ 27 h 604"/>
                    <a:gd name="T106" fmla="*/ 49 w 1029"/>
                    <a:gd name="T107" fmla="*/ 21 h 604"/>
                    <a:gd name="T108" fmla="*/ 45 w 1029"/>
                    <a:gd name="T109" fmla="*/ 18 h 604"/>
                    <a:gd name="T110" fmla="*/ 42 w 1029"/>
                    <a:gd name="T111" fmla="*/ 17 h 604"/>
                    <a:gd name="T112" fmla="*/ 39 w 1029"/>
                    <a:gd name="T113" fmla="*/ 22 h 604"/>
                    <a:gd name="T114" fmla="*/ 22 w 1029"/>
                    <a:gd name="T115" fmla="*/ 19 h 604"/>
                    <a:gd name="T116" fmla="*/ 12 w 1029"/>
                    <a:gd name="T117" fmla="*/ 20 h 604"/>
                    <a:gd name="T118" fmla="*/ 8 w 1029"/>
                    <a:gd name="T119" fmla="*/ 20 h 604"/>
                    <a:gd name="T120" fmla="*/ 2 w 1029"/>
                    <a:gd name="T121" fmla="*/ 19 h 604"/>
                    <a:gd name="T122" fmla="*/ 1 w 1029"/>
                    <a:gd name="T123" fmla="*/ 17 h 604"/>
                    <a:gd name="T124" fmla="*/ 8 w 1029"/>
                    <a:gd name="T125" fmla="*/ 16 h 60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1029" h="604">
                      <a:moveTo>
                        <a:pt x="73" y="129"/>
                      </a:moveTo>
                      <a:lnTo>
                        <a:pt x="34" y="129"/>
                      </a:lnTo>
                      <a:lnTo>
                        <a:pt x="28" y="128"/>
                      </a:lnTo>
                      <a:lnTo>
                        <a:pt x="24" y="125"/>
                      </a:lnTo>
                      <a:lnTo>
                        <a:pt x="22" y="121"/>
                      </a:lnTo>
                      <a:lnTo>
                        <a:pt x="20" y="117"/>
                      </a:lnTo>
                      <a:lnTo>
                        <a:pt x="20" y="112"/>
                      </a:lnTo>
                      <a:lnTo>
                        <a:pt x="22" y="107"/>
                      </a:lnTo>
                      <a:lnTo>
                        <a:pt x="24" y="102"/>
                      </a:lnTo>
                      <a:lnTo>
                        <a:pt x="26" y="97"/>
                      </a:lnTo>
                      <a:lnTo>
                        <a:pt x="34" y="87"/>
                      </a:lnTo>
                      <a:lnTo>
                        <a:pt x="42" y="77"/>
                      </a:lnTo>
                      <a:lnTo>
                        <a:pt x="54" y="69"/>
                      </a:lnTo>
                      <a:lnTo>
                        <a:pt x="67" y="60"/>
                      </a:lnTo>
                      <a:lnTo>
                        <a:pt x="81" y="52"/>
                      </a:lnTo>
                      <a:lnTo>
                        <a:pt x="96" y="45"/>
                      </a:lnTo>
                      <a:lnTo>
                        <a:pt x="128" y="30"/>
                      </a:lnTo>
                      <a:lnTo>
                        <a:pt x="160" y="18"/>
                      </a:lnTo>
                      <a:lnTo>
                        <a:pt x="190" y="8"/>
                      </a:lnTo>
                      <a:lnTo>
                        <a:pt x="213" y="0"/>
                      </a:lnTo>
                      <a:lnTo>
                        <a:pt x="266" y="0"/>
                      </a:lnTo>
                      <a:lnTo>
                        <a:pt x="264" y="7"/>
                      </a:lnTo>
                      <a:lnTo>
                        <a:pt x="260" y="14"/>
                      </a:lnTo>
                      <a:lnTo>
                        <a:pt x="255" y="19"/>
                      </a:lnTo>
                      <a:lnTo>
                        <a:pt x="250" y="24"/>
                      </a:lnTo>
                      <a:lnTo>
                        <a:pt x="236" y="32"/>
                      </a:lnTo>
                      <a:lnTo>
                        <a:pt x="220" y="40"/>
                      </a:lnTo>
                      <a:lnTo>
                        <a:pt x="205" y="47"/>
                      </a:lnTo>
                      <a:lnTo>
                        <a:pt x="192" y="55"/>
                      </a:lnTo>
                      <a:lnTo>
                        <a:pt x="187" y="60"/>
                      </a:lnTo>
                      <a:lnTo>
                        <a:pt x="183" y="66"/>
                      </a:lnTo>
                      <a:lnTo>
                        <a:pt x="181" y="72"/>
                      </a:lnTo>
                      <a:lnTo>
                        <a:pt x="180" y="80"/>
                      </a:lnTo>
                      <a:lnTo>
                        <a:pt x="180" y="95"/>
                      </a:lnTo>
                      <a:lnTo>
                        <a:pt x="180" y="105"/>
                      </a:lnTo>
                      <a:lnTo>
                        <a:pt x="198" y="104"/>
                      </a:lnTo>
                      <a:lnTo>
                        <a:pt x="216" y="101"/>
                      </a:lnTo>
                      <a:lnTo>
                        <a:pt x="233" y="97"/>
                      </a:lnTo>
                      <a:lnTo>
                        <a:pt x="252" y="93"/>
                      </a:lnTo>
                      <a:lnTo>
                        <a:pt x="252" y="82"/>
                      </a:lnTo>
                      <a:lnTo>
                        <a:pt x="252" y="67"/>
                      </a:lnTo>
                      <a:lnTo>
                        <a:pt x="274" y="60"/>
                      </a:lnTo>
                      <a:lnTo>
                        <a:pt x="295" y="51"/>
                      </a:lnTo>
                      <a:lnTo>
                        <a:pt x="316" y="42"/>
                      </a:lnTo>
                      <a:lnTo>
                        <a:pt x="336" y="32"/>
                      </a:lnTo>
                      <a:lnTo>
                        <a:pt x="355" y="24"/>
                      </a:lnTo>
                      <a:lnTo>
                        <a:pt x="376" y="18"/>
                      </a:lnTo>
                      <a:lnTo>
                        <a:pt x="386" y="15"/>
                      </a:lnTo>
                      <a:lnTo>
                        <a:pt x="397" y="14"/>
                      </a:lnTo>
                      <a:lnTo>
                        <a:pt x="408" y="12"/>
                      </a:lnTo>
                      <a:lnTo>
                        <a:pt x="419" y="12"/>
                      </a:lnTo>
                      <a:lnTo>
                        <a:pt x="422" y="12"/>
                      </a:lnTo>
                      <a:lnTo>
                        <a:pt x="426" y="14"/>
                      </a:lnTo>
                      <a:lnTo>
                        <a:pt x="429" y="15"/>
                      </a:lnTo>
                      <a:lnTo>
                        <a:pt x="432" y="18"/>
                      </a:lnTo>
                      <a:lnTo>
                        <a:pt x="438" y="23"/>
                      </a:lnTo>
                      <a:lnTo>
                        <a:pt x="443" y="30"/>
                      </a:lnTo>
                      <a:lnTo>
                        <a:pt x="450" y="44"/>
                      </a:lnTo>
                      <a:lnTo>
                        <a:pt x="452" y="49"/>
                      </a:lnTo>
                      <a:lnTo>
                        <a:pt x="443" y="57"/>
                      </a:lnTo>
                      <a:lnTo>
                        <a:pt x="437" y="64"/>
                      </a:lnTo>
                      <a:lnTo>
                        <a:pt x="434" y="68"/>
                      </a:lnTo>
                      <a:lnTo>
                        <a:pt x="433" y="71"/>
                      </a:lnTo>
                      <a:lnTo>
                        <a:pt x="432" y="75"/>
                      </a:lnTo>
                      <a:lnTo>
                        <a:pt x="432" y="80"/>
                      </a:lnTo>
                      <a:lnTo>
                        <a:pt x="467" y="80"/>
                      </a:lnTo>
                      <a:lnTo>
                        <a:pt x="504" y="80"/>
                      </a:lnTo>
                      <a:lnTo>
                        <a:pt x="536" y="80"/>
                      </a:lnTo>
                      <a:lnTo>
                        <a:pt x="565" y="80"/>
                      </a:lnTo>
                      <a:lnTo>
                        <a:pt x="581" y="80"/>
                      </a:lnTo>
                      <a:lnTo>
                        <a:pt x="601" y="83"/>
                      </a:lnTo>
                      <a:lnTo>
                        <a:pt x="621" y="85"/>
                      </a:lnTo>
                      <a:lnTo>
                        <a:pt x="637" y="86"/>
                      </a:lnTo>
                      <a:lnTo>
                        <a:pt x="648" y="86"/>
                      </a:lnTo>
                      <a:lnTo>
                        <a:pt x="658" y="87"/>
                      </a:lnTo>
                      <a:lnTo>
                        <a:pt x="667" y="88"/>
                      </a:lnTo>
                      <a:lnTo>
                        <a:pt x="675" y="89"/>
                      </a:lnTo>
                      <a:lnTo>
                        <a:pt x="690" y="94"/>
                      </a:lnTo>
                      <a:lnTo>
                        <a:pt x="702" y="99"/>
                      </a:lnTo>
                      <a:lnTo>
                        <a:pt x="715" y="103"/>
                      </a:lnTo>
                      <a:lnTo>
                        <a:pt x="728" y="107"/>
                      </a:lnTo>
                      <a:lnTo>
                        <a:pt x="734" y="109"/>
                      </a:lnTo>
                      <a:lnTo>
                        <a:pt x="742" y="110"/>
                      </a:lnTo>
                      <a:lnTo>
                        <a:pt x="749" y="111"/>
                      </a:lnTo>
                      <a:lnTo>
                        <a:pt x="757" y="111"/>
                      </a:lnTo>
                      <a:lnTo>
                        <a:pt x="753" y="115"/>
                      </a:lnTo>
                      <a:lnTo>
                        <a:pt x="751" y="119"/>
                      </a:lnTo>
                      <a:lnTo>
                        <a:pt x="748" y="122"/>
                      </a:lnTo>
                      <a:lnTo>
                        <a:pt x="747" y="125"/>
                      </a:lnTo>
                      <a:lnTo>
                        <a:pt x="747" y="130"/>
                      </a:lnTo>
                      <a:lnTo>
                        <a:pt x="749" y="134"/>
                      </a:lnTo>
                      <a:lnTo>
                        <a:pt x="752" y="138"/>
                      </a:lnTo>
                      <a:lnTo>
                        <a:pt x="754" y="142"/>
                      </a:lnTo>
                      <a:lnTo>
                        <a:pt x="754" y="145"/>
                      </a:lnTo>
                      <a:lnTo>
                        <a:pt x="754" y="147"/>
                      </a:lnTo>
                      <a:lnTo>
                        <a:pt x="753" y="151"/>
                      </a:lnTo>
                      <a:lnTo>
                        <a:pt x="751" y="154"/>
                      </a:lnTo>
                      <a:lnTo>
                        <a:pt x="711" y="184"/>
                      </a:lnTo>
                      <a:lnTo>
                        <a:pt x="728" y="179"/>
                      </a:lnTo>
                      <a:lnTo>
                        <a:pt x="746" y="172"/>
                      </a:lnTo>
                      <a:lnTo>
                        <a:pt x="764" y="166"/>
                      </a:lnTo>
                      <a:lnTo>
                        <a:pt x="777" y="160"/>
                      </a:lnTo>
                      <a:lnTo>
                        <a:pt x="798" y="160"/>
                      </a:lnTo>
                      <a:lnTo>
                        <a:pt x="797" y="164"/>
                      </a:lnTo>
                      <a:lnTo>
                        <a:pt x="799" y="168"/>
                      </a:lnTo>
                      <a:lnTo>
                        <a:pt x="802" y="172"/>
                      </a:lnTo>
                      <a:lnTo>
                        <a:pt x="807" y="174"/>
                      </a:lnTo>
                      <a:lnTo>
                        <a:pt x="820" y="179"/>
                      </a:lnTo>
                      <a:lnTo>
                        <a:pt x="834" y="183"/>
                      </a:lnTo>
                      <a:lnTo>
                        <a:pt x="848" y="186"/>
                      </a:lnTo>
                      <a:lnTo>
                        <a:pt x="860" y="189"/>
                      </a:lnTo>
                      <a:lnTo>
                        <a:pt x="866" y="191"/>
                      </a:lnTo>
                      <a:lnTo>
                        <a:pt x="869" y="192"/>
                      </a:lnTo>
                      <a:lnTo>
                        <a:pt x="870" y="194"/>
                      </a:lnTo>
                      <a:lnTo>
                        <a:pt x="870" y="196"/>
                      </a:lnTo>
                      <a:lnTo>
                        <a:pt x="864" y="234"/>
                      </a:lnTo>
                      <a:lnTo>
                        <a:pt x="863" y="236"/>
                      </a:lnTo>
                      <a:lnTo>
                        <a:pt x="860" y="238"/>
                      </a:lnTo>
                      <a:lnTo>
                        <a:pt x="856" y="239"/>
                      </a:lnTo>
                      <a:lnTo>
                        <a:pt x="852" y="240"/>
                      </a:lnTo>
                      <a:lnTo>
                        <a:pt x="838" y="242"/>
                      </a:lnTo>
                      <a:lnTo>
                        <a:pt x="824" y="243"/>
                      </a:lnTo>
                      <a:lnTo>
                        <a:pt x="809" y="244"/>
                      </a:lnTo>
                      <a:lnTo>
                        <a:pt x="797" y="246"/>
                      </a:lnTo>
                      <a:lnTo>
                        <a:pt x="791" y="247"/>
                      </a:lnTo>
                      <a:lnTo>
                        <a:pt x="788" y="248"/>
                      </a:lnTo>
                      <a:lnTo>
                        <a:pt x="785" y="250"/>
                      </a:lnTo>
                      <a:lnTo>
                        <a:pt x="784" y="252"/>
                      </a:lnTo>
                      <a:lnTo>
                        <a:pt x="799" y="262"/>
                      </a:lnTo>
                      <a:lnTo>
                        <a:pt x="813" y="269"/>
                      </a:lnTo>
                      <a:lnTo>
                        <a:pt x="827" y="275"/>
                      </a:lnTo>
                      <a:lnTo>
                        <a:pt x="843" y="280"/>
                      </a:lnTo>
                      <a:lnTo>
                        <a:pt x="859" y="284"/>
                      </a:lnTo>
                      <a:lnTo>
                        <a:pt x="877" y="287"/>
                      </a:lnTo>
                      <a:lnTo>
                        <a:pt x="896" y="289"/>
                      </a:lnTo>
                      <a:lnTo>
                        <a:pt x="916" y="289"/>
                      </a:lnTo>
                      <a:lnTo>
                        <a:pt x="915" y="298"/>
                      </a:lnTo>
                      <a:lnTo>
                        <a:pt x="913" y="307"/>
                      </a:lnTo>
                      <a:lnTo>
                        <a:pt x="909" y="317"/>
                      </a:lnTo>
                      <a:lnTo>
                        <a:pt x="903" y="327"/>
                      </a:lnTo>
                      <a:lnTo>
                        <a:pt x="914" y="330"/>
                      </a:lnTo>
                      <a:lnTo>
                        <a:pt x="925" y="333"/>
                      </a:lnTo>
                      <a:lnTo>
                        <a:pt x="937" y="333"/>
                      </a:lnTo>
                      <a:lnTo>
                        <a:pt x="948" y="333"/>
                      </a:lnTo>
                      <a:lnTo>
                        <a:pt x="959" y="332"/>
                      </a:lnTo>
                      <a:lnTo>
                        <a:pt x="969" y="331"/>
                      </a:lnTo>
                      <a:lnTo>
                        <a:pt x="977" y="329"/>
                      </a:lnTo>
                      <a:lnTo>
                        <a:pt x="983" y="327"/>
                      </a:lnTo>
                      <a:lnTo>
                        <a:pt x="987" y="333"/>
                      </a:lnTo>
                      <a:lnTo>
                        <a:pt x="991" y="337"/>
                      </a:lnTo>
                      <a:lnTo>
                        <a:pt x="995" y="341"/>
                      </a:lnTo>
                      <a:lnTo>
                        <a:pt x="1002" y="343"/>
                      </a:lnTo>
                      <a:lnTo>
                        <a:pt x="1015" y="347"/>
                      </a:lnTo>
                      <a:lnTo>
                        <a:pt x="1029" y="351"/>
                      </a:lnTo>
                      <a:lnTo>
                        <a:pt x="1012" y="360"/>
                      </a:lnTo>
                      <a:lnTo>
                        <a:pt x="997" y="371"/>
                      </a:lnTo>
                      <a:lnTo>
                        <a:pt x="983" y="382"/>
                      </a:lnTo>
                      <a:lnTo>
                        <a:pt x="971" y="391"/>
                      </a:lnTo>
                      <a:lnTo>
                        <a:pt x="959" y="400"/>
                      </a:lnTo>
                      <a:lnTo>
                        <a:pt x="947" y="406"/>
                      </a:lnTo>
                      <a:lnTo>
                        <a:pt x="939" y="409"/>
                      </a:lnTo>
                      <a:lnTo>
                        <a:pt x="933" y="411"/>
                      </a:lnTo>
                      <a:lnTo>
                        <a:pt x="925" y="412"/>
                      </a:lnTo>
                      <a:lnTo>
                        <a:pt x="916" y="412"/>
                      </a:lnTo>
                      <a:lnTo>
                        <a:pt x="911" y="413"/>
                      </a:lnTo>
                      <a:lnTo>
                        <a:pt x="907" y="414"/>
                      </a:lnTo>
                      <a:lnTo>
                        <a:pt x="902" y="415"/>
                      </a:lnTo>
                      <a:lnTo>
                        <a:pt x="899" y="417"/>
                      </a:lnTo>
                      <a:lnTo>
                        <a:pt x="893" y="422"/>
                      </a:lnTo>
                      <a:lnTo>
                        <a:pt x="889" y="428"/>
                      </a:lnTo>
                      <a:lnTo>
                        <a:pt x="885" y="434"/>
                      </a:lnTo>
                      <a:lnTo>
                        <a:pt x="881" y="439"/>
                      </a:lnTo>
                      <a:lnTo>
                        <a:pt x="879" y="441"/>
                      </a:lnTo>
                      <a:lnTo>
                        <a:pt x="877" y="442"/>
                      </a:lnTo>
                      <a:lnTo>
                        <a:pt x="874" y="443"/>
                      </a:lnTo>
                      <a:lnTo>
                        <a:pt x="870" y="444"/>
                      </a:lnTo>
                      <a:lnTo>
                        <a:pt x="865" y="442"/>
                      </a:lnTo>
                      <a:lnTo>
                        <a:pt x="857" y="439"/>
                      </a:lnTo>
                      <a:lnTo>
                        <a:pt x="849" y="435"/>
                      </a:lnTo>
                      <a:lnTo>
                        <a:pt x="842" y="429"/>
                      </a:lnTo>
                      <a:lnTo>
                        <a:pt x="835" y="422"/>
                      </a:lnTo>
                      <a:lnTo>
                        <a:pt x="830" y="414"/>
                      </a:lnTo>
                      <a:lnTo>
                        <a:pt x="827" y="411"/>
                      </a:lnTo>
                      <a:lnTo>
                        <a:pt x="825" y="407"/>
                      </a:lnTo>
                      <a:lnTo>
                        <a:pt x="824" y="404"/>
                      </a:lnTo>
                      <a:lnTo>
                        <a:pt x="824" y="400"/>
                      </a:lnTo>
                      <a:lnTo>
                        <a:pt x="840" y="400"/>
                      </a:lnTo>
                      <a:lnTo>
                        <a:pt x="851" y="400"/>
                      </a:lnTo>
                      <a:lnTo>
                        <a:pt x="851" y="393"/>
                      </a:lnTo>
                      <a:lnTo>
                        <a:pt x="851" y="382"/>
                      </a:lnTo>
                      <a:lnTo>
                        <a:pt x="837" y="382"/>
                      </a:lnTo>
                      <a:lnTo>
                        <a:pt x="827" y="382"/>
                      </a:lnTo>
                      <a:lnTo>
                        <a:pt x="816" y="382"/>
                      </a:lnTo>
                      <a:lnTo>
                        <a:pt x="804" y="382"/>
                      </a:lnTo>
                      <a:lnTo>
                        <a:pt x="798" y="381"/>
                      </a:lnTo>
                      <a:lnTo>
                        <a:pt x="792" y="379"/>
                      </a:lnTo>
                      <a:lnTo>
                        <a:pt x="788" y="376"/>
                      </a:lnTo>
                      <a:lnTo>
                        <a:pt x="784" y="373"/>
                      </a:lnTo>
                      <a:lnTo>
                        <a:pt x="780" y="369"/>
                      </a:lnTo>
                      <a:lnTo>
                        <a:pt x="776" y="366"/>
                      </a:lnTo>
                      <a:lnTo>
                        <a:pt x="770" y="364"/>
                      </a:lnTo>
                      <a:lnTo>
                        <a:pt x="764" y="363"/>
                      </a:lnTo>
                      <a:lnTo>
                        <a:pt x="759" y="364"/>
                      </a:lnTo>
                      <a:lnTo>
                        <a:pt x="755" y="366"/>
                      </a:lnTo>
                      <a:lnTo>
                        <a:pt x="752" y="369"/>
                      </a:lnTo>
                      <a:lnTo>
                        <a:pt x="749" y="374"/>
                      </a:lnTo>
                      <a:lnTo>
                        <a:pt x="747" y="379"/>
                      </a:lnTo>
                      <a:lnTo>
                        <a:pt x="745" y="384"/>
                      </a:lnTo>
                      <a:lnTo>
                        <a:pt x="744" y="389"/>
                      </a:lnTo>
                      <a:lnTo>
                        <a:pt x="744" y="394"/>
                      </a:lnTo>
                      <a:lnTo>
                        <a:pt x="711" y="394"/>
                      </a:lnTo>
                      <a:lnTo>
                        <a:pt x="711" y="412"/>
                      </a:lnTo>
                      <a:lnTo>
                        <a:pt x="715" y="414"/>
                      </a:lnTo>
                      <a:lnTo>
                        <a:pt x="720" y="418"/>
                      </a:lnTo>
                      <a:lnTo>
                        <a:pt x="726" y="423"/>
                      </a:lnTo>
                      <a:lnTo>
                        <a:pt x="733" y="430"/>
                      </a:lnTo>
                      <a:lnTo>
                        <a:pt x="747" y="445"/>
                      </a:lnTo>
                      <a:lnTo>
                        <a:pt x="762" y="462"/>
                      </a:lnTo>
                      <a:lnTo>
                        <a:pt x="775" y="478"/>
                      </a:lnTo>
                      <a:lnTo>
                        <a:pt x="787" y="494"/>
                      </a:lnTo>
                      <a:lnTo>
                        <a:pt x="795" y="505"/>
                      </a:lnTo>
                      <a:lnTo>
                        <a:pt x="798" y="511"/>
                      </a:lnTo>
                      <a:lnTo>
                        <a:pt x="797" y="517"/>
                      </a:lnTo>
                      <a:lnTo>
                        <a:pt x="795" y="523"/>
                      </a:lnTo>
                      <a:lnTo>
                        <a:pt x="795" y="527"/>
                      </a:lnTo>
                      <a:lnTo>
                        <a:pt x="795" y="530"/>
                      </a:lnTo>
                      <a:lnTo>
                        <a:pt x="796" y="533"/>
                      </a:lnTo>
                      <a:lnTo>
                        <a:pt x="798" y="535"/>
                      </a:lnTo>
                      <a:lnTo>
                        <a:pt x="788" y="539"/>
                      </a:lnTo>
                      <a:lnTo>
                        <a:pt x="779" y="543"/>
                      </a:lnTo>
                      <a:lnTo>
                        <a:pt x="771" y="547"/>
                      </a:lnTo>
                      <a:lnTo>
                        <a:pt x="765" y="551"/>
                      </a:lnTo>
                      <a:lnTo>
                        <a:pt x="758" y="554"/>
                      </a:lnTo>
                      <a:lnTo>
                        <a:pt x="752" y="558"/>
                      </a:lnTo>
                      <a:lnTo>
                        <a:pt x="745" y="560"/>
                      </a:lnTo>
                      <a:lnTo>
                        <a:pt x="737" y="560"/>
                      </a:lnTo>
                      <a:lnTo>
                        <a:pt x="723" y="559"/>
                      </a:lnTo>
                      <a:lnTo>
                        <a:pt x="708" y="556"/>
                      </a:lnTo>
                      <a:lnTo>
                        <a:pt x="695" y="552"/>
                      </a:lnTo>
                      <a:lnTo>
                        <a:pt x="681" y="546"/>
                      </a:lnTo>
                      <a:lnTo>
                        <a:pt x="669" y="540"/>
                      </a:lnTo>
                      <a:lnTo>
                        <a:pt x="659" y="531"/>
                      </a:lnTo>
                      <a:lnTo>
                        <a:pt x="651" y="524"/>
                      </a:lnTo>
                      <a:lnTo>
                        <a:pt x="644" y="517"/>
                      </a:lnTo>
                      <a:lnTo>
                        <a:pt x="618" y="517"/>
                      </a:lnTo>
                      <a:lnTo>
                        <a:pt x="621" y="525"/>
                      </a:lnTo>
                      <a:lnTo>
                        <a:pt x="624" y="531"/>
                      </a:lnTo>
                      <a:lnTo>
                        <a:pt x="629" y="538"/>
                      </a:lnTo>
                      <a:lnTo>
                        <a:pt x="634" y="543"/>
                      </a:lnTo>
                      <a:lnTo>
                        <a:pt x="645" y="552"/>
                      </a:lnTo>
                      <a:lnTo>
                        <a:pt x="657" y="560"/>
                      </a:lnTo>
                      <a:lnTo>
                        <a:pt x="668" y="567"/>
                      </a:lnTo>
                      <a:lnTo>
                        <a:pt x="678" y="575"/>
                      </a:lnTo>
                      <a:lnTo>
                        <a:pt x="683" y="580"/>
                      </a:lnTo>
                      <a:lnTo>
                        <a:pt x="687" y="585"/>
                      </a:lnTo>
                      <a:lnTo>
                        <a:pt x="689" y="590"/>
                      </a:lnTo>
                      <a:lnTo>
                        <a:pt x="691" y="598"/>
                      </a:lnTo>
                      <a:lnTo>
                        <a:pt x="678" y="601"/>
                      </a:lnTo>
                      <a:lnTo>
                        <a:pt x="665" y="604"/>
                      </a:lnTo>
                      <a:lnTo>
                        <a:pt x="644" y="603"/>
                      </a:lnTo>
                      <a:lnTo>
                        <a:pt x="618" y="599"/>
                      </a:lnTo>
                      <a:lnTo>
                        <a:pt x="589" y="592"/>
                      </a:lnTo>
                      <a:lnTo>
                        <a:pt x="558" y="584"/>
                      </a:lnTo>
                      <a:lnTo>
                        <a:pt x="544" y="580"/>
                      </a:lnTo>
                      <a:lnTo>
                        <a:pt x="531" y="575"/>
                      </a:lnTo>
                      <a:lnTo>
                        <a:pt x="518" y="570"/>
                      </a:lnTo>
                      <a:lnTo>
                        <a:pt x="507" y="565"/>
                      </a:lnTo>
                      <a:lnTo>
                        <a:pt x="497" y="559"/>
                      </a:lnTo>
                      <a:lnTo>
                        <a:pt x="488" y="554"/>
                      </a:lnTo>
                      <a:lnTo>
                        <a:pt x="483" y="548"/>
                      </a:lnTo>
                      <a:lnTo>
                        <a:pt x="478" y="542"/>
                      </a:lnTo>
                      <a:lnTo>
                        <a:pt x="475" y="532"/>
                      </a:lnTo>
                      <a:lnTo>
                        <a:pt x="471" y="523"/>
                      </a:lnTo>
                      <a:lnTo>
                        <a:pt x="464" y="513"/>
                      </a:lnTo>
                      <a:lnTo>
                        <a:pt x="457" y="504"/>
                      </a:lnTo>
                      <a:lnTo>
                        <a:pt x="451" y="496"/>
                      </a:lnTo>
                      <a:lnTo>
                        <a:pt x="444" y="489"/>
                      </a:lnTo>
                      <a:lnTo>
                        <a:pt x="438" y="484"/>
                      </a:lnTo>
                      <a:lnTo>
                        <a:pt x="432" y="480"/>
                      </a:lnTo>
                      <a:lnTo>
                        <a:pt x="410" y="473"/>
                      </a:lnTo>
                      <a:lnTo>
                        <a:pt x="388" y="468"/>
                      </a:lnTo>
                      <a:lnTo>
                        <a:pt x="384" y="467"/>
                      </a:lnTo>
                      <a:lnTo>
                        <a:pt x="379" y="465"/>
                      </a:lnTo>
                      <a:lnTo>
                        <a:pt x="375" y="463"/>
                      </a:lnTo>
                      <a:lnTo>
                        <a:pt x="372" y="460"/>
                      </a:lnTo>
                      <a:lnTo>
                        <a:pt x="370" y="457"/>
                      </a:lnTo>
                      <a:lnTo>
                        <a:pt x="367" y="453"/>
                      </a:lnTo>
                      <a:lnTo>
                        <a:pt x="366" y="449"/>
                      </a:lnTo>
                      <a:lnTo>
                        <a:pt x="365" y="444"/>
                      </a:lnTo>
                      <a:lnTo>
                        <a:pt x="366" y="441"/>
                      </a:lnTo>
                      <a:lnTo>
                        <a:pt x="368" y="439"/>
                      </a:lnTo>
                      <a:lnTo>
                        <a:pt x="373" y="437"/>
                      </a:lnTo>
                      <a:lnTo>
                        <a:pt x="378" y="436"/>
                      </a:lnTo>
                      <a:lnTo>
                        <a:pt x="392" y="433"/>
                      </a:lnTo>
                      <a:lnTo>
                        <a:pt x="406" y="430"/>
                      </a:lnTo>
                      <a:lnTo>
                        <a:pt x="435" y="427"/>
                      </a:lnTo>
                      <a:lnTo>
                        <a:pt x="452" y="424"/>
                      </a:lnTo>
                      <a:lnTo>
                        <a:pt x="452" y="416"/>
                      </a:lnTo>
                      <a:lnTo>
                        <a:pt x="454" y="409"/>
                      </a:lnTo>
                      <a:lnTo>
                        <a:pt x="456" y="404"/>
                      </a:lnTo>
                      <a:lnTo>
                        <a:pt x="459" y="399"/>
                      </a:lnTo>
                      <a:lnTo>
                        <a:pt x="461" y="394"/>
                      </a:lnTo>
                      <a:lnTo>
                        <a:pt x="463" y="390"/>
                      </a:lnTo>
                      <a:lnTo>
                        <a:pt x="465" y="386"/>
                      </a:lnTo>
                      <a:lnTo>
                        <a:pt x="465" y="382"/>
                      </a:lnTo>
                      <a:lnTo>
                        <a:pt x="479" y="382"/>
                      </a:lnTo>
                      <a:lnTo>
                        <a:pt x="490" y="380"/>
                      </a:lnTo>
                      <a:lnTo>
                        <a:pt x="500" y="378"/>
                      </a:lnTo>
                      <a:lnTo>
                        <a:pt x="508" y="375"/>
                      </a:lnTo>
                      <a:lnTo>
                        <a:pt x="521" y="368"/>
                      </a:lnTo>
                      <a:lnTo>
                        <a:pt x="532" y="363"/>
                      </a:lnTo>
                      <a:lnTo>
                        <a:pt x="572" y="363"/>
                      </a:lnTo>
                      <a:lnTo>
                        <a:pt x="573" y="369"/>
                      </a:lnTo>
                      <a:lnTo>
                        <a:pt x="575" y="376"/>
                      </a:lnTo>
                      <a:lnTo>
                        <a:pt x="577" y="380"/>
                      </a:lnTo>
                      <a:lnTo>
                        <a:pt x="580" y="384"/>
                      </a:lnTo>
                      <a:lnTo>
                        <a:pt x="583" y="387"/>
                      </a:lnTo>
                      <a:lnTo>
                        <a:pt x="587" y="389"/>
                      </a:lnTo>
                      <a:lnTo>
                        <a:pt x="590" y="391"/>
                      </a:lnTo>
                      <a:lnTo>
                        <a:pt x="595" y="393"/>
                      </a:lnTo>
                      <a:lnTo>
                        <a:pt x="603" y="394"/>
                      </a:lnTo>
                      <a:lnTo>
                        <a:pt x="614" y="395"/>
                      </a:lnTo>
                      <a:lnTo>
                        <a:pt x="625" y="394"/>
                      </a:lnTo>
                      <a:lnTo>
                        <a:pt x="637" y="394"/>
                      </a:lnTo>
                      <a:lnTo>
                        <a:pt x="650" y="394"/>
                      </a:lnTo>
                      <a:lnTo>
                        <a:pt x="659" y="393"/>
                      </a:lnTo>
                      <a:lnTo>
                        <a:pt x="668" y="392"/>
                      </a:lnTo>
                      <a:lnTo>
                        <a:pt x="675" y="390"/>
                      </a:lnTo>
                      <a:lnTo>
                        <a:pt x="687" y="387"/>
                      </a:lnTo>
                      <a:lnTo>
                        <a:pt x="698" y="382"/>
                      </a:lnTo>
                      <a:lnTo>
                        <a:pt x="698" y="373"/>
                      </a:lnTo>
                      <a:lnTo>
                        <a:pt x="698" y="363"/>
                      </a:lnTo>
                      <a:lnTo>
                        <a:pt x="605" y="351"/>
                      </a:lnTo>
                      <a:lnTo>
                        <a:pt x="596" y="351"/>
                      </a:lnTo>
                      <a:lnTo>
                        <a:pt x="588" y="353"/>
                      </a:lnTo>
                      <a:lnTo>
                        <a:pt x="581" y="355"/>
                      </a:lnTo>
                      <a:lnTo>
                        <a:pt x="576" y="357"/>
                      </a:lnTo>
                      <a:lnTo>
                        <a:pt x="572" y="359"/>
                      </a:lnTo>
                      <a:lnTo>
                        <a:pt x="567" y="361"/>
                      </a:lnTo>
                      <a:lnTo>
                        <a:pt x="563" y="362"/>
                      </a:lnTo>
                      <a:lnTo>
                        <a:pt x="558" y="363"/>
                      </a:lnTo>
                      <a:lnTo>
                        <a:pt x="550" y="362"/>
                      </a:lnTo>
                      <a:lnTo>
                        <a:pt x="542" y="361"/>
                      </a:lnTo>
                      <a:lnTo>
                        <a:pt x="540" y="360"/>
                      </a:lnTo>
                      <a:lnTo>
                        <a:pt x="536" y="360"/>
                      </a:lnTo>
                      <a:lnTo>
                        <a:pt x="534" y="361"/>
                      </a:lnTo>
                      <a:lnTo>
                        <a:pt x="532" y="363"/>
                      </a:lnTo>
                      <a:lnTo>
                        <a:pt x="533" y="358"/>
                      </a:lnTo>
                      <a:lnTo>
                        <a:pt x="535" y="354"/>
                      </a:lnTo>
                      <a:lnTo>
                        <a:pt x="539" y="350"/>
                      </a:lnTo>
                      <a:lnTo>
                        <a:pt x="542" y="347"/>
                      </a:lnTo>
                      <a:lnTo>
                        <a:pt x="550" y="339"/>
                      </a:lnTo>
                      <a:lnTo>
                        <a:pt x="557" y="332"/>
                      </a:lnTo>
                      <a:lnTo>
                        <a:pt x="565" y="324"/>
                      </a:lnTo>
                      <a:lnTo>
                        <a:pt x="572" y="316"/>
                      </a:lnTo>
                      <a:lnTo>
                        <a:pt x="574" y="311"/>
                      </a:lnTo>
                      <a:lnTo>
                        <a:pt x="576" y="306"/>
                      </a:lnTo>
                      <a:lnTo>
                        <a:pt x="577" y="301"/>
                      </a:lnTo>
                      <a:lnTo>
                        <a:pt x="578" y="295"/>
                      </a:lnTo>
                      <a:lnTo>
                        <a:pt x="577" y="290"/>
                      </a:lnTo>
                      <a:lnTo>
                        <a:pt x="576" y="283"/>
                      </a:lnTo>
                      <a:lnTo>
                        <a:pt x="575" y="280"/>
                      </a:lnTo>
                      <a:lnTo>
                        <a:pt x="575" y="277"/>
                      </a:lnTo>
                      <a:lnTo>
                        <a:pt x="576" y="274"/>
                      </a:lnTo>
                      <a:lnTo>
                        <a:pt x="578" y="271"/>
                      </a:lnTo>
                      <a:lnTo>
                        <a:pt x="568" y="271"/>
                      </a:lnTo>
                      <a:lnTo>
                        <a:pt x="558" y="269"/>
                      </a:lnTo>
                      <a:lnTo>
                        <a:pt x="550" y="267"/>
                      </a:lnTo>
                      <a:lnTo>
                        <a:pt x="541" y="263"/>
                      </a:lnTo>
                      <a:lnTo>
                        <a:pt x="533" y="258"/>
                      </a:lnTo>
                      <a:lnTo>
                        <a:pt x="524" y="254"/>
                      </a:lnTo>
                      <a:lnTo>
                        <a:pt x="518" y="248"/>
                      </a:lnTo>
                      <a:lnTo>
                        <a:pt x="511" y="243"/>
                      </a:lnTo>
                      <a:lnTo>
                        <a:pt x="499" y="231"/>
                      </a:lnTo>
                      <a:lnTo>
                        <a:pt x="489" y="219"/>
                      </a:lnTo>
                      <a:lnTo>
                        <a:pt x="483" y="208"/>
                      </a:lnTo>
                      <a:lnTo>
                        <a:pt x="478" y="196"/>
                      </a:lnTo>
                      <a:lnTo>
                        <a:pt x="473" y="198"/>
                      </a:lnTo>
                      <a:lnTo>
                        <a:pt x="467" y="198"/>
                      </a:lnTo>
                      <a:lnTo>
                        <a:pt x="463" y="198"/>
                      </a:lnTo>
                      <a:lnTo>
                        <a:pt x="459" y="196"/>
                      </a:lnTo>
                      <a:lnTo>
                        <a:pt x="452" y="190"/>
                      </a:lnTo>
                      <a:lnTo>
                        <a:pt x="446" y="183"/>
                      </a:lnTo>
                      <a:lnTo>
                        <a:pt x="441" y="175"/>
                      </a:lnTo>
                      <a:lnTo>
                        <a:pt x="434" y="168"/>
                      </a:lnTo>
                      <a:lnTo>
                        <a:pt x="431" y="165"/>
                      </a:lnTo>
                      <a:lnTo>
                        <a:pt x="428" y="162"/>
                      </a:lnTo>
                      <a:lnTo>
                        <a:pt x="423" y="161"/>
                      </a:lnTo>
                      <a:lnTo>
                        <a:pt x="419" y="160"/>
                      </a:lnTo>
                      <a:lnTo>
                        <a:pt x="415" y="161"/>
                      </a:lnTo>
                      <a:lnTo>
                        <a:pt x="411" y="162"/>
                      </a:lnTo>
                      <a:lnTo>
                        <a:pt x="408" y="163"/>
                      </a:lnTo>
                      <a:lnTo>
                        <a:pt x="404" y="165"/>
                      </a:lnTo>
                      <a:lnTo>
                        <a:pt x="397" y="170"/>
                      </a:lnTo>
                      <a:lnTo>
                        <a:pt x="392" y="177"/>
                      </a:lnTo>
                      <a:lnTo>
                        <a:pt x="386" y="184"/>
                      </a:lnTo>
                      <a:lnTo>
                        <a:pt x="382" y="191"/>
                      </a:lnTo>
                      <a:lnTo>
                        <a:pt x="379" y="197"/>
                      </a:lnTo>
                      <a:lnTo>
                        <a:pt x="378" y="203"/>
                      </a:lnTo>
                      <a:lnTo>
                        <a:pt x="339" y="203"/>
                      </a:lnTo>
                      <a:lnTo>
                        <a:pt x="317" y="194"/>
                      </a:lnTo>
                      <a:lnTo>
                        <a:pt x="295" y="188"/>
                      </a:lnTo>
                      <a:lnTo>
                        <a:pt x="273" y="182"/>
                      </a:lnTo>
                      <a:lnTo>
                        <a:pt x="252" y="178"/>
                      </a:lnTo>
                      <a:lnTo>
                        <a:pt x="230" y="176"/>
                      </a:lnTo>
                      <a:lnTo>
                        <a:pt x="207" y="174"/>
                      </a:lnTo>
                      <a:lnTo>
                        <a:pt x="184" y="173"/>
                      </a:lnTo>
                      <a:lnTo>
                        <a:pt x="160" y="172"/>
                      </a:lnTo>
                      <a:lnTo>
                        <a:pt x="148" y="173"/>
                      </a:lnTo>
                      <a:lnTo>
                        <a:pt x="138" y="176"/>
                      </a:lnTo>
                      <a:lnTo>
                        <a:pt x="129" y="180"/>
                      </a:lnTo>
                      <a:lnTo>
                        <a:pt x="121" y="184"/>
                      </a:lnTo>
                      <a:lnTo>
                        <a:pt x="114" y="189"/>
                      </a:lnTo>
                      <a:lnTo>
                        <a:pt x="107" y="193"/>
                      </a:lnTo>
                      <a:lnTo>
                        <a:pt x="101" y="195"/>
                      </a:lnTo>
                      <a:lnTo>
                        <a:pt x="93" y="196"/>
                      </a:lnTo>
                      <a:lnTo>
                        <a:pt x="88" y="196"/>
                      </a:lnTo>
                      <a:lnTo>
                        <a:pt x="84" y="194"/>
                      </a:lnTo>
                      <a:lnTo>
                        <a:pt x="81" y="190"/>
                      </a:lnTo>
                      <a:lnTo>
                        <a:pt x="79" y="187"/>
                      </a:lnTo>
                      <a:lnTo>
                        <a:pt x="74" y="179"/>
                      </a:lnTo>
                      <a:lnTo>
                        <a:pt x="73" y="172"/>
                      </a:lnTo>
                      <a:lnTo>
                        <a:pt x="50" y="177"/>
                      </a:lnTo>
                      <a:lnTo>
                        <a:pt x="29" y="181"/>
                      </a:lnTo>
                      <a:lnTo>
                        <a:pt x="25" y="181"/>
                      </a:lnTo>
                      <a:lnTo>
                        <a:pt x="20" y="180"/>
                      </a:lnTo>
                      <a:lnTo>
                        <a:pt x="16" y="180"/>
                      </a:lnTo>
                      <a:lnTo>
                        <a:pt x="13" y="178"/>
                      </a:lnTo>
                      <a:lnTo>
                        <a:pt x="8" y="176"/>
                      </a:lnTo>
                      <a:lnTo>
                        <a:pt x="6" y="174"/>
                      </a:lnTo>
                      <a:lnTo>
                        <a:pt x="3" y="170"/>
                      </a:lnTo>
                      <a:lnTo>
                        <a:pt x="0" y="166"/>
                      </a:lnTo>
                      <a:lnTo>
                        <a:pt x="4" y="162"/>
                      </a:lnTo>
                      <a:lnTo>
                        <a:pt x="9" y="158"/>
                      </a:lnTo>
                      <a:lnTo>
                        <a:pt x="14" y="155"/>
                      </a:lnTo>
                      <a:lnTo>
                        <a:pt x="20" y="152"/>
                      </a:lnTo>
                      <a:lnTo>
                        <a:pt x="32" y="149"/>
                      </a:lnTo>
                      <a:lnTo>
                        <a:pt x="46" y="146"/>
                      </a:lnTo>
                      <a:lnTo>
                        <a:pt x="59" y="145"/>
                      </a:lnTo>
                      <a:lnTo>
                        <a:pt x="70" y="147"/>
                      </a:lnTo>
                      <a:lnTo>
                        <a:pt x="75" y="149"/>
                      </a:lnTo>
                      <a:lnTo>
                        <a:pt x="80" y="150"/>
                      </a:lnTo>
                      <a:lnTo>
                        <a:pt x="83" y="152"/>
                      </a:lnTo>
                      <a:lnTo>
                        <a:pt x="86" y="154"/>
                      </a:lnTo>
                      <a:lnTo>
                        <a:pt x="86" y="139"/>
                      </a:lnTo>
                      <a:lnTo>
                        <a:pt x="86" y="129"/>
                      </a:lnTo>
                      <a:lnTo>
                        <a:pt x="73" y="129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2" name="Freeform 417">
                  <a:extLst>
                    <a:ext uri="{FF2B5EF4-FFF2-40B4-BE49-F238E27FC236}">
                      <a16:creationId xmlns:a16="http://schemas.microsoft.com/office/drawing/2014/main" id="{C0974422-9060-4D8F-9335-BC3E69609C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" y="1110"/>
                  <a:ext cx="406" cy="105"/>
                </a:xfrm>
                <a:custGeom>
                  <a:avLst/>
                  <a:gdLst>
                    <a:gd name="T0" fmla="*/ 83 w 1268"/>
                    <a:gd name="T1" fmla="*/ 4 h 321"/>
                    <a:gd name="T2" fmla="*/ 85 w 1268"/>
                    <a:gd name="T3" fmla="*/ 2 h 321"/>
                    <a:gd name="T4" fmla="*/ 88 w 1268"/>
                    <a:gd name="T5" fmla="*/ 1 h 321"/>
                    <a:gd name="T6" fmla="*/ 90 w 1268"/>
                    <a:gd name="T7" fmla="*/ 3 h 321"/>
                    <a:gd name="T8" fmla="*/ 98 w 1268"/>
                    <a:gd name="T9" fmla="*/ 2 h 321"/>
                    <a:gd name="T10" fmla="*/ 106 w 1268"/>
                    <a:gd name="T11" fmla="*/ 0 h 321"/>
                    <a:gd name="T12" fmla="*/ 113 w 1268"/>
                    <a:gd name="T13" fmla="*/ 2 h 321"/>
                    <a:gd name="T14" fmla="*/ 118 w 1268"/>
                    <a:gd name="T15" fmla="*/ 2 h 321"/>
                    <a:gd name="T16" fmla="*/ 132 w 1268"/>
                    <a:gd name="T17" fmla="*/ 3 h 321"/>
                    <a:gd name="T18" fmla="*/ 129 w 1268"/>
                    <a:gd name="T19" fmla="*/ 5 h 321"/>
                    <a:gd name="T20" fmla="*/ 121 w 1268"/>
                    <a:gd name="T21" fmla="*/ 7 h 321"/>
                    <a:gd name="T22" fmla="*/ 110 w 1268"/>
                    <a:gd name="T23" fmla="*/ 8 h 321"/>
                    <a:gd name="T24" fmla="*/ 107 w 1268"/>
                    <a:gd name="T25" fmla="*/ 10 h 321"/>
                    <a:gd name="T26" fmla="*/ 104 w 1268"/>
                    <a:gd name="T27" fmla="*/ 11 h 321"/>
                    <a:gd name="T28" fmla="*/ 98 w 1268"/>
                    <a:gd name="T29" fmla="*/ 11 h 321"/>
                    <a:gd name="T30" fmla="*/ 97 w 1268"/>
                    <a:gd name="T31" fmla="*/ 13 h 321"/>
                    <a:gd name="T32" fmla="*/ 78 w 1268"/>
                    <a:gd name="T33" fmla="*/ 14 h 321"/>
                    <a:gd name="T34" fmla="*/ 69 w 1268"/>
                    <a:gd name="T35" fmla="*/ 17 h 321"/>
                    <a:gd name="T36" fmla="*/ 66 w 1268"/>
                    <a:gd name="T37" fmla="*/ 19 h 321"/>
                    <a:gd name="T38" fmla="*/ 62 w 1268"/>
                    <a:gd name="T39" fmla="*/ 18 h 321"/>
                    <a:gd name="T40" fmla="*/ 59 w 1268"/>
                    <a:gd name="T41" fmla="*/ 19 h 321"/>
                    <a:gd name="T42" fmla="*/ 61 w 1268"/>
                    <a:gd name="T43" fmla="*/ 22 h 321"/>
                    <a:gd name="T44" fmla="*/ 57 w 1268"/>
                    <a:gd name="T45" fmla="*/ 26 h 321"/>
                    <a:gd name="T46" fmla="*/ 50 w 1268"/>
                    <a:gd name="T47" fmla="*/ 25 h 321"/>
                    <a:gd name="T48" fmla="*/ 42 w 1268"/>
                    <a:gd name="T49" fmla="*/ 26 h 321"/>
                    <a:gd name="T50" fmla="*/ 42 w 1268"/>
                    <a:gd name="T51" fmla="*/ 27 h 321"/>
                    <a:gd name="T52" fmla="*/ 41 w 1268"/>
                    <a:gd name="T53" fmla="*/ 31 h 321"/>
                    <a:gd name="T54" fmla="*/ 35 w 1268"/>
                    <a:gd name="T55" fmla="*/ 34 h 321"/>
                    <a:gd name="T56" fmla="*/ 30 w 1268"/>
                    <a:gd name="T57" fmla="*/ 32 h 321"/>
                    <a:gd name="T58" fmla="*/ 26 w 1268"/>
                    <a:gd name="T59" fmla="*/ 30 h 321"/>
                    <a:gd name="T60" fmla="*/ 10 w 1268"/>
                    <a:gd name="T61" fmla="*/ 29 h 321"/>
                    <a:gd name="T62" fmla="*/ 0 w 1268"/>
                    <a:gd name="T63" fmla="*/ 30 h 321"/>
                    <a:gd name="T64" fmla="*/ 1 w 1268"/>
                    <a:gd name="T65" fmla="*/ 28 h 321"/>
                    <a:gd name="T66" fmla="*/ 6 w 1268"/>
                    <a:gd name="T67" fmla="*/ 26 h 321"/>
                    <a:gd name="T68" fmla="*/ 15 w 1268"/>
                    <a:gd name="T69" fmla="*/ 25 h 321"/>
                    <a:gd name="T70" fmla="*/ 18 w 1268"/>
                    <a:gd name="T71" fmla="*/ 24 h 321"/>
                    <a:gd name="T72" fmla="*/ 20 w 1268"/>
                    <a:gd name="T73" fmla="*/ 23 h 321"/>
                    <a:gd name="T74" fmla="*/ 23 w 1268"/>
                    <a:gd name="T75" fmla="*/ 25 h 321"/>
                    <a:gd name="T76" fmla="*/ 26 w 1268"/>
                    <a:gd name="T77" fmla="*/ 26 h 321"/>
                    <a:gd name="T78" fmla="*/ 22 w 1268"/>
                    <a:gd name="T79" fmla="*/ 22 h 321"/>
                    <a:gd name="T80" fmla="*/ 20 w 1268"/>
                    <a:gd name="T81" fmla="*/ 21 h 321"/>
                    <a:gd name="T82" fmla="*/ 21 w 1268"/>
                    <a:gd name="T83" fmla="*/ 19 h 321"/>
                    <a:gd name="T84" fmla="*/ 25 w 1268"/>
                    <a:gd name="T85" fmla="*/ 19 h 321"/>
                    <a:gd name="T86" fmla="*/ 38 w 1268"/>
                    <a:gd name="T87" fmla="*/ 20 h 321"/>
                    <a:gd name="T88" fmla="*/ 44 w 1268"/>
                    <a:gd name="T89" fmla="*/ 19 h 321"/>
                    <a:gd name="T90" fmla="*/ 34 w 1268"/>
                    <a:gd name="T91" fmla="*/ 18 h 321"/>
                    <a:gd name="T92" fmla="*/ 31 w 1268"/>
                    <a:gd name="T93" fmla="*/ 16 h 321"/>
                    <a:gd name="T94" fmla="*/ 39 w 1268"/>
                    <a:gd name="T95" fmla="*/ 15 h 321"/>
                    <a:gd name="T96" fmla="*/ 45 w 1268"/>
                    <a:gd name="T97" fmla="*/ 17 h 321"/>
                    <a:gd name="T98" fmla="*/ 50 w 1268"/>
                    <a:gd name="T99" fmla="*/ 13 h 321"/>
                    <a:gd name="T100" fmla="*/ 69 w 1268"/>
                    <a:gd name="T101" fmla="*/ 9 h 321"/>
                    <a:gd name="T102" fmla="*/ 61 w 1268"/>
                    <a:gd name="T103" fmla="*/ 12 h 321"/>
                    <a:gd name="T104" fmla="*/ 47 w 1268"/>
                    <a:gd name="T105" fmla="*/ 12 h 321"/>
                    <a:gd name="T106" fmla="*/ 33 w 1268"/>
                    <a:gd name="T107" fmla="*/ 12 h 321"/>
                    <a:gd name="T108" fmla="*/ 26 w 1268"/>
                    <a:gd name="T109" fmla="*/ 11 h 321"/>
                    <a:gd name="T110" fmla="*/ 23 w 1268"/>
                    <a:gd name="T111" fmla="*/ 9 h 321"/>
                    <a:gd name="T112" fmla="*/ 26 w 1268"/>
                    <a:gd name="T113" fmla="*/ 8 h 321"/>
                    <a:gd name="T114" fmla="*/ 46 w 1268"/>
                    <a:gd name="T115" fmla="*/ 5 h 321"/>
                    <a:gd name="T116" fmla="*/ 64 w 1268"/>
                    <a:gd name="T117" fmla="*/ 3 h 321"/>
                    <a:gd name="T118" fmla="*/ 70 w 1268"/>
                    <a:gd name="T119" fmla="*/ 2 h 321"/>
                    <a:gd name="T120" fmla="*/ 79 w 1268"/>
                    <a:gd name="T121" fmla="*/ 3 h 321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0" t="0" r="r" b="b"/>
                  <a:pathLst>
                    <a:path w="1268" h="321">
                      <a:moveTo>
                        <a:pt x="764" y="26"/>
                      </a:moveTo>
                      <a:lnTo>
                        <a:pt x="770" y="30"/>
                      </a:lnTo>
                      <a:lnTo>
                        <a:pt x="778" y="34"/>
                      </a:lnTo>
                      <a:lnTo>
                        <a:pt x="787" y="37"/>
                      </a:lnTo>
                      <a:lnTo>
                        <a:pt x="797" y="38"/>
                      </a:lnTo>
                      <a:lnTo>
                        <a:pt x="797" y="35"/>
                      </a:lnTo>
                      <a:lnTo>
                        <a:pt x="799" y="31"/>
                      </a:lnTo>
                      <a:lnTo>
                        <a:pt x="803" y="26"/>
                      </a:lnTo>
                      <a:lnTo>
                        <a:pt x="807" y="20"/>
                      </a:lnTo>
                      <a:lnTo>
                        <a:pt x="813" y="16"/>
                      </a:lnTo>
                      <a:lnTo>
                        <a:pt x="819" y="11"/>
                      </a:lnTo>
                      <a:lnTo>
                        <a:pt x="828" y="9"/>
                      </a:lnTo>
                      <a:lnTo>
                        <a:pt x="837" y="8"/>
                      </a:lnTo>
                      <a:lnTo>
                        <a:pt x="841" y="8"/>
                      </a:lnTo>
                      <a:lnTo>
                        <a:pt x="846" y="10"/>
                      </a:lnTo>
                      <a:lnTo>
                        <a:pt x="850" y="13"/>
                      </a:lnTo>
                      <a:lnTo>
                        <a:pt x="853" y="17"/>
                      </a:lnTo>
                      <a:lnTo>
                        <a:pt x="858" y="20"/>
                      </a:lnTo>
                      <a:lnTo>
                        <a:pt x="861" y="23"/>
                      </a:lnTo>
                      <a:lnTo>
                        <a:pt x="865" y="25"/>
                      </a:lnTo>
                      <a:lnTo>
                        <a:pt x="870" y="26"/>
                      </a:lnTo>
                      <a:lnTo>
                        <a:pt x="888" y="25"/>
                      </a:lnTo>
                      <a:lnTo>
                        <a:pt x="906" y="22"/>
                      </a:lnTo>
                      <a:lnTo>
                        <a:pt x="921" y="18"/>
                      </a:lnTo>
                      <a:lnTo>
                        <a:pt x="938" y="14"/>
                      </a:lnTo>
                      <a:lnTo>
                        <a:pt x="953" y="9"/>
                      </a:lnTo>
                      <a:lnTo>
                        <a:pt x="970" y="4"/>
                      </a:lnTo>
                      <a:lnTo>
                        <a:pt x="988" y="2"/>
                      </a:lnTo>
                      <a:lnTo>
                        <a:pt x="1009" y="0"/>
                      </a:lnTo>
                      <a:lnTo>
                        <a:pt x="1020" y="1"/>
                      </a:lnTo>
                      <a:lnTo>
                        <a:pt x="1032" y="3"/>
                      </a:lnTo>
                      <a:lnTo>
                        <a:pt x="1045" y="7"/>
                      </a:lnTo>
                      <a:lnTo>
                        <a:pt x="1059" y="11"/>
                      </a:lnTo>
                      <a:lnTo>
                        <a:pt x="1072" y="14"/>
                      </a:lnTo>
                      <a:lnTo>
                        <a:pt x="1084" y="17"/>
                      </a:lnTo>
                      <a:lnTo>
                        <a:pt x="1094" y="19"/>
                      </a:lnTo>
                      <a:lnTo>
                        <a:pt x="1103" y="20"/>
                      </a:lnTo>
                      <a:lnTo>
                        <a:pt x="1115" y="20"/>
                      </a:lnTo>
                      <a:lnTo>
                        <a:pt x="1123" y="20"/>
                      </a:lnTo>
                      <a:lnTo>
                        <a:pt x="1133" y="20"/>
                      </a:lnTo>
                      <a:lnTo>
                        <a:pt x="1149" y="20"/>
                      </a:lnTo>
                      <a:lnTo>
                        <a:pt x="1180" y="21"/>
                      </a:lnTo>
                      <a:lnTo>
                        <a:pt x="1209" y="23"/>
                      </a:lnTo>
                      <a:lnTo>
                        <a:pt x="1236" y="27"/>
                      </a:lnTo>
                      <a:lnTo>
                        <a:pt x="1268" y="32"/>
                      </a:lnTo>
                      <a:lnTo>
                        <a:pt x="1266" y="36"/>
                      </a:lnTo>
                      <a:lnTo>
                        <a:pt x="1263" y="39"/>
                      </a:lnTo>
                      <a:lnTo>
                        <a:pt x="1258" y="42"/>
                      </a:lnTo>
                      <a:lnTo>
                        <a:pt x="1253" y="45"/>
                      </a:lnTo>
                      <a:lnTo>
                        <a:pt x="1242" y="50"/>
                      </a:lnTo>
                      <a:lnTo>
                        <a:pt x="1229" y="54"/>
                      </a:lnTo>
                      <a:lnTo>
                        <a:pt x="1213" y="57"/>
                      </a:lnTo>
                      <a:lnTo>
                        <a:pt x="1198" y="59"/>
                      </a:lnTo>
                      <a:lnTo>
                        <a:pt x="1180" y="62"/>
                      </a:lnTo>
                      <a:lnTo>
                        <a:pt x="1163" y="64"/>
                      </a:lnTo>
                      <a:lnTo>
                        <a:pt x="1128" y="66"/>
                      </a:lnTo>
                      <a:lnTo>
                        <a:pt x="1094" y="69"/>
                      </a:lnTo>
                      <a:lnTo>
                        <a:pt x="1078" y="71"/>
                      </a:lnTo>
                      <a:lnTo>
                        <a:pt x="1065" y="74"/>
                      </a:lnTo>
                      <a:lnTo>
                        <a:pt x="1053" y="77"/>
                      </a:lnTo>
                      <a:lnTo>
                        <a:pt x="1043" y="81"/>
                      </a:lnTo>
                      <a:lnTo>
                        <a:pt x="1039" y="84"/>
                      </a:lnTo>
                      <a:lnTo>
                        <a:pt x="1034" y="87"/>
                      </a:lnTo>
                      <a:lnTo>
                        <a:pt x="1031" y="91"/>
                      </a:lnTo>
                      <a:lnTo>
                        <a:pt x="1029" y="96"/>
                      </a:lnTo>
                      <a:lnTo>
                        <a:pt x="1026" y="99"/>
                      </a:lnTo>
                      <a:lnTo>
                        <a:pt x="1021" y="102"/>
                      </a:lnTo>
                      <a:lnTo>
                        <a:pt x="1016" y="105"/>
                      </a:lnTo>
                      <a:lnTo>
                        <a:pt x="1009" y="105"/>
                      </a:lnTo>
                      <a:lnTo>
                        <a:pt x="999" y="104"/>
                      </a:lnTo>
                      <a:lnTo>
                        <a:pt x="991" y="102"/>
                      </a:lnTo>
                      <a:lnTo>
                        <a:pt x="983" y="98"/>
                      </a:lnTo>
                      <a:lnTo>
                        <a:pt x="976" y="93"/>
                      </a:lnTo>
                      <a:lnTo>
                        <a:pt x="943" y="93"/>
                      </a:lnTo>
                      <a:lnTo>
                        <a:pt x="942" y="102"/>
                      </a:lnTo>
                      <a:lnTo>
                        <a:pt x="939" y="110"/>
                      </a:lnTo>
                      <a:lnTo>
                        <a:pt x="937" y="113"/>
                      </a:lnTo>
                      <a:lnTo>
                        <a:pt x="935" y="115"/>
                      </a:lnTo>
                      <a:lnTo>
                        <a:pt x="932" y="118"/>
                      </a:lnTo>
                      <a:lnTo>
                        <a:pt x="930" y="118"/>
                      </a:lnTo>
                      <a:lnTo>
                        <a:pt x="902" y="119"/>
                      </a:lnTo>
                      <a:lnTo>
                        <a:pt x="862" y="120"/>
                      </a:lnTo>
                      <a:lnTo>
                        <a:pt x="818" y="124"/>
                      </a:lnTo>
                      <a:lnTo>
                        <a:pt x="771" y="129"/>
                      </a:lnTo>
                      <a:lnTo>
                        <a:pt x="747" y="133"/>
                      </a:lnTo>
                      <a:lnTo>
                        <a:pt x="725" y="137"/>
                      </a:lnTo>
                      <a:lnTo>
                        <a:pt x="703" y="143"/>
                      </a:lnTo>
                      <a:lnTo>
                        <a:pt x="683" y="149"/>
                      </a:lnTo>
                      <a:lnTo>
                        <a:pt x="674" y="153"/>
                      </a:lnTo>
                      <a:lnTo>
                        <a:pt x="666" y="156"/>
                      </a:lnTo>
                      <a:lnTo>
                        <a:pt x="658" y="160"/>
                      </a:lnTo>
                      <a:lnTo>
                        <a:pt x="651" y="165"/>
                      </a:lnTo>
                      <a:lnTo>
                        <a:pt x="645" y="169"/>
                      </a:lnTo>
                      <a:lnTo>
                        <a:pt x="639" y="175"/>
                      </a:lnTo>
                      <a:lnTo>
                        <a:pt x="635" y="181"/>
                      </a:lnTo>
                      <a:lnTo>
                        <a:pt x="630" y="186"/>
                      </a:lnTo>
                      <a:lnTo>
                        <a:pt x="604" y="186"/>
                      </a:lnTo>
                      <a:lnTo>
                        <a:pt x="604" y="177"/>
                      </a:lnTo>
                      <a:lnTo>
                        <a:pt x="604" y="167"/>
                      </a:lnTo>
                      <a:lnTo>
                        <a:pt x="591" y="167"/>
                      </a:lnTo>
                      <a:lnTo>
                        <a:pt x="579" y="167"/>
                      </a:lnTo>
                      <a:lnTo>
                        <a:pt x="562" y="167"/>
                      </a:lnTo>
                      <a:lnTo>
                        <a:pt x="538" y="167"/>
                      </a:lnTo>
                      <a:lnTo>
                        <a:pt x="556" y="175"/>
                      </a:lnTo>
                      <a:lnTo>
                        <a:pt x="570" y="181"/>
                      </a:lnTo>
                      <a:lnTo>
                        <a:pt x="577" y="185"/>
                      </a:lnTo>
                      <a:lnTo>
                        <a:pt x="583" y="190"/>
                      </a:lnTo>
                      <a:lnTo>
                        <a:pt x="591" y="196"/>
                      </a:lnTo>
                      <a:lnTo>
                        <a:pt x="597" y="204"/>
                      </a:lnTo>
                      <a:lnTo>
                        <a:pt x="590" y="207"/>
                      </a:lnTo>
                      <a:lnTo>
                        <a:pt x="581" y="212"/>
                      </a:lnTo>
                      <a:lnTo>
                        <a:pt x="571" y="218"/>
                      </a:lnTo>
                      <a:lnTo>
                        <a:pt x="562" y="225"/>
                      </a:lnTo>
                      <a:lnTo>
                        <a:pt x="552" y="232"/>
                      </a:lnTo>
                      <a:lnTo>
                        <a:pt x="545" y="237"/>
                      </a:lnTo>
                      <a:lnTo>
                        <a:pt x="537" y="240"/>
                      </a:lnTo>
                      <a:lnTo>
                        <a:pt x="532" y="241"/>
                      </a:lnTo>
                      <a:lnTo>
                        <a:pt x="517" y="241"/>
                      </a:lnTo>
                      <a:lnTo>
                        <a:pt x="502" y="238"/>
                      </a:lnTo>
                      <a:lnTo>
                        <a:pt x="483" y="236"/>
                      </a:lnTo>
                      <a:lnTo>
                        <a:pt x="458" y="235"/>
                      </a:lnTo>
                      <a:lnTo>
                        <a:pt x="442" y="236"/>
                      </a:lnTo>
                      <a:lnTo>
                        <a:pt x="427" y="237"/>
                      </a:lnTo>
                      <a:lnTo>
                        <a:pt x="415" y="240"/>
                      </a:lnTo>
                      <a:lnTo>
                        <a:pt x="404" y="242"/>
                      </a:lnTo>
                      <a:lnTo>
                        <a:pt x="384" y="248"/>
                      </a:lnTo>
                      <a:lnTo>
                        <a:pt x="365" y="254"/>
                      </a:lnTo>
                      <a:lnTo>
                        <a:pt x="382" y="257"/>
                      </a:lnTo>
                      <a:lnTo>
                        <a:pt x="394" y="258"/>
                      </a:lnTo>
                      <a:lnTo>
                        <a:pt x="405" y="257"/>
                      </a:lnTo>
                      <a:lnTo>
                        <a:pt x="418" y="254"/>
                      </a:lnTo>
                      <a:lnTo>
                        <a:pt x="418" y="272"/>
                      </a:lnTo>
                      <a:lnTo>
                        <a:pt x="413" y="277"/>
                      </a:lnTo>
                      <a:lnTo>
                        <a:pt x="404" y="285"/>
                      </a:lnTo>
                      <a:lnTo>
                        <a:pt x="392" y="293"/>
                      </a:lnTo>
                      <a:lnTo>
                        <a:pt x="379" y="301"/>
                      </a:lnTo>
                      <a:lnTo>
                        <a:pt x="356" y="315"/>
                      </a:lnTo>
                      <a:lnTo>
                        <a:pt x="345" y="321"/>
                      </a:lnTo>
                      <a:lnTo>
                        <a:pt x="339" y="321"/>
                      </a:lnTo>
                      <a:lnTo>
                        <a:pt x="333" y="320"/>
                      </a:lnTo>
                      <a:lnTo>
                        <a:pt x="327" y="318"/>
                      </a:lnTo>
                      <a:lnTo>
                        <a:pt x="322" y="315"/>
                      </a:lnTo>
                      <a:lnTo>
                        <a:pt x="312" y="310"/>
                      </a:lnTo>
                      <a:lnTo>
                        <a:pt x="301" y="303"/>
                      </a:lnTo>
                      <a:lnTo>
                        <a:pt x="290" y="296"/>
                      </a:lnTo>
                      <a:lnTo>
                        <a:pt x="279" y="290"/>
                      </a:lnTo>
                      <a:lnTo>
                        <a:pt x="272" y="288"/>
                      </a:lnTo>
                      <a:lnTo>
                        <a:pt x="266" y="286"/>
                      </a:lnTo>
                      <a:lnTo>
                        <a:pt x="259" y="285"/>
                      </a:lnTo>
                      <a:lnTo>
                        <a:pt x="253" y="285"/>
                      </a:lnTo>
                      <a:lnTo>
                        <a:pt x="215" y="283"/>
                      </a:lnTo>
                      <a:lnTo>
                        <a:pt x="182" y="281"/>
                      </a:lnTo>
                      <a:lnTo>
                        <a:pt x="152" y="279"/>
                      </a:lnTo>
                      <a:lnTo>
                        <a:pt x="123" y="277"/>
                      </a:lnTo>
                      <a:lnTo>
                        <a:pt x="96" y="276"/>
                      </a:lnTo>
                      <a:lnTo>
                        <a:pt x="66" y="276"/>
                      </a:lnTo>
                      <a:lnTo>
                        <a:pt x="51" y="277"/>
                      </a:lnTo>
                      <a:lnTo>
                        <a:pt x="35" y="279"/>
                      </a:lnTo>
                      <a:lnTo>
                        <a:pt x="18" y="281"/>
                      </a:lnTo>
                      <a:lnTo>
                        <a:pt x="0" y="285"/>
                      </a:lnTo>
                      <a:lnTo>
                        <a:pt x="0" y="281"/>
                      </a:lnTo>
                      <a:lnTo>
                        <a:pt x="1" y="277"/>
                      </a:lnTo>
                      <a:lnTo>
                        <a:pt x="2" y="274"/>
                      </a:lnTo>
                      <a:lnTo>
                        <a:pt x="5" y="271"/>
                      </a:lnTo>
                      <a:lnTo>
                        <a:pt x="10" y="266"/>
                      </a:lnTo>
                      <a:lnTo>
                        <a:pt x="17" y="261"/>
                      </a:lnTo>
                      <a:lnTo>
                        <a:pt x="25" y="257"/>
                      </a:lnTo>
                      <a:lnTo>
                        <a:pt x="35" y="253"/>
                      </a:lnTo>
                      <a:lnTo>
                        <a:pt x="45" y="249"/>
                      </a:lnTo>
                      <a:lnTo>
                        <a:pt x="56" y="246"/>
                      </a:lnTo>
                      <a:lnTo>
                        <a:pt x="79" y="241"/>
                      </a:lnTo>
                      <a:lnTo>
                        <a:pt x="101" y="238"/>
                      </a:lnTo>
                      <a:lnTo>
                        <a:pt x="120" y="236"/>
                      </a:lnTo>
                      <a:lnTo>
                        <a:pt x="133" y="235"/>
                      </a:lnTo>
                      <a:lnTo>
                        <a:pt x="143" y="235"/>
                      </a:lnTo>
                      <a:lnTo>
                        <a:pt x="159" y="235"/>
                      </a:lnTo>
                      <a:lnTo>
                        <a:pt x="162" y="235"/>
                      </a:lnTo>
                      <a:lnTo>
                        <a:pt x="164" y="233"/>
                      </a:lnTo>
                      <a:lnTo>
                        <a:pt x="167" y="230"/>
                      </a:lnTo>
                      <a:lnTo>
                        <a:pt x="170" y="225"/>
                      </a:lnTo>
                      <a:lnTo>
                        <a:pt x="174" y="222"/>
                      </a:lnTo>
                      <a:lnTo>
                        <a:pt x="177" y="219"/>
                      </a:lnTo>
                      <a:lnTo>
                        <a:pt x="181" y="217"/>
                      </a:lnTo>
                      <a:lnTo>
                        <a:pt x="186" y="216"/>
                      </a:lnTo>
                      <a:lnTo>
                        <a:pt x="190" y="217"/>
                      </a:lnTo>
                      <a:lnTo>
                        <a:pt x="196" y="218"/>
                      </a:lnTo>
                      <a:lnTo>
                        <a:pt x="200" y="219"/>
                      </a:lnTo>
                      <a:lnTo>
                        <a:pt x="203" y="221"/>
                      </a:lnTo>
                      <a:lnTo>
                        <a:pt x="211" y="226"/>
                      </a:lnTo>
                      <a:lnTo>
                        <a:pt x="219" y="232"/>
                      </a:lnTo>
                      <a:lnTo>
                        <a:pt x="226" y="238"/>
                      </a:lnTo>
                      <a:lnTo>
                        <a:pt x="234" y="243"/>
                      </a:lnTo>
                      <a:lnTo>
                        <a:pt x="238" y="245"/>
                      </a:lnTo>
                      <a:lnTo>
                        <a:pt x="243" y="246"/>
                      </a:lnTo>
                      <a:lnTo>
                        <a:pt x="247" y="247"/>
                      </a:lnTo>
                      <a:lnTo>
                        <a:pt x="253" y="247"/>
                      </a:lnTo>
                      <a:lnTo>
                        <a:pt x="253" y="204"/>
                      </a:lnTo>
                      <a:lnTo>
                        <a:pt x="232" y="206"/>
                      </a:lnTo>
                      <a:lnTo>
                        <a:pt x="212" y="207"/>
                      </a:lnTo>
                      <a:lnTo>
                        <a:pt x="208" y="207"/>
                      </a:lnTo>
                      <a:lnTo>
                        <a:pt x="204" y="207"/>
                      </a:lnTo>
                      <a:lnTo>
                        <a:pt x="201" y="206"/>
                      </a:lnTo>
                      <a:lnTo>
                        <a:pt x="198" y="204"/>
                      </a:lnTo>
                      <a:lnTo>
                        <a:pt x="196" y="202"/>
                      </a:lnTo>
                      <a:lnTo>
                        <a:pt x="193" y="200"/>
                      </a:lnTo>
                      <a:lnTo>
                        <a:pt x="192" y="196"/>
                      </a:lnTo>
                      <a:lnTo>
                        <a:pt x="192" y="192"/>
                      </a:lnTo>
                      <a:lnTo>
                        <a:pt x="193" y="188"/>
                      </a:lnTo>
                      <a:lnTo>
                        <a:pt x="194" y="184"/>
                      </a:lnTo>
                      <a:lnTo>
                        <a:pt x="197" y="181"/>
                      </a:lnTo>
                      <a:lnTo>
                        <a:pt x="199" y="179"/>
                      </a:lnTo>
                      <a:lnTo>
                        <a:pt x="205" y="176"/>
                      </a:lnTo>
                      <a:lnTo>
                        <a:pt x="214" y="174"/>
                      </a:lnTo>
                      <a:lnTo>
                        <a:pt x="232" y="172"/>
                      </a:lnTo>
                      <a:lnTo>
                        <a:pt x="246" y="174"/>
                      </a:lnTo>
                      <a:lnTo>
                        <a:pt x="265" y="176"/>
                      </a:lnTo>
                      <a:lnTo>
                        <a:pt x="290" y="180"/>
                      </a:lnTo>
                      <a:lnTo>
                        <a:pt x="315" y="184"/>
                      </a:lnTo>
                      <a:lnTo>
                        <a:pt x="338" y="186"/>
                      </a:lnTo>
                      <a:lnTo>
                        <a:pt x="365" y="186"/>
                      </a:lnTo>
                      <a:lnTo>
                        <a:pt x="386" y="184"/>
                      </a:lnTo>
                      <a:lnTo>
                        <a:pt x="394" y="183"/>
                      </a:lnTo>
                      <a:lnTo>
                        <a:pt x="403" y="181"/>
                      </a:lnTo>
                      <a:lnTo>
                        <a:pt x="411" y="178"/>
                      </a:lnTo>
                      <a:lnTo>
                        <a:pt x="418" y="174"/>
                      </a:lnTo>
                      <a:lnTo>
                        <a:pt x="379" y="172"/>
                      </a:lnTo>
                      <a:lnTo>
                        <a:pt x="344" y="172"/>
                      </a:lnTo>
                      <a:lnTo>
                        <a:pt x="336" y="172"/>
                      </a:lnTo>
                      <a:lnTo>
                        <a:pt x="328" y="171"/>
                      </a:lnTo>
                      <a:lnTo>
                        <a:pt x="322" y="169"/>
                      </a:lnTo>
                      <a:lnTo>
                        <a:pt x="315" y="167"/>
                      </a:lnTo>
                      <a:lnTo>
                        <a:pt x="310" y="164"/>
                      </a:lnTo>
                      <a:lnTo>
                        <a:pt x="305" y="160"/>
                      </a:lnTo>
                      <a:lnTo>
                        <a:pt x="302" y="155"/>
                      </a:lnTo>
                      <a:lnTo>
                        <a:pt x="299" y="149"/>
                      </a:lnTo>
                      <a:lnTo>
                        <a:pt x="309" y="145"/>
                      </a:lnTo>
                      <a:lnTo>
                        <a:pt x="320" y="142"/>
                      </a:lnTo>
                      <a:lnTo>
                        <a:pt x="331" y="140"/>
                      </a:lnTo>
                      <a:lnTo>
                        <a:pt x="345" y="138"/>
                      </a:lnTo>
                      <a:lnTo>
                        <a:pt x="378" y="137"/>
                      </a:lnTo>
                      <a:lnTo>
                        <a:pt x="425" y="137"/>
                      </a:lnTo>
                      <a:lnTo>
                        <a:pt x="426" y="141"/>
                      </a:lnTo>
                      <a:lnTo>
                        <a:pt x="429" y="146"/>
                      </a:lnTo>
                      <a:lnTo>
                        <a:pt x="434" y="150"/>
                      </a:lnTo>
                      <a:lnTo>
                        <a:pt x="438" y="155"/>
                      </a:lnTo>
                      <a:lnTo>
                        <a:pt x="484" y="155"/>
                      </a:lnTo>
                      <a:lnTo>
                        <a:pt x="483" y="146"/>
                      </a:lnTo>
                      <a:lnTo>
                        <a:pt x="481" y="137"/>
                      </a:lnTo>
                      <a:lnTo>
                        <a:pt x="479" y="130"/>
                      </a:lnTo>
                      <a:lnTo>
                        <a:pt x="478" y="124"/>
                      </a:lnTo>
                      <a:lnTo>
                        <a:pt x="645" y="124"/>
                      </a:lnTo>
                      <a:lnTo>
                        <a:pt x="648" y="109"/>
                      </a:lnTo>
                      <a:lnTo>
                        <a:pt x="651" y="101"/>
                      </a:lnTo>
                      <a:lnTo>
                        <a:pt x="657" y="95"/>
                      </a:lnTo>
                      <a:lnTo>
                        <a:pt x="664" y="87"/>
                      </a:lnTo>
                      <a:lnTo>
                        <a:pt x="653" y="91"/>
                      </a:lnTo>
                      <a:lnTo>
                        <a:pt x="638" y="99"/>
                      </a:lnTo>
                      <a:lnTo>
                        <a:pt x="622" y="108"/>
                      </a:lnTo>
                      <a:lnTo>
                        <a:pt x="611" y="111"/>
                      </a:lnTo>
                      <a:lnTo>
                        <a:pt x="589" y="110"/>
                      </a:lnTo>
                      <a:lnTo>
                        <a:pt x="556" y="108"/>
                      </a:lnTo>
                      <a:lnTo>
                        <a:pt x="522" y="106"/>
                      </a:lnTo>
                      <a:lnTo>
                        <a:pt x="491" y="105"/>
                      </a:lnTo>
                      <a:lnTo>
                        <a:pt x="476" y="107"/>
                      </a:lnTo>
                      <a:lnTo>
                        <a:pt x="449" y="111"/>
                      </a:lnTo>
                      <a:lnTo>
                        <a:pt x="414" y="115"/>
                      </a:lnTo>
                      <a:lnTo>
                        <a:pt x="376" y="119"/>
                      </a:lnTo>
                      <a:lnTo>
                        <a:pt x="355" y="120"/>
                      </a:lnTo>
                      <a:lnTo>
                        <a:pt x="333" y="119"/>
                      </a:lnTo>
                      <a:lnTo>
                        <a:pt x="312" y="116"/>
                      </a:lnTo>
                      <a:lnTo>
                        <a:pt x="291" y="113"/>
                      </a:lnTo>
                      <a:lnTo>
                        <a:pt x="281" y="111"/>
                      </a:lnTo>
                      <a:lnTo>
                        <a:pt x="271" y="108"/>
                      </a:lnTo>
                      <a:lnTo>
                        <a:pt x="261" y="105"/>
                      </a:lnTo>
                      <a:lnTo>
                        <a:pt x="253" y="101"/>
                      </a:lnTo>
                      <a:lnTo>
                        <a:pt x="244" y="97"/>
                      </a:lnTo>
                      <a:lnTo>
                        <a:pt x="235" y="92"/>
                      </a:lnTo>
                      <a:lnTo>
                        <a:pt x="226" y="87"/>
                      </a:lnTo>
                      <a:lnTo>
                        <a:pt x="219" y="81"/>
                      </a:lnTo>
                      <a:lnTo>
                        <a:pt x="219" y="80"/>
                      </a:lnTo>
                      <a:lnTo>
                        <a:pt x="221" y="79"/>
                      </a:lnTo>
                      <a:lnTo>
                        <a:pt x="223" y="78"/>
                      </a:lnTo>
                      <a:lnTo>
                        <a:pt x="227" y="76"/>
                      </a:lnTo>
                      <a:lnTo>
                        <a:pt x="238" y="74"/>
                      </a:lnTo>
                      <a:lnTo>
                        <a:pt x="253" y="71"/>
                      </a:lnTo>
                      <a:lnTo>
                        <a:pt x="290" y="66"/>
                      </a:lnTo>
                      <a:lnTo>
                        <a:pt x="334" y="60"/>
                      </a:lnTo>
                      <a:lnTo>
                        <a:pt x="378" y="55"/>
                      </a:lnTo>
                      <a:lnTo>
                        <a:pt x="417" y="50"/>
                      </a:lnTo>
                      <a:lnTo>
                        <a:pt x="446" y="47"/>
                      </a:lnTo>
                      <a:lnTo>
                        <a:pt x="458" y="44"/>
                      </a:lnTo>
                      <a:lnTo>
                        <a:pt x="545" y="44"/>
                      </a:lnTo>
                      <a:lnTo>
                        <a:pt x="591" y="32"/>
                      </a:lnTo>
                      <a:lnTo>
                        <a:pt x="605" y="33"/>
                      </a:lnTo>
                      <a:lnTo>
                        <a:pt x="618" y="32"/>
                      </a:lnTo>
                      <a:lnTo>
                        <a:pt x="631" y="31"/>
                      </a:lnTo>
                      <a:lnTo>
                        <a:pt x="642" y="28"/>
                      </a:lnTo>
                      <a:lnTo>
                        <a:pt x="653" y="25"/>
                      </a:lnTo>
                      <a:lnTo>
                        <a:pt x="664" y="22"/>
                      </a:lnTo>
                      <a:lnTo>
                        <a:pt x="674" y="20"/>
                      </a:lnTo>
                      <a:lnTo>
                        <a:pt x="684" y="20"/>
                      </a:lnTo>
                      <a:lnTo>
                        <a:pt x="707" y="21"/>
                      </a:lnTo>
                      <a:lnTo>
                        <a:pt x="723" y="23"/>
                      </a:lnTo>
                      <a:lnTo>
                        <a:pt x="737" y="25"/>
                      </a:lnTo>
                      <a:lnTo>
                        <a:pt x="757" y="26"/>
                      </a:lnTo>
                      <a:lnTo>
                        <a:pt x="764" y="2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3" name="Freeform 418">
                  <a:extLst>
                    <a:ext uri="{FF2B5EF4-FFF2-40B4-BE49-F238E27FC236}">
                      <a16:creationId xmlns:a16="http://schemas.microsoft.com/office/drawing/2014/main" id="{931FD08E-B10B-470A-B680-5BBC69B707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51" y="1660"/>
                  <a:ext cx="48" cy="38"/>
                </a:xfrm>
                <a:custGeom>
                  <a:avLst/>
                  <a:gdLst>
                    <a:gd name="T0" fmla="*/ 0 w 160"/>
                    <a:gd name="T1" fmla="*/ 0 h 117"/>
                    <a:gd name="T2" fmla="*/ 0 w 160"/>
                    <a:gd name="T3" fmla="*/ 1 h 117"/>
                    <a:gd name="T4" fmla="*/ 0 w 160"/>
                    <a:gd name="T5" fmla="*/ 2 h 117"/>
                    <a:gd name="T6" fmla="*/ 1 w 160"/>
                    <a:gd name="T7" fmla="*/ 3 h 117"/>
                    <a:gd name="T8" fmla="*/ 2 w 160"/>
                    <a:gd name="T9" fmla="*/ 4 h 117"/>
                    <a:gd name="T10" fmla="*/ 2 w 160"/>
                    <a:gd name="T11" fmla="*/ 5 h 117"/>
                    <a:gd name="T12" fmla="*/ 3 w 160"/>
                    <a:gd name="T13" fmla="*/ 6 h 117"/>
                    <a:gd name="T14" fmla="*/ 4 w 160"/>
                    <a:gd name="T15" fmla="*/ 7 h 117"/>
                    <a:gd name="T16" fmla="*/ 5 w 160"/>
                    <a:gd name="T17" fmla="*/ 8 h 117"/>
                    <a:gd name="T18" fmla="*/ 6 w 160"/>
                    <a:gd name="T19" fmla="*/ 9 h 117"/>
                    <a:gd name="T20" fmla="*/ 7 w 160"/>
                    <a:gd name="T21" fmla="*/ 10 h 117"/>
                    <a:gd name="T22" fmla="*/ 9 w 160"/>
                    <a:gd name="T23" fmla="*/ 10 h 117"/>
                    <a:gd name="T24" fmla="*/ 10 w 160"/>
                    <a:gd name="T25" fmla="*/ 11 h 117"/>
                    <a:gd name="T26" fmla="*/ 11 w 160"/>
                    <a:gd name="T27" fmla="*/ 12 h 117"/>
                    <a:gd name="T28" fmla="*/ 12 w 160"/>
                    <a:gd name="T29" fmla="*/ 12 h 117"/>
                    <a:gd name="T30" fmla="*/ 13 w 160"/>
                    <a:gd name="T31" fmla="*/ 12 h 117"/>
                    <a:gd name="T32" fmla="*/ 13 w 160"/>
                    <a:gd name="T33" fmla="*/ 12 h 117"/>
                    <a:gd name="T34" fmla="*/ 14 w 160"/>
                    <a:gd name="T35" fmla="*/ 12 h 117"/>
                    <a:gd name="T36" fmla="*/ 15 w 160"/>
                    <a:gd name="T37" fmla="*/ 12 h 117"/>
                    <a:gd name="T38" fmla="*/ 16 w 160"/>
                    <a:gd name="T39" fmla="*/ 12 h 117"/>
                    <a:gd name="T40" fmla="*/ 16 w 160"/>
                    <a:gd name="T41" fmla="*/ 11 h 117"/>
                    <a:gd name="T42" fmla="*/ 15 w 160"/>
                    <a:gd name="T43" fmla="*/ 10 h 117"/>
                    <a:gd name="T44" fmla="*/ 14 w 160"/>
                    <a:gd name="T45" fmla="*/ 8 h 117"/>
                    <a:gd name="T46" fmla="*/ 14 w 160"/>
                    <a:gd name="T47" fmla="*/ 8 h 117"/>
                    <a:gd name="T48" fmla="*/ 14 w 160"/>
                    <a:gd name="T49" fmla="*/ 7 h 117"/>
                    <a:gd name="T50" fmla="*/ 13 w 160"/>
                    <a:gd name="T51" fmla="*/ 6 h 117"/>
                    <a:gd name="T52" fmla="*/ 13 w 160"/>
                    <a:gd name="T53" fmla="*/ 5 h 117"/>
                    <a:gd name="T54" fmla="*/ 13 w 160"/>
                    <a:gd name="T55" fmla="*/ 5 h 117"/>
                    <a:gd name="T56" fmla="*/ 12 w 160"/>
                    <a:gd name="T57" fmla="*/ 5 h 117"/>
                    <a:gd name="T58" fmla="*/ 11 w 160"/>
                    <a:gd name="T59" fmla="*/ 4 h 117"/>
                    <a:gd name="T60" fmla="*/ 10 w 160"/>
                    <a:gd name="T61" fmla="*/ 4 h 117"/>
                    <a:gd name="T62" fmla="*/ 9 w 160"/>
                    <a:gd name="T63" fmla="*/ 3 h 117"/>
                    <a:gd name="T64" fmla="*/ 8 w 160"/>
                    <a:gd name="T65" fmla="*/ 2 h 117"/>
                    <a:gd name="T66" fmla="*/ 8 w 160"/>
                    <a:gd name="T67" fmla="*/ 2 h 117"/>
                    <a:gd name="T68" fmla="*/ 7 w 160"/>
                    <a:gd name="T69" fmla="*/ 1 h 117"/>
                    <a:gd name="T70" fmla="*/ 7 w 160"/>
                    <a:gd name="T71" fmla="*/ 1 h 117"/>
                    <a:gd name="T72" fmla="*/ 7 w 160"/>
                    <a:gd name="T73" fmla="*/ 1 h 117"/>
                    <a:gd name="T74" fmla="*/ 6 w 160"/>
                    <a:gd name="T75" fmla="*/ 1 h 117"/>
                    <a:gd name="T76" fmla="*/ 5 w 160"/>
                    <a:gd name="T77" fmla="*/ 1 h 117"/>
                    <a:gd name="T78" fmla="*/ 4 w 160"/>
                    <a:gd name="T79" fmla="*/ 0 h 117"/>
                    <a:gd name="T80" fmla="*/ 4 w 160"/>
                    <a:gd name="T81" fmla="*/ 0 h 117"/>
                    <a:gd name="T82" fmla="*/ 0 w 160"/>
                    <a:gd name="T83" fmla="*/ 0 h 117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0" t="0" r="r" b="b"/>
                  <a:pathLst>
                    <a:path w="160" h="117">
                      <a:moveTo>
                        <a:pt x="0" y="0"/>
                      </a:moveTo>
                      <a:lnTo>
                        <a:pt x="1" y="10"/>
                      </a:lnTo>
                      <a:lnTo>
                        <a:pt x="4" y="19"/>
                      </a:lnTo>
                      <a:lnTo>
                        <a:pt x="9" y="29"/>
                      </a:lnTo>
                      <a:lnTo>
                        <a:pt x="15" y="39"/>
                      </a:lnTo>
                      <a:lnTo>
                        <a:pt x="22" y="48"/>
                      </a:lnTo>
                      <a:lnTo>
                        <a:pt x="31" y="59"/>
                      </a:lnTo>
                      <a:lnTo>
                        <a:pt x="41" y="68"/>
                      </a:lnTo>
                      <a:lnTo>
                        <a:pt x="51" y="77"/>
                      </a:lnTo>
                      <a:lnTo>
                        <a:pt x="62" y="85"/>
                      </a:lnTo>
                      <a:lnTo>
                        <a:pt x="73" y="93"/>
                      </a:lnTo>
                      <a:lnTo>
                        <a:pt x="84" y="99"/>
                      </a:lnTo>
                      <a:lnTo>
                        <a:pt x="95" y="105"/>
                      </a:lnTo>
                      <a:lnTo>
                        <a:pt x="106" y="111"/>
                      </a:lnTo>
                      <a:lnTo>
                        <a:pt x="116" y="114"/>
                      </a:lnTo>
                      <a:lnTo>
                        <a:pt x="124" y="117"/>
                      </a:lnTo>
                      <a:lnTo>
                        <a:pt x="133" y="117"/>
                      </a:lnTo>
                      <a:lnTo>
                        <a:pt x="139" y="116"/>
                      </a:lnTo>
                      <a:lnTo>
                        <a:pt x="146" y="113"/>
                      </a:lnTo>
                      <a:lnTo>
                        <a:pt x="153" y="110"/>
                      </a:lnTo>
                      <a:lnTo>
                        <a:pt x="160" y="104"/>
                      </a:lnTo>
                      <a:lnTo>
                        <a:pt x="150" y="91"/>
                      </a:lnTo>
                      <a:lnTo>
                        <a:pt x="141" y="79"/>
                      </a:lnTo>
                      <a:lnTo>
                        <a:pt x="138" y="73"/>
                      </a:lnTo>
                      <a:lnTo>
                        <a:pt x="135" y="66"/>
                      </a:lnTo>
                      <a:lnTo>
                        <a:pt x="133" y="58"/>
                      </a:lnTo>
                      <a:lnTo>
                        <a:pt x="133" y="49"/>
                      </a:lnTo>
                      <a:lnTo>
                        <a:pt x="127" y="48"/>
                      </a:lnTo>
                      <a:lnTo>
                        <a:pt x="118" y="45"/>
                      </a:lnTo>
                      <a:lnTo>
                        <a:pt x="108" y="40"/>
                      </a:lnTo>
                      <a:lnTo>
                        <a:pt x="97" y="34"/>
                      </a:lnTo>
                      <a:lnTo>
                        <a:pt x="87" y="28"/>
                      </a:lnTo>
                      <a:lnTo>
                        <a:pt x="77" y="21"/>
                      </a:lnTo>
                      <a:lnTo>
                        <a:pt x="74" y="17"/>
                      </a:lnTo>
                      <a:lnTo>
                        <a:pt x="71" y="13"/>
                      </a:lnTo>
                      <a:lnTo>
                        <a:pt x="68" y="10"/>
                      </a:lnTo>
                      <a:lnTo>
                        <a:pt x="66" y="6"/>
                      </a:lnTo>
                      <a:lnTo>
                        <a:pt x="60" y="6"/>
                      </a:lnTo>
                      <a:lnTo>
                        <a:pt x="52" y="6"/>
                      </a:lnTo>
                      <a:lnTo>
                        <a:pt x="43" y="4"/>
                      </a:lnTo>
                      <a:lnTo>
                        <a:pt x="3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4" name="Freeform 419">
                  <a:extLst>
                    <a:ext uri="{FF2B5EF4-FFF2-40B4-BE49-F238E27FC236}">
                      <a16:creationId xmlns:a16="http://schemas.microsoft.com/office/drawing/2014/main" id="{04FC1CB8-AB49-41AC-A3CA-C775550736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" y="1592"/>
                  <a:ext cx="26" cy="46"/>
                </a:xfrm>
                <a:custGeom>
                  <a:avLst/>
                  <a:gdLst>
                    <a:gd name="T0" fmla="*/ 4 w 80"/>
                    <a:gd name="T1" fmla="*/ 13 h 141"/>
                    <a:gd name="T2" fmla="*/ 8 w 80"/>
                    <a:gd name="T3" fmla="*/ 4 h 141"/>
                    <a:gd name="T4" fmla="*/ 8 w 80"/>
                    <a:gd name="T5" fmla="*/ 2 h 141"/>
                    <a:gd name="T6" fmla="*/ 7 w 80"/>
                    <a:gd name="T7" fmla="*/ 2 h 141"/>
                    <a:gd name="T8" fmla="*/ 6 w 80"/>
                    <a:gd name="T9" fmla="*/ 2 h 141"/>
                    <a:gd name="T10" fmla="*/ 6 w 80"/>
                    <a:gd name="T11" fmla="*/ 2 h 141"/>
                    <a:gd name="T12" fmla="*/ 5 w 80"/>
                    <a:gd name="T13" fmla="*/ 1 h 141"/>
                    <a:gd name="T14" fmla="*/ 5 w 80"/>
                    <a:gd name="T15" fmla="*/ 1 h 141"/>
                    <a:gd name="T16" fmla="*/ 5 w 80"/>
                    <a:gd name="T17" fmla="*/ 1 h 141"/>
                    <a:gd name="T18" fmla="*/ 4 w 80"/>
                    <a:gd name="T19" fmla="*/ 0 h 141"/>
                    <a:gd name="T20" fmla="*/ 4 w 80"/>
                    <a:gd name="T21" fmla="*/ 0 h 141"/>
                    <a:gd name="T22" fmla="*/ 0 w 80"/>
                    <a:gd name="T23" fmla="*/ 0 h 141"/>
                    <a:gd name="T24" fmla="*/ 0 w 80"/>
                    <a:gd name="T25" fmla="*/ 3 h 141"/>
                    <a:gd name="T26" fmla="*/ 0 w 80"/>
                    <a:gd name="T27" fmla="*/ 4 h 141"/>
                    <a:gd name="T28" fmla="*/ 0 w 80"/>
                    <a:gd name="T29" fmla="*/ 6 h 141"/>
                    <a:gd name="T30" fmla="*/ 0 w 80"/>
                    <a:gd name="T31" fmla="*/ 7 h 141"/>
                    <a:gd name="T32" fmla="*/ 0 w 80"/>
                    <a:gd name="T33" fmla="*/ 8 h 141"/>
                    <a:gd name="T34" fmla="*/ 0 w 80"/>
                    <a:gd name="T35" fmla="*/ 8 h 141"/>
                    <a:gd name="T36" fmla="*/ 1 w 80"/>
                    <a:gd name="T37" fmla="*/ 9 h 141"/>
                    <a:gd name="T38" fmla="*/ 1 w 80"/>
                    <a:gd name="T39" fmla="*/ 10 h 141"/>
                    <a:gd name="T40" fmla="*/ 2 w 80"/>
                    <a:gd name="T41" fmla="*/ 13 h 141"/>
                    <a:gd name="T42" fmla="*/ 3 w 80"/>
                    <a:gd name="T43" fmla="*/ 15 h 141"/>
                    <a:gd name="T44" fmla="*/ 3 w 80"/>
                    <a:gd name="T45" fmla="*/ 14 h 141"/>
                    <a:gd name="T46" fmla="*/ 4 w 80"/>
                    <a:gd name="T47" fmla="*/ 14 h 141"/>
                    <a:gd name="T48" fmla="*/ 4 w 80"/>
                    <a:gd name="T49" fmla="*/ 13 h 141"/>
                    <a:gd name="T50" fmla="*/ 4 w 80"/>
                    <a:gd name="T51" fmla="*/ 13 h 141"/>
                    <a:gd name="T52" fmla="*/ 4 w 80"/>
                    <a:gd name="T53" fmla="*/ 13 h 141"/>
                    <a:gd name="T54" fmla="*/ 4 w 80"/>
                    <a:gd name="T55" fmla="*/ 13 h 141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</a:gdLst>
                  <a:ahLst/>
                  <a:cxnLst>
                    <a:cxn ang="T56">
                      <a:pos x="T0" y="T1"/>
                    </a:cxn>
                    <a:cxn ang="T57">
                      <a:pos x="T2" y="T3"/>
                    </a:cxn>
                    <a:cxn ang="T58">
                      <a:pos x="T4" y="T5"/>
                    </a:cxn>
                    <a:cxn ang="T59">
                      <a:pos x="T6" y="T7"/>
                    </a:cxn>
                    <a:cxn ang="T60">
                      <a:pos x="T8" y="T9"/>
                    </a:cxn>
                    <a:cxn ang="T61">
                      <a:pos x="T10" y="T11"/>
                    </a:cxn>
                    <a:cxn ang="T62">
                      <a:pos x="T12" y="T13"/>
                    </a:cxn>
                    <a:cxn ang="T63">
                      <a:pos x="T14" y="T15"/>
                    </a:cxn>
                    <a:cxn ang="T64">
                      <a:pos x="T16" y="T17"/>
                    </a:cxn>
                    <a:cxn ang="T65">
                      <a:pos x="T18" y="T19"/>
                    </a:cxn>
                    <a:cxn ang="T66">
                      <a:pos x="T20" y="T21"/>
                    </a:cxn>
                    <a:cxn ang="T67">
                      <a:pos x="T22" y="T23"/>
                    </a:cxn>
                    <a:cxn ang="T68">
                      <a:pos x="T24" y="T25"/>
                    </a:cxn>
                    <a:cxn ang="T69">
                      <a:pos x="T26" y="T27"/>
                    </a:cxn>
                    <a:cxn ang="T70">
                      <a:pos x="T28" y="T29"/>
                    </a:cxn>
                    <a:cxn ang="T71">
                      <a:pos x="T30" y="T31"/>
                    </a:cxn>
                    <a:cxn ang="T72">
                      <a:pos x="T32" y="T33"/>
                    </a:cxn>
                    <a:cxn ang="T73">
                      <a:pos x="T34" y="T35"/>
                    </a:cxn>
                    <a:cxn ang="T74">
                      <a:pos x="T36" y="T37"/>
                    </a:cxn>
                    <a:cxn ang="T75">
                      <a:pos x="T38" y="T39"/>
                    </a:cxn>
                    <a:cxn ang="T76">
                      <a:pos x="T40" y="T41"/>
                    </a:cxn>
                    <a:cxn ang="T77">
                      <a:pos x="T42" y="T43"/>
                    </a:cxn>
                    <a:cxn ang="T78">
                      <a:pos x="T44" y="T45"/>
                    </a:cxn>
                    <a:cxn ang="T79">
                      <a:pos x="T46" y="T47"/>
                    </a:cxn>
                    <a:cxn ang="T80">
                      <a:pos x="T48" y="T49"/>
                    </a:cxn>
                    <a:cxn ang="T81">
                      <a:pos x="T50" y="T51"/>
                    </a:cxn>
                    <a:cxn ang="T82">
                      <a:pos x="T52" y="T53"/>
                    </a:cxn>
                    <a:cxn ang="T83">
                      <a:pos x="T54" y="T55"/>
                    </a:cxn>
                  </a:cxnLst>
                  <a:rect l="0" t="0" r="r" b="b"/>
                  <a:pathLst>
                    <a:path w="80" h="141">
                      <a:moveTo>
                        <a:pt x="40" y="123"/>
                      </a:moveTo>
                      <a:lnTo>
                        <a:pt x="80" y="36"/>
                      </a:lnTo>
                      <a:lnTo>
                        <a:pt x="80" y="18"/>
                      </a:lnTo>
                      <a:lnTo>
                        <a:pt x="68" y="17"/>
                      </a:lnTo>
                      <a:lnTo>
                        <a:pt x="59" y="16"/>
                      </a:lnTo>
                      <a:lnTo>
                        <a:pt x="53" y="14"/>
                      </a:lnTo>
                      <a:lnTo>
                        <a:pt x="47" y="11"/>
                      </a:lnTo>
                      <a:lnTo>
                        <a:pt x="44" y="8"/>
                      </a:lnTo>
                      <a:lnTo>
                        <a:pt x="42" y="5"/>
                      </a:lnTo>
                      <a:lnTo>
                        <a:pt x="41" y="2"/>
                      </a:lnTo>
                      <a:lnTo>
                        <a:pt x="40" y="0"/>
                      </a:lnTo>
                      <a:lnTo>
                        <a:pt x="0" y="0"/>
                      </a:lnTo>
                      <a:lnTo>
                        <a:pt x="0" y="23"/>
                      </a:lnTo>
                      <a:lnTo>
                        <a:pt x="0" y="40"/>
                      </a:lnTo>
                      <a:lnTo>
                        <a:pt x="0" y="52"/>
                      </a:lnTo>
                      <a:lnTo>
                        <a:pt x="0" y="61"/>
                      </a:lnTo>
                      <a:lnTo>
                        <a:pt x="1" y="69"/>
                      </a:lnTo>
                      <a:lnTo>
                        <a:pt x="3" y="78"/>
                      </a:lnTo>
                      <a:lnTo>
                        <a:pt x="7" y="88"/>
                      </a:lnTo>
                      <a:lnTo>
                        <a:pt x="11" y="99"/>
                      </a:lnTo>
                      <a:lnTo>
                        <a:pt x="20" y="121"/>
                      </a:lnTo>
                      <a:lnTo>
                        <a:pt x="27" y="141"/>
                      </a:lnTo>
                      <a:lnTo>
                        <a:pt x="31" y="135"/>
                      </a:lnTo>
                      <a:lnTo>
                        <a:pt x="33" y="129"/>
                      </a:lnTo>
                      <a:lnTo>
                        <a:pt x="34" y="127"/>
                      </a:lnTo>
                      <a:lnTo>
                        <a:pt x="36" y="125"/>
                      </a:lnTo>
                      <a:lnTo>
                        <a:pt x="38" y="123"/>
                      </a:lnTo>
                      <a:lnTo>
                        <a:pt x="40" y="12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5" name="Freeform 420">
                  <a:extLst>
                    <a:ext uri="{FF2B5EF4-FFF2-40B4-BE49-F238E27FC236}">
                      <a16:creationId xmlns:a16="http://schemas.microsoft.com/office/drawing/2014/main" id="{F33FC930-1184-48C7-B1BB-2F74F7B35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9" y="1383"/>
                  <a:ext cx="83" cy="41"/>
                </a:xfrm>
                <a:custGeom>
                  <a:avLst/>
                  <a:gdLst>
                    <a:gd name="T0" fmla="*/ 0 w 259"/>
                    <a:gd name="T1" fmla="*/ 10 h 124"/>
                    <a:gd name="T2" fmla="*/ 0 w 259"/>
                    <a:gd name="T3" fmla="*/ 11 h 124"/>
                    <a:gd name="T4" fmla="*/ 0 w 259"/>
                    <a:gd name="T5" fmla="*/ 11 h 124"/>
                    <a:gd name="T6" fmla="*/ 0 w 259"/>
                    <a:gd name="T7" fmla="*/ 11 h 124"/>
                    <a:gd name="T8" fmla="*/ 1 w 259"/>
                    <a:gd name="T9" fmla="*/ 12 h 124"/>
                    <a:gd name="T10" fmla="*/ 1 w 259"/>
                    <a:gd name="T11" fmla="*/ 12 h 124"/>
                    <a:gd name="T12" fmla="*/ 2 w 259"/>
                    <a:gd name="T13" fmla="*/ 13 h 124"/>
                    <a:gd name="T14" fmla="*/ 3 w 259"/>
                    <a:gd name="T15" fmla="*/ 13 h 124"/>
                    <a:gd name="T16" fmla="*/ 4 w 259"/>
                    <a:gd name="T17" fmla="*/ 13 h 124"/>
                    <a:gd name="T18" fmla="*/ 5 w 259"/>
                    <a:gd name="T19" fmla="*/ 14 h 124"/>
                    <a:gd name="T20" fmla="*/ 6 w 259"/>
                    <a:gd name="T21" fmla="*/ 14 h 124"/>
                    <a:gd name="T22" fmla="*/ 7 w 259"/>
                    <a:gd name="T23" fmla="*/ 14 h 124"/>
                    <a:gd name="T24" fmla="*/ 8 w 259"/>
                    <a:gd name="T25" fmla="*/ 14 h 124"/>
                    <a:gd name="T26" fmla="*/ 8 w 259"/>
                    <a:gd name="T27" fmla="*/ 13 h 124"/>
                    <a:gd name="T28" fmla="*/ 9 w 259"/>
                    <a:gd name="T29" fmla="*/ 13 h 124"/>
                    <a:gd name="T30" fmla="*/ 10 w 259"/>
                    <a:gd name="T31" fmla="*/ 13 h 124"/>
                    <a:gd name="T32" fmla="*/ 11 w 259"/>
                    <a:gd name="T33" fmla="*/ 12 h 124"/>
                    <a:gd name="T34" fmla="*/ 12 w 259"/>
                    <a:gd name="T35" fmla="*/ 11 h 124"/>
                    <a:gd name="T36" fmla="*/ 13 w 259"/>
                    <a:gd name="T37" fmla="*/ 11 h 124"/>
                    <a:gd name="T38" fmla="*/ 13 w 259"/>
                    <a:gd name="T39" fmla="*/ 11 h 124"/>
                    <a:gd name="T40" fmla="*/ 14 w 259"/>
                    <a:gd name="T41" fmla="*/ 10 h 124"/>
                    <a:gd name="T42" fmla="*/ 15 w 259"/>
                    <a:gd name="T43" fmla="*/ 10 h 124"/>
                    <a:gd name="T44" fmla="*/ 16 w 259"/>
                    <a:gd name="T45" fmla="*/ 10 h 124"/>
                    <a:gd name="T46" fmla="*/ 17 w 259"/>
                    <a:gd name="T47" fmla="*/ 10 h 124"/>
                    <a:gd name="T48" fmla="*/ 18 w 259"/>
                    <a:gd name="T49" fmla="*/ 11 h 124"/>
                    <a:gd name="T50" fmla="*/ 19 w 259"/>
                    <a:gd name="T51" fmla="*/ 11 h 124"/>
                    <a:gd name="T52" fmla="*/ 19 w 259"/>
                    <a:gd name="T53" fmla="*/ 11 h 124"/>
                    <a:gd name="T54" fmla="*/ 21 w 259"/>
                    <a:gd name="T55" fmla="*/ 12 h 124"/>
                    <a:gd name="T56" fmla="*/ 22 w 259"/>
                    <a:gd name="T57" fmla="*/ 13 h 124"/>
                    <a:gd name="T58" fmla="*/ 27 w 259"/>
                    <a:gd name="T59" fmla="*/ 13 h 124"/>
                    <a:gd name="T60" fmla="*/ 27 w 259"/>
                    <a:gd name="T61" fmla="*/ 11 h 124"/>
                    <a:gd name="T62" fmla="*/ 26 w 259"/>
                    <a:gd name="T63" fmla="*/ 11 h 124"/>
                    <a:gd name="T64" fmla="*/ 25 w 259"/>
                    <a:gd name="T65" fmla="*/ 11 h 124"/>
                    <a:gd name="T66" fmla="*/ 24 w 259"/>
                    <a:gd name="T67" fmla="*/ 10 h 124"/>
                    <a:gd name="T68" fmla="*/ 23 w 259"/>
                    <a:gd name="T69" fmla="*/ 10 h 124"/>
                    <a:gd name="T70" fmla="*/ 24 w 259"/>
                    <a:gd name="T71" fmla="*/ 9 h 124"/>
                    <a:gd name="T72" fmla="*/ 24 w 259"/>
                    <a:gd name="T73" fmla="*/ 9 h 124"/>
                    <a:gd name="T74" fmla="*/ 25 w 259"/>
                    <a:gd name="T75" fmla="*/ 8 h 124"/>
                    <a:gd name="T76" fmla="*/ 25 w 259"/>
                    <a:gd name="T77" fmla="*/ 8 h 124"/>
                    <a:gd name="T78" fmla="*/ 24 w 259"/>
                    <a:gd name="T79" fmla="*/ 7 h 124"/>
                    <a:gd name="T80" fmla="*/ 24 w 259"/>
                    <a:gd name="T81" fmla="*/ 6 h 124"/>
                    <a:gd name="T82" fmla="*/ 23 w 259"/>
                    <a:gd name="T83" fmla="*/ 6 h 124"/>
                    <a:gd name="T84" fmla="*/ 22 w 259"/>
                    <a:gd name="T85" fmla="*/ 5 h 124"/>
                    <a:gd name="T86" fmla="*/ 20 w 259"/>
                    <a:gd name="T87" fmla="*/ 4 h 124"/>
                    <a:gd name="T88" fmla="*/ 19 w 259"/>
                    <a:gd name="T89" fmla="*/ 3 h 124"/>
                    <a:gd name="T90" fmla="*/ 17 w 259"/>
                    <a:gd name="T91" fmla="*/ 3 h 124"/>
                    <a:gd name="T92" fmla="*/ 16 w 259"/>
                    <a:gd name="T93" fmla="*/ 2 h 124"/>
                    <a:gd name="T94" fmla="*/ 15 w 259"/>
                    <a:gd name="T95" fmla="*/ 1 h 124"/>
                    <a:gd name="T96" fmla="*/ 14 w 259"/>
                    <a:gd name="T97" fmla="*/ 1 h 124"/>
                    <a:gd name="T98" fmla="*/ 14 w 259"/>
                    <a:gd name="T99" fmla="*/ 1 h 124"/>
                    <a:gd name="T100" fmla="*/ 13 w 259"/>
                    <a:gd name="T101" fmla="*/ 0 h 124"/>
                    <a:gd name="T102" fmla="*/ 13 w 259"/>
                    <a:gd name="T103" fmla="*/ 0 h 124"/>
                    <a:gd name="T104" fmla="*/ 12 w 259"/>
                    <a:gd name="T105" fmla="*/ 1 h 124"/>
                    <a:gd name="T106" fmla="*/ 11 w 259"/>
                    <a:gd name="T107" fmla="*/ 1 h 124"/>
                    <a:gd name="T108" fmla="*/ 10 w 259"/>
                    <a:gd name="T109" fmla="*/ 2 h 124"/>
                    <a:gd name="T110" fmla="*/ 8 w 259"/>
                    <a:gd name="T111" fmla="*/ 3 h 124"/>
                    <a:gd name="T112" fmla="*/ 6 w 259"/>
                    <a:gd name="T113" fmla="*/ 5 h 124"/>
                    <a:gd name="T114" fmla="*/ 4 w 259"/>
                    <a:gd name="T115" fmla="*/ 6 h 124"/>
                    <a:gd name="T116" fmla="*/ 2 w 259"/>
                    <a:gd name="T117" fmla="*/ 8 h 124"/>
                    <a:gd name="T118" fmla="*/ 1 w 259"/>
                    <a:gd name="T119" fmla="*/ 9 h 124"/>
                    <a:gd name="T120" fmla="*/ 0 w 259"/>
                    <a:gd name="T121" fmla="*/ 10 h 124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0" t="0" r="r" b="b"/>
                  <a:pathLst>
                    <a:path w="259" h="124">
                      <a:moveTo>
                        <a:pt x="0" y="93"/>
                      </a:moveTo>
                      <a:lnTo>
                        <a:pt x="0" y="96"/>
                      </a:lnTo>
                      <a:lnTo>
                        <a:pt x="2" y="100"/>
                      </a:lnTo>
                      <a:lnTo>
                        <a:pt x="4" y="103"/>
                      </a:lnTo>
                      <a:lnTo>
                        <a:pt x="6" y="106"/>
                      </a:lnTo>
                      <a:lnTo>
                        <a:pt x="14" y="111"/>
                      </a:lnTo>
                      <a:lnTo>
                        <a:pt x="23" y="115"/>
                      </a:lnTo>
                      <a:lnTo>
                        <a:pt x="31" y="120"/>
                      </a:lnTo>
                      <a:lnTo>
                        <a:pt x="41" y="122"/>
                      </a:lnTo>
                      <a:lnTo>
                        <a:pt x="51" y="124"/>
                      </a:lnTo>
                      <a:lnTo>
                        <a:pt x="60" y="124"/>
                      </a:lnTo>
                      <a:lnTo>
                        <a:pt x="68" y="124"/>
                      </a:lnTo>
                      <a:lnTo>
                        <a:pt x="75" y="123"/>
                      </a:lnTo>
                      <a:lnTo>
                        <a:pt x="81" y="122"/>
                      </a:lnTo>
                      <a:lnTo>
                        <a:pt x="87" y="120"/>
                      </a:lnTo>
                      <a:lnTo>
                        <a:pt x="97" y="114"/>
                      </a:lnTo>
                      <a:lnTo>
                        <a:pt x="106" y="108"/>
                      </a:lnTo>
                      <a:lnTo>
                        <a:pt x="115" y="103"/>
                      </a:lnTo>
                      <a:lnTo>
                        <a:pt x="125" y="98"/>
                      </a:lnTo>
                      <a:lnTo>
                        <a:pt x="130" y="96"/>
                      </a:lnTo>
                      <a:lnTo>
                        <a:pt x="137" y="94"/>
                      </a:lnTo>
                      <a:lnTo>
                        <a:pt x="145" y="93"/>
                      </a:lnTo>
                      <a:lnTo>
                        <a:pt x="152" y="93"/>
                      </a:lnTo>
                      <a:lnTo>
                        <a:pt x="162" y="94"/>
                      </a:lnTo>
                      <a:lnTo>
                        <a:pt x="171" y="96"/>
                      </a:lnTo>
                      <a:lnTo>
                        <a:pt x="180" y="99"/>
                      </a:lnTo>
                      <a:lnTo>
                        <a:pt x="188" y="103"/>
                      </a:lnTo>
                      <a:lnTo>
                        <a:pt x="204" y="111"/>
                      </a:lnTo>
                      <a:lnTo>
                        <a:pt x="219" y="117"/>
                      </a:lnTo>
                      <a:lnTo>
                        <a:pt x="259" y="117"/>
                      </a:lnTo>
                      <a:lnTo>
                        <a:pt x="259" y="99"/>
                      </a:lnTo>
                      <a:lnTo>
                        <a:pt x="252" y="98"/>
                      </a:lnTo>
                      <a:lnTo>
                        <a:pt x="244" y="96"/>
                      </a:lnTo>
                      <a:lnTo>
                        <a:pt x="236" y="94"/>
                      </a:lnTo>
                      <a:lnTo>
                        <a:pt x="226" y="93"/>
                      </a:lnTo>
                      <a:lnTo>
                        <a:pt x="230" y="85"/>
                      </a:lnTo>
                      <a:lnTo>
                        <a:pt x="236" y="79"/>
                      </a:lnTo>
                      <a:lnTo>
                        <a:pt x="240" y="74"/>
                      </a:lnTo>
                      <a:lnTo>
                        <a:pt x="246" y="69"/>
                      </a:lnTo>
                      <a:lnTo>
                        <a:pt x="238" y="61"/>
                      </a:lnTo>
                      <a:lnTo>
                        <a:pt x="230" y="56"/>
                      </a:lnTo>
                      <a:lnTo>
                        <a:pt x="222" y="50"/>
                      </a:lnTo>
                      <a:lnTo>
                        <a:pt x="214" y="46"/>
                      </a:lnTo>
                      <a:lnTo>
                        <a:pt x="197" y="37"/>
                      </a:lnTo>
                      <a:lnTo>
                        <a:pt x="182" y="30"/>
                      </a:lnTo>
                      <a:lnTo>
                        <a:pt x="166" y="23"/>
                      </a:lnTo>
                      <a:lnTo>
                        <a:pt x="153" y="17"/>
                      </a:lnTo>
                      <a:lnTo>
                        <a:pt x="147" y="13"/>
                      </a:lnTo>
                      <a:lnTo>
                        <a:pt x="141" y="10"/>
                      </a:lnTo>
                      <a:lnTo>
                        <a:pt x="137" y="5"/>
                      </a:lnTo>
                      <a:lnTo>
                        <a:pt x="132" y="0"/>
                      </a:lnTo>
                      <a:lnTo>
                        <a:pt x="124" y="3"/>
                      </a:lnTo>
                      <a:lnTo>
                        <a:pt x="114" y="7"/>
                      </a:lnTo>
                      <a:lnTo>
                        <a:pt x="105" y="12"/>
                      </a:lnTo>
                      <a:lnTo>
                        <a:pt x="95" y="17"/>
                      </a:lnTo>
                      <a:lnTo>
                        <a:pt x="75" y="29"/>
                      </a:lnTo>
                      <a:lnTo>
                        <a:pt x="57" y="42"/>
                      </a:lnTo>
                      <a:lnTo>
                        <a:pt x="38" y="56"/>
                      </a:lnTo>
                      <a:lnTo>
                        <a:pt x="23" y="70"/>
                      </a:lnTo>
                      <a:lnTo>
                        <a:pt x="9" y="83"/>
                      </a:lnTo>
                      <a:lnTo>
                        <a:pt x="0" y="9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6" name="Freeform 421">
                  <a:extLst>
                    <a:ext uri="{FF2B5EF4-FFF2-40B4-BE49-F238E27FC236}">
                      <a16:creationId xmlns:a16="http://schemas.microsoft.com/office/drawing/2014/main" id="{B6C4A7B4-5F30-433D-9A71-F515BD685E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7" y="1389"/>
                  <a:ext cx="38" cy="22"/>
                </a:xfrm>
                <a:custGeom>
                  <a:avLst/>
                  <a:gdLst>
                    <a:gd name="T0" fmla="*/ 0 w 119"/>
                    <a:gd name="T1" fmla="*/ 4 h 57"/>
                    <a:gd name="T2" fmla="*/ 1 w 119"/>
                    <a:gd name="T3" fmla="*/ 4 h 57"/>
                    <a:gd name="T4" fmla="*/ 1 w 119"/>
                    <a:gd name="T5" fmla="*/ 4 h 57"/>
                    <a:gd name="T6" fmla="*/ 2 w 119"/>
                    <a:gd name="T7" fmla="*/ 5 h 57"/>
                    <a:gd name="T8" fmla="*/ 3 w 119"/>
                    <a:gd name="T9" fmla="*/ 5 h 57"/>
                    <a:gd name="T10" fmla="*/ 3 w 119"/>
                    <a:gd name="T11" fmla="*/ 6 h 57"/>
                    <a:gd name="T12" fmla="*/ 4 w 119"/>
                    <a:gd name="T13" fmla="*/ 6 h 57"/>
                    <a:gd name="T14" fmla="*/ 4 w 119"/>
                    <a:gd name="T15" fmla="*/ 6 h 57"/>
                    <a:gd name="T16" fmla="*/ 5 w 119"/>
                    <a:gd name="T17" fmla="*/ 6 h 57"/>
                    <a:gd name="T18" fmla="*/ 6 w 119"/>
                    <a:gd name="T19" fmla="*/ 6 h 57"/>
                    <a:gd name="T20" fmla="*/ 6 w 119"/>
                    <a:gd name="T21" fmla="*/ 6 h 57"/>
                    <a:gd name="T22" fmla="*/ 7 w 119"/>
                    <a:gd name="T23" fmla="*/ 6 h 57"/>
                    <a:gd name="T24" fmla="*/ 8 w 119"/>
                    <a:gd name="T25" fmla="*/ 6 h 57"/>
                    <a:gd name="T26" fmla="*/ 9 w 119"/>
                    <a:gd name="T27" fmla="*/ 6 h 57"/>
                    <a:gd name="T28" fmla="*/ 9 w 119"/>
                    <a:gd name="T29" fmla="*/ 5 h 57"/>
                    <a:gd name="T30" fmla="*/ 10 w 119"/>
                    <a:gd name="T31" fmla="*/ 5 h 57"/>
                    <a:gd name="T32" fmla="*/ 10 w 119"/>
                    <a:gd name="T33" fmla="*/ 4 h 57"/>
                    <a:gd name="T34" fmla="*/ 11 w 119"/>
                    <a:gd name="T35" fmla="*/ 4 h 57"/>
                    <a:gd name="T36" fmla="*/ 11 w 119"/>
                    <a:gd name="T37" fmla="*/ 3 h 57"/>
                    <a:gd name="T38" fmla="*/ 12 w 119"/>
                    <a:gd name="T39" fmla="*/ 1 h 57"/>
                    <a:gd name="T40" fmla="*/ 12 w 119"/>
                    <a:gd name="T41" fmla="*/ 0 h 57"/>
                    <a:gd name="T42" fmla="*/ 10 w 119"/>
                    <a:gd name="T43" fmla="*/ 0 h 57"/>
                    <a:gd name="T44" fmla="*/ 8 w 119"/>
                    <a:gd name="T45" fmla="*/ 0 h 57"/>
                    <a:gd name="T46" fmla="*/ 6 w 119"/>
                    <a:gd name="T47" fmla="*/ 0 h 57"/>
                    <a:gd name="T48" fmla="*/ 4 w 119"/>
                    <a:gd name="T49" fmla="*/ 1 h 57"/>
                    <a:gd name="T50" fmla="*/ 4 w 119"/>
                    <a:gd name="T51" fmla="*/ 1 h 57"/>
                    <a:gd name="T52" fmla="*/ 3 w 119"/>
                    <a:gd name="T53" fmla="*/ 1 h 57"/>
                    <a:gd name="T54" fmla="*/ 2 w 119"/>
                    <a:gd name="T55" fmla="*/ 1 h 57"/>
                    <a:gd name="T56" fmla="*/ 2 w 119"/>
                    <a:gd name="T57" fmla="*/ 2 h 57"/>
                    <a:gd name="T58" fmla="*/ 1 w 119"/>
                    <a:gd name="T59" fmla="*/ 2 h 57"/>
                    <a:gd name="T60" fmla="*/ 1 w 119"/>
                    <a:gd name="T61" fmla="*/ 3 h 57"/>
                    <a:gd name="T62" fmla="*/ 0 w 119"/>
                    <a:gd name="T63" fmla="*/ 3 h 57"/>
                    <a:gd name="T64" fmla="*/ 0 w 119"/>
                    <a:gd name="T65" fmla="*/ 4 h 57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0" t="0" r="r" b="b"/>
                  <a:pathLst>
                    <a:path w="119" h="57">
                      <a:moveTo>
                        <a:pt x="0" y="32"/>
                      </a:moveTo>
                      <a:lnTo>
                        <a:pt x="7" y="35"/>
                      </a:lnTo>
                      <a:lnTo>
                        <a:pt x="14" y="38"/>
                      </a:lnTo>
                      <a:lnTo>
                        <a:pt x="20" y="42"/>
                      </a:lnTo>
                      <a:lnTo>
                        <a:pt x="26" y="47"/>
                      </a:lnTo>
                      <a:lnTo>
                        <a:pt x="32" y="51"/>
                      </a:lnTo>
                      <a:lnTo>
                        <a:pt x="36" y="54"/>
                      </a:lnTo>
                      <a:lnTo>
                        <a:pt x="41" y="56"/>
                      </a:lnTo>
                      <a:lnTo>
                        <a:pt x="47" y="57"/>
                      </a:lnTo>
                      <a:lnTo>
                        <a:pt x="55" y="57"/>
                      </a:lnTo>
                      <a:lnTo>
                        <a:pt x="62" y="56"/>
                      </a:lnTo>
                      <a:lnTo>
                        <a:pt x="70" y="55"/>
                      </a:lnTo>
                      <a:lnTo>
                        <a:pt x="77" y="53"/>
                      </a:lnTo>
                      <a:lnTo>
                        <a:pt x="83" y="50"/>
                      </a:lnTo>
                      <a:lnTo>
                        <a:pt x="89" y="48"/>
                      </a:lnTo>
                      <a:lnTo>
                        <a:pt x="93" y="44"/>
                      </a:lnTo>
                      <a:lnTo>
                        <a:pt x="97" y="40"/>
                      </a:lnTo>
                      <a:lnTo>
                        <a:pt x="106" y="32"/>
                      </a:lnTo>
                      <a:lnTo>
                        <a:pt x="112" y="23"/>
                      </a:lnTo>
                      <a:lnTo>
                        <a:pt x="116" y="13"/>
                      </a:lnTo>
                      <a:lnTo>
                        <a:pt x="119" y="1"/>
                      </a:lnTo>
                      <a:lnTo>
                        <a:pt x="101" y="0"/>
                      </a:lnTo>
                      <a:lnTo>
                        <a:pt x="82" y="0"/>
                      </a:lnTo>
                      <a:lnTo>
                        <a:pt x="63" y="2"/>
                      </a:lnTo>
                      <a:lnTo>
                        <a:pt x="45" y="5"/>
                      </a:lnTo>
                      <a:lnTo>
                        <a:pt x="36" y="7"/>
                      </a:lnTo>
                      <a:lnTo>
                        <a:pt x="28" y="10"/>
                      </a:lnTo>
                      <a:lnTo>
                        <a:pt x="22" y="13"/>
                      </a:lnTo>
                      <a:lnTo>
                        <a:pt x="15" y="16"/>
                      </a:lnTo>
                      <a:lnTo>
                        <a:pt x="10" y="19"/>
                      </a:lnTo>
                      <a:lnTo>
                        <a:pt x="5" y="23"/>
                      </a:lnTo>
                      <a:lnTo>
                        <a:pt x="2" y="27"/>
                      </a:lnTo>
                      <a:lnTo>
                        <a:pt x="0" y="32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7" name="Freeform 422">
                  <a:extLst>
                    <a:ext uri="{FF2B5EF4-FFF2-40B4-BE49-F238E27FC236}">
                      <a16:creationId xmlns:a16="http://schemas.microsoft.com/office/drawing/2014/main" id="{4E0AC97F-60DC-4A3F-B24D-7567EEEA66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54" y="1335"/>
                  <a:ext cx="30" cy="17"/>
                </a:xfrm>
                <a:custGeom>
                  <a:avLst/>
                  <a:gdLst>
                    <a:gd name="T0" fmla="*/ 0 w 107"/>
                    <a:gd name="T1" fmla="*/ 5 h 52"/>
                    <a:gd name="T2" fmla="*/ 1 w 107"/>
                    <a:gd name="T3" fmla="*/ 6 h 52"/>
                    <a:gd name="T4" fmla="*/ 1 w 107"/>
                    <a:gd name="T5" fmla="*/ 6 h 52"/>
                    <a:gd name="T6" fmla="*/ 1 w 107"/>
                    <a:gd name="T7" fmla="*/ 6 h 52"/>
                    <a:gd name="T8" fmla="*/ 2 w 107"/>
                    <a:gd name="T9" fmla="*/ 6 h 52"/>
                    <a:gd name="T10" fmla="*/ 3 w 107"/>
                    <a:gd name="T11" fmla="*/ 5 h 52"/>
                    <a:gd name="T12" fmla="*/ 3 w 107"/>
                    <a:gd name="T13" fmla="*/ 5 h 52"/>
                    <a:gd name="T14" fmla="*/ 4 w 107"/>
                    <a:gd name="T15" fmla="*/ 5 h 52"/>
                    <a:gd name="T16" fmla="*/ 5 w 107"/>
                    <a:gd name="T17" fmla="*/ 5 h 52"/>
                    <a:gd name="T18" fmla="*/ 6 w 107"/>
                    <a:gd name="T19" fmla="*/ 5 h 52"/>
                    <a:gd name="T20" fmla="*/ 7 w 107"/>
                    <a:gd name="T21" fmla="*/ 5 h 52"/>
                    <a:gd name="T22" fmla="*/ 8 w 107"/>
                    <a:gd name="T23" fmla="*/ 4 h 52"/>
                    <a:gd name="T24" fmla="*/ 9 w 107"/>
                    <a:gd name="T25" fmla="*/ 4 h 52"/>
                    <a:gd name="T26" fmla="*/ 10 w 107"/>
                    <a:gd name="T27" fmla="*/ 3 h 52"/>
                    <a:gd name="T28" fmla="*/ 11 w 107"/>
                    <a:gd name="T29" fmla="*/ 3 h 52"/>
                    <a:gd name="T30" fmla="*/ 11 w 107"/>
                    <a:gd name="T31" fmla="*/ 0 h 52"/>
                    <a:gd name="T32" fmla="*/ 10 w 107"/>
                    <a:gd name="T33" fmla="*/ 0 h 52"/>
                    <a:gd name="T34" fmla="*/ 9 w 107"/>
                    <a:gd name="T35" fmla="*/ 0 h 52"/>
                    <a:gd name="T36" fmla="*/ 7 w 107"/>
                    <a:gd name="T37" fmla="*/ 1 h 52"/>
                    <a:gd name="T38" fmla="*/ 6 w 107"/>
                    <a:gd name="T39" fmla="*/ 1 h 52"/>
                    <a:gd name="T40" fmla="*/ 4 w 107"/>
                    <a:gd name="T41" fmla="*/ 2 h 52"/>
                    <a:gd name="T42" fmla="*/ 3 w 107"/>
                    <a:gd name="T43" fmla="*/ 3 h 52"/>
                    <a:gd name="T44" fmla="*/ 2 w 107"/>
                    <a:gd name="T45" fmla="*/ 4 h 52"/>
                    <a:gd name="T46" fmla="*/ 1 w 107"/>
                    <a:gd name="T47" fmla="*/ 4 h 52"/>
                    <a:gd name="T48" fmla="*/ 1 w 107"/>
                    <a:gd name="T49" fmla="*/ 5 h 52"/>
                    <a:gd name="T50" fmla="*/ 0 w 107"/>
                    <a:gd name="T51" fmla="*/ 5 h 52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</a:gdLst>
                  <a:ahLst/>
                  <a:cxnLst>
                    <a:cxn ang="T52">
                      <a:pos x="T0" y="T1"/>
                    </a:cxn>
                    <a:cxn ang="T53">
                      <a:pos x="T2" y="T3"/>
                    </a:cxn>
                    <a:cxn ang="T54">
                      <a:pos x="T4" y="T5"/>
                    </a:cxn>
                    <a:cxn ang="T55">
                      <a:pos x="T6" y="T7"/>
                    </a:cxn>
                    <a:cxn ang="T56">
                      <a:pos x="T8" y="T9"/>
                    </a:cxn>
                    <a:cxn ang="T57">
                      <a:pos x="T10" y="T11"/>
                    </a:cxn>
                    <a:cxn ang="T58">
                      <a:pos x="T12" y="T13"/>
                    </a:cxn>
                    <a:cxn ang="T59">
                      <a:pos x="T14" y="T15"/>
                    </a:cxn>
                    <a:cxn ang="T60">
                      <a:pos x="T16" y="T17"/>
                    </a:cxn>
                    <a:cxn ang="T61">
                      <a:pos x="T18" y="T19"/>
                    </a:cxn>
                    <a:cxn ang="T62">
                      <a:pos x="T20" y="T21"/>
                    </a:cxn>
                    <a:cxn ang="T63">
                      <a:pos x="T22" y="T23"/>
                    </a:cxn>
                    <a:cxn ang="T64">
                      <a:pos x="T24" y="T25"/>
                    </a:cxn>
                    <a:cxn ang="T65">
                      <a:pos x="T26" y="T27"/>
                    </a:cxn>
                    <a:cxn ang="T66">
                      <a:pos x="T28" y="T29"/>
                    </a:cxn>
                    <a:cxn ang="T67">
                      <a:pos x="T30" y="T31"/>
                    </a:cxn>
                    <a:cxn ang="T68">
                      <a:pos x="T32" y="T33"/>
                    </a:cxn>
                    <a:cxn ang="T69">
                      <a:pos x="T34" y="T35"/>
                    </a:cxn>
                    <a:cxn ang="T70">
                      <a:pos x="T36" y="T37"/>
                    </a:cxn>
                    <a:cxn ang="T71">
                      <a:pos x="T38" y="T39"/>
                    </a:cxn>
                    <a:cxn ang="T72">
                      <a:pos x="T40" y="T41"/>
                    </a:cxn>
                    <a:cxn ang="T73">
                      <a:pos x="T42" y="T43"/>
                    </a:cxn>
                    <a:cxn ang="T74">
                      <a:pos x="T44" y="T45"/>
                    </a:cxn>
                    <a:cxn ang="T75">
                      <a:pos x="T46" y="T47"/>
                    </a:cxn>
                    <a:cxn ang="T76">
                      <a:pos x="T48" y="T49"/>
                    </a:cxn>
                    <a:cxn ang="T77">
                      <a:pos x="T50" y="T51"/>
                    </a:cxn>
                  </a:cxnLst>
                  <a:rect l="0" t="0" r="r" b="b"/>
                  <a:pathLst>
                    <a:path w="107" h="52">
                      <a:moveTo>
                        <a:pt x="0" y="50"/>
                      </a:moveTo>
                      <a:lnTo>
                        <a:pt x="6" y="51"/>
                      </a:lnTo>
                      <a:lnTo>
                        <a:pt x="9" y="52"/>
                      </a:lnTo>
                      <a:lnTo>
                        <a:pt x="13" y="52"/>
                      </a:lnTo>
                      <a:lnTo>
                        <a:pt x="17" y="52"/>
                      </a:lnTo>
                      <a:lnTo>
                        <a:pt x="24" y="50"/>
                      </a:lnTo>
                      <a:lnTo>
                        <a:pt x="34" y="50"/>
                      </a:lnTo>
                      <a:lnTo>
                        <a:pt x="43" y="49"/>
                      </a:lnTo>
                      <a:lnTo>
                        <a:pt x="53" y="48"/>
                      </a:lnTo>
                      <a:lnTo>
                        <a:pt x="62" y="47"/>
                      </a:lnTo>
                      <a:lnTo>
                        <a:pt x="70" y="43"/>
                      </a:lnTo>
                      <a:lnTo>
                        <a:pt x="79" y="40"/>
                      </a:lnTo>
                      <a:lnTo>
                        <a:pt x="88" y="36"/>
                      </a:lnTo>
                      <a:lnTo>
                        <a:pt x="97" y="31"/>
                      </a:lnTo>
                      <a:lnTo>
                        <a:pt x="107" y="24"/>
                      </a:lnTo>
                      <a:lnTo>
                        <a:pt x="107" y="0"/>
                      </a:lnTo>
                      <a:lnTo>
                        <a:pt x="98" y="1"/>
                      </a:lnTo>
                      <a:lnTo>
                        <a:pt x="86" y="3"/>
                      </a:lnTo>
                      <a:lnTo>
                        <a:pt x="72" y="7"/>
                      </a:lnTo>
                      <a:lnTo>
                        <a:pt x="56" y="13"/>
                      </a:lnTo>
                      <a:lnTo>
                        <a:pt x="41" y="20"/>
                      </a:lnTo>
                      <a:lnTo>
                        <a:pt x="25" y="28"/>
                      </a:lnTo>
                      <a:lnTo>
                        <a:pt x="19" y="33"/>
                      </a:lnTo>
                      <a:lnTo>
                        <a:pt x="12" y="38"/>
                      </a:lnTo>
                      <a:lnTo>
                        <a:pt x="6" y="43"/>
                      </a:lnTo>
                      <a:lnTo>
                        <a:pt x="0" y="5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8" name="Freeform 423">
                  <a:extLst>
                    <a:ext uri="{FF2B5EF4-FFF2-40B4-BE49-F238E27FC236}">
                      <a16:creationId xmlns:a16="http://schemas.microsoft.com/office/drawing/2014/main" id="{97891825-C4CF-4E6F-A0E0-C8E749E320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" y="1244"/>
                  <a:ext cx="77" cy="32"/>
                </a:xfrm>
                <a:custGeom>
                  <a:avLst/>
                  <a:gdLst>
                    <a:gd name="T0" fmla="*/ 3 w 246"/>
                    <a:gd name="T1" fmla="*/ 10 h 99"/>
                    <a:gd name="T2" fmla="*/ 2 w 246"/>
                    <a:gd name="T3" fmla="*/ 10 h 99"/>
                    <a:gd name="T4" fmla="*/ 2 w 246"/>
                    <a:gd name="T5" fmla="*/ 10 h 99"/>
                    <a:gd name="T6" fmla="*/ 1 w 246"/>
                    <a:gd name="T7" fmla="*/ 10 h 99"/>
                    <a:gd name="T8" fmla="*/ 1 w 246"/>
                    <a:gd name="T9" fmla="*/ 9 h 99"/>
                    <a:gd name="T10" fmla="*/ 1 w 246"/>
                    <a:gd name="T11" fmla="*/ 9 h 99"/>
                    <a:gd name="T12" fmla="*/ 0 w 246"/>
                    <a:gd name="T13" fmla="*/ 9 h 99"/>
                    <a:gd name="T14" fmla="*/ 0 w 246"/>
                    <a:gd name="T15" fmla="*/ 8 h 99"/>
                    <a:gd name="T16" fmla="*/ 0 w 246"/>
                    <a:gd name="T17" fmla="*/ 8 h 99"/>
                    <a:gd name="T18" fmla="*/ 0 w 246"/>
                    <a:gd name="T19" fmla="*/ 7 h 99"/>
                    <a:gd name="T20" fmla="*/ 0 w 246"/>
                    <a:gd name="T21" fmla="*/ 7 h 99"/>
                    <a:gd name="T22" fmla="*/ 0 w 246"/>
                    <a:gd name="T23" fmla="*/ 6 h 99"/>
                    <a:gd name="T24" fmla="*/ 1 w 246"/>
                    <a:gd name="T25" fmla="*/ 6 h 99"/>
                    <a:gd name="T26" fmla="*/ 1 w 246"/>
                    <a:gd name="T27" fmla="*/ 5 h 99"/>
                    <a:gd name="T28" fmla="*/ 2 w 246"/>
                    <a:gd name="T29" fmla="*/ 4 h 99"/>
                    <a:gd name="T30" fmla="*/ 3 w 246"/>
                    <a:gd name="T31" fmla="*/ 4 h 99"/>
                    <a:gd name="T32" fmla="*/ 4 w 246"/>
                    <a:gd name="T33" fmla="*/ 3 h 99"/>
                    <a:gd name="T34" fmla="*/ 5 w 246"/>
                    <a:gd name="T35" fmla="*/ 2 h 99"/>
                    <a:gd name="T36" fmla="*/ 6 w 246"/>
                    <a:gd name="T37" fmla="*/ 2 h 99"/>
                    <a:gd name="T38" fmla="*/ 7 w 246"/>
                    <a:gd name="T39" fmla="*/ 2 h 99"/>
                    <a:gd name="T40" fmla="*/ 8 w 246"/>
                    <a:gd name="T41" fmla="*/ 1 h 99"/>
                    <a:gd name="T42" fmla="*/ 10 w 246"/>
                    <a:gd name="T43" fmla="*/ 1 h 99"/>
                    <a:gd name="T44" fmla="*/ 11 w 246"/>
                    <a:gd name="T45" fmla="*/ 0 h 99"/>
                    <a:gd name="T46" fmla="*/ 13 w 246"/>
                    <a:gd name="T47" fmla="*/ 0 h 99"/>
                    <a:gd name="T48" fmla="*/ 14 w 246"/>
                    <a:gd name="T49" fmla="*/ 0 h 99"/>
                    <a:gd name="T50" fmla="*/ 17 w 246"/>
                    <a:gd name="T51" fmla="*/ 0 h 99"/>
                    <a:gd name="T52" fmla="*/ 20 w 246"/>
                    <a:gd name="T53" fmla="*/ 0 h 99"/>
                    <a:gd name="T54" fmla="*/ 22 w 246"/>
                    <a:gd name="T55" fmla="*/ 0 h 99"/>
                    <a:gd name="T56" fmla="*/ 25 w 246"/>
                    <a:gd name="T57" fmla="*/ 1 h 99"/>
                    <a:gd name="T58" fmla="*/ 25 w 246"/>
                    <a:gd name="T59" fmla="*/ 1 h 99"/>
                    <a:gd name="T60" fmla="*/ 25 w 246"/>
                    <a:gd name="T61" fmla="*/ 2 h 99"/>
                    <a:gd name="T62" fmla="*/ 24 w 246"/>
                    <a:gd name="T63" fmla="*/ 2 h 99"/>
                    <a:gd name="T64" fmla="*/ 24 w 246"/>
                    <a:gd name="T65" fmla="*/ 3 h 99"/>
                    <a:gd name="T66" fmla="*/ 22 w 246"/>
                    <a:gd name="T67" fmla="*/ 4 h 99"/>
                    <a:gd name="T68" fmla="*/ 21 w 246"/>
                    <a:gd name="T69" fmla="*/ 5 h 99"/>
                    <a:gd name="T70" fmla="*/ 19 w 246"/>
                    <a:gd name="T71" fmla="*/ 6 h 99"/>
                    <a:gd name="T72" fmla="*/ 17 w 246"/>
                    <a:gd name="T73" fmla="*/ 6 h 99"/>
                    <a:gd name="T74" fmla="*/ 16 w 246"/>
                    <a:gd name="T75" fmla="*/ 7 h 99"/>
                    <a:gd name="T76" fmla="*/ 15 w 246"/>
                    <a:gd name="T77" fmla="*/ 7 h 99"/>
                    <a:gd name="T78" fmla="*/ 14 w 246"/>
                    <a:gd name="T79" fmla="*/ 7 h 99"/>
                    <a:gd name="T80" fmla="*/ 13 w 246"/>
                    <a:gd name="T81" fmla="*/ 7 h 99"/>
                    <a:gd name="T82" fmla="*/ 13 w 246"/>
                    <a:gd name="T83" fmla="*/ 7 h 99"/>
                    <a:gd name="T84" fmla="*/ 11 w 246"/>
                    <a:gd name="T85" fmla="*/ 7 h 99"/>
                    <a:gd name="T86" fmla="*/ 10 w 246"/>
                    <a:gd name="T87" fmla="*/ 7 h 99"/>
                    <a:gd name="T88" fmla="*/ 10 w 246"/>
                    <a:gd name="T89" fmla="*/ 7 h 99"/>
                    <a:gd name="T90" fmla="*/ 9 w 246"/>
                    <a:gd name="T91" fmla="*/ 7 h 99"/>
                    <a:gd name="T92" fmla="*/ 8 w 246"/>
                    <a:gd name="T93" fmla="*/ 7 h 99"/>
                    <a:gd name="T94" fmla="*/ 7 w 246"/>
                    <a:gd name="T95" fmla="*/ 8 h 99"/>
                    <a:gd name="T96" fmla="*/ 6 w 246"/>
                    <a:gd name="T97" fmla="*/ 9 h 99"/>
                    <a:gd name="T98" fmla="*/ 5 w 246"/>
                    <a:gd name="T99" fmla="*/ 9 h 99"/>
                    <a:gd name="T100" fmla="*/ 4 w 246"/>
                    <a:gd name="T101" fmla="*/ 10 h 99"/>
                    <a:gd name="T102" fmla="*/ 4 w 246"/>
                    <a:gd name="T103" fmla="*/ 10 h 99"/>
                    <a:gd name="T104" fmla="*/ 3 w 246"/>
                    <a:gd name="T105" fmla="*/ 10 h 99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</a:gdLst>
                  <a:ahLst/>
                  <a:cxnLst>
                    <a:cxn ang="T106">
                      <a:pos x="T0" y="T1"/>
                    </a:cxn>
                    <a:cxn ang="T107">
                      <a:pos x="T2" y="T3"/>
                    </a:cxn>
                    <a:cxn ang="T108">
                      <a:pos x="T4" y="T5"/>
                    </a:cxn>
                    <a:cxn ang="T109">
                      <a:pos x="T6" y="T7"/>
                    </a:cxn>
                    <a:cxn ang="T110">
                      <a:pos x="T8" y="T9"/>
                    </a:cxn>
                    <a:cxn ang="T111">
                      <a:pos x="T10" y="T11"/>
                    </a:cxn>
                    <a:cxn ang="T112">
                      <a:pos x="T12" y="T13"/>
                    </a:cxn>
                    <a:cxn ang="T113">
                      <a:pos x="T14" y="T15"/>
                    </a:cxn>
                    <a:cxn ang="T114">
                      <a:pos x="T16" y="T17"/>
                    </a:cxn>
                    <a:cxn ang="T115">
                      <a:pos x="T18" y="T19"/>
                    </a:cxn>
                    <a:cxn ang="T116">
                      <a:pos x="T20" y="T21"/>
                    </a:cxn>
                    <a:cxn ang="T117">
                      <a:pos x="T22" y="T23"/>
                    </a:cxn>
                    <a:cxn ang="T118">
                      <a:pos x="T24" y="T25"/>
                    </a:cxn>
                    <a:cxn ang="T119">
                      <a:pos x="T26" y="T27"/>
                    </a:cxn>
                    <a:cxn ang="T120">
                      <a:pos x="T28" y="T29"/>
                    </a:cxn>
                    <a:cxn ang="T121">
                      <a:pos x="T30" y="T31"/>
                    </a:cxn>
                    <a:cxn ang="T122">
                      <a:pos x="T32" y="T33"/>
                    </a:cxn>
                    <a:cxn ang="T123">
                      <a:pos x="T34" y="T35"/>
                    </a:cxn>
                    <a:cxn ang="T124">
                      <a:pos x="T36" y="T37"/>
                    </a:cxn>
                    <a:cxn ang="T125">
                      <a:pos x="T38" y="T39"/>
                    </a:cxn>
                    <a:cxn ang="T126">
                      <a:pos x="T40" y="T41"/>
                    </a:cxn>
                    <a:cxn ang="T127">
                      <a:pos x="T42" y="T43"/>
                    </a:cxn>
                    <a:cxn ang="T128">
                      <a:pos x="T44" y="T45"/>
                    </a:cxn>
                    <a:cxn ang="T129">
                      <a:pos x="T46" y="T47"/>
                    </a:cxn>
                    <a:cxn ang="T130">
                      <a:pos x="T48" y="T49"/>
                    </a:cxn>
                    <a:cxn ang="T131">
                      <a:pos x="T50" y="T51"/>
                    </a:cxn>
                    <a:cxn ang="T132">
                      <a:pos x="T52" y="T53"/>
                    </a:cxn>
                    <a:cxn ang="T133">
                      <a:pos x="T54" y="T55"/>
                    </a:cxn>
                    <a:cxn ang="T134">
                      <a:pos x="T56" y="T57"/>
                    </a:cxn>
                    <a:cxn ang="T135">
                      <a:pos x="T58" y="T59"/>
                    </a:cxn>
                    <a:cxn ang="T136">
                      <a:pos x="T60" y="T61"/>
                    </a:cxn>
                    <a:cxn ang="T137">
                      <a:pos x="T62" y="T63"/>
                    </a:cxn>
                    <a:cxn ang="T138">
                      <a:pos x="T64" y="T65"/>
                    </a:cxn>
                    <a:cxn ang="T139">
                      <a:pos x="T66" y="T67"/>
                    </a:cxn>
                    <a:cxn ang="T140">
                      <a:pos x="T68" y="T69"/>
                    </a:cxn>
                    <a:cxn ang="T141">
                      <a:pos x="T70" y="T71"/>
                    </a:cxn>
                    <a:cxn ang="T142">
                      <a:pos x="T72" y="T73"/>
                    </a:cxn>
                    <a:cxn ang="T143">
                      <a:pos x="T74" y="T75"/>
                    </a:cxn>
                    <a:cxn ang="T144">
                      <a:pos x="T76" y="T77"/>
                    </a:cxn>
                    <a:cxn ang="T145">
                      <a:pos x="T78" y="T79"/>
                    </a:cxn>
                    <a:cxn ang="T146">
                      <a:pos x="T80" y="T81"/>
                    </a:cxn>
                    <a:cxn ang="T147">
                      <a:pos x="T82" y="T83"/>
                    </a:cxn>
                    <a:cxn ang="T148">
                      <a:pos x="T84" y="T85"/>
                    </a:cxn>
                    <a:cxn ang="T149">
                      <a:pos x="T86" y="T87"/>
                    </a:cxn>
                    <a:cxn ang="T150">
                      <a:pos x="T88" y="T89"/>
                    </a:cxn>
                    <a:cxn ang="T151">
                      <a:pos x="T90" y="T91"/>
                    </a:cxn>
                    <a:cxn ang="T152">
                      <a:pos x="T92" y="T93"/>
                    </a:cxn>
                    <a:cxn ang="T153">
                      <a:pos x="T94" y="T95"/>
                    </a:cxn>
                    <a:cxn ang="T154">
                      <a:pos x="T96" y="T97"/>
                    </a:cxn>
                    <a:cxn ang="T155">
                      <a:pos x="T98" y="T99"/>
                    </a:cxn>
                    <a:cxn ang="T156">
                      <a:pos x="T100" y="T101"/>
                    </a:cxn>
                    <a:cxn ang="T157">
                      <a:pos x="T102" y="T103"/>
                    </a:cxn>
                    <a:cxn ang="T158">
                      <a:pos x="T104" y="T105"/>
                    </a:cxn>
                  </a:cxnLst>
                  <a:rect l="0" t="0" r="r" b="b"/>
                  <a:pathLst>
                    <a:path w="246" h="99">
                      <a:moveTo>
                        <a:pt x="27" y="99"/>
                      </a:moveTo>
                      <a:lnTo>
                        <a:pt x="22" y="97"/>
                      </a:lnTo>
                      <a:lnTo>
                        <a:pt x="17" y="96"/>
                      </a:lnTo>
                      <a:lnTo>
                        <a:pt x="12" y="93"/>
                      </a:lnTo>
                      <a:lnTo>
                        <a:pt x="9" y="90"/>
                      </a:lnTo>
                      <a:lnTo>
                        <a:pt x="6" y="86"/>
                      </a:lnTo>
                      <a:lnTo>
                        <a:pt x="2" y="82"/>
                      </a:lnTo>
                      <a:lnTo>
                        <a:pt x="1" y="78"/>
                      </a:lnTo>
                      <a:lnTo>
                        <a:pt x="0" y="73"/>
                      </a:lnTo>
                      <a:lnTo>
                        <a:pt x="0" y="69"/>
                      </a:lnTo>
                      <a:lnTo>
                        <a:pt x="1" y="65"/>
                      </a:lnTo>
                      <a:lnTo>
                        <a:pt x="3" y="60"/>
                      </a:lnTo>
                      <a:lnTo>
                        <a:pt x="5" y="56"/>
                      </a:lnTo>
                      <a:lnTo>
                        <a:pt x="10" y="49"/>
                      </a:lnTo>
                      <a:lnTo>
                        <a:pt x="18" y="41"/>
                      </a:lnTo>
                      <a:lnTo>
                        <a:pt x="25" y="34"/>
                      </a:lnTo>
                      <a:lnTo>
                        <a:pt x="35" y="28"/>
                      </a:lnTo>
                      <a:lnTo>
                        <a:pt x="46" y="23"/>
                      </a:lnTo>
                      <a:lnTo>
                        <a:pt x="57" y="18"/>
                      </a:lnTo>
                      <a:lnTo>
                        <a:pt x="69" y="14"/>
                      </a:lnTo>
                      <a:lnTo>
                        <a:pt x="81" y="10"/>
                      </a:lnTo>
                      <a:lnTo>
                        <a:pt x="92" y="7"/>
                      </a:lnTo>
                      <a:lnTo>
                        <a:pt x="104" y="4"/>
                      </a:lnTo>
                      <a:lnTo>
                        <a:pt x="124" y="1"/>
                      </a:lnTo>
                      <a:lnTo>
                        <a:pt x="140" y="0"/>
                      </a:lnTo>
                      <a:lnTo>
                        <a:pt x="168" y="0"/>
                      </a:lnTo>
                      <a:lnTo>
                        <a:pt x="193" y="1"/>
                      </a:lnTo>
                      <a:lnTo>
                        <a:pt x="219" y="2"/>
                      </a:lnTo>
                      <a:lnTo>
                        <a:pt x="246" y="6"/>
                      </a:lnTo>
                      <a:lnTo>
                        <a:pt x="244" y="11"/>
                      </a:lnTo>
                      <a:lnTo>
                        <a:pt x="241" y="15"/>
                      </a:lnTo>
                      <a:lnTo>
                        <a:pt x="236" y="20"/>
                      </a:lnTo>
                      <a:lnTo>
                        <a:pt x="231" y="26"/>
                      </a:lnTo>
                      <a:lnTo>
                        <a:pt x="215" y="36"/>
                      </a:lnTo>
                      <a:lnTo>
                        <a:pt x="199" y="46"/>
                      </a:lnTo>
                      <a:lnTo>
                        <a:pt x="180" y="55"/>
                      </a:lnTo>
                      <a:lnTo>
                        <a:pt x="162" y="61"/>
                      </a:lnTo>
                      <a:lnTo>
                        <a:pt x="152" y="64"/>
                      </a:lnTo>
                      <a:lnTo>
                        <a:pt x="143" y="66"/>
                      </a:lnTo>
                      <a:lnTo>
                        <a:pt x="134" y="67"/>
                      </a:lnTo>
                      <a:lnTo>
                        <a:pt x="126" y="67"/>
                      </a:lnTo>
                      <a:lnTo>
                        <a:pt x="120" y="67"/>
                      </a:lnTo>
                      <a:lnTo>
                        <a:pt x="110" y="67"/>
                      </a:lnTo>
                      <a:lnTo>
                        <a:pt x="100" y="67"/>
                      </a:lnTo>
                      <a:lnTo>
                        <a:pt x="93" y="67"/>
                      </a:lnTo>
                      <a:lnTo>
                        <a:pt x="88" y="69"/>
                      </a:lnTo>
                      <a:lnTo>
                        <a:pt x="80" y="72"/>
                      </a:lnTo>
                      <a:lnTo>
                        <a:pt x="72" y="77"/>
                      </a:lnTo>
                      <a:lnTo>
                        <a:pt x="63" y="83"/>
                      </a:lnTo>
                      <a:lnTo>
                        <a:pt x="53" y="88"/>
                      </a:lnTo>
                      <a:lnTo>
                        <a:pt x="44" y="93"/>
                      </a:lnTo>
                      <a:lnTo>
                        <a:pt x="35" y="96"/>
                      </a:lnTo>
                      <a:lnTo>
                        <a:pt x="27" y="99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89" name="Freeform 424">
                  <a:extLst>
                    <a:ext uri="{FF2B5EF4-FFF2-40B4-BE49-F238E27FC236}">
                      <a16:creationId xmlns:a16="http://schemas.microsoft.com/office/drawing/2014/main" id="{DB18CA8C-DBFF-4063-968F-06CE5ACF6ED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4" y="1248"/>
                  <a:ext cx="76" cy="40"/>
                </a:xfrm>
                <a:custGeom>
                  <a:avLst/>
                  <a:gdLst>
                    <a:gd name="T0" fmla="*/ 4 w 233"/>
                    <a:gd name="T1" fmla="*/ 9 h 123"/>
                    <a:gd name="T2" fmla="*/ 1 w 233"/>
                    <a:gd name="T3" fmla="*/ 8 h 123"/>
                    <a:gd name="T4" fmla="*/ 0 w 233"/>
                    <a:gd name="T5" fmla="*/ 6 h 123"/>
                    <a:gd name="T6" fmla="*/ 2 w 233"/>
                    <a:gd name="T7" fmla="*/ 4 h 123"/>
                    <a:gd name="T8" fmla="*/ 4 w 233"/>
                    <a:gd name="T9" fmla="*/ 4 h 123"/>
                    <a:gd name="T10" fmla="*/ 7 w 233"/>
                    <a:gd name="T11" fmla="*/ 4 h 123"/>
                    <a:gd name="T12" fmla="*/ 8 w 233"/>
                    <a:gd name="T13" fmla="*/ 4 h 123"/>
                    <a:gd name="T14" fmla="*/ 9 w 233"/>
                    <a:gd name="T15" fmla="*/ 4 h 123"/>
                    <a:gd name="T16" fmla="*/ 11 w 233"/>
                    <a:gd name="T17" fmla="*/ 2 h 123"/>
                    <a:gd name="T18" fmla="*/ 13 w 233"/>
                    <a:gd name="T19" fmla="*/ 1 h 123"/>
                    <a:gd name="T20" fmla="*/ 16 w 233"/>
                    <a:gd name="T21" fmla="*/ 0 h 123"/>
                    <a:gd name="T22" fmla="*/ 17 w 233"/>
                    <a:gd name="T23" fmla="*/ 1 h 123"/>
                    <a:gd name="T24" fmla="*/ 19 w 233"/>
                    <a:gd name="T25" fmla="*/ 1 h 123"/>
                    <a:gd name="T26" fmla="*/ 20 w 233"/>
                    <a:gd name="T27" fmla="*/ 1 h 123"/>
                    <a:gd name="T28" fmla="*/ 22 w 233"/>
                    <a:gd name="T29" fmla="*/ 1 h 123"/>
                    <a:gd name="T30" fmla="*/ 23 w 233"/>
                    <a:gd name="T31" fmla="*/ 0 h 123"/>
                    <a:gd name="T32" fmla="*/ 25 w 233"/>
                    <a:gd name="T33" fmla="*/ 1 h 123"/>
                    <a:gd name="T34" fmla="*/ 24 w 233"/>
                    <a:gd name="T35" fmla="*/ 2 h 123"/>
                    <a:gd name="T36" fmla="*/ 23 w 233"/>
                    <a:gd name="T37" fmla="*/ 3 h 123"/>
                    <a:gd name="T38" fmla="*/ 22 w 233"/>
                    <a:gd name="T39" fmla="*/ 3 h 123"/>
                    <a:gd name="T40" fmla="*/ 22 w 233"/>
                    <a:gd name="T41" fmla="*/ 5 h 123"/>
                    <a:gd name="T42" fmla="*/ 22 w 233"/>
                    <a:gd name="T43" fmla="*/ 7 h 123"/>
                    <a:gd name="T44" fmla="*/ 20 w 233"/>
                    <a:gd name="T45" fmla="*/ 9 h 123"/>
                    <a:gd name="T46" fmla="*/ 17 w 233"/>
                    <a:gd name="T47" fmla="*/ 10 h 123"/>
                    <a:gd name="T48" fmla="*/ 15 w 233"/>
                    <a:gd name="T49" fmla="*/ 10 h 123"/>
                    <a:gd name="T50" fmla="*/ 12 w 233"/>
                    <a:gd name="T51" fmla="*/ 11 h 123"/>
                    <a:gd name="T52" fmla="*/ 10 w 233"/>
                    <a:gd name="T53" fmla="*/ 11 h 123"/>
                    <a:gd name="T54" fmla="*/ 9 w 233"/>
                    <a:gd name="T55" fmla="*/ 12 h 123"/>
                    <a:gd name="T56" fmla="*/ 7 w 233"/>
                    <a:gd name="T57" fmla="*/ 13 h 123"/>
                    <a:gd name="T58" fmla="*/ 6 w 233"/>
                    <a:gd name="T59" fmla="*/ 13 h 123"/>
                    <a:gd name="T60" fmla="*/ 6 w 233"/>
                    <a:gd name="T61" fmla="*/ 12 h 123"/>
                    <a:gd name="T62" fmla="*/ 5 w 233"/>
                    <a:gd name="T63" fmla="*/ 11 h 123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233" h="123">
                      <a:moveTo>
                        <a:pt x="47" y="93"/>
                      </a:moveTo>
                      <a:lnTo>
                        <a:pt x="33" y="88"/>
                      </a:lnTo>
                      <a:lnTo>
                        <a:pt x="21" y="83"/>
                      </a:lnTo>
                      <a:lnTo>
                        <a:pt x="10" y="78"/>
                      </a:lnTo>
                      <a:lnTo>
                        <a:pt x="0" y="74"/>
                      </a:lnTo>
                      <a:lnTo>
                        <a:pt x="0" y="55"/>
                      </a:lnTo>
                      <a:lnTo>
                        <a:pt x="10" y="46"/>
                      </a:lnTo>
                      <a:lnTo>
                        <a:pt x="20" y="37"/>
                      </a:lnTo>
                      <a:lnTo>
                        <a:pt x="30" y="37"/>
                      </a:lnTo>
                      <a:lnTo>
                        <a:pt x="40" y="37"/>
                      </a:lnTo>
                      <a:lnTo>
                        <a:pt x="51" y="37"/>
                      </a:lnTo>
                      <a:lnTo>
                        <a:pt x="61" y="37"/>
                      </a:lnTo>
                      <a:lnTo>
                        <a:pt x="66" y="37"/>
                      </a:lnTo>
                      <a:lnTo>
                        <a:pt x="72" y="36"/>
                      </a:lnTo>
                      <a:lnTo>
                        <a:pt x="77" y="35"/>
                      </a:lnTo>
                      <a:lnTo>
                        <a:pt x="83" y="33"/>
                      </a:lnTo>
                      <a:lnTo>
                        <a:pt x="94" y="28"/>
                      </a:lnTo>
                      <a:lnTo>
                        <a:pt x="104" y="23"/>
                      </a:lnTo>
                      <a:lnTo>
                        <a:pt x="114" y="17"/>
                      </a:lnTo>
                      <a:lnTo>
                        <a:pt x="123" y="11"/>
                      </a:lnTo>
                      <a:lnTo>
                        <a:pt x="134" y="5"/>
                      </a:lnTo>
                      <a:lnTo>
                        <a:pt x="146" y="0"/>
                      </a:lnTo>
                      <a:lnTo>
                        <a:pt x="153" y="4"/>
                      </a:lnTo>
                      <a:lnTo>
                        <a:pt x="161" y="8"/>
                      </a:lnTo>
                      <a:lnTo>
                        <a:pt x="171" y="11"/>
                      </a:lnTo>
                      <a:lnTo>
                        <a:pt x="181" y="12"/>
                      </a:lnTo>
                      <a:lnTo>
                        <a:pt x="185" y="12"/>
                      </a:lnTo>
                      <a:lnTo>
                        <a:pt x="190" y="10"/>
                      </a:lnTo>
                      <a:lnTo>
                        <a:pt x="196" y="8"/>
                      </a:lnTo>
                      <a:lnTo>
                        <a:pt x="201" y="6"/>
                      </a:lnTo>
                      <a:lnTo>
                        <a:pt x="210" y="2"/>
                      </a:lnTo>
                      <a:lnTo>
                        <a:pt x="213" y="0"/>
                      </a:lnTo>
                      <a:lnTo>
                        <a:pt x="233" y="0"/>
                      </a:lnTo>
                      <a:lnTo>
                        <a:pt x="232" y="6"/>
                      </a:lnTo>
                      <a:lnTo>
                        <a:pt x="231" y="12"/>
                      </a:lnTo>
                      <a:lnTo>
                        <a:pt x="228" y="18"/>
                      </a:lnTo>
                      <a:lnTo>
                        <a:pt x="224" y="22"/>
                      </a:lnTo>
                      <a:lnTo>
                        <a:pt x="219" y="25"/>
                      </a:lnTo>
                      <a:lnTo>
                        <a:pt x="213" y="28"/>
                      </a:lnTo>
                      <a:lnTo>
                        <a:pt x="207" y="30"/>
                      </a:lnTo>
                      <a:lnTo>
                        <a:pt x="200" y="30"/>
                      </a:lnTo>
                      <a:lnTo>
                        <a:pt x="201" y="43"/>
                      </a:lnTo>
                      <a:lnTo>
                        <a:pt x="204" y="52"/>
                      </a:lnTo>
                      <a:lnTo>
                        <a:pt x="206" y="62"/>
                      </a:lnTo>
                      <a:lnTo>
                        <a:pt x="207" y="74"/>
                      </a:lnTo>
                      <a:lnTo>
                        <a:pt x="185" y="85"/>
                      </a:lnTo>
                      <a:lnTo>
                        <a:pt x="166" y="93"/>
                      </a:lnTo>
                      <a:lnTo>
                        <a:pt x="157" y="96"/>
                      </a:lnTo>
                      <a:lnTo>
                        <a:pt x="149" y="98"/>
                      </a:lnTo>
                      <a:lnTo>
                        <a:pt x="139" y="98"/>
                      </a:lnTo>
                      <a:lnTo>
                        <a:pt x="127" y="99"/>
                      </a:lnTo>
                      <a:lnTo>
                        <a:pt x="116" y="100"/>
                      </a:lnTo>
                      <a:lnTo>
                        <a:pt x="105" y="103"/>
                      </a:lnTo>
                      <a:lnTo>
                        <a:pt x="96" y="106"/>
                      </a:lnTo>
                      <a:lnTo>
                        <a:pt x="88" y="111"/>
                      </a:lnTo>
                      <a:lnTo>
                        <a:pt x="82" y="115"/>
                      </a:lnTo>
                      <a:lnTo>
                        <a:pt x="74" y="119"/>
                      </a:lnTo>
                      <a:lnTo>
                        <a:pt x="67" y="122"/>
                      </a:lnTo>
                      <a:lnTo>
                        <a:pt x="61" y="123"/>
                      </a:lnTo>
                      <a:lnTo>
                        <a:pt x="58" y="122"/>
                      </a:lnTo>
                      <a:lnTo>
                        <a:pt x="55" y="119"/>
                      </a:lnTo>
                      <a:lnTo>
                        <a:pt x="53" y="115"/>
                      </a:lnTo>
                      <a:lnTo>
                        <a:pt x="51" y="110"/>
                      </a:lnTo>
                      <a:lnTo>
                        <a:pt x="48" y="100"/>
                      </a:lnTo>
                      <a:lnTo>
                        <a:pt x="47" y="9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90" name="Freeform 425">
                  <a:extLst>
                    <a:ext uri="{FF2B5EF4-FFF2-40B4-BE49-F238E27FC236}">
                      <a16:creationId xmlns:a16="http://schemas.microsoft.com/office/drawing/2014/main" id="{81716E05-DD43-4199-B33C-C9CA884AB9C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83" y="1236"/>
                  <a:ext cx="157" cy="56"/>
                </a:xfrm>
                <a:custGeom>
                  <a:avLst/>
                  <a:gdLst>
                    <a:gd name="T0" fmla="*/ 0 w 484"/>
                    <a:gd name="T1" fmla="*/ 16 h 172"/>
                    <a:gd name="T2" fmla="*/ 0 w 484"/>
                    <a:gd name="T3" fmla="*/ 17 h 172"/>
                    <a:gd name="T4" fmla="*/ 1 w 484"/>
                    <a:gd name="T5" fmla="*/ 17 h 172"/>
                    <a:gd name="T6" fmla="*/ 2 w 484"/>
                    <a:gd name="T7" fmla="*/ 18 h 172"/>
                    <a:gd name="T8" fmla="*/ 3 w 484"/>
                    <a:gd name="T9" fmla="*/ 18 h 172"/>
                    <a:gd name="T10" fmla="*/ 6 w 484"/>
                    <a:gd name="T11" fmla="*/ 18 h 172"/>
                    <a:gd name="T12" fmla="*/ 8 w 484"/>
                    <a:gd name="T13" fmla="*/ 18 h 172"/>
                    <a:gd name="T14" fmla="*/ 10 w 484"/>
                    <a:gd name="T15" fmla="*/ 18 h 172"/>
                    <a:gd name="T16" fmla="*/ 15 w 484"/>
                    <a:gd name="T17" fmla="*/ 17 h 172"/>
                    <a:gd name="T18" fmla="*/ 20 w 484"/>
                    <a:gd name="T19" fmla="*/ 14 h 172"/>
                    <a:gd name="T20" fmla="*/ 25 w 484"/>
                    <a:gd name="T21" fmla="*/ 12 h 172"/>
                    <a:gd name="T22" fmla="*/ 30 w 484"/>
                    <a:gd name="T23" fmla="*/ 11 h 172"/>
                    <a:gd name="T24" fmla="*/ 37 w 484"/>
                    <a:gd name="T25" fmla="*/ 9 h 172"/>
                    <a:gd name="T26" fmla="*/ 42 w 484"/>
                    <a:gd name="T27" fmla="*/ 8 h 172"/>
                    <a:gd name="T28" fmla="*/ 46 w 484"/>
                    <a:gd name="T29" fmla="*/ 7 h 172"/>
                    <a:gd name="T30" fmla="*/ 49 w 484"/>
                    <a:gd name="T31" fmla="*/ 6 h 172"/>
                    <a:gd name="T32" fmla="*/ 50 w 484"/>
                    <a:gd name="T33" fmla="*/ 5 h 172"/>
                    <a:gd name="T34" fmla="*/ 51 w 484"/>
                    <a:gd name="T35" fmla="*/ 4 h 172"/>
                    <a:gd name="T36" fmla="*/ 47 w 484"/>
                    <a:gd name="T37" fmla="*/ 3 h 172"/>
                    <a:gd name="T38" fmla="*/ 41 w 484"/>
                    <a:gd name="T39" fmla="*/ 2 h 172"/>
                    <a:gd name="T40" fmla="*/ 35 w 484"/>
                    <a:gd name="T41" fmla="*/ 1 h 172"/>
                    <a:gd name="T42" fmla="*/ 29 w 484"/>
                    <a:gd name="T43" fmla="*/ 0 h 172"/>
                    <a:gd name="T44" fmla="*/ 24 w 484"/>
                    <a:gd name="T45" fmla="*/ 0 h 172"/>
                    <a:gd name="T46" fmla="*/ 21 w 484"/>
                    <a:gd name="T47" fmla="*/ 0 h 172"/>
                    <a:gd name="T48" fmla="*/ 19 w 484"/>
                    <a:gd name="T49" fmla="*/ 1 h 172"/>
                    <a:gd name="T50" fmla="*/ 18 w 484"/>
                    <a:gd name="T51" fmla="*/ 1 h 172"/>
                    <a:gd name="T52" fmla="*/ 18 w 484"/>
                    <a:gd name="T53" fmla="*/ 0 h 172"/>
                    <a:gd name="T54" fmla="*/ 18 w 484"/>
                    <a:gd name="T55" fmla="*/ 1 h 172"/>
                    <a:gd name="T56" fmla="*/ 17 w 484"/>
                    <a:gd name="T57" fmla="*/ 3 h 172"/>
                    <a:gd name="T58" fmla="*/ 16 w 484"/>
                    <a:gd name="T59" fmla="*/ 4 h 172"/>
                    <a:gd name="T60" fmla="*/ 15 w 484"/>
                    <a:gd name="T61" fmla="*/ 5 h 172"/>
                    <a:gd name="T62" fmla="*/ 13 w 484"/>
                    <a:gd name="T63" fmla="*/ 6 h 172"/>
                    <a:gd name="T64" fmla="*/ 10 w 484"/>
                    <a:gd name="T65" fmla="*/ 7 h 172"/>
                    <a:gd name="T66" fmla="*/ 7 w 484"/>
                    <a:gd name="T67" fmla="*/ 8 h 172"/>
                    <a:gd name="T68" fmla="*/ 4 w 484"/>
                    <a:gd name="T69" fmla="*/ 9 h 172"/>
                    <a:gd name="T70" fmla="*/ 2 w 484"/>
                    <a:gd name="T71" fmla="*/ 10 h 172"/>
                    <a:gd name="T72" fmla="*/ 1 w 484"/>
                    <a:gd name="T73" fmla="*/ 11 h 172"/>
                    <a:gd name="T74" fmla="*/ 0 w 484"/>
                    <a:gd name="T75" fmla="*/ 13 h 172"/>
                    <a:gd name="T76" fmla="*/ 0 w 484"/>
                    <a:gd name="T77" fmla="*/ 14 h 172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</a:gdLst>
                  <a:ahLst/>
                  <a:cxnLst>
                    <a:cxn ang="T78">
                      <a:pos x="T0" y="T1"/>
                    </a:cxn>
                    <a:cxn ang="T79">
                      <a:pos x="T2" y="T3"/>
                    </a:cxn>
                    <a:cxn ang="T80">
                      <a:pos x="T4" y="T5"/>
                    </a:cxn>
                    <a:cxn ang="T81">
                      <a:pos x="T6" y="T7"/>
                    </a:cxn>
                    <a:cxn ang="T82">
                      <a:pos x="T8" y="T9"/>
                    </a:cxn>
                    <a:cxn ang="T83">
                      <a:pos x="T10" y="T11"/>
                    </a:cxn>
                    <a:cxn ang="T84">
                      <a:pos x="T12" y="T13"/>
                    </a:cxn>
                    <a:cxn ang="T85">
                      <a:pos x="T14" y="T15"/>
                    </a:cxn>
                    <a:cxn ang="T86">
                      <a:pos x="T16" y="T17"/>
                    </a:cxn>
                    <a:cxn ang="T87">
                      <a:pos x="T18" y="T19"/>
                    </a:cxn>
                    <a:cxn ang="T88">
                      <a:pos x="T20" y="T21"/>
                    </a:cxn>
                    <a:cxn ang="T89">
                      <a:pos x="T22" y="T23"/>
                    </a:cxn>
                    <a:cxn ang="T90">
                      <a:pos x="T24" y="T25"/>
                    </a:cxn>
                    <a:cxn ang="T91">
                      <a:pos x="T26" y="T27"/>
                    </a:cxn>
                    <a:cxn ang="T92">
                      <a:pos x="T28" y="T29"/>
                    </a:cxn>
                    <a:cxn ang="T93">
                      <a:pos x="T30" y="T31"/>
                    </a:cxn>
                    <a:cxn ang="T94">
                      <a:pos x="T32" y="T33"/>
                    </a:cxn>
                    <a:cxn ang="T95">
                      <a:pos x="T34" y="T35"/>
                    </a:cxn>
                    <a:cxn ang="T96">
                      <a:pos x="T36" y="T37"/>
                    </a:cxn>
                    <a:cxn ang="T97">
                      <a:pos x="T38" y="T39"/>
                    </a:cxn>
                    <a:cxn ang="T98">
                      <a:pos x="T40" y="T41"/>
                    </a:cxn>
                    <a:cxn ang="T99">
                      <a:pos x="T42" y="T43"/>
                    </a:cxn>
                    <a:cxn ang="T100">
                      <a:pos x="T44" y="T45"/>
                    </a:cxn>
                    <a:cxn ang="T101">
                      <a:pos x="T46" y="T47"/>
                    </a:cxn>
                    <a:cxn ang="T102">
                      <a:pos x="T48" y="T49"/>
                    </a:cxn>
                    <a:cxn ang="T103">
                      <a:pos x="T50" y="T51"/>
                    </a:cxn>
                    <a:cxn ang="T104">
                      <a:pos x="T52" y="T53"/>
                    </a:cxn>
                    <a:cxn ang="T105">
                      <a:pos x="T54" y="T55"/>
                    </a:cxn>
                    <a:cxn ang="T106">
                      <a:pos x="T56" y="T57"/>
                    </a:cxn>
                    <a:cxn ang="T107">
                      <a:pos x="T58" y="T59"/>
                    </a:cxn>
                    <a:cxn ang="T108">
                      <a:pos x="T60" y="T61"/>
                    </a:cxn>
                    <a:cxn ang="T109">
                      <a:pos x="T62" y="T63"/>
                    </a:cxn>
                    <a:cxn ang="T110">
                      <a:pos x="T64" y="T65"/>
                    </a:cxn>
                    <a:cxn ang="T111">
                      <a:pos x="T66" y="T67"/>
                    </a:cxn>
                    <a:cxn ang="T112">
                      <a:pos x="T68" y="T69"/>
                    </a:cxn>
                    <a:cxn ang="T113">
                      <a:pos x="T70" y="T71"/>
                    </a:cxn>
                    <a:cxn ang="T114">
                      <a:pos x="T72" y="T73"/>
                    </a:cxn>
                    <a:cxn ang="T115">
                      <a:pos x="T74" y="T75"/>
                    </a:cxn>
                    <a:cxn ang="T116">
                      <a:pos x="T76" y="T77"/>
                    </a:cxn>
                  </a:cxnLst>
                  <a:rect l="0" t="0" r="r" b="b"/>
                  <a:pathLst>
                    <a:path w="484" h="172">
                      <a:moveTo>
                        <a:pt x="0" y="142"/>
                      </a:moveTo>
                      <a:lnTo>
                        <a:pt x="0" y="147"/>
                      </a:lnTo>
                      <a:lnTo>
                        <a:pt x="1" y="152"/>
                      </a:lnTo>
                      <a:lnTo>
                        <a:pt x="3" y="156"/>
                      </a:lnTo>
                      <a:lnTo>
                        <a:pt x="6" y="159"/>
                      </a:lnTo>
                      <a:lnTo>
                        <a:pt x="9" y="162"/>
                      </a:lnTo>
                      <a:lnTo>
                        <a:pt x="13" y="165"/>
                      </a:lnTo>
                      <a:lnTo>
                        <a:pt x="17" y="167"/>
                      </a:lnTo>
                      <a:lnTo>
                        <a:pt x="21" y="168"/>
                      </a:lnTo>
                      <a:lnTo>
                        <a:pt x="31" y="170"/>
                      </a:lnTo>
                      <a:lnTo>
                        <a:pt x="41" y="172"/>
                      </a:lnTo>
                      <a:lnTo>
                        <a:pt x="51" y="172"/>
                      </a:lnTo>
                      <a:lnTo>
                        <a:pt x="59" y="172"/>
                      </a:lnTo>
                      <a:lnTo>
                        <a:pt x="73" y="172"/>
                      </a:lnTo>
                      <a:lnTo>
                        <a:pt x="86" y="170"/>
                      </a:lnTo>
                      <a:lnTo>
                        <a:pt x="99" y="167"/>
                      </a:lnTo>
                      <a:lnTo>
                        <a:pt x="113" y="164"/>
                      </a:lnTo>
                      <a:lnTo>
                        <a:pt x="139" y="156"/>
                      </a:lnTo>
                      <a:lnTo>
                        <a:pt x="164" y="146"/>
                      </a:lnTo>
                      <a:lnTo>
                        <a:pt x="189" y="135"/>
                      </a:lnTo>
                      <a:lnTo>
                        <a:pt x="215" y="124"/>
                      </a:lnTo>
                      <a:lnTo>
                        <a:pt x="240" y="113"/>
                      </a:lnTo>
                      <a:lnTo>
                        <a:pt x="265" y="104"/>
                      </a:lnTo>
                      <a:lnTo>
                        <a:pt x="287" y="100"/>
                      </a:lnTo>
                      <a:lnTo>
                        <a:pt x="316" y="94"/>
                      </a:lnTo>
                      <a:lnTo>
                        <a:pt x="350" y="87"/>
                      </a:lnTo>
                      <a:lnTo>
                        <a:pt x="385" y="80"/>
                      </a:lnTo>
                      <a:lnTo>
                        <a:pt x="401" y="75"/>
                      </a:lnTo>
                      <a:lnTo>
                        <a:pt x="418" y="70"/>
                      </a:lnTo>
                      <a:lnTo>
                        <a:pt x="434" y="64"/>
                      </a:lnTo>
                      <a:lnTo>
                        <a:pt x="449" y="58"/>
                      </a:lnTo>
                      <a:lnTo>
                        <a:pt x="461" y="52"/>
                      </a:lnTo>
                      <a:lnTo>
                        <a:pt x="471" y="46"/>
                      </a:lnTo>
                      <a:lnTo>
                        <a:pt x="475" y="42"/>
                      </a:lnTo>
                      <a:lnTo>
                        <a:pt x="479" y="39"/>
                      </a:lnTo>
                      <a:lnTo>
                        <a:pt x="482" y="35"/>
                      </a:lnTo>
                      <a:lnTo>
                        <a:pt x="484" y="31"/>
                      </a:lnTo>
                      <a:lnTo>
                        <a:pt x="449" y="26"/>
                      </a:lnTo>
                      <a:lnTo>
                        <a:pt x="417" y="21"/>
                      </a:lnTo>
                      <a:lnTo>
                        <a:pt x="387" y="16"/>
                      </a:lnTo>
                      <a:lnTo>
                        <a:pt x="359" y="10"/>
                      </a:lnTo>
                      <a:lnTo>
                        <a:pt x="331" y="6"/>
                      </a:lnTo>
                      <a:lnTo>
                        <a:pt x="303" y="3"/>
                      </a:lnTo>
                      <a:lnTo>
                        <a:pt x="272" y="0"/>
                      </a:lnTo>
                      <a:lnTo>
                        <a:pt x="239" y="0"/>
                      </a:lnTo>
                      <a:lnTo>
                        <a:pt x="225" y="0"/>
                      </a:lnTo>
                      <a:lnTo>
                        <a:pt x="213" y="2"/>
                      </a:lnTo>
                      <a:lnTo>
                        <a:pt x="203" y="4"/>
                      </a:lnTo>
                      <a:lnTo>
                        <a:pt x="195" y="6"/>
                      </a:lnTo>
                      <a:lnTo>
                        <a:pt x="186" y="8"/>
                      </a:lnTo>
                      <a:lnTo>
                        <a:pt x="180" y="7"/>
                      </a:lnTo>
                      <a:lnTo>
                        <a:pt x="176" y="6"/>
                      </a:lnTo>
                      <a:lnTo>
                        <a:pt x="173" y="5"/>
                      </a:lnTo>
                      <a:lnTo>
                        <a:pt x="169" y="3"/>
                      </a:lnTo>
                      <a:lnTo>
                        <a:pt x="165" y="0"/>
                      </a:lnTo>
                      <a:lnTo>
                        <a:pt x="165" y="8"/>
                      </a:lnTo>
                      <a:lnTo>
                        <a:pt x="163" y="17"/>
                      </a:lnTo>
                      <a:lnTo>
                        <a:pt x="161" y="24"/>
                      </a:lnTo>
                      <a:lnTo>
                        <a:pt x="159" y="31"/>
                      </a:lnTo>
                      <a:lnTo>
                        <a:pt x="154" y="36"/>
                      </a:lnTo>
                      <a:lnTo>
                        <a:pt x="150" y="42"/>
                      </a:lnTo>
                      <a:lnTo>
                        <a:pt x="144" y="46"/>
                      </a:lnTo>
                      <a:lnTo>
                        <a:pt x="139" y="50"/>
                      </a:lnTo>
                      <a:lnTo>
                        <a:pt x="127" y="58"/>
                      </a:lnTo>
                      <a:lnTo>
                        <a:pt x="113" y="63"/>
                      </a:lnTo>
                      <a:lnTo>
                        <a:pt x="97" y="69"/>
                      </a:lnTo>
                      <a:lnTo>
                        <a:pt x="82" y="73"/>
                      </a:lnTo>
                      <a:lnTo>
                        <a:pt x="66" y="78"/>
                      </a:lnTo>
                      <a:lnTo>
                        <a:pt x="52" y="82"/>
                      </a:lnTo>
                      <a:lnTo>
                        <a:pt x="38" y="88"/>
                      </a:lnTo>
                      <a:lnTo>
                        <a:pt x="25" y="94"/>
                      </a:lnTo>
                      <a:lnTo>
                        <a:pt x="19" y="98"/>
                      </a:lnTo>
                      <a:lnTo>
                        <a:pt x="15" y="103"/>
                      </a:lnTo>
                      <a:lnTo>
                        <a:pt x="10" y="107"/>
                      </a:lnTo>
                      <a:lnTo>
                        <a:pt x="6" y="113"/>
                      </a:lnTo>
                      <a:lnTo>
                        <a:pt x="3" y="119"/>
                      </a:lnTo>
                      <a:lnTo>
                        <a:pt x="1" y="126"/>
                      </a:lnTo>
                      <a:lnTo>
                        <a:pt x="0" y="134"/>
                      </a:lnTo>
                      <a:lnTo>
                        <a:pt x="0" y="142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91" name="Freeform 426">
                  <a:extLst>
                    <a:ext uri="{FF2B5EF4-FFF2-40B4-BE49-F238E27FC236}">
                      <a16:creationId xmlns:a16="http://schemas.microsoft.com/office/drawing/2014/main" id="{59DEAA1A-74B1-4960-96A0-5295CB7AD8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43" y="1255"/>
                  <a:ext cx="221" cy="79"/>
                </a:xfrm>
                <a:custGeom>
                  <a:avLst/>
                  <a:gdLst>
                    <a:gd name="T0" fmla="*/ 33 w 684"/>
                    <a:gd name="T1" fmla="*/ 1 h 240"/>
                    <a:gd name="T2" fmla="*/ 32 w 684"/>
                    <a:gd name="T3" fmla="*/ 3 h 240"/>
                    <a:gd name="T4" fmla="*/ 31 w 684"/>
                    <a:gd name="T5" fmla="*/ 4 h 240"/>
                    <a:gd name="T6" fmla="*/ 31 w 684"/>
                    <a:gd name="T7" fmla="*/ 5 h 240"/>
                    <a:gd name="T8" fmla="*/ 35 w 684"/>
                    <a:gd name="T9" fmla="*/ 4 h 240"/>
                    <a:gd name="T10" fmla="*/ 39 w 684"/>
                    <a:gd name="T11" fmla="*/ 2 h 240"/>
                    <a:gd name="T12" fmla="*/ 39 w 684"/>
                    <a:gd name="T13" fmla="*/ 4 h 240"/>
                    <a:gd name="T14" fmla="*/ 39 w 684"/>
                    <a:gd name="T15" fmla="*/ 6 h 240"/>
                    <a:gd name="T16" fmla="*/ 42 w 684"/>
                    <a:gd name="T17" fmla="*/ 8 h 240"/>
                    <a:gd name="T18" fmla="*/ 53 w 684"/>
                    <a:gd name="T19" fmla="*/ 6 h 240"/>
                    <a:gd name="T20" fmla="*/ 54 w 684"/>
                    <a:gd name="T21" fmla="*/ 8 h 240"/>
                    <a:gd name="T22" fmla="*/ 57 w 684"/>
                    <a:gd name="T23" fmla="*/ 7 h 240"/>
                    <a:gd name="T24" fmla="*/ 58 w 684"/>
                    <a:gd name="T25" fmla="*/ 5 h 240"/>
                    <a:gd name="T26" fmla="*/ 58 w 684"/>
                    <a:gd name="T27" fmla="*/ 2 h 240"/>
                    <a:gd name="T28" fmla="*/ 59 w 684"/>
                    <a:gd name="T29" fmla="*/ 1 h 240"/>
                    <a:gd name="T30" fmla="*/ 60 w 684"/>
                    <a:gd name="T31" fmla="*/ 0 h 240"/>
                    <a:gd name="T32" fmla="*/ 65 w 684"/>
                    <a:gd name="T33" fmla="*/ 0 h 240"/>
                    <a:gd name="T34" fmla="*/ 67 w 684"/>
                    <a:gd name="T35" fmla="*/ 0 h 240"/>
                    <a:gd name="T36" fmla="*/ 68 w 684"/>
                    <a:gd name="T37" fmla="*/ 4 h 240"/>
                    <a:gd name="T38" fmla="*/ 68 w 684"/>
                    <a:gd name="T39" fmla="*/ 8 h 240"/>
                    <a:gd name="T40" fmla="*/ 67 w 684"/>
                    <a:gd name="T41" fmla="*/ 11 h 240"/>
                    <a:gd name="T42" fmla="*/ 65 w 684"/>
                    <a:gd name="T43" fmla="*/ 13 h 240"/>
                    <a:gd name="T44" fmla="*/ 68 w 684"/>
                    <a:gd name="T45" fmla="*/ 15 h 240"/>
                    <a:gd name="T46" fmla="*/ 70 w 684"/>
                    <a:gd name="T47" fmla="*/ 16 h 240"/>
                    <a:gd name="T48" fmla="*/ 71 w 684"/>
                    <a:gd name="T49" fmla="*/ 19 h 240"/>
                    <a:gd name="T50" fmla="*/ 67 w 684"/>
                    <a:gd name="T51" fmla="*/ 20 h 240"/>
                    <a:gd name="T52" fmla="*/ 63 w 684"/>
                    <a:gd name="T53" fmla="*/ 20 h 240"/>
                    <a:gd name="T54" fmla="*/ 60 w 684"/>
                    <a:gd name="T55" fmla="*/ 19 h 240"/>
                    <a:gd name="T56" fmla="*/ 59 w 684"/>
                    <a:gd name="T57" fmla="*/ 20 h 240"/>
                    <a:gd name="T58" fmla="*/ 57 w 684"/>
                    <a:gd name="T59" fmla="*/ 22 h 240"/>
                    <a:gd name="T60" fmla="*/ 55 w 684"/>
                    <a:gd name="T61" fmla="*/ 23 h 240"/>
                    <a:gd name="T62" fmla="*/ 51 w 684"/>
                    <a:gd name="T63" fmla="*/ 23 h 240"/>
                    <a:gd name="T64" fmla="*/ 47 w 684"/>
                    <a:gd name="T65" fmla="*/ 22 h 240"/>
                    <a:gd name="T66" fmla="*/ 44 w 684"/>
                    <a:gd name="T67" fmla="*/ 21 h 240"/>
                    <a:gd name="T68" fmla="*/ 35 w 684"/>
                    <a:gd name="T69" fmla="*/ 23 h 240"/>
                    <a:gd name="T70" fmla="*/ 24 w 684"/>
                    <a:gd name="T71" fmla="*/ 25 h 240"/>
                    <a:gd name="T72" fmla="*/ 18 w 684"/>
                    <a:gd name="T73" fmla="*/ 26 h 240"/>
                    <a:gd name="T74" fmla="*/ 13 w 684"/>
                    <a:gd name="T75" fmla="*/ 26 h 240"/>
                    <a:gd name="T76" fmla="*/ 10 w 684"/>
                    <a:gd name="T77" fmla="*/ 25 h 240"/>
                    <a:gd name="T78" fmla="*/ 7 w 684"/>
                    <a:gd name="T79" fmla="*/ 22 h 240"/>
                    <a:gd name="T80" fmla="*/ 3 w 684"/>
                    <a:gd name="T81" fmla="*/ 21 h 240"/>
                    <a:gd name="T82" fmla="*/ 0 w 684"/>
                    <a:gd name="T83" fmla="*/ 19 h 240"/>
                    <a:gd name="T84" fmla="*/ 7 w 684"/>
                    <a:gd name="T85" fmla="*/ 17 h 240"/>
                    <a:gd name="T86" fmla="*/ 10 w 684"/>
                    <a:gd name="T87" fmla="*/ 17 h 240"/>
                    <a:gd name="T88" fmla="*/ 16 w 684"/>
                    <a:gd name="T89" fmla="*/ 17 h 240"/>
                    <a:gd name="T90" fmla="*/ 21 w 684"/>
                    <a:gd name="T91" fmla="*/ 18 h 240"/>
                    <a:gd name="T92" fmla="*/ 23 w 684"/>
                    <a:gd name="T93" fmla="*/ 17 h 240"/>
                    <a:gd name="T94" fmla="*/ 3 w 684"/>
                    <a:gd name="T95" fmla="*/ 15 h 240"/>
                    <a:gd name="T96" fmla="*/ 5 w 684"/>
                    <a:gd name="T97" fmla="*/ 14 h 240"/>
                    <a:gd name="T98" fmla="*/ 11 w 684"/>
                    <a:gd name="T99" fmla="*/ 13 h 240"/>
                    <a:gd name="T100" fmla="*/ 17 w 684"/>
                    <a:gd name="T101" fmla="*/ 12 h 240"/>
                    <a:gd name="T102" fmla="*/ 19 w 684"/>
                    <a:gd name="T103" fmla="*/ 11 h 240"/>
                    <a:gd name="T104" fmla="*/ 17 w 684"/>
                    <a:gd name="T105" fmla="*/ 10 h 240"/>
                    <a:gd name="T106" fmla="*/ 13 w 684"/>
                    <a:gd name="T107" fmla="*/ 11 h 240"/>
                    <a:gd name="T108" fmla="*/ 7 w 684"/>
                    <a:gd name="T109" fmla="*/ 12 h 240"/>
                    <a:gd name="T110" fmla="*/ 5 w 684"/>
                    <a:gd name="T111" fmla="*/ 12 h 240"/>
                    <a:gd name="T112" fmla="*/ 6 w 684"/>
                    <a:gd name="T113" fmla="*/ 10 h 240"/>
                    <a:gd name="T114" fmla="*/ 5 w 684"/>
                    <a:gd name="T115" fmla="*/ 9 h 240"/>
                    <a:gd name="T116" fmla="*/ 6 w 684"/>
                    <a:gd name="T117" fmla="*/ 9 h 240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0" t="0" r="r" b="b"/>
                  <a:pathLst>
                    <a:path w="684" h="240">
                      <a:moveTo>
                        <a:pt x="60" y="75"/>
                      </a:moveTo>
                      <a:lnTo>
                        <a:pt x="320" y="0"/>
                      </a:lnTo>
                      <a:lnTo>
                        <a:pt x="317" y="5"/>
                      </a:lnTo>
                      <a:lnTo>
                        <a:pt x="314" y="13"/>
                      </a:lnTo>
                      <a:lnTo>
                        <a:pt x="310" y="20"/>
                      </a:lnTo>
                      <a:lnTo>
                        <a:pt x="304" y="27"/>
                      </a:lnTo>
                      <a:lnTo>
                        <a:pt x="300" y="33"/>
                      </a:lnTo>
                      <a:lnTo>
                        <a:pt x="297" y="39"/>
                      </a:lnTo>
                      <a:lnTo>
                        <a:pt x="297" y="41"/>
                      </a:lnTo>
                      <a:lnTo>
                        <a:pt x="297" y="42"/>
                      </a:lnTo>
                      <a:lnTo>
                        <a:pt x="298" y="43"/>
                      </a:lnTo>
                      <a:lnTo>
                        <a:pt x="299" y="43"/>
                      </a:lnTo>
                      <a:lnTo>
                        <a:pt x="315" y="43"/>
                      </a:lnTo>
                      <a:lnTo>
                        <a:pt x="327" y="41"/>
                      </a:lnTo>
                      <a:lnTo>
                        <a:pt x="337" y="39"/>
                      </a:lnTo>
                      <a:lnTo>
                        <a:pt x="346" y="36"/>
                      </a:lnTo>
                      <a:lnTo>
                        <a:pt x="359" y="28"/>
                      </a:lnTo>
                      <a:lnTo>
                        <a:pt x="372" y="19"/>
                      </a:lnTo>
                      <a:lnTo>
                        <a:pt x="376" y="26"/>
                      </a:lnTo>
                      <a:lnTo>
                        <a:pt x="378" y="32"/>
                      </a:lnTo>
                      <a:lnTo>
                        <a:pt x="379" y="38"/>
                      </a:lnTo>
                      <a:lnTo>
                        <a:pt x="378" y="44"/>
                      </a:lnTo>
                      <a:lnTo>
                        <a:pt x="378" y="49"/>
                      </a:lnTo>
                      <a:lnTo>
                        <a:pt x="377" y="55"/>
                      </a:lnTo>
                      <a:lnTo>
                        <a:pt x="378" y="61"/>
                      </a:lnTo>
                      <a:lnTo>
                        <a:pt x="379" y="69"/>
                      </a:lnTo>
                      <a:lnTo>
                        <a:pt x="405" y="69"/>
                      </a:lnTo>
                      <a:lnTo>
                        <a:pt x="512" y="19"/>
                      </a:lnTo>
                      <a:lnTo>
                        <a:pt x="511" y="36"/>
                      </a:lnTo>
                      <a:lnTo>
                        <a:pt x="511" y="51"/>
                      </a:lnTo>
                      <a:lnTo>
                        <a:pt x="511" y="58"/>
                      </a:lnTo>
                      <a:lnTo>
                        <a:pt x="512" y="65"/>
                      </a:lnTo>
                      <a:lnTo>
                        <a:pt x="514" y="70"/>
                      </a:lnTo>
                      <a:lnTo>
                        <a:pt x="518" y="75"/>
                      </a:lnTo>
                      <a:lnTo>
                        <a:pt x="531" y="68"/>
                      </a:lnTo>
                      <a:lnTo>
                        <a:pt x="541" y="63"/>
                      </a:lnTo>
                      <a:lnTo>
                        <a:pt x="549" y="57"/>
                      </a:lnTo>
                      <a:lnTo>
                        <a:pt x="553" y="51"/>
                      </a:lnTo>
                      <a:lnTo>
                        <a:pt x="557" y="45"/>
                      </a:lnTo>
                      <a:lnTo>
                        <a:pt x="558" y="38"/>
                      </a:lnTo>
                      <a:lnTo>
                        <a:pt x="558" y="30"/>
                      </a:lnTo>
                      <a:lnTo>
                        <a:pt x="558" y="19"/>
                      </a:lnTo>
                      <a:lnTo>
                        <a:pt x="559" y="15"/>
                      </a:lnTo>
                      <a:lnTo>
                        <a:pt x="560" y="11"/>
                      </a:lnTo>
                      <a:lnTo>
                        <a:pt x="563" y="8"/>
                      </a:lnTo>
                      <a:lnTo>
                        <a:pt x="566" y="5"/>
                      </a:lnTo>
                      <a:lnTo>
                        <a:pt x="572" y="1"/>
                      </a:lnTo>
                      <a:lnTo>
                        <a:pt x="579" y="0"/>
                      </a:lnTo>
                      <a:lnTo>
                        <a:pt x="600" y="1"/>
                      </a:lnTo>
                      <a:lnTo>
                        <a:pt x="616" y="2"/>
                      </a:lnTo>
                      <a:lnTo>
                        <a:pt x="624" y="3"/>
                      </a:lnTo>
                      <a:lnTo>
                        <a:pt x="630" y="3"/>
                      </a:lnTo>
                      <a:lnTo>
                        <a:pt x="637" y="2"/>
                      </a:lnTo>
                      <a:lnTo>
                        <a:pt x="645" y="0"/>
                      </a:lnTo>
                      <a:lnTo>
                        <a:pt x="650" y="15"/>
                      </a:lnTo>
                      <a:lnTo>
                        <a:pt x="653" y="28"/>
                      </a:lnTo>
                      <a:lnTo>
                        <a:pt x="657" y="39"/>
                      </a:lnTo>
                      <a:lnTo>
                        <a:pt x="658" y="50"/>
                      </a:lnTo>
                      <a:lnTo>
                        <a:pt x="657" y="59"/>
                      </a:lnTo>
                      <a:lnTo>
                        <a:pt x="653" y="70"/>
                      </a:lnTo>
                      <a:lnTo>
                        <a:pt x="649" y="81"/>
                      </a:lnTo>
                      <a:lnTo>
                        <a:pt x="643" y="91"/>
                      </a:lnTo>
                      <a:lnTo>
                        <a:pt x="637" y="101"/>
                      </a:lnTo>
                      <a:lnTo>
                        <a:pt x="630" y="110"/>
                      </a:lnTo>
                      <a:lnTo>
                        <a:pt x="624" y="119"/>
                      </a:lnTo>
                      <a:lnTo>
                        <a:pt x="618" y="124"/>
                      </a:lnTo>
                      <a:lnTo>
                        <a:pt x="628" y="130"/>
                      </a:lnTo>
                      <a:lnTo>
                        <a:pt x="638" y="134"/>
                      </a:lnTo>
                      <a:lnTo>
                        <a:pt x="648" y="137"/>
                      </a:lnTo>
                      <a:lnTo>
                        <a:pt x="657" y="139"/>
                      </a:lnTo>
                      <a:lnTo>
                        <a:pt x="664" y="142"/>
                      </a:lnTo>
                      <a:lnTo>
                        <a:pt x="672" y="145"/>
                      </a:lnTo>
                      <a:lnTo>
                        <a:pt x="679" y="149"/>
                      </a:lnTo>
                      <a:lnTo>
                        <a:pt x="684" y="154"/>
                      </a:lnTo>
                      <a:lnTo>
                        <a:pt x="684" y="180"/>
                      </a:lnTo>
                      <a:lnTo>
                        <a:pt x="665" y="183"/>
                      </a:lnTo>
                      <a:lnTo>
                        <a:pt x="650" y="185"/>
                      </a:lnTo>
                      <a:lnTo>
                        <a:pt x="639" y="185"/>
                      </a:lnTo>
                      <a:lnTo>
                        <a:pt x="629" y="184"/>
                      </a:lnTo>
                      <a:lnTo>
                        <a:pt x="619" y="183"/>
                      </a:lnTo>
                      <a:lnTo>
                        <a:pt x="608" y="181"/>
                      </a:lnTo>
                      <a:lnTo>
                        <a:pt x="595" y="180"/>
                      </a:lnTo>
                      <a:lnTo>
                        <a:pt x="579" y="180"/>
                      </a:lnTo>
                      <a:lnTo>
                        <a:pt x="574" y="180"/>
                      </a:lnTo>
                      <a:lnTo>
                        <a:pt x="571" y="181"/>
                      </a:lnTo>
                      <a:lnTo>
                        <a:pt x="568" y="182"/>
                      </a:lnTo>
                      <a:lnTo>
                        <a:pt x="564" y="184"/>
                      </a:lnTo>
                      <a:lnTo>
                        <a:pt x="557" y="189"/>
                      </a:lnTo>
                      <a:lnTo>
                        <a:pt x="550" y="195"/>
                      </a:lnTo>
                      <a:lnTo>
                        <a:pt x="542" y="200"/>
                      </a:lnTo>
                      <a:lnTo>
                        <a:pt x="534" y="205"/>
                      </a:lnTo>
                      <a:lnTo>
                        <a:pt x="528" y="207"/>
                      </a:lnTo>
                      <a:lnTo>
                        <a:pt x="524" y="209"/>
                      </a:lnTo>
                      <a:lnTo>
                        <a:pt x="518" y="210"/>
                      </a:lnTo>
                      <a:lnTo>
                        <a:pt x="512" y="210"/>
                      </a:lnTo>
                      <a:lnTo>
                        <a:pt x="493" y="209"/>
                      </a:lnTo>
                      <a:lnTo>
                        <a:pt x="478" y="208"/>
                      </a:lnTo>
                      <a:lnTo>
                        <a:pt x="463" y="206"/>
                      </a:lnTo>
                      <a:lnTo>
                        <a:pt x="452" y="204"/>
                      </a:lnTo>
                      <a:lnTo>
                        <a:pt x="441" y="202"/>
                      </a:lnTo>
                      <a:lnTo>
                        <a:pt x="432" y="200"/>
                      </a:lnTo>
                      <a:lnTo>
                        <a:pt x="422" y="198"/>
                      </a:lnTo>
                      <a:lnTo>
                        <a:pt x="412" y="198"/>
                      </a:lnTo>
                      <a:lnTo>
                        <a:pt x="389" y="202"/>
                      </a:lnTo>
                      <a:lnTo>
                        <a:pt x="337" y="211"/>
                      </a:lnTo>
                      <a:lnTo>
                        <a:pt x="283" y="221"/>
                      </a:lnTo>
                      <a:lnTo>
                        <a:pt x="253" y="228"/>
                      </a:lnTo>
                      <a:lnTo>
                        <a:pt x="231" y="230"/>
                      </a:lnTo>
                      <a:lnTo>
                        <a:pt x="209" y="232"/>
                      </a:lnTo>
                      <a:lnTo>
                        <a:pt x="189" y="235"/>
                      </a:lnTo>
                      <a:lnTo>
                        <a:pt x="169" y="238"/>
                      </a:lnTo>
                      <a:lnTo>
                        <a:pt x="150" y="240"/>
                      </a:lnTo>
                      <a:lnTo>
                        <a:pt x="132" y="239"/>
                      </a:lnTo>
                      <a:lnTo>
                        <a:pt x="124" y="238"/>
                      </a:lnTo>
                      <a:lnTo>
                        <a:pt x="115" y="236"/>
                      </a:lnTo>
                      <a:lnTo>
                        <a:pt x="108" y="233"/>
                      </a:lnTo>
                      <a:lnTo>
                        <a:pt x="100" y="228"/>
                      </a:lnTo>
                      <a:lnTo>
                        <a:pt x="100" y="210"/>
                      </a:lnTo>
                      <a:lnTo>
                        <a:pt x="84" y="209"/>
                      </a:lnTo>
                      <a:lnTo>
                        <a:pt x="67" y="208"/>
                      </a:lnTo>
                      <a:lnTo>
                        <a:pt x="53" y="205"/>
                      </a:lnTo>
                      <a:lnTo>
                        <a:pt x="41" y="201"/>
                      </a:lnTo>
                      <a:lnTo>
                        <a:pt x="29" y="196"/>
                      </a:lnTo>
                      <a:lnTo>
                        <a:pt x="18" y="189"/>
                      </a:lnTo>
                      <a:lnTo>
                        <a:pt x="9" y="182"/>
                      </a:lnTo>
                      <a:lnTo>
                        <a:pt x="0" y="173"/>
                      </a:lnTo>
                      <a:lnTo>
                        <a:pt x="28" y="167"/>
                      </a:lnTo>
                      <a:lnTo>
                        <a:pt x="53" y="161"/>
                      </a:lnTo>
                      <a:lnTo>
                        <a:pt x="64" y="159"/>
                      </a:lnTo>
                      <a:lnTo>
                        <a:pt x="76" y="156"/>
                      </a:lnTo>
                      <a:lnTo>
                        <a:pt x="88" y="155"/>
                      </a:lnTo>
                      <a:lnTo>
                        <a:pt x="100" y="154"/>
                      </a:lnTo>
                      <a:lnTo>
                        <a:pt x="121" y="155"/>
                      </a:lnTo>
                      <a:lnTo>
                        <a:pt x="140" y="157"/>
                      </a:lnTo>
                      <a:lnTo>
                        <a:pt x="156" y="160"/>
                      </a:lnTo>
                      <a:lnTo>
                        <a:pt x="171" y="162"/>
                      </a:lnTo>
                      <a:lnTo>
                        <a:pt x="186" y="164"/>
                      </a:lnTo>
                      <a:lnTo>
                        <a:pt x="201" y="165"/>
                      </a:lnTo>
                      <a:lnTo>
                        <a:pt x="209" y="164"/>
                      </a:lnTo>
                      <a:lnTo>
                        <a:pt x="216" y="164"/>
                      </a:lnTo>
                      <a:lnTo>
                        <a:pt x="224" y="162"/>
                      </a:lnTo>
                      <a:lnTo>
                        <a:pt x="233" y="160"/>
                      </a:lnTo>
                      <a:lnTo>
                        <a:pt x="126" y="142"/>
                      </a:lnTo>
                      <a:lnTo>
                        <a:pt x="26" y="136"/>
                      </a:lnTo>
                      <a:lnTo>
                        <a:pt x="34" y="133"/>
                      </a:lnTo>
                      <a:lnTo>
                        <a:pt x="42" y="130"/>
                      </a:lnTo>
                      <a:lnTo>
                        <a:pt x="52" y="128"/>
                      </a:lnTo>
                      <a:lnTo>
                        <a:pt x="62" y="125"/>
                      </a:lnTo>
                      <a:lnTo>
                        <a:pt x="85" y="122"/>
                      </a:lnTo>
                      <a:lnTo>
                        <a:pt x="109" y="117"/>
                      </a:lnTo>
                      <a:lnTo>
                        <a:pt x="133" y="114"/>
                      </a:lnTo>
                      <a:lnTo>
                        <a:pt x="155" y="110"/>
                      </a:lnTo>
                      <a:lnTo>
                        <a:pt x="165" y="108"/>
                      </a:lnTo>
                      <a:lnTo>
                        <a:pt x="174" y="105"/>
                      </a:lnTo>
                      <a:lnTo>
                        <a:pt x="180" y="102"/>
                      </a:lnTo>
                      <a:lnTo>
                        <a:pt x="187" y="99"/>
                      </a:lnTo>
                      <a:lnTo>
                        <a:pt x="180" y="96"/>
                      </a:lnTo>
                      <a:lnTo>
                        <a:pt x="172" y="94"/>
                      </a:lnTo>
                      <a:lnTo>
                        <a:pt x="166" y="93"/>
                      </a:lnTo>
                      <a:lnTo>
                        <a:pt x="158" y="93"/>
                      </a:lnTo>
                      <a:lnTo>
                        <a:pt x="142" y="95"/>
                      </a:lnTo>
                      <a:lnTo>
                        <a:pt x="125" y="98"/>
                      </a:lnTo>
                      <a:lnTo>
                        <a:pt x="107" y="102"/>
                      </a:lnTo>
                      <a:lnTo>
                        <a:pt x="89" y="107"/>
                      </a:lnTo>
                      <a:lnTo>
                        <a:pt x="71" y="110"/>
                      </a:lnTo>
                      <a:lnTo>
                        <a:pt x="54" y="111"/>
                      </a:lnTo>
                      <a:lnTo>
                        <a:pt x="52" y="110"/>
                      </a:lnTo>
                      <a:lnTo>
                        <a:pt x="52" y="106"/>
                      </a:lnTo>
                      <a:lnTo>
                        <a:pt x="53" y="102"/>
                      </a:lnTo>
                      <a:lnTo>
                        <a:pt x="54" y="96"/>
                      </a:lnTo>
                      <a:lnTo>
                        <a:pt x="55" y="90"/>
                      </a:lnTo>
                      <a:lnTo>
                        <a:pt x="55" y="86"/>
                      </a:lnTo>
                      <a:lnTo>
                        <a:pt x="55" y="82"/>
                      </a:lnTo>
                      <a:lnTo>
                        <a:pt x="54" y="81"/>
                      </a:lnTo>
                      <a:lnTo>
                        <a:pt x="55" y="81"/>
                      </a:lnTo>
                      <a:lnTo>
                        <a:pt x="57" y="80"/>
                      </a:lnTo>
                      <a:lnTo>
                        <a:pt x="59" y="78"/>
                      </a:lnTo>
                      <a:lnTo>
                        <a:pt x="60" y="75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92" name="Freeform 427">
                  <a:extLst>
                    <a:ext uri="{FF2B5EF4-FFF2-40B4-BE49-F238E27FC236}">
                      <a16:creationId xmlns:a16="http://schemas.microsoft.com/office/drawing/2014/main" id="{B7949948-7CEE-4D1B-8CEF-6640534F5B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2" y="1643"/>
                  <a:ext cx="106" cy="93"/>
                </a:xfrm>
                <a:custGeom>
                  <a:avLst/>
                  <a:gdLst>
                    <a:gd name="T0" fmla="*/ 19 w 332"/>
                    <a:gd name="T1" fmla="*/ 4 h 287"/>
                    <a:gd name="T2" fmla="*/ 21 w 332"/>
                    <a:gd name="T3" fmla="*/ 3 h 287"/>
                    <a:gd name="T4" fmla="*/ 24 w 332"/>
                    <a:gd name="T5" fmla="*/ 1 h 287"/>
                    <a:gd name="T6" fmla="*/ 25 w 332"/>
                    <a:gd name="T7" fmla="*/ 0 h 287"/>
                    <a:gd name="T8" fmla="*/ 26 w 332"/>
                    <a:gd name="T9" fmla="*/ 0 h 287"/>
                    <a:gd name="T10" fmla="*/ 26 w 332"/>
                    <a:gd name="T11" fmla="*/ 1 h 287"/>
                    <a:gd name="T12" fmla="*/ 25 w 332"/>
                    <a:gd name="T13" fmla="*/ 4 h 287"/>
                    <a:gd name="T14" fmla="*/ 23 w 332"/>
                    <a:gd name="T15" fmla="*/ 6 h 287"/>
                    <a:gd name="T16" fmla="*/ 21 w 332"/>
                    <a:gd name="T17" fmla="*/ 7 h 287"/>
                    <a:gd name="T18" fmla="*/ 20 w 332"/>
                    <a:gd name="T19" fmla="*/ 7 h 287"/>
                    <a:gd name="T20" fmla="*/ 20 w 332"/>
                    <a:gd name="T21" fmla="*/ 8 h 287"/>
                    <a:gd name="T22" fmla="*/ 21 w 332"/>
                    <a:gd name="T23" fmla="*/ 8 h 287"/>
                    <a:gd name="T24" fmla="*/ 23 w 332"/>
                    <a:gd name="T25" fmla="*/ 7 h 287"/>
                    <a:gd name="T26" fmla="*/ 24 w 332"/>
                    <a:gd name="T27" fmla="*/ 8 h 287"/>
                    <a:gd name="T28" fmla="*/ 23 w 332"/>
                    <a:gd name="T29" fmla="*/ 9 h 287"/>
                    <a:gd name="T30" fmla="*/ 23 w 332"/>
                    <a:gd name="T31" fmla="*/ 10 h 287"/>
                    <a:gd name="T32" fmla="*/ 23 w 332"/>
                    <a:gd name="T33" fmla="*/ 11 h 287"/>
                    <a:gd name="T34" fmla="*/ 26 w 332"/>
                    <a:gd name="T35" fmla="*/ 12 h 287"/>
                    <a:gd name="T36" fmla="*/ 33 w 332"/>
                    <a:gd name="T37" fmla="*/ 13 h 287"/>
                    <a:gd name="T38" fmla="*/ 34 w 332"/>
                    <a:gd name="T39" fmla="*/ 14 h 287"/>
                    <a:gd name="T40" fmla="*/ 33 w 332"/>
                    <a:gd name="T41" fmla="*/ 15 h 287"/>
                    <a:gd name="T42" fmla="*/ 32 w 332"/>
                    <a:gd name="T43" fmla="*/ 16 h 287"/>
                    <a:gd name="T44" fmla="*/ 32 w 332"/>
                    <a:gd name="T45" fmla="*/ 16 h 287"/>
                    <a:gd name="T46" fmla="*/ 32 w 332"/>
                    <a:gd name="T47" fmla="*/ 17 h 287"/>
                    <a:gd name="T48" fmla="*/ 33 w 332"/>
                    <a:gd name="T49" fmla="*/ 17 h 287"/>
                    <a:gd name="T50" fmla="*/ 34 w 332"/>
                    <a:gd name="T51" fmla="*/ 18 h 287"/>
                    <a:gd name="T52" fmla="*/ 35 w 332"/>
                    <a:gd name="T53" fmla="*/ 19 h 287"/>
                    <a:gd name="T54" fmla="*/ 31 w 332"/>
                    <a:gd name="T55" fmla="*/ 22 h 287"/>
                    <a:gd name="T56" fmla="*/ 25 w 332"/>
                    <a:gd name="T57" fmla="*/ 25 h 287"/>
                    <a:gd name="T58" fmla="*/ 22 w 332"/>
                    <a:gd name="T59" fmla="*/ 28 h 287"/>
                    <a:gd name="T60" fmla="*/ 18 w 332"/>
                    <a:gd name="T61" fmla="*/ 26 h 287"/>
                    <a:gd name="T62" fmla="*/ 19 w 332"/>
                    <a:gd name="T63" fmla="*/ 26 h 287"/>
                    <a:gd name="T64" fmla="*/ 20 w 332"/>
                    <a:gd name="T65" fmla="*/ 25 h 287"/>
                    <a:gd name="T66" fmla="*/ 21 w 332"/>
                    <a:gd name="T67" fmla="*/ 24 h 287"/>
                    <a:gd name="T68" fmla="*/ 16 w 332"/>
                    <a:gd name="T69" fmla="*/ 24 h 287"/>
                    <a:gd name="T70" fmla="*/ 11 w 332"/>
                    <a:gd name="T71" fmla="*/ 24 h 287"/>
                    <a:gd name="T72" fmla="*/ 6 w 332"/>
                    <a:gd name="T73" fmla="*/ 24 h 287"/>
                    <a:gd name="T74" fmla="*/ 3 w 332"/>
                    <a:gd name="T75" fmla="*/ 24 h 287"/>
                    <a:gd name="T76" fmla="*/ 1 w 332"/>
                    <a:gd name="T77" fmla="*/ 24 h 287"/>
                    <a:gd name="T78" fmla="*/ 0 w 332"/>
                    <a:gd name="T79" fmla="*/ 23 h 287"/>
                    <a:gd name="T80" fmla="*/ 0 w 332"/>
                    <a:gd name="T81" fmla="*/ 22 h 287"/>
                    <a:gd name="T82" fmla="*/ 0 w 332"/>
                    <a:gd name="T83" fmla="*/ 21 h 287"/>
                    <a:gd name="T84" fmla="*/ 1 w 332"/>
                    <a:gd name="T85" fmla="*/ 21 h 287"/>
                    <a:gd name="T86" fmla="*/ 4 w 332"/>
                    <a:gd name="T87" fmla="*/ 19 h 287"/>
                    <a:gd name="T88" fmla="*/ 8 w 332"/>
                    <a:gd name="T89" fmla="*/ 17 h 287"/>
                    <a:gd name="T90" fmla="*/ 9 w 332"/>
                    <a:gd name="T91" fmla="*/ 16 h 287"/>
                    <a:gd name="T92" fmla="*/ 10 w 332"/>
                    <a:gd name="T93" fmla="*/ 15 h 287"/>
                    <a:gd name="T94" fmla="*/ 11 w 332"/>
                    <a:gd name="T95" fmla="*/ 14 h 287"/>
                    <a:gd name="T96" fmla="*/ 12 w 332"/>
                    <a:gd name="T97" fmla="*/ 12 h 287"/>
                    <a:gd name="T98" fmla="*/ 14 w 332"/>
                    <a:gd name="T99" fmla="*/ 8 h 287"/>
                    <a:gd name="T100" fmla="*/ 15 w 332"/>
                    <a:gd name="T101" fmla="*/ 7 h 287"/>
                    <a:gd name="T102" fmla="*/ 16 w 332"/>
                    <a:gd name="T103" fmla="*/ 6 h 287"/>
                    <a:gd name="T104" fmla="*/ 17 w 332"/>
                    <a:gd name="T105" fmla="*/ 5 h 287"/>
                    <a:gd name="T106" fmla="*/ 18 w 332"/>
                    <a:gd name="T107" fmla="*/ 4 h 28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0" t="0" r="r" b="b"/>
                  <a:pathLst>
                    <a:path w="332" h="287">
                      <a:moveTo>
                        <a:pt x="173" y="40"/>
                      </a:moveTo>
                      <a:lnTo>
                        <a:pt x="180" y="38"/>
                      </a:lnTo>
                      <a:lnTo>
                        <a:pt x="190" y="32"/>
                      </a:lnTo>
                      <a:lnTo>
                        <a:pt x="202" y="24"/>
                      </a:lnTo>
                      <a:lnTo>
                        <a:pt x="215" y="15"/>
                      </a:lnTo>
                      <a:lnTo>
                        <a:pt x="226" y="7"/>
                      </a:lnTo>
                      <a:lnTo>
                        <a:pt x="237" y="2"/>
                      </a:lnTo>
                      <a:lnTo>
                        <a:pt x="240" y="1"/>
                      </a:lnTo>
                      <a:lnTo>
                        <a:pt x="243" y="0"/>
                      </a:lnTo>
                      <a:lnTo>
                        <a:pt x="246" y="1"/>
                      </a:lnTo>
                      <a:lnTo>
                        <a:pt x="246" y="4"/>
                      </a:lnTo>
                      <a:lnTo>
                        <a:pt x="245" y="12"/>
                      </a:lnTo>
                      <a:lnTo>
                        <a:pt x="240" y="22"/>
                      </a:lnTo>
                      <a:lnTo>
                        <a:pt x="234" y="33"/>
                      </a:lnTo>
                      <a:lnTo>
                        <a:pt x="226" y="44"/>
                      </a:lnTo>
                      <a:lnTo>
                        <a:pt x="217" y="55"/>
                      </a:lnTo>
                      <a:lnTo>
                        <a:pt x="207" y="64"/>
                      </a:lnTo>
                      <a:lnTo>
                        <a:pt x="202" y="67"/>
                      </a:lnTo>
                      <a:lnTo>
                        <a:pt x="196" y="69"/>
                      </a:lnTo>
                      <a:lnTo>
                        <a:pt x="191" y="71"/>
                      </a:lnTo>
                      <a:lnTo>
                        <a:pt x="186" y="71"/>
                      </a:lnTo>
                      <a:lnTo>
                        <a:pt x="191" y="73"/>
                      </a:lnTo>
                      <a:lnTo>
                        <a:pt x="196" y="74"/>
                      </a:lnTo>
                      <a:lnTo>
                        <a:pt x="201" y="74"/>
                      </a:lnTo>
                      <a:lnTo>
                        <a:pt x="206" y="74"/>
                      </a:lnTo>
                      <a:lnTo>
                        <a:pt x="216" y="72"/>
                      </a:lnTo>
                      <a:lnTo>
                        <a:pt x="226" y="71"/>
                      </a:lnTo>
                      <a:lnTo>
                        <a:pt x="224" y="77"/>
                      </a:lnTo>
                      <a:lnTo>
                        <a:pt x="219" y="84"/>
                      </a:lnTo>
                      <a:lnTo>
                        <a:pt x="217" y="88"/>
                      </a:lnTo>
                      <a:lnTo>
                        <a:pt x="215" y="93"/>
                      </a:lnTo>
                      <a:lnTo>
                        <a:pt x="214" y="97"/>
                      </a:lnTo>
                      <a:lnTo>
                        <a:pt x="213" y="102"/>
                      </a:lnTo>
                      <a:lnTo>
                        <a:pt x="217" y="105"/>
                      </a:lnTo>
                      <a:lnTo>
                        <a:pt x="230" y="109"/>
                      </a:lnTo>
                      <a:lnTo>
                        <a:pt x="249" y="113"/>
                      </a:lnTo>
                      <a:lnTo>
                        <a:pt x="269" y="117"/>
                      </a:lnTo>
                      <a:lnTo>
                        <a:pt x="308" y="124"/>
                      </a:lnTo>
                      <a:lnTo>
                        <a:pt x="326" y="127"/>
                      </a:lnTo>
                      <a:lnTo>
                        <a:pt x="322" y="131"/>
                      </a:lnTo>
                      <a:lnTo>
                        <a:pt x="319" y="136"/>
                      </a:lnTo>
                      <a:lnTo>
                        <a:pt x="315" y="140"/>
                      </a:lnTo>
                      <a:lnTo>
                        <a:pt x="310" y="144"/>
                      </a:lnTo>
                      <a:lnTo>
                        <a:pt x="303" y="149"/>
                      </a:lnTo>
                      <a:lnTo>
                        <a:pt x="299" y="151"/>
                      </a:lnTo>
                      <a:lnTo>
                        <a:pt x="299" y="154"/>
                      </a:lnTo>
                      <a:lnTo>
                        <a:pt x="301" y="157"/>
                      </a:lnTo>
                      <a:lnTo>
                        <a:pt x="302" y="160"/>
                      </a:lnTo>
                      <a:lnTo>
                        <a:pt x="304" y="164"/>
                      </a:lnTo>
                      <a:lnTo>
                        <a:pt x="308" y="168"/>
                      </a:lnTo>
                      <a:lnTo>
                        <a:pt x="314" y="173"/>
                      </a:lnTo>
                      <a:lnTo>
                        <a:pt x="319" y="176"/>
                      </a:lnTo>
                      <a:lnTo>
                        <a:pt x="325" y="180"/>
                      </a:lnTo>
                      <a:lnTo>
                        <a:pt x="329" y="184"/>
                      </a:lnTo>
                      <a:lnTo>
                        <a:pt x="332" y="188"/>
                      </a:lnTo>
                      <a:lnTo>
                        <a:pt x="290" y="211"/>
                      </a:lnTo>
                      <a:lnTo>
                        <a:pt x="257" y="231"/>
                      </a:lnTo>
                      <a:lnTo>
                        <a:pt x="241" y="241"/>
                      </a:lnTo>
                      <a:lnTo>
                        <a:pt x="225" y="253"/>
                      </a:lnTo>
                      <a:lnTo>
                        <a:pt x="207" y="268"/>
                      </a:lnTo>
                      <a:lnTo>
                        <a:pt x="186" y="287"/>
                      </a:lnTo>
                      <a:lnTo>
                        <a:pt x="173" y="244"/>
                      </a:lnTo>
                      <a:lnTo>
                        <a:pt x="178" y="244"/>
                      </a:lnTo>
                      <a:lnTo>
                        <a:pt x="182" y="243"/>
                      </a:lnTo>
                      <a:lnTo>
                        <a:pt x="185" y="242"/>
                      </a:lnTo>
                      <a:lnTo>
                        <a:pt x="189" y="240"/>
                      </a:lnTo>
                      <a:lnTo>
                        <a:pt x="194" y="236"/>
                      </a:lnTo>
                      <a:lnTo>
                        <a:pt x="200" y="232"/>
                      </a:lnTo>
                      <a:lnTo>
                        <a:pt x="174" y="232"/>
                      </a:lnTo>
                      <a:lnTo>
                        <a:pt x="149" y="232"/>
                      </a:lnTo>
                      <a:lnTo>
                        <a:pt x="125" y="232"/>
                      </a:lnTo>
                      <a:lnTo>
                        <a:pt x="101" y="232"/>
                      </a:lnTo>
                      <a:lnTo>
                        <a:pt x="79" y="232"/>
                      </a:lnTo>
                      <a:lnTo>
                        <a:pt x="58" y="232"/>
                      </a:lnTo>
                      <a:lnTo>
                        <a:pt x="41" y="232"/>
                      </a:lnTo>
                      <a:lnTo>
                        <a:pt x="27" y="232"/>
                      </a:lnTo>
                      <a:lnTo>
                        <a:pt x="19" y="231"/>
                      </a:lnTo>
                      <a:lnTo>
                        <a:pt x="11" y="227"/>
                      </a:lnTo>
                      <a:lnTo>
                        <a:pt x="6" y="225"/>
                      </a:lnTo>
                      <a:lnTo>
                        <a:pt x="3" y="222"/>
                      </a:lnTo>
                      <a:lnTo>
                        <a:pt x="1" y="218"/>
                      </a:lnTo>
                      <a:lnTo>
                        <a:pt x="0" y="213"/>
                      </a:lnTo>
                      <a:lnTo>
                        <a:pt x="1" y="209"/>
                      </a:lnTo>
                      <a:lnTo>
                        <a:pt x="4" y="205"/>
                      </a:lnTo>
                      <a:lnTo>
                        <a:pt x="7" y="201"/>
                      </a:lnTo>
                      <a:lnTo>
                        <a:pt x="13" y="197"/>
                      </a:lnTo>
                      <a:lnTo>
                        <a:pt x="26" y="188"/>
                      </a:lnTo>
                      <a:lnTo>
                        <a:pt x="41" y="179"/>
                      </a:lnTo>
                      <a:lnTo>
                        <a:pt x="58" y="170"/>
                      </a:lnTo>
                      <a:lnTo>
                        <a:pt x="73" y="162"/>
                      </a:lnTo>
                      <a:lnTo>
                        <a:pt x="80" y="156"/>
                      </a:lnTo>
                      <a:lnTo>
                        <a:pt x="85" y="152"/>
                      </a:lnTo>
                      <a:lnTo>
                        <a:pt x="90" y="149"/>
                      </a:lnTo>
                      <a:lnTo>
                        <a:pt x="93" y="145"/>
                      </a:lnTo>
                      <a:lnTo>
                        <a:pt x="100" y="138"/>
                      </a:lnTo>
                      <a:lnTo>
                        <a:pt x="106" y="130"/>
                      </a:lnTo>
                      <a:lnTo>
                        <a:pt x="112" y="122"/>
                      </a:lnTo>
                      <a:lnTo>
                        <a:pt x="116" y="114"/>
                      </a:lnTo>
                      <a:lnTo>
                        <a:pt x="124" y="96"/>
                      </a:lnTo>
                      <a:lnTo>
                        <a:pt x="130" y="79"/>
                      </a:lnTo>
                      <a:lnTo>
                        <a:pt x="134" y="71"/>
                      </a:lnTo>
                      <a:lnTo>
                        <a:pt x="138" y="64"/>
                      </a:lnTo>
                      <a:lnTo>
                        <a:pt x="141" y="58"/>
                      </a:lnTo>
                      <a:lnTo>
                        <a:pt x="147" y="52"/>
                      </a:lnTo>
                      <a:lnTo>
                        <a:pt x="151" y="47"/>
                      </a:lnTo>
                      <a:lnTo>
                        <a:pt x="158" y="43"/>
                      </a:lnTo>
                      <a:lnTo>
                        <a:pt x="164" y="41"/>
                      </a:lnTo>
                      <a:lnTo>
                        <a:pt x="173" y="4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93" name="Freeform 428">
                  <a:extLst>
                    <a:ext uri="{FF2B5EF4-FFF2-40B4-BE49-F238E27FC236}">
                      <a16:creationId xmlns:a16="http://schemas.microsoft.com/office/drawing/2014/main" id="{81D72C8E-67FC-4350-9C76-A62BA14C76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01" y="1190"/>
                  <a:ext cx="112" cy="22"/>
                </a:xfrm>
                <a:custGeom>
                  <a:avLst/>
                  <a:gdLst>
                    <a:gd name="T0" fmla="*/ 11 w 345"/>
                    <a:gd name="T1" fmla="*/ 8 h 86"/>
                    <a:gd name="T2" fmla="*/ 12 w 345"/>
                    <a:gd name="T3" fmla="*/ 8 h 86"/>
                    <a:gd name="T4" fmla="*/ 14 w 345"/>
                    <a:gd name="T5" fmla="*/ 8 h 86"/>
                    <a:gd name="T6" fmla="*/ 15 w 345"/>
                    <a:gd name="T7" fmla="*/ 7 h 86"/>
                    <a:gd name="T8" fmla="*/ 17 w 345"/>
                    <a:gd name="T9" fmla="*/ 7 h 86"/>
                    <a:gd name="T10" fmla="*/ 20 w 345"/>
                    <a:gd name="T11" fmla="*/ 6 h 86"/>
                    <a:gd name="T12" fmla="*/ 24 w 345"/>
                    <a:gd name="T13" fmla="*/ 6 h 86"/>
                    <a:gd name="T14" fmla="*/ 25 w 345"/>
                    <a:gd name="T15" fmla="*/ 5 h 86"/>
                    <a:gd name="T16" fmla="*/ 27 w 345"/>
                    <a:gd name="T17" fmla="*/ 5 h 86"/>
                    <a:gd name="T18" fmla="*/ 29 w 345"/>
                    <a:gd name="T19" fmla="*/ 4 h 86"/>
                    <a:gd name="T20" fmla="*/ 31 w 345"/>
                    <a:gd name="T21" fmla="*/ 4 h 86"/>
                    <a:gd name="T22" fmla="*/ 32 w 345"/>
                    <a:gd name="T23" fmla="*/ 3 h 86"/>
                    <a:gd name="T24" fmla="*/ 33 w 345"/>
                    <a:gd name="T25" fmla="*/ 3 h 86"/>
                    <a:gd name="T26" fmla="*/ 34 w 345"/>
                    <a:gd name="T27" fmla="*/ 2 h 86"/>
                    <a:gd name="T28" fmla="*/ 36 w 345"/>
                    <a:gd name="T29" fmla="*/ 1 h 86"/>
                    <a:gd name="T30" fmla="*/ 35 w 345"/>
                    <a:gd name="T31" fmla="*/ 1 h 86"/>
                    <a:gd name="T32" fmla="*/ 34 w 345"/>
                    <a:gd name="T33" fmla="*/ 1 h 86"/>
                    <a:gd name="T34" fmla="*/ 33 w 345"/>
                    <a:gd name="T35" fmla="*/ 1 h 86"/>
                    <a:gd name="T36" fmla="*/ 32 w 345"/>
                    <a:gd name="T37" fmla="*/ 1 h 86"/>
                    <a:gd name="T38" fmla="*/ 31 w 345"/>
                    <a:gd name="T39" fmla="*/ 0 h 86"/>
                    <a:gd name="T40" fmla="*/ 30 w 345"/>
                    <a:gd name="T41" fmla="*/ 0 h 86"/>
                    <a:gd name="T42" fmla="*/ 29 w 345"/>
                    <a:gd name="T43" fmla="*/ 0 h 86"/>
                    <a:gd name="T44" fmla="*/ 28 w 345"/>
                    <a:gd name="T45" fmla="*/ 0 h 86"/>
                    <a:gd name="T46" fmla="*/ 27 w 345"/>
                    <a:gd name="T47" fmla="*/ 0 h 86"/>
                    <a:gd name="T48" fmla="*/ 25 w 345"/>
                    <a:gd name="T49" fmla="*/ 0 h 86"/>
                    <a:gd name="T50" fmla="*/ 23 w 345"/>
                    <a:gd name="T51" fmla="*/ 1 h 86"/>
                    <a:gd name="T52" fmla="*/ 22 w 345"/>
                    <a:gd name="T53" fmla="*/ 1 h 86"/>
                    <a:gd name="T54" fmla="*/ 17 w 345"/>
                    <a:gd name="T55" fmla="*/ 2 h 86"/>
                    <a:gd name="T56" fmla="*/ 13 w 345"/>
                    <a:gd name="T57" fmla="*/ 3 h 86"/>
                    <a:gd name="T58" fmla="*/ 11 w 345"/>
                    <a:gd name="T59" fmla="*/ 3 h 86"/>
                    <a:gd name="T60" fmla="*/ 9 w 345"/>
                    <a:gd name="T61" fmla="*/ 4 h 86"/>
                    <a:gd name="T62" fmla="*/ 7 w 345"/>
                    <a:gd name="T63" fmla="*/ 5 h 86"/>
                    <a:gd name="T64" fmla="*/ 5 w 345"/>
                    <a:gd name="T65" fmla="*/ 6 h 86"/>
                    <a:gd name="T66" fmla="*/ 3 w 345"/>
                    <a:gd name="T67" fmla="*/ 6 h 86"/>
                    <a:gd name="T68" fmla="*/ 2 w 345"/>
                    <a:gd name="T69" fmla="*/ 7 h 86"/>
                    <a:gd name="T70" fmla="*/ 1 w 345"/>
                    <a:gd name="T71" fmla="*/ 8 h 86"/>
                    <a:gd name="T72" fmla="*/ 0 w 345"/>
                    <a:gd name="T73" fmla="*/ 8 h 86"/>
                    <a:gd name="T74" fmla="*/ 11 w 345"/>
                    <a:gd name="T75" fmla="*/ 8 h 8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345" h="86">
                      <a:moveTo>
                        <a:pt x="106" y="86"/>
                      </a:moveTo>
                      <a:lnTo>
                        <a:pt x="119" y="81"/>
                      </a:lnTo>
                      <a:lnTo>
                        <a:pt x="133" y="76"/>
                      </a:lnTo>
                      <a:lnTo>
                        <a:pt x="148" y="72"/>
                      </a:lnTo>
                      <a:lnTo>
                        <a:pt x="164" y="69"/>
                      </a:lnTo>
                      <a:lnTo>
                        <a:pt x="197" y="63"/>
                      </a:lnTo>
                      <a:lnTo>
                        <a:pt x="231" y="57"/>
                      </a:lnTo>
                      <a:lnTo>
                        <a:pt x="247" y="53"/>
                      </a:lnTo>
                      <a:lnTo>
                        <a:pt x="264" y="50"/>
                      </a:lnTo>
                      <a:lnTo>
                        <a:pt x="279" y="46"/>
                      </a:lnTo>
                      <a:lnTo>
                        <a:pt x="294" y="40"/>
                      </a:lnTo>
                      <a:lnTo>
                        <a:pt x="309" y="35"/>
                      </a:lnTo>
                      <a:lnTo>
                        <a:pt x="322" y="28"/>
                      </a:lnTo>
                      <a:lnTo>
                        <a:pt x="334" y="21"/>
                      </a:lnTo>
                      <a:lnTo>
                        <a:pt x="345" y="13"/>
                      </a:lnTo>
                      <a:lnTo>
                        <a:pt x="335" y="12"/>
                      </a:lnTo>
                      <a:lnTo>
                        <a:pt x="326" y="11"/>
                      </a:lnTo>
                      <a:lnTo>
                        <a:pt x="317" y="9"/>
                      </a:lnTo>
                      <a:lnTo>
                        <a:pt x="309" y="6"/>
                      </a:lnTo>
                      <a:lnTo>
                        <a:pt x="300" y="4"/>
                      </a:lnTo>
                      <a:lnTo>
                        <a:pt x="291" y="2"/>
                      </a:lnTo>
                      <a:lnTo>
                        <a:pt x="281" y="1"/>
                      </a:lnTo>
                      <a:lnTo>
                        <a:pt x="272" y="0"/>
                      </a:lnTo>
                      <a:lnTo>
                        <a:pt x="259" y="1"/>
                      </a:lnTo>
                      <a:lnTo>
                        <a:pt x="245" y="3"/>
                      </a:lnTo>
                      <a:lnTo>
                        <a:pt x="227" y="5"/>
                      </a:lnTo>
                      <a:lnTo>
                        <a:pt x="209" y="9"/>
                      </a:lnTo>
                      <a:lnTo>
                        <a:pt x="168" y="18"/>
                      </a:lnTo>
                      <a:lnTo>
                        <a:pt x="126" y="29"/>
                      </a:lnTo>
                      <a:lnTo>
                        <a:pt x="104" y="36"/>
                      </a:lnTo>
                      <a:lnTo>
                        <a:pt x="85" y="42"/>
                      </a:lnTo>
                      <a:lnTo>
                        <a:pt x="66" y="50"/>
                      </a:lnTo>
                      <a:lnTo>
                        <a:pt x="47" y="58"/>
                      </a:lnTo>
                      <a:lnTo>
                        <a:pt x="32" y="65"/>
                      </a:lnTo>
                      <a:lnTo>
                        <a:pt x="19" y="72"/>
                      </a:lnTo>
                      <a:lnTo>
                        <a:pt x="8" y="79"/>
                      </a:lnTo>
                      <a:lnTo>
                        <a:pt x="0" y="86"/>
                      </a:lnTo>
                      <a:lnTo>
                        <a:pt x="106" y="8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94" name="Freeform 429">
                  <a:extLst>
                    <a:ext uri="{FF2B5EF4-FFF2-40B4-BE49-F238E27FC236}">
                      <a16:creationId xmlns:a16="http://schemas.microsoft.com/office/drawing/2014/main" id="{B94121B2-10B3-4DAB-B48A-A41EF13025A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58" y="1199"/>
                  <a:ext cx="146" cy="43"/>
                </a:xfrm>
                <a:custGeom>
                  <a:avLst/>
                  <a:gdLst>
                    <a:gd name="T0" fmla="*/ 2 w 464"/>
                    <a:gd name="T1" fmla="*/ 9 h 130"/>
                    <a:gd name="T2" fmla="*/ 8 w 464"/>
                    <a:gd name="T3" fmla="*/ 9 h 130"/>
                    <a:gd name="T4" fmla="*/ 11 w 464"/>
                    <a:gd name="T5" fmla="*/ 9 h 130"/>
                    <a:gd name="T6" fmla="*/ 10 w 464"/>
                    <a:gd name="T7" fmla="*/ 10 h 130"/>
                    <a:gd name="T8" fmla="*/ 8 w 464"/>
                    <a:gd name="T9" fmla="*/ 11 h 130"/>
                    <a:gd name="T10" fmla="*/ 7 w 464"/>
                    <a:gd name="T11" fmla="*/ 12 h 130"/>
                    <a:gd name="T12" fmla="*/ 7 w 464"/>
                    <a:gd name="T13" fmla="*/ 13 h 130"/>
                    <a:gd name="T14" fmla="*/ 8 w 464"/>
                    <a:gd name="T15" fmla="*/ 14 h 130"/>
                    <a:gd name="T16" fmla="*/ 10 w 464"/>
                    <a:gd name="T17" fmla="*/ 14 h 130"/>
                    <a:gd name="T18" fmla="*/ 11 w 464"/>
                    <a:gd name="T19" fmla="*/ 14 h 130"/>
                    <a:gd name="T20" fmla="*/ 13 w 464"/>
                    <a:gd name="T21" fmla="*/ 14 h 130"/>
                    <a:gd name="T22" fmla="*/ 16 w 464"/>
                    <a:gd name="T23" fmla="*/ 13 h 130"/>
                    <a:gd name="T24" fmla="*/ 20 w 464"/>
                    <a:gd name="T25" fmla="*/ 12 h 130"/>
                    <a:gd name="T26" fmla="*/ 23 w 464"/>
                    <a:gd name="T27" fmla="*/ 11 h 130"/>
                    <a:gd name="T28" fmla="*/ 26 w 464"/>
                    <a:gd name="T29" fmla="*/ 11 h 130"/>
                    <a:gd name="T30" fmla="*/ 27 w 464"/>
                    <a:gd name="T31" fmla="*/ 11 h 130"/>
                    <a:gd name="T32" fmla="*/ 31 w 464"/>
                    <a:gd name="T33" fmla="*/ 11 h 130"/>
                    <a:gd name="T34" fmla="*/ 34 w 464"/>
                    <a:gd name="T35" fmla="*/ 11 h 130"/>
                    <a:gd name="T36" fmla="*/ 39 w 464"/>
                    <a:gd name="T37" fmla="*/ 10 h 130"/>
                    <a:gd name="T38" fmla="*/ 43 w 464"/>
                    <a:gd name="T39" fmla="*/ 9 h 130"/>
                    <a:gd name="T40" fmla="*/ 46 w 464"/>
                    <a:gd name="T41" fmla="*/ 7 h 130"/>
                    <a:gd name="T42" fmla="*/ 47 w 464"/>
                    <a:gd name="T43" fmla="*/ 6 h 130"/>
                    <a:gd name="T44" fmla="*/ 45 w 464"/>
                    <a:gd name="T45" fmla="*/ 5 h 130"/>
                    <a:gd name="T46" fmla="*/ 43 w 464"/>
                    <a:gd name="T47" fmla="*/ 5 h 130"/>
                    <a:gd name="T48" fmla="*/ 41 w 464"/>
                    <a:gd name="T49" fmla="*/ 5 h 130"/>
                    <a:gd name="T50" fmla="*/ 42 w 464"/>
                    <a:gd name="T51" fmla="*/ 4 h 130"/>
                    <a:gd name="T52" fmla="*/ 43 w 464"/>
                    <a:gd name="T53" fmla="*/ 2 h 130"/>
                    <a:gd name="T54" fmla="*/ 43 w 464"/>
                    <a:gd name="T55" fmla="*/ 1 h 130"/>
                    <a:gd name="T56" fmla="*/ 39 w 464"/>
                    <a:gd name="T57" fmla="*/ 0 h 130"/>
                    <a:gd name="T58" fmla="*/ 37 w 464"/>
                    <a:gd name="T59" fmla="*/ 2 h 130"/>
                    <a:gd name="T60" fmla="*/ 35 w 464"/>
                    <a:gd name="T61" fmla="*/ 5 h 130"/>
                    <a:gd name="T62" fmla="*/ 33 w 464"/>
                    <a:gd name="T63" fmla="*/ 7 h 130"/>
                    <a:gd name="T64" fmla="*/ 32 w 464"/>
                    <a:gd name="T65" fmla="*/ 7 h 130"/>
                    <a:gd name="T66" fmla="*/ 31 w 464"/>
                    <a:gd name="T67" fmla="*/ 7 h 130"/>
                    <a:gd name="T68" fmla="*/ 29 w 464"/>
                    <a:gd name="T69" fmla="*/ 7 h 130"/>
                    <a:gd name="T70" fmla="*/ 27 w 464"/>
                    <a:gd name="T71" fmla="*/ 7 h 130"/>
                    <a:gd name="T72" fmla="*/ 25 w 464"/>
                    <a:gd name="T73" fmla="*/ 6 h 130"/>
                    <a:gd name="T74" fmla="*/ 21 w 464"/>
                    <a:gd name="T75" fmla="*/ 3 h 130"/>
                    <a:gd name="T76" fmla="*/ 19 w 464"/>
                    <a:gd name="T77" fmla="*/ 3 h 130"/>
                    <a:gd name="T78" fmla="*/ 15 w 464"/>
                    <a:gd name="T79" fmla="*/ 3 h 130"/>
                    <a:gd name="T80" fmla="*/ 12 w 464"/>
                    <a:gd name="T81" fmla="*/ 4 h 130"/>
                    <a:gd name="T82" fmla="*/ 9 w 464"/>
                    <a:gd name="T83" fmla="*/ 5 h 130"/>
                    <a:gd name="T84" fmla="*/ 5 w 464"/>
                    <a:gd name="T85" fmla="*/ 6 h 130"/>
                    <a:gd name="T86" fmla="*/ 3 w 464"/>
                    <a:gd name="T87" fmla="*/ 7 h 130"/>
                    <a:gd name="T88" fmla="*/ 1 w 464"/>
                    <a:gd name="T89" fmla="*/ 8 h 130"/>
                    <a:gd name="T90" fmla="*/ 0 w 464"/>
                    <a:gd name="T91" fmla="*/ 9 h 130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0" t="0" r="r" b="b"/>
                  <a:pathLst>
                    <a:path w="464" h="130">
                      <a:moveTo>
                        <a:pt x="0" y="86"/>
                      </a:moveTo>
                      <a:lnTo>
                        <a:pt x="19" y="86"/>
                      </a:lnTo>
                      <a:lnTo>
                        <a:pt x="48" y="83"/>
                      </a:lnTo>
                      <a:lnTo>
                        <a:pt x="77" y="81"/>
                      </a:lnTo>
                      <a:lnTo>
                        <a:pt x="106" y="80"/>
                      </a:lnTo>
                      <a:lnTo>
                        <a:pt x="103" y="81"/>
                      </a:lnTo>
                      <a:lnTo>
                        <a:pt x="97" y="84"/>
                      </a:lnTo>
                      <a:lnTo>
                        <a:pt x="92" y="89"/>
                      </a:lnTo>
                      <a:lnTo>
                        <a:pt x="86" y="94"/>
                      </a:lnTo>
                      <a:lnTo>
                        <a:pt x="81" y="100"/>
                      </a:lnTo>
                      <a:lnTo>
                        <a:pt x="76" y="106"/>
                      </a:lnTo>
                      <a:lnTo>
                        <a:pt x="73" y="112"/>
                      </a:lnTo>
                      <a:lnTo>
                        <a:pt x="72" y="117"/>
                      </a:lnTo>
                      <a:lnTo>
                        <a:pt x="73" y="119"/>
                      </a:lnTo>
                      <a:lnTo>
                        <a:pt x="75" y="121"/>
                      </a:lnTo>
                      <a:lnTo>
                        <a:pt x="79" y="124"/>
                      </a:lnTo>
                      <a:lnTo>
                        <a:pt x="83" y="126"/>
                      </a:lnTo>
                      <a:lnTo>
                        <a:pt x="92" y="129"/>
                      </a:lnTo>
                      <a:lnTo>
                        <a:pt x="99" y="130"/>
                      </a:lnTo>
                      <a:lnTo>
                        <a:pt x="109" y="129"/>
                      </a:lnTo>
                      <a:lnTo>
                        <a:pt x="119" y="129"/>
                      </a:lnTo>
                      <a:lnTo>
                        <a:pt x="128" y="127"/>
                      </a:lnTo>
                      <a:lnTo>
                        <a:pt x="138" y="125"/>
                      </a:lnTo>
                      <a:lnTo>
                        <a:pt x="157" y="119"/>
                      </a:lnTo>
                      <a:lnTo>
                        <a:pt x="176" y="114"/>
                      </a:lnTo>
                      <a:lnTo>
                        <a:pt x="196" y="108"/>
                      </a:lnTo>
                      <a:lnTo>
                        <a:pt x="216" y="103"/>
                      </a:lnTo>
                      <a:lnTo>
                        <a:pt x="226" y="101"/>
                      </a:lnTo>
                      <a:lnTo>
                        <a:pt x="237" y="100"/>
                      </a:lnTo>
                      <a:lnTo>
                        <a:pt x="248" y="99"/>
                      </a:lnTo>
                      <a:lnTo>
                        <a:pt x="259" y="99"/>
                      </a:lnTo>
                      <a:lnTo>
                        <a:pt x="266" y="99"/>
                      </a:lnTo>
                      <a:lnTo>
                        <a:pt x="285" y="99"/>
                      </a:lnTo>
                      <a:lnTo>
                        <a:pt x="304" y="99"/>
                      </a:lnTo>
                      <a:lnTo>
                        <a:pt x="311" y="99"/>
                      </a:lnTo>
                      <a:lnTo>
                        <a:pt x="333" y="98"/>
                      </a:lnTo>
                      <a:lnTo>
                        <a:pt x="355" y="96"/>
                      </a:lnTo>
                      <a:lnTo>
                        <a:pt x="376" y="93"/>
                      </a:lnTo>
                      <a:lnTo>
                        <a:pt x="396" y="89"/>
                      </a:lnTo>
                      <a:lnTo>
                        <a:pt x="415" y="83"/>
                      </a:lnTo>
                      <a:lnTo>
                        <a:pt x="432" y="76"/>
                      </a:lnTo>
                      <a:lnTo>
                        <a:pt x="449" y="66"/>
                      </a:lnTo>
                      <a:lnTo>
                        <a:pt x="464" y="55"/>
                      </a:lnTo>
                      <a:lnTo>
                        <a:pt x="455" y="51"/>
                      </a:lnTo>
                      <a:lnTo>
                        <a:pt x="446" y="49"/>
                      </a:lnTo>
                      <a:lnTo>
                        <a:pt x="439" y="48"/>
                      </a:lnTo>
                      <a:lnTo>
                        <a:pt x="430" y="48"/>
                      </a:lnTo>
                      <a:lnTo>
                        <a:pt x="413" y="48"/>
                      </a:lnTo>
                      <a:lnTo>
                        <a:pt x="392" y="49"/>
                      </a:lnTo>
                      <a:lnTo>
                        <a:pt x="396" y="46"/>
                      </a:lnTo>
                      <a:lnTo>
                        <a:pt x="401" y="42"/>
                      </a:lnTo>
                      <a:lnTo>
                        <a:pt x="406" y="36"/>
                      </a:lnTo>
                      <a:lnTo>
                        <a:pt x="410" y="29"/>
                      </a:lnTo>
                      <a:lnTo>
                        <a:pt x="413" y="22"/>
                      </a:lnTo>
                      <a:lnTo>
                        <a:pt x="416" y="15"/>
                      </a:lnTo>
                      <a:lnTo>
                        <a:pt x="418" y="7"/>
                      </a:lnTo>
                      <a:lnTo>
                        <a:pt x="418" y="0"/>
                      </a:lnTo>
                      <a:lnTo>
                        <a:pt x="378" y="0"/>
                      </a:lnTo>
                      <a:lnTo>
                        <a:pt x="368" y="8"/>
                      </a:lnTo>
                      <a:lnTo>
                        <a:pt x="360" y="19"/>
                      </a:lnTo>
                      <a:lnTo>
                        <a:pt x="352" y="30"/>
                      </a:lnTo>
                      <a:lnTo>
                        <a:pt x="343" y="41"/>
                      </a:lnTo>
                      <a:lnTo>
                        <a:pt x="334" y="51"/>
                      </a:lnTo>
                      <a:lnTo>
                        <a:pt x="323" y="59"/>
                      </a:lnTo>
                      <a:lnTo>
                        <a:pt x="318" y="63"/>
                      </a:lnTo>
                      <a:lnTo>
                        <a:pt x="312" y="65"/>
                      </a:lnTo>
                      <a:lnTo>
                        <a:pt x="306" y="68"/>
                      </a:lnTo>
                      <a:lnTo>
                        <a:pt x="298" y="68"/>
                      </a:lnTo>
                      <a:lnTo>
                        <a:pt x="287" y="68"/>
                      </a:lnTo>
                      <a:lnTo>
                        <a:pt x="278" y="66"/>
                      </a:lnTo>
                      <a:lnTo>
                        <a:pt x="270" y="65"/>
                      </a:lnTo>
                      <a:lnTo>
                        <a:pt x="262" y="63"/>
                      </a:lnTo>
                      <a:lnTo>
                        <a:pt x="250" y="59"/>
                      </a:lnTo>
                      <a:lnTo>
                        <a:pt x="239" y="54"/>
                      </a:lnTo>
                      <a:lnTo>
                        <a:pt x="222" y="42"/>
                      </a:lnTo>
                      <a:lnTo>
                        <a:pt x="205" y="31"/>
                      </a:lnTo>
                      <a:lnTo>
                        <a:pt x="193" y="29"/>
                      </a:lnTo>
                      <a:lnTo>
                        <a:pt x="180" y="29"/>
                      </a:lnTo>
                      <a:lnTo>
                        <a:pt x="165" y="29"/>
                      </a:lnTo>
                      <a:lnTo>
                        <a:pt x="150" y="31"/>
                      </a:lnTo>
                      <a:lnTo>
                        <a:pt x="133" y="33"/>
                      </a:lnTo>
                      <a:lnTo>
                        <a:pt x="117" y="37"/>
                      </a:lnTo>
                      <a:lnTo>
                        <a:pt x="101" y="40"/>
                      </a:lnTo>
                      <a:lnTo>
                        <a:pt x="85" y="45"/>
                      </a:lnTo>
                      <a:lnTo>
                        <a:pt x="70" y="49"/>
                      </a:lnTo>
                      <a:lnTo>
                        <a:pt x="54" y="54"/>
                      </a:lnTo>
                      <a:lnTo>
                        <a:pt x="41" y="60"/>
                      </a:lnTo>
                      <a:lnTo>
                        <a:pt x="29" y="65"/>
                      </a:lnTo>
                      <a:lnTo>
                        <a:pt x="18" y="71"/>
                      </a:lnTo>
                      <a:lnTo>
                        <a:pt x="9" y="77"/>
                      </a:lnTo>
                      <a:lnTo>
                        <a:pt x="3" y="82"/>
                      </a:lnTo>
                      <a:lnTo>
                        <a:pt x="0" y="8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95" name="Freeform 430">
                  <a:extLst>
                    <a:ext uri="{FF2B5EF4-FFF2-40B4-BE49-F238E27FC236}">
                      <a16:creationId xmlns:a16="http://schemas.microsoft.com/office/drawing/2014/main" id="{B3F4883C-45F2-4E49-AD9D-2A9AA7F838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8" y="1205"/>
                  <a:ext cx="155" cy="31"/>
                </a:xfrm>
                <a:custGeom>
                  <a:avLst/>
                  <a:gdLst>
                    <a:gd name="T0" fmla="*/ 6 w 472"/>
                    <a:gd name="T1" fmla="*/ 0 h 92"/>
                    <a:gd name="T2" fmla="*/ 5 w 472"/>
                    <a:gd name="T3" fmla="*/ 0 h 92"/>
                    <a:gd name="T4" fmla="*/ 3 w 472"/>
                    <a:gd name="T5" fmla="*/ 0 h 92"/>
                    <a:gd name="T6" fmla="*/ 1 w 472"/>
                    <a:gd name="T7" fmla="*/ 0 h 92"/>
                    <a:gd name="T8" fmla="*/ 1 w 472"/>
                    <a:gd name="T9" fmla="*/ 1 h 92"/>
                    <a:gd name="T10" fmla="*/ 1 w 472"/>
                    <a:gd name="T11" fmla="*/ 2 h 92"/>
                    <a:gd name="T12" fmla="*/ 1 w 472"/>
                    <a:gd name="T13" fmla="*/ 3 h 92"/>
                    <a:gd name="T14" fmla="*/ 2 w 472"/>
                    <a:gd name="T15" fmla="*/ 4 h 92"/>
                    <a:gd name="T16" fmla="*/ 2 w 472"/>
                    <a:gd name="T17" fmla="*/ 5 h 92"/>
                    <a:gd name="T18" fmla="*/ 0 w 472"/>
                    <a:gd name="T19" fmla="*/ 6 h 92"/>
                    <a:gd name="T20" fmla="*/ 0 w 472"/>
                    <a:gd name="T21" fmla="*/ 6 h 92"/>
                    <a:gd name="T22" fmla="*/ 0 w 472"/>
                    <a:gd name="T23" fmla="*/ 7 h 92"/>
                    <a:gd name="T24" fmla="*/ 2 w 472"/>
                    <a:gd name="T25" fmla="*/ 8 h 92"/>
                    <a:gd name="T26" fmla="*/ 5 w 472"/>
                    <a:gd name="T27" fmla="*/ 9 h 92"/>
                    <a:gd name="T28" fmla="*/ 11 w 472"/>
                    <a:gd name="T29" fmla="*/ 10 h 92"/>
                    <a:gd name="T30" fmla="*/ 18 w 472"/>
                    <a:gd name="T31" fmla="*/ 10 h 92"/>
                    <a:gd name="T32" fmla="*/ 38 w 472"/>
                    <a:gd name="T33" fmla="*/ 10 h 92"/>
                    <a:gd name="T34" fmla="*/ 39 w 472"/>
                    <a:gd name="T35" fmla="*/ 9 h 92"/>
                    <a:gd name="T36" fmla="*/ 41 w 472"/>
                    <a:gd name="T37" fmla="*/ 8 h 92"/>
                    <a:gd name="T38" fmla="*/ 42 w 472"/>
                    <a:gd name="T39" fmla="*/ 8 h 92"/>
                    <a:gd name="T40" fmla="*/ 43 w 472"/>
                    <a:gd name="T41" fmla="*/ 8 h 92"/>
                    <a:gd name="T42" fmla="*/ 46 w 472"/>
                    <a:gd name="T43" fmla="*/ 9 h 92"/>
                    <a:gd name="T44" fmla="*/ 48 w 472"/>
                    <a:gd name="T45" fmla="*/ 9 h 92"/>
                    <a:gd name="T46" fmla="*/ 50 w 472"/>
                    <a:gd name="T47" fmla="*/ 8 h 92"/>
                    <a:gd name="T48" fmla="*/ 49 w 472"/>
                    <a:gd name="T49" fmla="*/ 4 h 92"/>
                    <a:gd name="T50" fmla="*/ 48 w 472"/>
                    <a:gd name="T51" fmla="*/ 3 h 92"/>
                    <a:gd name="T52" fmla="*/ 47 w 472"/>
                    <a:gd name="T53" fmla="*/ 2 h 92"/>
                    <a:gd name="T54" fmla="*/ 45 w 472"/>
                    <a:gd name="T55" fmla="*/ 1 h 92"/>
                    <a:gd name="T56" fmla="*/ 44 w 472"/>
                    <a:gd name="T57" fmla="*/ 1 h 92"/>
                    <a:gd name="T58" fmla="*/ 41 w 472"/>
                    <a:gd name="T59" fmla="*/ 2 h 92"/>
                    <a:gd name="T60" fmla="*/ 39 w 472"/>
                    <a:gd name="T61" fmla="*/ 2 h 92"/>
                    <a:gd name="T62" fmla="*/ 34 w 472"/>
                    <a:gd name="T63" fmla="*/ 4 h 92"/>
                    <a:gd name="T64" fmla="*/ 31 w 472"/>
                    <a:gd name="T65" fmla="*/ 4 h 92"/>
                    <a:gd name="T66" fmla="*/ 29 w 472"/>
                    <a:gd name="T67" fmla="*/ 5 h 92"/>
                    <a:gd name="T68" fmla="*/ 25 w 472"/>
                    <a:gd name="T69" fmla="*/ 5 h 92"/>
                    <a:gd name="T70" fmla="*/ 20 w 472"/>
                    <a:gd name="T71" fmla="*/ 5 h 92"/>
                    <a:gd name="T72" fmla="*/ 17 w 472"/>
                    <a:gd name="T73" fmla="*/ 5 h 92"/>
                    <a:gd name="T74" fmla="*/ 13 w 472"/>
                    <a:gd name="T75" fmla="*/ 5 h 92"/>
                    <a:gd name="T76" fmla="*/ 9 w 472"/>
                    <a:gd name="T77" fmla="*/ 5 h 92"/>
                    <a:gd name="T78" fmla="*/ 8 w 472"/>
                    <a:gd name="T79" fmla="*/ 4 h 92"/>
                    <a:gd name="T80" fmla="*/ 7 w 472"/>
                    <a:gd name="T81" fmla="*/ 3 h 92"/>
                    <a:gd name="T82" fmla="*/ 7 w 472"/>
                    <a:gd name="T83" fmla="*/ 2 h 92"/>
                    <a:gd name="T84" fmla="*/ 7 w 472"/>
                    <a:gd name="T85" fmla="*/ 1 h 92"/>
                    <a:gd name="T86" fmla="*/ 8 w 472"/>
                    <a:gd name="T87" fmla="*/ 0 h 92"/>
                    <a:gd name="T88" fmla="*/ 8 w 472"/>
                    <a:gd name="T89" fmla="*/ 0 h 92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0" t="0" r="r" b="b"/>
                  <a:pathLst>
                    <a:path w="472" h="92">
                      <a:moveTo>
                        <a:pt x="73" y="0"/>
                      </a:moveTo>
                      <a:lnTo>
                        <a:pt x="63" y="0"/>
                      </a:lnTo>
                      <a:lnTo>
                        <a:pt x="53" y="0"/>
                      </a:lnTo>
                      <a:lnTo>
                        <a:pt x="44" y="0"/>
                      </a:lnTo>
                      <a:lnTo>
                        <a:pt x="34" y="0"/>
                      </a:lnTo>
                      <a:lnTo>
                        <a:pt x="24" y="0"/>
                      </a:lnTo>
                      <a:lnTo>
                        <a:pt x="15" y="1"/>
                      </a:lnTo>
                      <a:lnTo>
                        <a:pt x="12" y="3"/>
                      </a:lnTo>
                      <a:lnTo>
                        <a:pt x="8" y="5"/>
                      </a:lnTo>
                      <a:lnTo>
                        <a:pt x="7" y="8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7" y="20"/>
                      </a:lnTo>
                      <a:lnTo>
                        <a:pt x="10" y="23"/>
                      </a:lnTo>
                      <a:lnTo>
                        <a:pt x="11" y="26"/>
                      </a:lnTo>
                      <a:lnTo>
                        <a:pt x="15" y="32"/>
                      </a:lnTo>
                      <a:lnTo>
                        <a:pt x="19" y="36"/>
                      </a:lnTo>
                      <a:lnTo>
                        <a:pt x="14" y="41"/>
                      </a:lnTo>
                      <a:lnTo>
                        <a:pt x="7" y="46"/>
                      </a:lnTo>
                      <a:lnTo>
                        <a:pt x="4" y="50"/>
                      </a:lnTo>
                      <a:lnTo>
                        <a:pt x="2" y="53"/>
                      </a:lnTo>
                      <a:lnTo>
                        <a:pt x="1" y="57"/>
                      </a:lnTo>
                      <a:lnTo>
                        <a:pt x="0" y="61"/>
                      </a:lnTo>
                      <a:lnTo>
                        <a:pt x="2" y="64"/>
                      </a:lnTo>
                      <a:lnTo>
                        <a:pt x="6" y="66"/>
                      </a:lnTo>
                      <a:lnTo>
                        <a:pt x="14" y="69"/>
                      </a:lnTo>
                      <a:lnTo>
                        <a:pt x="24" y="71"/>
                      </a:lnTo>
                      <a:lnTo>
                        <a:pt x="48" y="76"/>
                      </a:lnTo>
                      <a:lnTo>
                        <a:pt x="78" y="81"/>
                      </a:lnTo>
                      <a:lnTo>
                        <a:pt x="109" y="85"/>
                      </a:lnTo>
                      <a:lnTo>
                        <a:pt x="140" y="89"/>
                      </a:lnTo>
                      <a:lnTo>
                        <a:pt x="167" y="91"/>
                      </a:lnTo>
                      <a:lnTo>
                        <a:pt x="186" y="92"/>
                      </a:lnTo>
                      <a:lnTo>
                        <a:pt x="365" y="92"/>
                      </a:lnTo>
                      <a:lnTo>
                        <a:pt x="370" y="86"/>
                      </a:lnTo>
                      <a:lnTo>
                        <a:pt x="374" y="81"/>
                      </a:lnTo>
                      <a:lnTo>
                        <a:pt x="380" y="78"/>
                      </a:lnTo>
                      <a:lnTo>
                        <a:pt x="385" y="75"/>
                      </a:lnTo>
                      <a:lnTo>
                        <a:pt x="391" y="74"/>
                      </a:lnTo>
                      <a:lnTo>
                        <a:pt x="397" y="73"/>
                      </a:lnTo>
                      <a:lnTo>
                        <a:pt x="404" y="73"/>
                      </a:lnTo>
                      <a:lnTo>
                        <a:pt x="411" y="73"/>
                      </a:lnTo>
                      <a:lnTo>
                        <a:pt x="426" y="75"/>
                      </a:lnTo>
                      <a:lnTo>
                        <a:pt x="441" y="76"/>
                      </a:lnTo>
                      <a:lnTo>
                        <a:pt x="449" y="77"/>
                      </a:lnTo>
                      <a:lnTo>
                        <a:pt x="456" y="76"/>
                      </a:lnTo>
                      <a:lnTo>
                        <a:pt x="464" y="75"/>
                      </a:lnTo>
                      <a:lnTo>
                        <a:pt x="472" y="73"/>
                      </a:lnTo>
                      <a:lnTo>
                        <a:pt x="472" y="36"/>
                      </a:lnTo>
                      <a:lnTo>
                        <a:pt x="465" y="33"/>
                      </a:lnTo>
                      <a:lnTo>
                        <a:pt x="459" y="30"/>
                      </a:lnTo>
                      <a:lnTo>
                        <a:pt x="453" y="26"/>
                      </a:lnTo>
                      <a:lnTo>
                        <a:pt x="449" y="22"/>
                      </a:lnTo>
                      <a:lnTo>
                        <a:pt x="443" y="18"/>
                      </a:lnTo>
                      <a:lnTo>
                        <a:pt x="438" y="15"/>
                      </a:lnTo>
                      <a:lnTo>
                        <a:pt x="432" y="13"/>
                      </a:lnTo>
                      <a:lnTo>
                        <a:pt x="426" y="12"/>
                      </a:lnTo>
                      <a:lnTo>
                        <a:pt x="416" y="12"/>
                      </a:lnTo>
                      <a:lnTo>
                        <a:pt x="406" y="13"/>
                      </a:lnTo>
                      <a:lnTo>
                        <a:pt x="396" y="15"/>
                      </a:lnTo>
                      <a:lnTo>
                        <a:pt x="386" y="17"/>
                      </a:lnTo>
                      <a:lnTo>
                        <a:pt x="367" y="22"/>
                      </a:lnTo>
                      <a:lnTo>
                        <a:pt x="348" y="27"/>
                      </a:lnTo>
                      <a:lnTo>
                        <a:pt x="328" y="33"/>
                      </a:lnTo>
                      <a:lnTo>
                        <a:pt x="308" y="38"/>
                      </a:lnTo>
                      <a:lnTo>
                        <a:pt x="298" y="39"/>
                      </a:lnTo>
                      <a:lnTo>
                        <a:pt x="287" y="41"/>
                      </a:lnTo>
                      <a:lnTo>
                        <a:pt x="276" y="42"/>
                      </a:lnTo>
                      <a:lnTo>
                        <a:pt x="265" y="42"/>
                      </a:lnTo>
                      <a:lnTo>
                        <a:pt x="236" y="42"/>
                      </a:lnTo>
                      <a:lnTo>
                        <a:pt x="212" y="42"/>
                      </a:lnTo>
                      <a:lnTo>
                        <a:pt x="191" y="42"/>
                      </a:lnTo>
                      <a:lnTo>
                        <a:pt x="173" y="42"/>
                      </a:lnTo>
                      <a:lnTo>
                        <a:pt x="156" y="42"/>
                      </a:lnTo>
                      <a:lnTo>
                        <a:pt x="139" y="42"/>
                      </a:lnTo>
                      <a:lnTo>
                        <a:pt x="120" y="42"/>
                      </a:lnTo>
                      <a:lnTo>
                        <a:pt x="100" y="42"/>
                      </a:lnTo>
                      <a:lnTo>
                        <a:pt x="91" y="41"/>
                      </a:lnTo>
                      <a:lnTo>
                        <a:pt x="83" y="39"/>
                      </a:lnTo>
                      <a:lnTo>
                        <a:pt x="78" y="36"/>
                      </a:lnTo>
                      <a:lnTo>
                        <a:pt x="73" y="32"/>
                      </a:lnTo>
                      <a:lnTo>
                        <a:pt x="70" y="27"/>
                      </a:lnTo>
                      <a:lnTo>
                        <a:pt x="68" y="22"/>
                      </a:lnTo>
                      <a:lnTo>
                        <a:pt x="67" y="17"/>
                      </a:lnTo>
                      <a:lnTo>
                        <a:pt x="67" y="12"/>
                      </a:lnTo>
                      <a:lnTo>
                        <a:pt x="69" y="8"/>
                      </a:lnTo>
                      <a:lnTo>
                        <a:pt x="72" y="4"/>
                      </a:lnTo>
                      <a:lnTo>
                        <a:pt x="74" y="2"/>
                      </a:lnTo>
                      <a:lnTo>
                        <a:pt x="75" y="1"/>
                      </a:lnTo>
                      <a:lnTo>
                        <a:pt x="74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96" name="Freeform 431">
                  <a:extLst>
                    <a:ext uri="{FF2B5EF4-FFF2-40B4-BE49-F238E27FC236}">
                      <a16:creationId xmlns:a16="http://schemas.microsoft.com/office/drawing/2014/main" id="{2DF8B403-B65B-4B0A-98A1-6726061E8A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3" y="1136"/>
                  <a:ext cx="106" cy="45"/>
                </a:xfrm>
                <a:custGeom>
                  <a:avLst/>
                  <a:gdLst>
                    <a:gd name="T0" fmla="*/ 15 w 326"/>
                    <a:gd name="T1" fmla="*/ 12 h 135"/>
                    <a:gd name="T2" fmla="*/ 21 w 326"/>
                    <a:gd name="T3" fmla="*/ 11 h 135"/>
                    <a:gd name="T4" fmla="*/ 28 w 326"/>
                    <a:gd name="T5" fmla="*/ 9 h 135"/>
                    <a:gd name="T6" fmla="*/ 32 w 326"/>
                    <a:gd name="T7" fmla="*/ 8 h 135"/>
                    <a:gd name="T8" fmla="*/ 33 w 326"/>
                    <a:gd name="T9" fmla="*/ 7 h 135"/>
                    <a:gd name="T10" fmla="*/ 34 w 326"/>
                    <a:gd name="T11" fmla="*/ 6 h 135"/>
                    <a:gd name="T12" fmla="*/ 33 w 326"/>
                    <a:gd name="T13" fmla="*/ 5 h 135"/>
                    <a:gd name="T14" fmla="*/ 32 w 326"/>
                    <a:gd name="T15" fmla="*/ 5 h 135"/>
                    <a:gd name="T16" fmla="*/ 30 w 326"/>
                    <a:gd name="T17" fmla="*/ 4 h 135"/>
                    <a:gd name="T18" fmla="*/ 28 w 326"/>
                    <a:gd name="T19" fmla="*/ 4 h 135"/>
                    <a:gd name="T20" fmla="*/ 24 w 326"/>
                    <a:gd name="T21" fmla="*/ 3 h 135"/>
                    <a:gd name="T22" fmla="*/ 22 w 326"/>
                    <a:gd name="T23" fmla="*/ 3 h 135"/>
                    <a:gd name="T24" fmla="*/ 21 w 326"/>
                    <a:gd name="T25" fmla="*/ 3 h 135"/>
                    <a:gd name="T26" fmla="*/ 21 w 326"/>
                    <a:gd name="T27" fmla="*/ 2 h 135"/>
                    <a:gd name="T28" fmla="*/ 20 w 326"/>
                    <a:gd name="T29" fmla="*/ 1 h 135"/>
                    <a:gd name="T30" fmla="*/ 19 w 326"/>
                    <a:gd name="T31" fmla="*/ 1 h 135"/>
                    <a:gd name="T32" fmla="*/ 17 w 326"/>
                    <a:gd name="T33" fmla="*/ 0 h 135"/>
                    <a:gd name="T34" fmla="*/ 14 w 326"/>
                    <a:gd name="T35" fmla="*/ 0 h 135"/>
                    <a:gd name="T36" fmla="*/ 9 w 326"/>
                    <a:gd name="T37" fmla="*/ 1 h 135"/>
                    <a:gd name="T38" fmla="*/ 5 w 326"/>
                    <a:gd name="T39" fmla="*/ 2 h 135"/>
                    <a:gd name="T40" fmla="*/ 3 w 326"/>
                    <a:gd name="T41" fmla="*/ 3 h 135"/>
                    <a:gd name="T42" fmla="*/ 1 w 326"/>
                    <a:gd name="T43" fmla="*/ 4 h 135"/>
                    <a:gd name="T44" fmla="*/ 0 w 326"/>
                    <a:gd name="T45" fmla="*/ 5 h 135"/>
                    <a:gd name="T46" fmla="*/ 0 w 326"/>
                    <a:gd name="T47" fmla="*/ 6 h 135"/>
                    <a:gd name="T48" fmla="*/ 4 w 326"/>
                    <a:gd name="T49" fmla="*/ 8 h 135"/>
                    <a:gd name="T50" fmla="*/ 6 w 326"/>
                    <a:gd name="T51" fmla="*/ 9 h 135"/>
                    <a:gd name="T52" fmla="*/ 4 w 326"/>
                    <a:gd name="T53" fmla="*/ 10 h 135"/>
                    <a:gd name="T54" fmla="*/ 4 w 326"/>
                    <a:gd name="T55" fmla="*/ 11 h 135"/>
                    <a:gd name="T56" fmla="*/ 5 w 326"/>
                    <a:gd name="T57" fmla="*/ 13 h 135"/>
                    <a:gd name="T58" fmla="*/ 5 w 326"/>
                    <a:gd name="T59" fmla="*/ 14 h 135"/>
                    <a:gd name="T60" fmla="*/ 6 w 326"/>
                    <a:gd name="T61" fmla="*/ 15 h 135"/>
                    <a:gd name="T62" fmla="*/ 7 w 326"/>
                    <a:gd name="T63" fmla="*/ 15 h 135"/>
                    <a:gd name="T64" fmla="*/ 9 w 326"/>
                    <a:gd name="T65" fmla="*/ 15 h 135"/>
                    <a:gd name="T66" fmla="*/ 11 w 326"/>
                    <a:gd name="T67" fmla="*/ 14 h 135"/>
                    <a:gd name="T68" fmla="*/ 12 w 326"/>
                    <a:gd name="T69" fmla="*/ 14 h 135"/>
                    <a:gd name="T70" fmla="*/ 13 w 326"/>
                    <a:gd name="T71" fmla="*/ 12 h 135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0" t="0" r="r" b="b"/>
                  <a:pathLst>
                    <a:path w="326" h="135">
                      <a:moveTo>
                        <a:pt x="120" y="111"/>
                      </a:moveTo>
                      <a:lnTo>
                        <a:pt x="145" y="107"/>
                      </a:lnTo>
                      <a:lnTo>
                        <a:pt x="172" y="102"/>
                      </a:lnTo>
                      <a:lnTo>
                        <a:pt x="203" y="97"/>
                      </a:lnTo>
                      <a:lnTo>
                        <a:pt x="233" y="90"/>
                      </a:lnTo>
                      <a:lnTo>
                        <a:pt x="262" y="84"/>
                      </a:lnTo>
                      <a:lnTo>
                        <a:pt x="288" y="78"/>
                      </a:lnTo>
                      <a:lnTo>
                        <a:pt x="300" y="74"/>
                      </a:lnTo>
                      <a:lnTo>
                        <a:pt x="310" y="70"/>
                      </a:lnTo>
                      <a:lnTo>
                        <a:pt x="318" y="66"/>
                      </a:lnTo>
                      <a:lnTo>
                        <a:pt x="326" y="62"/>
                      </a:lnTo>
                      <a:lnTo>
                        <a:pt x="322" y="56"/>
                      </a:lnTo>
                      <a:lnTo>
                        <a:pt x="317" y="52"/>
                      </a:lnTo>
                      <a:lnTo>
                        <a:pt x="312" y="48"/>
                      </a:lnTo>
                      <a:lnTo>
                        <a:pt x="306" y="44"/>
                      </a:lnTo>
                      <a:lnTo>
                        <a:pt x="300" y="41"/>
                      </a:lnTo>
                      <a:lnTo>
                        <a:pt x="293" y="39"/>
                      </a:lnTo>
                      <a:lnTo>
                        <a:pt x="286" y="37"/>
                      </a:lnTo>
                      <a:lnTo>
                        <a:pt x="279" y="34"/>
                      </a:lnTo>
                      <a:lnTo>
                        <a:pt x="263" y="32"/>
                      </a:lnTo>
                      <a:lnTo>
                        <a:pt x="247" y="31"/>
                      </a:lnTo>
                      <a:lnTo>
                        <a:pt x="230" y="30"/>
                      </a:lnTo>
                      <a:lnTo>
                        <a:pt x="213" y="30"/>
                      </a:lnTo>
                      <a:lnTo>
                        <a:pt x="209" y="30"/>
                      </a:lnTo>
                      <a:lnTo>
                        <a:pt x="205" y="27"/>
                      </a:lnTo>
                      <a:lnTo>
                        <a:pt x="202" y="24"/>
                      </a:lnTo>
                      <a:lnTo>
                        <a:pt x="200" y="21"/>
                      </a:lnTo>
                      <a:lnTo>
                        <a:pt x="196" y="17"/>
                      </a:lnTo>
                      <a:lnTo>
                        <a:pt x="194" y="13"/>
                      </a:lnTo>
                      <a:lnTo>
                        <a:pt x="191" y="9"/>
                      </a:lnTo>
                      <a:lnTo>
                        <a:pt x="187" y="6"/>
                      </a:lnTo>
                      <a:lnTo>
                        <a:pt x="180" y="5"/>
                      </a:lnTo>
                      <a:lnTo>
                        <a:pt x="172" y="3"/>
                      </a:lnTo>
                      <a:lnTo>
                        <a:pt x="162" y="1"/>
                      </a:lnTo>
                      <a:lnTo>
                        <a:pt x="153" y="0"/>
                      </a:lnTo>
                      <a:lnTo>
                        <a:pt x="135" y="1"/>
                      </a:lnTo>
                      <a:lnTo>
                        <a:pt x="112" y="4"/>
                      </a:lnTo>
                      <a:lnTo>
                        <a:pt x="87" y="8"/>
                      </a:lnTo>
                      <a:lnTo>
                        <a:pt x="61" y="14"/>
                      </a:lnTo>
                      <a:lnTo>
                        <a:pt x="49" y="17"/>
                      </a:lnTo>
                      <a:lnTo>
                        <a:pt x="38" y="21"/>
                      </a:lnTo>
                      <a:lnTo>
                        <a:pt x="27" y="26"/>
                      </a:lnTo>
                      <a:lnTo>
                        <a:pt x="19" y="31"/>
                      </a:lnTo>
                      <a:lnTo>
                        <a:pt x="11" y="37"/>
                      </a:lnTo>
                      <a:lnTo>
                        <a:pt x="5" y="43"/>
                      </a:lnTo>
                      <a:lnTo>
                        <a:pt x="3" y="46"/>
                      </a:lnTo>
                      <a:lnTo>
                        <a:pt x="1" y="49"/>
                      </a:lnTo>
                      <a:lnTo>
                        <a:pt x="1" y="52"/>
                      </a:lnTo>
                      <a:lnTo>
                        <a:pt x="0" y="56"/>
                      </a:lnTo>
                      <a:lnTo>
                        <a:pt x="34" y="74"/>
                      </a:lnTo>
                      <a:lnTo>
                        <a:pt x="73" y="74"/>
                      </a:lnTo>
                      <a:lnTo>
                        <a:pt x="56" y="81"/>
                      </a:lnTo>
                      <a:lnTo>
                        <a:pt x="44" y="87"/>
                      </a:lnTo>
                      <a:lnTo>
                        <a:pt x="41" y="90"/>
                      </a:lnTo>
                      <a:lnTo>
                        <a:pt x="38" y="94"/>
                      </a:lnTo>
                      <a:lnTo>
                        <a:pt x="38" y="99"/>
                      </a:lnTo>
                      <a:lnTo>
                        <a:pt x="41" y="105"/>
                      </a:lnTo>
                      <a:lnTo>
                        <a:pt x="44" y="114"/>
                      </a:lnTo>
                      <a:lnTo>
                        <a:pt x="47" y="123"/>
                      </a:lnTo>
                      <a:lnTo>
                        <a:pt x="48" y="128"/>
                      </a:lnTo>
                      <a:lnTo>
                        <a:pt x="50" y="131"/>
                      </a:lnTo>
                      <a:lnTo>
                        <a:pt x="55" y="134"/>
                      </a:lnTo>
                      <a:lnTo>
                        <a:pt x="60" y="135"/>
                      </a:lnTo>
                      <a:lnTo>
                        <a:pt x="69" y="135"/>
                      </a:lnTo>
                      <a:lnTo>
                        <a:pt x="78" y="133"/>
                      </a:lnTo>
                      <a:lnTo>
                        <a:pt x="86" y="131"/>
                      </a:lnTo>
                      <a:lnTo>
                        <a:pt x="93" y="129"/>
                      </a:lnTo>
                      <a:lnTo>
                        <a:pt x="101" y="127"/>
                      </a:lnTo>
                      <a:lnTo>
                        <a:pt x="109" y="125"/>
                      </a:lnTo>
                      <a:lnTo>
                        <a:pt x="117" y="124"/>
                      </a:lnTo>
                      <a:lnTo>
                        <a:pt x="126" y="123"/>
                      </a:lnTo>
                      <a:lnTo>
                        <a:pt x="120" y="111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97" name="Freeform 432">
                  <a:extLst>
                    <a:ext uri="{FF2B5EF4-FFF2-40B4-BE49-F238E27FC236}">
                      <a16:creationId xmlns:a16="http://schemas.microsoft.com/office/drawing/2014/main" id="{6717B34B-4993-4100-BB71-E39E49D981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4" y="1245"/>
                  <a:ext cx="48" cy="18"/>
                </a:xfrm>
                <a:custGeom>
                  <a:avLst/>
                  <a:gdLst>
                    <a:gd name="T0" fmla="*/ 5 w 159"/>
                    <a:gd name="T1" fmla="*/ 5 h 56"/>
                    <a:gd name="T2" fmla="*/ 4 w 159"/>
                    <a:gd name="T3" fmla="*/ 5 h 56"/>
                    <a:gd name="T4" fmla="*/ 4 w 159"/>
                    <a:gd name="T5" fmla="*/ 5 h 56"/>
                    <a:gd name="T6" fmla="*/ 3 w 159"/>
                    <a:gd name="T7" fmla="*/ 5 h 56"/>
                    <a:gd name="T8" fmla="*/ 2 w 159"/>
                    <a:gd name="T9" fmla="*/ 4 h 56"/>
                    <a:gd name="T10" fmla="*/ 1 w 159"/>
                    <a:gd name="T11" fmla="*/ 3 h 56"/>
                    <a:gd name="T12" fmla="*/ 1 w 159"/>
                    <a:gd name="T13" fmla="*/ 3 h 56"/>
                    <a:gd name="T14" fmla="*/ 0 w 159"/>
                    <a:gd name="T15" fmla="*/ 2 h 56"/>
                    <a:gd name="T16" fmla="*/ 0 w 159"/>
                    <a:gd name="T17" fmla="*/ 2 h 56"/>
                    <a:gd name="T18" fmla="*/ 0 w 159"/>
                    <a:gd name="T19" fmla="*/ 1 h 56"/>
                    <a:gd name="T20" fmla="*/ 0 w 159"/>
                    <a:gd name="T21" fmla="*/ 1 h 56"/>
                    <a:gd name="T22" fmla="*/ 2 w 159"/>
                    <a:gd name="T23" fmla="*/ 1 h 56"/>
                    <a:gd name="T24" fmla="*/ 4 w 159"/>
                    <a:gd name="T25" fmla="*/ 1 h 56"/>
                    <a:gd name="T26" fmla="*/ 5 w 159"/>
                    <a:gd name="T27" fmla="*/ 1 h 56"/>
                    <a:gd name="T28" fmla="*/ 6 w 159"/>
                    <a:gd name="T29" fmla="*/ 1 h 56"/>
                    <a:gd name="T30" fmla="*/ 9 w 159"/>
                    <a:gd name="T31" fmla="*/ 1 h 56"/>
                    <a:gd name="T32" fmla="*/ 12 w 159"/>
                    <a:gd name="T33" fmla="*/ 0 h 56"/>
                    <a:gd name="T34" fmla="*/ 13 w 159"/>
                    <a:gd name="T35" fmla="*/ 0 h 56"/>
                    <a:gd name="T36" fmla="*/ 13 w 159"/>
                    <a:gd name="T37" fmla="*/ 0 h 56"/>
                    <a:gd name="T38" fmla="*/ 14 w 159"/>
                    <a:gd name="T39" fmla="*/ 0 h 56"/>
                    <a:gd name="T40" fmla="*/ 15 w 159"/>
                    <a:gd name="T41" fmla="*/ 0 h 56"/>
                    <a:gd name="T42" fmla="*/ 15 w 159"/>
                    <a:gd name="T43" fmla="*/ 1 h 56"/>
                    <a:gd name="T44" fmla="*/ 16 w 159"/>
                    <a:gd name="T45" fmla="*/ 1 h 56"/>
                    <a:gd name="T46" fmla="*/ 16 w 159"/>
                    <a:gd name="T47" fmla="*/ 2 h 56"/>
                    <a:gd name="T48" fmla="*/ 16 w 159"/>
                    <a:gd name="T49" fmla="*/ 2 h 56"/>
                    <a:gd name="T50" fmla="*/ 16 w 159"/>
                    <a:gd name="T51" fmla="*/ 3 h 56"/>
                    <a:gd name="T52" fmla="*/ 16 w 159"/>
                    <a:gd name="T53" fmla="*/ 4 h 56"/>
                    <a:gd name="T54" fmla="*/ 15 w 159"/>
                    <a:gd name="T55" fmla="*/ 5 h 56"/>
                    <a:gd name="T56" fmla="*/ 15 w 159"/>
                    <a:gd name="T57" fmla="*/ 5 h 56"/>
                    <a:gd name="T58" fmla="*/ 14 w 159"/>
                    <a:gd name="T59" fmla="*/ 5 h 56"/>
                    <a:gd name="T60" fmla="*/ 13 w 159"/>
                    <a:gd name="T61" fmla="*/ 5 h 56"/>
                    <a:gd name="T62" fmla="*/ 13 w 159"/>
                    <a:gd name="T63" fmla="*/ 6 h 56"/>
                    <a:gd name="T64" fmla="*/ 12 w 159"/>
                    <a:gd name="T65" fmla="*/ 6 h 56"/>
                    <a:gd name="T66" fmla="*/ 8 w 159"/>
                    <a:gd name="T67" fmla="*/ 6 h 56"/>
                    <a:gd name="T68" fmla="*/ 5 w 159"/>
                    <a:gd name="T69" fmla="*/ 5 h 5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</a:gdLst>
                  <a:ahLst/>
                  <a:cxnLst>
                    <a:cxn ang="T70">
                      <a:pos x="T0" y="T1"/>
                    </a:cxn>
                    <a:cxn ang="T71">
                      <a:pos x="T2" y="T3"/>
                    </a:cxn>
                    <a:cxn ang="T72">
                      <a:pos x="T4" y="T5"/>
                    </a:cxn>
                    <a:cxn ang="T73">
                      <a:pos x="T6" y="T7"/>
                    </a:cxn>
                    <a:cxn ang="T74">
                      <a:pos x="T8" y="T9"/>
                    </a:cxn>
                    <a:cxn ang="T75">
                      <a:pos x="T10" y="T11"/>
                    </a:cxn>
                    <a:cxn ang="T76">
                      <a:pos x="T12" y="T13"/>
                    </a:cxn>
                    <a:cxn ang="T77">
                      <a:pos x="T14" y="T15"/>
                    </a:cxn>
                    <a:cxn ang="T78">
                      <a:pos x="T16" y="T17"/>
                    </a:cxn>
                    <a:cxn ang="T79">
                      <a:pos x="T18" y="T19"/>
                    </a:cxn>
                    <a:cxn ang="T80">
                      <a:pos x="T20" y="T21"/>
                    </a:cxn>
                    <a:cxn ang="T81">
                      <a:pos x="T22" y="T23"/>
                    </a:cxn>
                    <a:cxn ang="T82">
                      <a:pos x="T24" y="T25"/>
                    </a:cxn>
                    <a:cxn ang="T83">
                      <a:pos x="T26" y="T27"/>
                    </a:cxn>
                    <a:cxn ang="T84">
                      <a:pos x="T28" y="T29"/>
                    </a:cxn>
                    <a:cxn ang="T85">
                      <a:pos x="T30" y="T31"/>
                    </a:cxn>
                    <a:cxn ang="T86">
                      <a:pos x="T32" y="T33"/>
                    </a:cxn>
                    <a:cxn ang="T87">
                      <a:pos x="T34" y="T35"/>
                    </a:cxn>
                    <a:cxn ang="T88">
                      <a:pos x="T36" y="T37"/>
                    </a:cxn>
                    <a:cxn ang="T89">
                      <a:pos x="T38" y="T39"/>
                    </a:cxn>
                    <a:cxn ang="T90">
                      <a:pos x="T40" y="T41"/>
                    </a:cxn>
                    <a:cxn ang="T91">
                      <a:pos x="T42" y="T43"/>
                    </a:cxn>
                    <a:cxn ang="T92">
                      <a:pos x="T44" y="T45"/>
                    </a:cxn>
                    <a:cxn ang="T93">
                      <a:pos x="T46" y="T47"/>
                    </a:cxn>
                    <a:cxn ang="T94">
                      <a:pos x="T48" y="T49"/>
                    </a:cxn>
                    <a:cxn ang="T95">
                      <a:pos x="T50" y="T51"/>
                    </a:cxn>
                    <a:cxn ang="T96">
                      <a:pos x="T52" y="T53"/>
                    </a:cxn>
                    <a:cxn ang="T97">
                      <a:pos x="T54" y="T55"/>
                    </a:cxn>
                    <a:cxn ang="T98">
                      <a:pos x="T56" y="T57"/>
                    </a:cxn>
                    <a:cxn ang="T99">
                      <a:pos x="T58" y="T59"/>
                    </a:cxn>
                    <a:cxn ang="T100">
                      <a:pos x="T60" y="T61"/>
                    </a:cxn>
                    <a:cxn ang="T101">
                      <a:pos x="T62" y="T63"/>
                    </a:cxn>
                    <a:cxn ang="T102">
                      <a:pos x="T64" y="T65"/>
                    </a:cxn>
                    <a:cxn ang="T103">
                      <a:pos x="T66" y="T67"/>
                    </a:cxn>
                    <a:cxn ang="T104">
                      <a:pos x="T68" y="T69"/>
                    </a:cxn>
                  </a:cxnLst>
                  <a:rect l="0" t="0" r="r" b="b"/>
                  <a:pathLst>
                    <a:path w="159" h="56">
                      <a:moveTo>
                        <a:pt x="46" y="53"/>
                      </a:moveTo>
                      <a:lnTo>
                        <a:pt x="40" y="52"/>
                      </a:lnTo>
                      <a:lnTo>
                        <a:pt x="34" y="49"/>
                      </a:lnTo>
                      <a:lnTo>
                        <a:pt x="26" y="45"/>
                      </a:lnTo>
                      <a:lnTo>
                        <a:pt x="18" y="38"/>
                      </a:lnTo>
                      <a:lnTo>
                        <a:pt x="10" y="31"/>
                      </a:lnTo>
                      <a:lnTo>
                        <a:pt x="5" y="24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0" y="13"/>
                      </a:lnTo>
                      <a:lnTo>
                        <a:pt x="0" y="10"/>
                      </a:lnTo>
                      <a:lnTo>
                        <a:pt x="21" y="10"/>
                      </a:lnTo>
                      <a:lnTo>
                        <a:pt x="39" y="10"/>
                      </a:lnTo>
                      <a:lnTo>
                        <a:pt x="52" y="10"/>
                      </a:lnTo>
                      <a:lnTo>
                        <a:pt x="59" y="10"/>
                      </a:lnTo>
                      <a:lnTo>
                        <a:pt x="83" y="6"/>
                      </a:lnTo>
                      <a:lnTo>
                        <a:pt x="117" y="0"/>
                      </a:lnTo>
                      <a:lnTo>
                        <a:pt x="125" y="0"/>
                      </a:lnTo>
                      <a:lnTo>
                        <a:pt x="132" y="0"/>
                      </a:lnTo>
                      <a:lnTo>
                        <a:pt x="140" y="0"/>
                      </a:lnTo>
                      <a:lnTo>
                        <a:pt x="147" y="2"/>
                      </a:lnTo>
                      <a:lnTo>
                        <a:pt x="151" y="5"/>
                      </a:lnTo>
                      <a:lnTo>
                        <a:pt x="155" y="9"/>
                      </a:lnTo>
                      <a:lnTo>
                        <a:pt x="158" y="15"/>
                      </a:lnTo>
                      <a:lnTo>
                        <a:pt x="159" y="22"/>
                      </a:lnTo>
                      <a:lnTo>
                        <a:pt x="158" y="30"/>
                      </a:lnTo>
                      <a:lnTo>
                        <a:pt x="155" y="37"/>
                      </a:lnTo>
                      <a:lnTo>
                        <a:pt x="151" y="44"/>
                      </a:lnTo>
                      <a:lnTo>
                        <a:pt x="146" y="48"/>
                      </a:lnTo>
                      <a:lnTo>
                        <a:pt x="139" y="52"/>
                      </a:lnTo>
                      <a:lnTo>
                        <a:pt x="132" y="54"/>
                      </a:lnTo>
                      <a:lnTo>
                        <a:pt x="124" y="55"/>
                      </a:lnTo>
                      <a:lnTo>
                        <a:pt x="115" y="56"/>
                      </a:lnTo>
                      <a:lnTo>
                        <a:pt x="77" y="55"/>
                      </a:lnTo>
                      <a:lnTo>
                        <a:pt x="46" y="5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98" name="Freeform 433">
                  <a:extLst>
                    <a:ext uri="{FF2B5EF4-FFF2-40B4-BE49-F238E27FC236}">
                      <a16:creationId xmlns:a16="http://schemas.microsoft.com/office/drawing/2014/main" id="{D42F829B-44B1-45E3-AE7A-993B4D7436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92" y="1280"/>
                  <a:ext cx="1208" cy="539"/>
                </a:xfrm>
                <a:custGeom>
                  <a:avLst/>
                  <a:gdLst>
                    <a:gd name="T0" fmla="*/ 305 w 3734"/>
                    <a:gd name="T1" fmla="*/ 147 h 1644"/>
                    <a:gd name="T2" fmla="*/ 266 w 3734"/>
                    <a:gd name="T3" fmla="*/ 164 h 1644"/>
                    <a:gd name="T4" fmla="*/ 241 w 3734"/>
                    <a:gd name="T5" fmla="*/ 171 h 1644"/>
                    <a:gd name="T6" fmla="*/ 239 w 3734"/>
                    <a:gd name="T7" fmla="*/ 176 h 1644"/>
                    <a:gd name="T8" fmla="*/ 227 w 3734"/>
                    <a:gd name="T9" fmla="*/ 173 h 1644"/>
                    <a:gd name="T10" fmla="*/ 237 w 3734"/>
                    <a:gd name="T11" fmla="*/ 163 h 1644"/>
                    <a:gd name="T12" fmla="*/ 226 w 3734"/>
                    <a:gd name="T13" fmla="*/ 152 h 1644"/>
                    <a:gd name="T14" fmla="*/ 218 w 3734"/>
                    <a:gd name="T15" fmla="*/ 139 h 1644"/>
                    <a:gd name="T16" fmla="*/ 203 w 3734"/>
                    <a:gd name="T17" fmla="*/ 142 h 1644"/>
                    <a:gd name="T18" fmla="*/ 185 w 3734"/>
                    <a:gd name="T19" fmla="*/ 138 h 1644"/>
                    <a:gd name="T20" fmla="*/ 27 w 3734"/>
                    <a:gd name="T21" fmla="*/ 133 h 1644"/>
                    <a:gd name="T22" fmla="*/ 13 w 3734"/>
                    <a:gd name="T23" fmla="*/ 121 h 1644"/>
                    <a:gd name="T24" fmla="*/ 16 w 3734"/>
                    <a:gd name="T25" fmla="*/ 112 h 1644"/>
                    <a:gd name="T26" fmla="*/ 15 w 3734"/>
                    <a:gd name="T27" fmla="*/ 100 h 1644"/>
                    <a:gd name="T28" fmla="*/ 27 w 3734"/>
                    <a:gd name="T29" fmla="*/ 92 h 1644"/>
                    <a:gd name="T30" fmla="*/ 26 w 3734"/>
                    <a:gd name="T31" fmla="*/ 80 h 1644"/>
                    <a:gd name="T32" fmla="*/ 13 w 3734"/>
                    <a:gd name="T33" fmla="*/ 71 h 1644"/>
                    <a:gd name="T34" fmla="*/ 63 w 3734"/>
                    <a:gd name="T35" fmla="*/ 12 h 1644"/>
                    <a:gd name="T36" fmla="*/ 119 w 3734"/>
                    <a:gd name="T37" fmla="*/ 11 h 1644"/>
                    <a:gd name="T38" fmla="*/ 135 w 3734"/>
                    <a:gd name="T39" fmla="*/ 12 h 1644"/>
                    <a:gd name="T40" fmla="*/ 171 w 3734"/>
                    <a:gd name="T41" fmla="*/ 18 h 1644"/>
                    <a:gd name="T42" fmla="*/ 185 w 3734"/>
                    <a:gd name="T43" fmla="*/ 22 h 1644"/>
                    <a:gd name="T44" fmla="*/ 216 w 3734"/>
                    <a:gd name="T45" fmla="*/ 21 h 1644"/>
                    <a:gd name="T46" fmla="*/ 238 w 3734"/>
                    <a:gd name="T47" fmla="*/ 23 h 1644"/>
                    <a:gd name="T48" fmla="*/ 246 w 3734"/>
                    <a:gd name="T49" fmla="*/ 23 h 1644"/>
                    <a:gd name="T50" fmla="*/ 262 w 3734"/>
                    <a:gd name="T51" fmla="*/ 13 h 1644"/>
                    <a:gd name="T52" fmla="*/ 269 w 3734"/>
                    <a:gd name="T53" fmla="*/ 0 h 1644"/>
                    <a:gd name="T54" fmla="*/ 275 w 3734"/>
                    <a:gd name="T55" fmla="*/ 11 h 1644"/>
                    <a:gd name="T56" fmla="*/ 278 w 3734"/>
                    <a:gd name="T57" fmla="*/ 18 h 1644"/>
                    <a:gd name="T58" fmla="*/ 283 w 3734"/>
                    <a:gd name="T59" fmla="*/ 21 h 1644"/>
                    <a:gd name="T60" fmla="*/ 301 w 3734"/>
                    <a:gd name="T61" fmla="*/ 13 h 1644"/>
                    <a:gd name="T62" fmla="*/ 316 w 3734"/>
                    <a:gd name="T63" fmla="*/ 14 h 1644"/>
                    <a:gd name="T64" fmla="*/ 300 w 3734"/>
                    <a:gd name="T65" fmla="*/ 29 h 1644"/>
                    <a:gd name="T66" fmla="*/ 290 w 3734"/>
                    <a:gd name="T67" fmla="*/ 31 h 1644"/>
                    <a:gd name="T68" fmla="*/ 268 w 3734"/>
                    <a:gd name="T69" fmla="*/ 33 h 1644"/>
                    <a:gd name="T70" fmla="*/ 260 w 3734"/>
                    <a:gd name="T71" fmla="*/ 43 h 1644"/>
                    <a:gd name="T72" fmla="*/ 243 w 3734"/>
                    <a:gd name="T73" fmla="*/ 50 h 1644"/>
                    <a:gd name="T74" fmla="*/ 217 w 3734"/>
                    <a:gd name="T75" fmla="*/ 67 h 1644"/>
                    <a:gd name="T76" fmla="*/ 219 w 3734"/>
                    <a:gd name="T77" fmla="*/ 85 h 1644"/>
                    <a:gd name="T78" fmla="*/ 246 w 3734"/>
                    <a:gd name="T79" fmla="*/ 97 h 1644"/>
                    <a:gd name="T80" fmla="*/ 254 w 3734"/>
                    <a:gd name="T81" fmla="*/ 114 h 1644"/>
                    <a:gd name="T82" fmla="*/ 272 w 3734"/>
                    <a:gd name="T83" fmla="*/ 106 h 1644"/>
                    <a:gd name="T84" fmla="*/ 297 w 3734"/>
                    <a:gd name="T85" fmla="*/ 84 h 1644"/>
                    <a:gd name="T86" fmla="*/ 302 w 3734"/>
                    <a:gd name="T87" fmla="*/ 64 h 1644"/>
                    <a:gd name="T88" fmla="*/ 329 w 3734"/>
                    <a:gd name="T89" fmla="*/ 54 h 1644"/>
                    <a:gd name="T90" fmla="*/ 341 w 3734"/>
                    <a:gd name="T91" fmla="*/ 64 h 1644"/>
                    <a:gd name="T92" fmla="*/ 336 w 3734"/>
                    <a:gd name="T93" fmla="*/ 79 h 1644"/>
                    <a:gd name="T94" fmla="*/ 364 w 3734"/>
                    <a:gd name="T95" fmla="*/ 66 h 1644"/>
                    <a:gd name="T96" fmla="*/ 369 w 3734"/>
                    <a:gd name="T97" fmla="*/ 83 h 1644"/>
                    <a:gd name="T98" fmla="*/ 381 w 3734"/>
                    <a:gd name="T99" fmla="*/ 99 h 1644"/>
                    <a:gd name="T100" fmla="*/ 377 w 3734"/>
                    <a:gd name="T101" fmla="*/ 103 h 1644"/>
                    <a:gd name="T102" fmla="*/ 385 w 3734"/>
                    <a:gd name="T103" fmla="*/ 110 h 1644"/>
                    <a:gd name="T104" fmla="*/ 370 w 3734"/>
                    <a:gd name="T105" fmla="*/ 119 h 1644"/>
                    <a:gd name="T106" fmla="*/ 328 w 3734"/>
                    <a:gd name="T107" fmla="*/ 126 h 1644"/>
                    <a:gd name="T108" fmla="*/ 297 w 3734"/>
                    <a:gd name="T109" fmla="*/ 144 h 1644"/>
                    <a:gd name="T110" fmla="*/ 302 w 3734"/>
                    <a:gd name="T111" fmla="*/ 144 h 1644"/>
                    <a:gd name="T112" fmla="*/ 335 w 3734"/>
                    <a:gd name="T113" fmla="*/ 135 h 1644"/>
                    <a:gd name="T114" fmla="*/ 319 w 3734"/>
                    <a:gd name="T115" fmla="*/ 140 h 1644"/>
                    <a:gd name="T116" fmla="*/ 327 w 3734"/>
                    <a:gd name="T117" fmla="*/ 150 h 1644"/>
                    <a:gd name="T118" fmla="*/ 338 w 3734"/>
                    <a:gd name="T119" fmla="*/ 158 h 1644"/>
                    <a:gd name="T120" fmla="*/ 314 w 3734"/>
                    <a:gd name="T121" fmla="*/ 168 h 1644"/>
                    <a:gd name="T122" fmla="*/ 332 w 3734"/>
                    <a:gd name="T123" fmla="*/ 158 h 1644"/>
                    <a:gd name="T124" fmla="*/ 314 w 3734"/>
                    <a:gd name="T125" fmla="*/ 160 h 1644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0" t="0" r="r" b="b"/>
                  <a:pathLst>
                    <a:path w="3734" h="1644">
                      <a:moveTo>
                        <a:pt x="3010" y="1478"/>
                      </a:moveTo>
                      <a:lnTo>
                        <a:pt x="3010" y="1410"/>
                      </a:lnTo>
                      <a:lnTo>
                        <a:pt x="3013" y="1407"/>
                      </a:lnTo>
                      <a:lnTo>
                        <a:pt x="3016" y="1400"/>
                      </a:lnTo>
                      <a:lnTo>
                        <a:pt x="3021" y="1391"/>
                      </a:lnTo>
                      <a:lnTo>
                        <a:pt x="3025" y="1382"/>
                      </a:lnTo>
                      <a:lnTo>
                        <a:pt x="3029" y="1370"/>
                      </a:lnTo>
                      <a:lnTo>
                        <a:pt x="3033" y="1360"/>
                      </a:lnTo>
                      <a:lnTo>
                        <a:pt x="3036" y="1351"/>
                      </a:lnTo>
                      <a:lnTo>
                        <a:pt x="3036" y="1343"/>
                      </a:lnTo>
                      <a:lnTo>
                        <a:pt x="3032" y="1345"/>
                      </a:lnTo>
                      <a:lnTo>
                        <a:pt x="3026" y="1345"/>
                      </a:lnTo>
                      <a:lnTo>
                        <a:pt x="3021" y="1346"/>
                      </a:lnTo>
                      <a:lnTo>
                        <a:pt x="3014" y="1345"/>
                      </a:lnTo>
                      <a:lnTo>
                        <a:pt x="2997" y="1344"/>
                      </a:lnTo>
                      <a:lnTo>
                        <a:pt x="2977" y="1343"/>
                      </a:lnTo>
                      <a:lnTo>
                        <a:pt x="2967" y="1343"/>
                      </a:lnTo>
                      <a:lnTo>
                        <a:pt x="2958" y="1345"/>
                      </a:lnTo>
                      <a:lnTo>
                        <a:pt x="2950" y="1348"/>
                      </a:lnTo>
                      <a:lnTo>
                        <a:pt x="2943" y="1352"/>
                      </a:lnTo>
                      <a:lnTo>
                        <a:pt x="2936" y="1356"/>
                      </a:lnTo>
                      <a:lnTo>
                        <a:pt x="2931" y="1362"/>
                      </a:lnTo>
                      <a:lnTo>
                        <a:pt x="2925" y="1368"/>
                      </a:lnTo>
                      <a:lnTo>
                        <a:pt x="2920" y="1374"/>
                      </a:lnTo>
                      <a:lnTo>
                        <a:pt x="2909" y="1388"/>
                      </a:lnTo>
                      <a:lnTo>
                        <a:pt x="2899" y="1403"/>
                      </a:lnTo>
                      <a:lnTo>
                        <a:pt x="2889" y="1416"/>
                      </a:lnTo>
                      <a:lnTo>
                        <a:pt x="2877" y="1429"/>
                      </a:lnTo>
                      <a:lnTo>
                        <a:pt x="2867" y="1438"/>
                      </a:lnTo>
                      <a:lnTo>
                        <a:pt x="2857" y="1445"/>
                      </a:lnTo>
                      <a:lnTo>
                        <a:pt x="2847" y="1451"/>
                      </a:lnTo>
                      <a:lnTo>
                        <a:pt x="2836" y="1456"/>
                      </a:lnTo>
                      <a:lnTo>
                        <a:pt x="2826" y="1460"/>
                      </a:lnTo>
                      <a:lnTo>
                        <a:pt x="2815" y="1463"/>
                      </a:lnTo>
                      <a:lnTo>
                        <a:pt x="2803" y="1465"/>
                      </a:lnTo>
                      <a:lnTo>
                        <a:pt x="2792" y="1467"/>
                      </a:lnTo>
                      <a:lnTo>
                        <a:pt x="2767" y="1470"/>
                      </a:lnTo>
                      <a:lnTo>
                        <a:pt x="2741" y="1472"/>
                      </a:lnTo>
                      <a:lnTo>
                        <a:pt x="2711" y="1474"/>
                      </a:lnTo>
                      <a:lnTo>
                        <a:pt x="2678" y="1478"/>
                      </a:lnTo>
                      <a:lnTo>
                        <a:pt x="2591" y="1478"/>
                      </a:lnTo>
                      <a:lnTo>
                        <a:pt x="2580" y="1494"/>
                      </a:lnTo>
                      <a:lnTo>
                        <a:pt x="2569" y="1508"/>
                      </a:lnTo>
                      <a:lnTo>
                        <a:pt x="2556" y="1522"/>
                      </a:lnTo>
                      <a:lnTo>
                        <a:pt x="2543" y="1534"/>
                      </a:lnTo>
                      <a:lnTo>
                        <a:pt x="2530" y="1547"/>
                      </a:lnTo>
                      <a:lnTo>
                        <a:pt x="2514" y="1558"/>
                      </a:lnTo>
                      <a:lnTo>
                        <a:pt x="2500" y="1568"/>
                      </a:lnTo>
                      <a:lnTo>
                        <a:pt x="2485" y="1577"/>
                      </a:lnTo>
                      <a:lnTo>
                        <a:pt x="2492" y="1571"/>
                      </a:lnTo>
                      <a:lnTo>
                        <a:pt x="2498" y="1565"/>
                      </a:lnTo>
                      <a:lnTo>
                        <a:pt x="2502" y="1559"/>
                      </a:lnTo>
                      <a:lnTo>
                        <a:pt x="2504" y="1553"/>
                      </a:lnTo>
                      <a:lnTo>
                        <a:pt x="2478" y="1546"/>
                      </a:lnTo>
                      <a:lnTo>
                        <a:pt x="2445" y="1559"/>
                      </a:lnTo>
                      <a:lnTo>
                        <a:pt x="2408" y="1562"/>
                      </a:lnTo>
                      <a:lnTo>
                        <a:pt x="2364" y="1565"/>
                      </a:lnTo>
                      <a:lnTo>
                        <a:pt x="2353" y="1567"/>
                      </a:lnTo>
                      <a:lnTo>
                        <a:pt x="2343" y="1569"/>
                      </a:lnTo>
                      <a:lnTo>
                        <a:pt x="2334" y="1572"/>
                      </a:lnTo>
                      <a:lnTo>
                        <a:pt x="2328" y="1575"/>
                      </a:lnTo>
                      <a:lnTo>
                        <a:pt x="2321" y="1579"/>
                      </a:lnTo>
                      <a:lnTo>
                        <a:pt x="2316" y="1583"/>
                      </a:lnTo>
                      <a:lnTo>
                        <a:pt x="2315" y="1586"/>
                      </a:lnTo>
                      <a:lnTo>
                        <a:pt x="2313" y="1589"/>
                      </a:lnTo>
                      <a:lnTo>
                        <a:pt x="2312" y="1592"/>
                      </a:lnTo>
                      <a:lnTo>
                        <a:pt x="2312" y="1595"/>
                      </a:lnTo>
                      <a:lnTo>
                        <a:pt x="2312" y="1598"/>
                      </a:lnTo>
                      <a:lnTo>
                        <a:pt x="2313" y="1602"/>
                      </a:lnTo>
                      <a:lnTo>
                        <a:pt x="2316" y="1604"/>
                      </a:lnTo>
                      <a:lnTo>
                        <a:pt x="2318" y="1605"/>
                      </a:lnTo>
                      <a:lnTo>
                        <a:pt x="2324" y="1608"/>
                      </a:lnTo>
                      <a:lnTo>
                        <a:pt x="2332" y="1609"/>
                      </a:lnTo>
                      <a:lnTo>
                        <a:pt x="2351" y="1609"/>
                      </a:lnTo>
                      <a:lnTo>
                        <a:pt x="2372" y="1608"/>
                      </a:lnTo>
                      <a:lnTo>
                        <a:pt x="2388" y="1607"/>
                      </a:lnTo>
                      <a:lnTo>
                        <a:pt x="2405" y="1605"/>
                      </a:lnTo>
                      <a:lnTo>
                        <a:pt x="2421" y="1602"/>
                      </a:lnTo>
                      <a:lnTo>
                        <a:pt x="2438" y="1597"/>
                      </a:lnTo>
                      <a:lnTo>
                        <a:pt x="2425" y="1602"/>
                      </a:lnTo>
                      <a:lnTo>
                        <a:pt x="2414" y="1605"/>
                      </a:lnTo>
                      <a:lnTo>
                        <a:pt x="2402" y="1607"/>
                      </a:lnTo>
                      <a:lnTo>
                        <a:pt x="2391" y="1608"/>
                      </a:lnTo>
                      <a:lnTo>
                        <a:pt x="2319" y="1626"/>
                      </a:lnTo>
                      <a:lnTo>
                        <a:pt x="2313" y="1629"/>
                      </a:lnTo>
                      <a:lnTo>
                        <a:pt x="2307" y="1631"/>
                      </a:lnTo>
                      <a:lnTo>
                        <a:pt x="2300" y="1633"/>
                      </a:lnTo>
                      <a:lnTo>
                        <a:pt x="2294" y="1634"/>
                      </a:lnTo>
                      <a:lnTo>
                        <a:pt x="2296" y="1633"/>
                      </a:lnTo>
                      <a:lnTo>
                        <a:pt x="2299" y="1632"/>
                      </a:lnTo>
                      <a:lnTo>
                        <a:pt x="2290" y="1625"/>
                      </a:lnTo>
                      <a:lnTo>
                        <a:pt x="2283" y="1620"/>
                      </a:lnTo>
                      <a:lnTo>
                        <a:pt x="2273" y="1617"/>
                      </a:lnTo>
                      <a:lnTo>
                        <a:pt x="2263" y="1614"/>
                      </a:lnTo>
                      <a:lnTo>
                        <a:pt x="2253" y="1613"/>
                      </a:lnTo>
                      <a:lnTo>
                        <a:pt x="2243" y="1614"/>
                      </a:lnTo>
                      <a:lnTo>
                        <a:pt x="2233" y="1615"/>
                      </a:lnTo>
                      <a:lnTo>
                        <a:pt x="2224" y="1616"/>
                      </a:lnTo>
                      <a:lnTo>
                        <a:pt x="2207" y="1621"/>
                      </a:lnTo>
                      <a:lnTo>
                        <a:pt x="2193" y="1626"/>
                      </a:lnTo>
                      <a:lnTo>
                        <a:pt x="2183" y="1630"/>
                      </a:lnTo>
                      <a:lnTo>
                        <a:pt x="2179" y="1632"/>
                      </a:lnTo>
                      <a:lnTo>
                        <a:pt x="2172" y="1634"/>
                      </a:lnTo>
                      <a:lnTo>
                        <a:pt x="2162" y="1637"/>
                      </a:lnTo>
                      <a:lnTo>
                        <a:pt x="2150" y="1641"/>
                      </a:lnTo>
                      <a:lnTo>
                        <a:pt x="2137" y="1644"/>
                      </a:lnTo>
                      <a:lnTo>
                        <a:pt x="2147" y="1632"/>
                      </a:lnTo>
                      <a:lnTo>
                        <a:pt x="2156" y="1623"/>
                      </a:lnTo>
                      <a:lnTo>
                        <a:pt x="2167" y="1614"/>
                      </a:lnTo>
                      <a:lnTo>
                        <a:pt x="2177" y="1607"/>
                      </a:lnTo>
                      <a:lnTo>
                        <a:pt x="2187" y="1599"/>
                      </a:lnTo>
                      <a:lnTo>
                        <a:pt x="2196" y="1592"/>
                      </a:lnTo>
                      <a:lnTo>
                        <a:pt x="2200" y="1587"/>
                      </a:lnTo>
                      <a:lnTo>
                        <a:pt x="2205" y="1582"/>
                      </a:lnTo>
                      <a:lnTo>
                        <a:pt x="2209" y="1577"/>
                      </a:lnTo>
                      <a:lnTo>
                        <a:pt x="2212" y="1571"/>
                      </a:lnTo>
                      <a:lnTo>
                        <a:pt x="2219" y="1558"/>
                      </a:lnTo>
                      <a:lnTo>
                        <a:pt x="2222" y="1544"/>
                      </a:lnTo>
                      <a:lnTo>
                        <a:pt x="2224" y="1533"/>
                      </a:lnTo>
                      <a:lnTo>
                        <a:pt x="2228" y="1522"/>
                      </a:lnTo>
                      <a:lnTo>
                        <a:pt x="2230" y="1511"/>
                      </a:lnTo>
                      <a:lnTo>
                        <a:pt x="2234" y="1501"/>
                      </a:lnTo>
                      <a:lnTo>
                        <a:pt x="2238" y="1495"/>
                      </a:lnTo>
                      <a:lnTo>
                        <a:pt x="2242" y="1490"/>
                      </a:lnTo>
                      <a:lnTo>
                        <a:pt x="2246" y="1484"/>
                      </a:lnTo>
                      <a:lnTo>
                        <a:pt x="2252" y="1478"/>
                      </a:lnTo>
                      <a:lnTo>
                        <a:pt x="2265" y="1478"/>
                      </a:lnTo>
                      <a:lnTo>
                        <a:pt x="2266" y="1485"/>
                      </a:lnTo>
                      <a:lnTo>
                        <a:pt x="2267" y="1492"/>
                      </a:lnTo>
                      <a:lnTo>
                        <a:pt x="2271" y="1497"/>
                      </a:lnTo>
                      <a:lnTo>
                        <a:pt x="2273" y="1502"/>
                      </a:lnTo>
                      <a:lnTo>
                        <a:pt x="2279" y="1512"/>
                      </a:lnTo>
                      <a:lnTo>
                        <a:pt x="2286" y="1521"/>
                      </a:lnTo>
                      <a:lnTo>
                        <a:pt x="2298" y="1517"/>
                      </a:lnTo>
                      <a:lnTo>
                        <a:pt x="2310" y="1512"/>
                      </a:lnTo>
                      <a:lnTo>
                        <a:pt x="2324" y="1508"/>
                      </a:lnTo>
                      <a:lnTo>
                        <a:pt x="2345" y="1503"/>
                      </a:lnTo>
                      <a:lnTo>
                        <a:pt x="2345" y="1478"/>
                      </a:lnTo>
                      <a:lnTo>
                        <a:pt x="2331" y="1462"/>
                      </a:lnTo>
                      <a:lnTo>
                        <a:pt x="2317" y="1444"/>
                      </a:lnTo>
                      <a:lnTo>
                        <a:pt x="2309" y="1436"/>
                      </a:lnTo>
                      <a:lnTo>
                        <a:pt x="2300" y="1428"/>
                      </a:lnTo>
                      <a:lnTo>
                        <a:pt x="2296" y="1426"/>
                      </a:lnTo>
                      <a:lnTo>
                        <a:pt x="2290" y="1424"/>
                      </a:lnTo>
                      <a:lnTo>
                        <a:pt x="2285" y="1423"/>
                      </a:lnTo>
                      <a:lnTo>
                        <a:pt x="2279" y="1422"/>
                      </a:lnTo>
                      <a:lnTo>
                        <a:pt x="2249" y="1423"/>
                      </a:lnTo>
                      <a:lnTo>
                        <a:pt x="2215" y="1424"/>
                      </a:lnTo>
                      <a:lnTo>
                        <a:pt x="2199" y="1424"/>
                      </a:lnTo>
                      <a:lnTo>
                        <a:pt x="2185" y="1423"/>
                      </a:lnTo>
                      <a:lnTo>
                        <a:pt x="2178" y="1422"/>
                      </a:lnTo>
                      <a:lnTo>
                        <a:pt x="2173" y="1420"/>
                      </a:lnTo>
                      <a:lnTo>
                        <a:pt x="2168" y="1419"/>
                      </a:lnTo>
                      <a:lnTo>
                        <a:pt x="2166" y="1416"/>
                      </a:lnTo>
                      <a:lnTo>
                        <a:pt x="2163" y="1413"/>
                      </a:lnTo>
                      <a:lnTo>
                        <a:pt x="2161" y="1409"/>
                      </a:lnTo>
                      <a:lnTo>
                        <a:pt x="2159" y="1405"/>
                      </a:lnTo>
                      <a:lnTo>
                        <a:pt x="2159" y="1401"/>
                      </a:lnTo>
                      <a:lnTo>
                        <a:pt x="2159" y="1392"/>
                      </a:lnTo>
                      <a:lnTo>
                        <a:pt x="2160" y="1382"/>
                      </a:lnTo>
                      <a:lnTo>
                        <a:pt x="2161" y="1372"/>
                      </a:lnTo>
                      <a:lnTo>
                        <a:pt x="2161" y="1362"/>
                      </a:lnTo>
                      <a:lnTo>
                        <a:pt x="2160" y="1357"/>
                      </a:lnTo>
                      <a:lnTo>
                        <a:pt x="2159" y="1352"/>
                      </a:lnTo>
                      <a:lnTo>
                        <a:pt x="2155" y="1347"/>
                      </a:lnTo>
                      <a:lnTo>
                        <a:pt x="2153" y="1343"/>
                      </a:lnTo>
                      <a:lnTo>
                        <a:pt x="2149" y="1339"/>
                      </a:lnTo>
                      <a:lnTo>
                        <a:pt x="2144" y="1335"/>
                      </a:lnTo>
                      <a:lnTo>
                        <a:pt x="2139" y="1332"/>
                      </a:lnTo>
                      <a:lnTo>
                        <a:pt x="2133" y="1329"/>
                      </a:lnTo>
                      <a:lnTo>
                        <a:pt x="2122" y="1323"/>
                      </a:lnTo>
                      <a:lnTo>
                        <a:pt x="2111" y="1315"/>
                      </a:lnTo>
                      <a:lnTo>
                        <a:pt x="2107" y="1311"/>
                      </a:lnTo>
                      <a:lnTo>
                        <a:pt x="2102" y="1307"/>
                      </a:lnTo>
                      <a:lnTo>
                        <a:pt x="2097" y="1301"/>
                      </a:lnTo>
                      <a:lnTo>
                        <a:pt x="2094" y="1295"/>
                      </a:lnTo>
                      <a:lnTo>
                        <a:pt x="2091" y="1288"/>
                      </a:lnTo>
                      <a:lnTo>
                        <a:pt x="2088" y="1279"/>
                      </a:lnTo>
                      <a:lnTo>
                        <a:pt x="2087" y="1269"/>
                      </a:lnTo>
                      <a:lnTo>
                        <a:pt x="2086" y="1256"/>
                      </a:lnTo>
                      <a:lnTo>
                        <a:pt x="2060" y="1256"/>
                      </a:lnTo>
                      <a:lnTo>
                        <a:pt x="2046" y="1259"/>
                      </a:lnTo>
                      <a:lnTo>
                        <a:pt x="2027" y="1261"/>
                      </a:lnTo>
                      <a:lnTo>
                        <a:pt x="2017" y="1262"/>
                      </a:lnTo>
                      <a:lnTo>
                        <a:pt x="2007" y="1265"/>
                      </a:lnTo>
                      <a:lnTo>
                        <a:pt x="2003" y="1267"/>
                      </a:lnTo>
                      <a:lnTo>
                        <a:pt x="1999" y="1270"/>
                      </a:lnTo>
                      <a:lnTo>
                        <a:pt x="1996" y="1272"/>
                      </a:lnTo>
                      <a:lnTo>
                        <a:pt x="1993" y="1275"/>
                      </a:lnTo>
                      <a:lnTo>
                        <a:pt x="1985" y="1287"/>
                      </a:lnTo>
                      <a:lnTo>
                        <a:pt x="1976" y="1301"/>
                      </a:lnTo>
                      <a:lnTo>
                        <a:pt x="1974" y="1304"/>
                      </a:lnTo>
                      <a:lnTo>
                        <a:pt x="1971" y="1307"/>
                      </a:lnTo>
                      <a:lnTo>
                        <a:pt x="1968" y="1310"/>
                      </a:lnTo>
                      <a:lnTo>
                        <a:pt x="1963" y="1313"/>
                      </a:lnTo>
                      <a:lnTo>
                        <a:pt x="1959" y="1315"/>
                      </a:lnTo>
                      <a:lnTo>
                        <a:pt x="1953" y="1316"/>
                      </a:lnTo>
                      <a:lnTo>
                        <a:pt x="1947" y="1317"/>
                      </a:lnTo>
                      <a:lnTo>
                        <a:pt x="1940" y="1318"/>
                      </a:lnTo>
                      <a:lnTo>
                        <a:pt x="1930" y="1317"/>
                      </a:lnTo>
                      <a:lnTo>
                        <a:pt x="1920" y="1315"/>
                      </a:lnTo>
                      <a:lnTo>
                        <a:pt x="1910" y="1313"/>
                      </a:lnTo>
                      <a:lnTo>
                        <a:pt x="1901" y="1309"/>
                      </a:lnTo>
                      <a:lnTo>
                        <a:pt x="1892" y="1305"/>
                      </a:lnTo>
                      <a:lnTo>
                        <a:pt x="1883" y="1300"/>
                      </a:lnTo>
                      <a:lnTo>
                        <a:pt x="1874" y="1294"/>
                      </a:lnTo>
                      <a:lnTo>
                        <a:pt x="1867" y="1287"/>
                      </a:lnTo>
                      <a:lnTo>
                        <a:pt x="1864" y="1289"/>
                      </a:lnTo>
                      <a:lnTo>
                        <a:pt x="1860" y="1293"/>
                      </a:lnTo>
                      <a:lnTo>
                        <a:pt x="1853" y="1298"/>
                      </a:lnTo>
                      <a:lnTo>
                        <a:pt x="1847" y="1299"/>
                      </a:lnTo>
                      <a:lnTo>
                        <a:pt x="1840" y="1299"/>
                      </a:lnTo>
                      <a:lnTo>
                        <a:pt x="1833" y="1297"/>
                      </a:lnTo>
                      <a:lnTo>
                        <a:pt x="1826" y="1294"/>
                      </a:lnTo>
                      <a:lnTo>
                        <a:pt x="1819" y="1290"/>
                      </a:lnTo>
                      <a:lnTo>
                        <a:pt x="1813" y="1287"/>
                      </a:lnTo>
                      <a:lnTo>
                        <a:pt x="1805" y="1284"/>
                      </a:lnTo>
                      <a:lnTo>
                        <a:pt x="1796" y="1282"/>
                      </a:lnTo>
                      <a:lnTo>
                        <a:pt x="1787" y="1281"/>
                      </a:lnTo>
                      <a:lnTo>
                        <a:pt x="1771" y="1281"/>
                      </a:lnTo>
                      <a:lnTo>
                        <a:pt x="1761" y="1281"/>
                      </a:lnTo>
                      <a:lnTo>
                        <a:pt x="1756" y="1281"/>
                      </a:lnTo>
                      <a:lnTo>
                        <a:pt x="1751" y="1280"/>
                      </a:lnTo>
                      <a:lnTo>
                        <a:pt x="1747" y="1279"/>
                      </a:lnTo>
                      <a:lnTo>
                        <a:pt x="1742" y="1277"/>
                      </a:lnTo>
                      <a:lnTo>
                        <a:pt x="1734" y="1272"/>
                      </a:lnTo>
                      <a:lnTo>
                        <a:pt x="1727" y="1264"/>
                      </a:lnTo>
                      <a:lnTo>
                        <a:pt x="1722" y="1256"/>
                      </a:lnTo>
                      <a:lnTo>
                        <a:pt x="1717" y="1247"/>
                      </a:lnTo>
                      <a:lnTo>
                        <a:pt x="1715" y="1237"/>
                      </a:lnTo>
                      <a:lnTo>
                        <a:pt x="1714" y="1226"/>
                      </a:lnTo>
                      <a:lnTo>
                        <a:pt x="1681" y="1226"/>
                      </a:lnTo>
                      <a:lnTo>
                        <a:pt x="1682" y="1231"/>
                      </a:lnTo>
                      <a:lnTo>
                        <a:pt x="1684" y="1239"/>
                      </a:lnTo>
                      <a:lnTo>
                        <a:pt x="1686" y="1247"/>
                      </a:lnTo>
                      <a:lnTo>
                        <a:pt x="1688" y="1256"/>
                      </a:lnTo>
                      <a:lnTo>
                        <a:pt x="259" y="1256"/>
                      </a:lnTo>
                      <a:lnTo>
                        <a:pt x="263" y="1245"/>
                      </a:lnTo>
                      <a:lnTo>
                        <a:pt x="265" y="1239"/>
                      </a:lnTo>
                      <a:lnTo>
                        <a:pt x="265" y="1237"/>
                      </a:lnTo>
                      <a:lnTo>
                        <a:pt x="263" y="1236"/>
                      </a:lnTo>
                      <a:lnTo>
                        <a:pt x="261" y="1235"/>
                      </a:lnTo>
                      <a:lnTo>
                        <a:pt x="258" y="1233"/>
                      </a:lnTo>
                      <a:lnTo>
                        <a:pt x="256" y="1229"/>
                      </a:lnTo>
                      <a:lnTo>
                        <a:pt x="252" y="1220"/>
                      </a:lnTo>
                      <a:lnTo>
                        <a:pt x="247" y="1214"/>
                      </a:lnTo>
                      <a:lnTo>
                        <a:pt x="240" y="1207"/>
                      </a:lnTo>
                      <a:lnTo>
                        <a:pt x="235" y="1200"/>
                      </a:lnTo>
                      <a:lnTo>
                        <a:pt x="233" y="1195"/>
                      </a:lnTo>
                      <a:lnTo>
                        <a:pt x="226" y="1194"/>
                      </a:lnTo>
                      <a:lnTo>
                        <a:pt x="217" y="1190"/>
                      </a:lnTo>
                      <a:lnTo>
                        <a:pt x="213" y="1188"/>
                      </a:lnTo>
                      <a:lnTo>
                        <a:pt x="210" y="1184"/>
                      </a:lnTo>
                      <a:lnTo>
                        <a:pt x="206" y="1181"/>
                      </a:lnTo>
                      <a:lnTo>
                        <a:pt x="206" y="1176"/>
                      </a:lnTo>
                      <a:lnTo>
                        <a:pt x="195" y="1173"/>
                      </a:lnTo>
                      <a:lnTo>
                        <a:pt x="182" y="1168"/>
                      </a:lnTo>
                      <a:lnTo>
                        <a:pt x="169" y="1161"/>
                      </a:lnTo>
                      <a:lnTo>
                        <a:pt x="156" y="1153"/>
                      </a:lnTo>
                      <a:lnTo>
                        <a:pt x="145" y="1145"/>
                      </a:lnTo>
                      <a:lnTo>
                        <a:pt x="135" y="1136"/>
                      </a:lnTo>
                      <a:lnTo>
                        <a:pt x="132" y="1132"/>
                      </a:lnTo>
                      <a:lnTo>
                        <a:pt x="128" y="1128"/>
                      </a:lnTo>
                      <a:lnTo>
                        <a:pt x="127" y="1125"/>
                      </a:lnTo>
                      <a:lnTo>
                        <a:pt x="126" y="1121"/>
                      </a:lnTo>
                      <a:lnTo>
                        <a:pt x="127" y="1116"/>
                      </a:lnTo>
                      <a:lnTo>
                        <a:pt x="128" y="1111"/>
                      </a:lnTo>
                      <a:lnTo>
                        <a:pt x="132" y="1106"/>
                      </a:lnTo>
                      <a:lnTo>
                        <a:pt x="136" y="1102"/>
                      </a:lnTo>
                      <a:lnTo>
                        <a:pt x="146" y="1094"/>
                      </a:lnTo>
                      <a:lnTo>
                        <a:pt x="157" y="1088"/>
                      </a:lnTo>
                      <a:lnTo>
                        <a:pt x="169" y="1083"/>
                      </a:lnTo>
                      <a:lnTo>
                        <a:pt x="180" y="1077"/>
                      </a:lnTo>
                      <a:lnTo>
                        <a:pt x="184" y="1075"/>
                      </a:lnTo>
                      <a:lnTo>
                        <a:pt x="188" y="1072"/>
                      </a:lnTo>
                      <a:lnTo>
                        <a:pt x="191" y="1069"/>
                      </a:lnTo>
                      <a:lnTo>
                        <a:pt x="193" y="1066"/>
                      </a:lnTo>
                      <a:lnTo>
                        <a:pt x="183" y="1065"/>
                      </a:lnTo>
                      <a:lnTo>
                        <a:pt x="170" y="1064"/>
                      </a:lnTo>
                      <a:lnTo>
                        <a:pt x="164" y="1063"/>
                      </a:lnTo>
                      <a:lnTo>
                        <a:pt x="158" y="1060"/>
                      </a:lnTo>
                      <a:lnTo>
                        <a:pt x="156" y="1059"/>
                      </a:lnTo>
                      <a:lnTo>
                        <a:pt x="155" y="1057"/>
                      </a:lnTo>
                      <a:lnTo>
                        <a:pt x="154" y="1056"/>
                      </a:lnTo>
                      <a:lnTo>
                        <a:pt x="153" y="1053"/>
                      </a:lnTo>
                      <a:lnTo>
                        <a:pt x="151" y="1040"/>
                      </a:lnTo>
                      <a:lnTo>
                        <a:pt x="148" y="1029"/>
                      </a:lnTo>
                      <a:lnTo>
                        <a:pt x="147" y="1024"/>
                      </a:lnTo>
                      <a:lnTo>
                        <a:pt x="147" y="1019"/>
                      </a:lnTo>
                      <a:lnTo>
                        <a:pt x="149" y="1015"/>
                      </a:lnTo>
                      <a:lnTo>
                        <a:pt x="153" y="1010"/>
                      </a:lnTo>
                      <a:lnTo>
                        <a:pt x="126" y="1010"/>
                      </a:lnTo>
                      <a:lnTo>
                        <a:pt x="133" y="992"/>
                      </a:lnTo>
                      <a:lnTo>
                        <a:pt x="120" y="989"/>
                      </a:lnTo>
                      <a:lnTo>
                        <a:pt x="106" y="985"/>
                      </a:lnTo>
                      <a:lnTo>
                        <a:pt x="108" y="979"/>
                      </a:lnTo>
                      <a:lnTo>
                        <a:pt x="110" y="973"/>
                      </a:lnTo>
                      <a:lnTo>
                        <a:pt x="112" y="969"/>
                      </a:lnTo>
                      <a:lnTo>
                        <a:pt x="114" y="965"/>
                      </a:lnTo>
                      <a:lnTo>
                        <a:pt x="121" y="958"/>
                      </a:lnTo>
                      <a:lnTo>
                        <a:pt x="127" y="954"/>
                      </a:lnTo>
                      <a:lnTo>
                        <a:pt x="134" y="950"/>
                      </a:lnTo>
                      <a:lnTo>
                        <a:pt x="140" y="947"/>
                      </a:lnTo>
                      <a:lnTo>
                        <a:pt x="147" y="942"/>
                      </a:lnTo>
                      <a:lnTo>
                        <a:pt x="153" y="936"/>
                      </a:lnTo>
                      <a:lnTo>
                        <a:pt x="149" y="932"/>
                      </a:lnTo>
                      <a:lnTo>
                        <a:pt x="148" y="929"/>
                      </a:lnTo>
                      <a:lnTo>
                        <a:pt x="147" y="927"/>
                      </a:lnTo>
                      <a:lnTo>
                        <a:pt x="147" y="925"/>
                      </a:lnTo>
                      <a:lnTo>
                        <a:pt x="148" y="923"/>
                      </a:lnTo>
                      <a:lnTo>
                        <a:pt x="149" y="921"/>
                      </a:lnTo>
                      <a:lnTo>
                        <a:pt x="151" y="919"/>
                      </a:lnTo>
                      <a:lnTo>
                        <a:pt x="155" y="917"/>
                      </a:lnTo>
                      <a:lnTo>
                        <a:pt x="161" y="914"/>
                      </a:lnTo>
                      <a:lnTo>
                        <a:pt x="170" y="910"/>
                      </a:lnTo>
                      <a:lnTo>
                        <a:pt x="178" y="905"/>
                      </a:lnTo>
                      <a:lnTo>
                        <a:pt x="187" y="899"/>
                      </a:lnTo>
                      <a:lnTo>
                        <a:pt x="191" y="901"/>
                      </a:lnTo>
                      <a:lnTo>
                        <a:pt x="196" y="902"/>
                      </a:lnTo>
                      <a:lnTo>
                        <a:pt x="203" y="901"/>
                      </a:lnTo>
                      <a:lnTo>
                        <a:pt x="209" y="900"/>
                      </a:lnTo>
                      <a:lnTo>
                        <a:pt x="215" y="898"/>
                      </a:lnTo>
                      <a:lnTo>
                        <a:pt x="221" y="896"/>
                      </a:lnTo>
                      <a:lnTo>
                        <a:pt x="227" y="893"/>
                      </a:lnTo>
                      <a:lnTo>
                        <a:pt x="233" y="889"/>
                      </a:lnTo>
                      <a:lnTo>
                        <a:pt x="243" y="881"/>
                      </a:lnTo>
                      <a:lnTo>
                        <a:pt x="251" y="872"/>
                      </a:lnTo>
                      <a:lnTo>
                        <a:pt x="255" y="868"/>
                      </a:lnTo>
                      <a:lnTo>
                        <a:pt x="257" y="863"/>
                      </a:lnTo>
                      <a:lnTo>
                        <a:pt x="259" y="859"/>
                      </a:lnTo>
                      <a:lnTo>
                        <a:pt x="259" y="856"/>
                      </a:lnTo>
                      <a:lnTo>
                        <a:pt x="259" y="851"/>
                      </a:lnTo>
                      <a:lnTo>
                        <a:pt x="258" y="847"/>
                      </a:lnTo>
                      <a:lnTo>
                        <a:pt x="256" y="843"/>
                      </a:lnTo>
                      <a:lnTo>
                        <a:pt x="254" y="840"/>
                      </a:lnTo>
                      <a:lnTo>
                        <a:pt x="248" y="832"/>
                      </a:lnTo>
                      <a:lnTo>
                        <a:pt x="243" y="826"/>
                      </a:lnTo>
                      <a:lnTo>
                        <a:pt x="236" y="818"/>
                      </a:lnTo>
                      <a:lnTo>
                        <a:pt x="232" y="811"/>
                      </a:lnTo>
                      <a:lnTo>
                        <a:pt x="229" y="807"/>
                      </a:lnTo>
                      <a:lnTo>
                        <a:pt x="227" y="803"/>
                      </a:lnTo>
                      <a:lnTo>
                        <a:pt x="226" y="799"/>
                      </a:lnTo>
                      <a:lnTo>
                        <a:pt x="226" y="794"/>
                      </a:lnTo>
                      <a:lnTo>
                        <a:pt x="226" y="789"/>
                      </a:lnTo>
                      <a:lnTo>
                        <a:pt x="227" y="784"/>
                      </a:lnTo>
                      <a:lnTo>
                        <a:pt x="228" y="780"/>
                      </a:lnTo>
                      <a:lnTo>
                        <a:pt x="231" y="776"/>
                      </a:lnTo>
                      <a:lnTo>
                        <a:pt x="234" y="770"/>
                      </a:lnTo>
                      <a:lnTo>
                        <a:pt x="239" y="763"/>
                      </a:lnTo>
                      <a:lnTo>
                        <a:pt x="244" y="757"/>
                      </a:lnTo>
                      <a:lnTo>
                        <a:pt x="248" y="751"/>
                      </a:lnTo>
                      <a:lnTo>
                        <a:pt x="250" y="747"/>
                      </a:lnTo>
                      <a:lnTo>
                        <a:pt x="251" y="743"/>
                      </a:lnTo>
                      <a:lnTo>
                        <a:pt x="252" y="738"/>
                      </a:lnTo>
                      <a:lnTo>
                        <a:pt x="252" y="733"/>
                      </a:lnTo>
                      <a:lnTo>
                        <a:pt x="252" y="724"/>
                      </a:lnTo>
                      <a:lnTo>
                        <a:pt x="251" y="716"/>
                      </a:lnTo>
                      <a:lnTo>
                        <a:pt x="249" y="707"/>
                      </a:lnTo>
                      <a:lnTo>
                        <a:pt x="247" y="700"/>
                      </a:lnTo>
                      <a:lnTo>
                        <a:pt x="242" y="686"/>
                      </a:lnTo>
                      <a:lnTo>
                        <a:pt x="234" y="674"/>
                      </a:lnTo>
                      <a:lnTo>
                        <a:pt x="218" y="653"/>
                      </a:lnTo>
                      <a:lnTo>
                        <a:pt x="206" y="634"/>
                      </a:lnTo>
                      <a:lnTo>
                        <a:pt x="200" y="634"/>
                      </a:lnTo>
                      <a:lnTo>
                        <a:pt x="194" y="635"/>
                      </a:lnTo>
                      <a:lnTo>
                        <a:pt x="190" y="637"/>
                      </a:lnTo>
                      <a:lnTo>
                        <a:pt x="186" y="639"/>
                      </a:lnTo>
                      <a:lnTo>
                        <a:pt x="177" y="644"/>
                      </a:lnTo>
                      <a:lnTo>
                        <a:pt x="168" y="649"/>
                      </a:lnTo>
                      <a:lnTo>
                        <a:pt x="159" y="656"/>
                      </a:lnTo>
                      <a:lnTo>
                        <a:pt x="148" y="661"/>
                      </a:lnTo>
                      <a:lnTo>
                        <a:pt x="142" y="662"/>
                      </a:lnTo>
                      <a:lnTo>
                        <a:pt x="135" y="664"/>
                      </a:lnTo>
                      <a:lnTo>
                        <a:pt x="128" y="665"/>
                      </a:lnTo>
                      <a:lnTo>
                        <a:pt x="120" y="665"/>
                      </a:lnTo>
                      <a:lnTo>
                        <a:pt x="113" y="663"/>
                      </a:lnTo>
                      <a:lnTo>
                        <a:pt x="104" y="658"/>
                      </a:lnTo>
                      <a:lnTo>
                        <a:pt x="100" y="656"/>
                      </a:lnTo>
                      <a:lnTo>
                        <a:pt x="97" y="652"/>
                      </a:lnTo>
                      <a:lnTo>
                        <a:pt x="94" y="649"/>
                      </a:lnTo>
                      <a:lnTo>
                        <a:pt x="93" y="646"/>
                      </a:lnTo>
                      <a:lnTo>
                        <a:pt x="93" y="640"/>
                      </a:lnTo>
                      <a:lnTo>
                        <a:pt x="95" y="633"/>
                      </a:lnTo>
                      <a:lnTo>
                        <a:pt x="98" y="628"/>
                      </a:lnTo>
                      <a:lnTo>
                        <a:pt x="100" y="622"/>
                      </a:lnTo>
                      <a:lnTo>
                        <a:pt x="102" y="616"/>
                      </a:lnTo>
                      <a:lnTo>
                        <a:pt x="104" y="610"/>
                      </a:lnTo>
                      <a:lnTo>
                        <a:pt x="105" y="604"/>
                      </a:lnTo>
                      <a:lnTo>
                        <a:pt x="106" y="597"/>
                      </a:lnTo>
                      <a:lnTo>
                        <a:pt x="86" y="597"/>
                      </a:lnTo>
                      <a:lnTo>
                        <a:pt x="64" y="597"/>
                      </a:lnTo>
                      <a:lnTo>
                        <a:pt x="35" y="597"/>
                      </a:lnTo>
                      <a:lnTo>
                        <a:pt x="0" y="597"/>
                      </a:lnTo>
                      <a:lnTo>
                        <a:pt x="585" y="117"/>
                      </a:lnTo>
                      <a:lnTo>
                        <a:pt x="594" y="116"/>
                      </a:lnTo>
                      <a:lnTo>
                        <a:pt x="602" y="114"/>
                      </a:lnTo>
                      <a:lnTo>
                        <a:pt x="612" y="112"/>
                      </a:lnTo>
                      <a:lnTo>
                        <a:pt x="625" y="111"/>
                      </a:lnTo>
                      <a:lnTo>
                        <a:pt x="635" y="111"/>
                      </a:lnTo>
                      <a:lnTo>
                        <a:pt x="643" y="113"/>
                      </a:lnTo>
                      <a:lnTo>
                        <a:pt x="651" y="116"/>
                      </a:lnTo>
                      <a:lnTo>
                        <a:pt x="659" y="119"/>
                      </a:lnTo>
                      <a:lnTo>
                        <a:pt x="674" y="128"/>
                      </a:lnTo>
                      <a:lnTo>
                        <a:pt x="687" y="138"/>
                      </a:lnTo>
                      <a:lnTo>
                        <a:pt x="702" y="148"/>
                      </a:lnTo>
                      <a:lnTo>
                        <a:pt x="716" y="158"/>
                      </a:lnTo>
                      <a:lnTo>
                        <a:pt x="724" y="161"/>
                      </a:lnTo>
                      <a:lnTo>
                        <a:pt x="732" y="164"/>
                      </a:lnTo>
                      <a:lnTo>
                        <a:pt x="741" y="166"/>
                      </a:lnTo>
                      <a:lnTo>
                        <a:pt x="751" y="166"/>
                      </a:lnTo>
                      <a:lnTo>
                        <a:pt x="943" y="111"/>
                      </a:lnTo>
                      <a:lnTo>
                        <a:pt x="1096" y="111"/>
                      </a:lnTo>
                      <a:lnTo>
                        <a:pt x="1103" y="112"/>
                      </a:lnTo>
                      <a:lnTo>
                        <a:pt x="1110" y="113"/>
                      </a:lnTo>
                      <a:lnTo>
                        <a:pt x="1117" y="113"/>
                      </a:lnTo>
                      <a:lnTo>
                        <a:pt x="1123" y="113"/>
                      </a:lnTo>
                      <a:lnTo>
                        <a:pt x="1135" y="110"/>
                      </a:lnTo>
                      <a:lnTo>
                        <a:pt x="1146" y="105"/>
                      </a:lnTo>
                      <a:lnTo>
                        <a:pt x="1157" y="100"/>
                      </a:lnTo>
                      <a:lnTo>
                        <a:pt x="1169" y="93"/>
                      </a:lnTo>
                      <a:lnTo>
                        <a:pt x="1181" y="89"/>
                      </a:lnTo>
                      <a:lnTo>
                        <a:pt x="1196" y="85"/>
                      </a:lnTo>
                      <a:lnTo>
                        <a:pt x="1195" y="90"/>
                      </a:lnTo>
                      <a:lnTo>
                        <a:pt x="1195" y="94"/>
                      </a:lnTo>
                      <a:lnTo>
                        <a:pt x="1195" y="100"/>
                      </a:lnTo>
                      <a:lnTo>
                        <a:pt x="1196" y="104"/>
                      </a:lnTo>
                      <a:lnTo>
                        <a:pt x="1198" y="112"/>
                      </a:lnTo>
                      <a:lnTo>
                        <a:pt x="1202" y="120"/>
                      </a:lnTo>
                      <a:lnTo>
                        <a:pt x="1208" y="126"/>
                      </a:lnTo>
                      <a:lnTo>
                        <a:pt x="1214" y="131"/>
                      </a:lnTo>
                      <a:lnTo>
                        <a:pt x="1218" y="132"/>
                      </a:lnTo>
                      <a:lnTo>
                        <a:pt x="1222" y="134"/>
                      </a:lnTo>
                      <a:lnTo>
                        <a:pt x="1225" y="135"/>
                      </a:lnTo>
                      <a:lnTo>
                        <a:pt x="1230" y="135"/>
                      </a:lnTo>
                      <a:lnTo>
                        <a:pt x="1238" y="134"/>
                      </a:lnTo>
                      <a:lnTo>
                        <a:pt x="1247" y="133"/>
                      </a:lnTo>
                      <a:lnTo>
                        <a:pt x="1255" y="131"/>
                      </a:lnTo>
                      <a:lnTo>
                        <a:pt x="1263" y="128"/>
                      </a:lnTo>
                      <a:lnTo>
                        <a:pt x="1278" y="122"/>
                      </a:lnTo>
                      <a:lnTo>
                        <a:pt x="1296" y="117"/>
                      </a:lnTo>
                      <a:lnTo>
                        <a:pt x="1298" y="119"/>
                      </a:lnTo>
                      <a:lnTo>
                        <a:pt x="1300" y="120"/>
                      </a:lnTo>
                      <a:lnTo>
                        <a:pt x="1303" y="122"/>
                      </a:lnTo>
                      <a:lnTo>
                        <a:pt x="1308" y="123"/>
                      </a:lnTo>
                      <a:lnTo>
                        <a:pt x="1319" y="124"/>
                      </a:lnTo>
                      <a:lnTo>
                        <a:pt x="1331" y="124"/>
                      </a:lnTo>
                      <a:lnTo>
                        <a:pt x="1343" y="123"/>
                      </a:lnTo>
                      <a:lnTo>
                        <a:pt x="1355" y="121"/>
                      </a:lnTo>
                      <a:lnTo>
                        <a:pt x="1367" y="119"/>
                      </a:lnTo>
                      <a:lnTo>
                        <a:pt x="1376" y="117"/>
                      </a:lnTo>
                      <a:lnTo>
                        <a:pt x="1386" y="116"/>
                      </a:lnTo>
                      <a:lnTo>
                        <a:pt x="1397" y="114"/>
                      </a:lnTo>
                      <a:lnTo>
                        <a:pt x="1405" y="112"/>
                      </a:lnTo>
                      <a:lnTo>
                        <a:pt x="1409" y="111"/>
                      </a:lnTo>
                      <a:lnTo>
                        <a:pt x="1424" y="112"/>
                      </a:lnTo>
                      <a:lnTo>
                        <a:pt x="1450" y="117"/>
                      </a:lnTo>
                      <a:lnTo>
                        <a:pt x="1483" y="123"/>
                      </a:lnTo>
                      <a:lnTo>
                        <a:pt x="1520" y="131"/>
                      </a:lnTo>
                      <a:lnTo>
                        <a:pt x="1557" y="140"/>
                      </a:lnTo>
                      <a:lnTo>
                        <a:pt x="1592" y="149"/>
                      </a:lnTo>
                      <a:lnTo>
                        <a:pt x="1621" y="159"/>
                      </a:lnTo>
                      <a:lnTo>
                        <a:pt x="1641" y="166"/>
                      </a:lnTo>
                      <a:lnTo>
                        <a:pt x="1632" y="174"/>
                      </a:lnTo>
                      <a:lnTo>
                        <a:pt x="1623" y="179"/>
                      </a:lnTo>
                      <a:lnTo>
                        <a:pt x="1615" y="183"/>
                      </a:lnTo>
                      <a:lnTo>
                        <a:pt x="1607" y="187"/>
                      </a:lnTo>
                      <a:lnTo>
                        <a:pt x="1601" y="189"/>
                      </a:lnTo>
                      <a:lnTo>
                        <a:pt x="1592" y="193"/>
                      </a:lnTo>
                      <a:lnTo>
                        <a:pt x="1584" y="197"/>
                      </a:lnTo>
                      <a:lnTo>
                        <a:pt x="1574" y="202"/>
                      </a:lnTo>
                      <a:lnTo>
                        <a:pt x="1591" y="209"/>
                      </a:lnTo>
                      <a:lnTo>
                        <a:pt x="1606" y="215"/>
                      </a:lnTo>
                      <a:lnTo>
                        <a:pt x="1621" y="219"/>
                      </a:lnTo>
                      <a:lnTo>
                        <a:pt x="1635" y="222"/>
                      </a:lnTo>
                      <a:lnTo>
                        <a:pt x="1648" y="225"/>
                      </a:lnTo>
                      <a:lnTo>
                        <a:pt x="1662" y="226"/>
                      </a:lnTo>
                      <a:lnTo>
                        <a:pt x="1678" y="227"/>
                      </a:lnTo>
                      <a:lnTo>
                        <a:pt x="1694" y="228"/>
                      </a:lnTo>
                      <a:lnTo>
                        <a:pt x="1711" y="227"/>
                      </a:lnTo>
                      <a:lnTo>
                        <a:pt x="1725" y="224"/>
                      </a:lnTo>
                      <a:lnTo>
                        <a:pt x="1737" y="220"/>
                      </a:lnTo>
                      <a:lnTo>
                        <a:pt x="1749" y="216"/>
                      </a:lnTo>
                      <a:lnTo>
                        <a:pt x="1760" y="211"/>
                      </a:lnTo>
                      <a:lnTo>
                        <a:pt x="1771" y="206"/>
                      </a:lnTo>
                      <a:lnTo>
                        <a:pt x="1782" y="203"/>
                      </a:lnTo>
                      <a:lnTo>
                        <a:pt x="1794" y="202"/>
                      </a:lnTo>
                      <a:lnTo>
                        <a:pt x="1800" y="203"/>
                      </a:lnTo>
                      <a:lnTo>
                        <a:pt x="1805" y="204"/>
                      </a:lnTo>
                      <a:lnTo>
                        <a:pt x="1811" y="206"/>
                      </a:lnTo>
                      <a:lnTo>
                        <a:pt x="1816" y="209"/>
                      </a:lnTo>
                      <a:lnTo>
                        <a:pt x="1825" y="217"/>
                      </a:lnTo>
                      <a:lnTo>
                        <a:pt x="1833" y="225"/>
                      </a:lnTo>
                      <a:lnTo>
                        <a:pt x="1841" y="232"/>
                      </a:lnTo>
                      <a:lnTo>
                        <a:pt x="1849" y="239"/>
                      </a:lnTo>
                      <a:lnTo>
                        <a:pt x="1853" y="242"/>
                      </a:lnTo>
                      <a:lnTo>
                        <a:pt x="1858" y="244"/>
                      </a:lnTo>
                      <a:lnTo>
                        <a:pt x="1862" y="245"/>
                      </a:lnTo>
                      <a:lnTo>
                        <a:pt x="1867" y="246"/>
                      </a:lnTo>
                      <a:lnTo>
                        <a:pt x="1880" y="202"/>
                      </a:lnTo>
                      <a:lnTo>
                        <a:pt x="2006" y="178"/>
                      </a:lnTo>
                      <a:lnTo>
                        <a:pt x="2016" y="179"/>
                      </a:lnTo>
                      <a:lnTo>
                        <a:pt x="2026" y="180"/>
                      </a:lnTo>
                      <a:lnTo>
                        <a:pt x="2035" y="181"/>
                      </a:lnTo>
                      <a:lnTo>
                        <a:pt x="2043" y="183"/>
                      </a:lnTo>
                      <a:lnTo>
                        <a:pt x="2060" y="188"/>
                      </a:lnTo>
                      <a:lnTo>
                        <a:pt x="2076" y="193"/>
                      </a:lnTo>
                      <a:lnTo>
                        <a:pt x="2093" y="199"/>
                      </a:lnTo>
                      <a:lnTo>
                        <a:pt x="2109" y="204"/>
                      </a:lnTo>
                      <a:lnTo>
                        <a:pt x="2118" y="206"/>
                      </a:lnTo>
                      <a:lnTo>
                        <a:pt x="2127" y="207"/>
                      </a:lnTo>
                      <a:lnTo>
                        <a:pt x="2137" y="208"/>
                      </a:lnTo>
                      <a:lnTo>
                        <a:pt x="2147" y="208"/>
                      </a:lnTo>
                      <a:lnTo>
                        <a:pt x="2162" y="208"/>
                      </a:lnTo>
                      <a:lnTo>
                        <a:pt x="2173" y="207"/>
                      </a:lnTo>
                      <a:lnTo>
                        <a:pt x="2183" y="205"/>
                      </a:lnTo>
                      <a:lnTo>
                        <a:pt x="2190" y="202"/>
                      </a:lnTo>
                      <a:lnTo>
                        <a:pt x="2198" y="200"/>
                      </a:lnTo>
                      <a:lnTo>
                        <a:pt x="2206" y="198"/>
                      </a:lnTo>
                      <a:lnTo>
                        <a:pt x="2215" y="197"/>
                      </a:lnTo>
                      <a:lnTo>
                        <a:pt x="2226" y="196"/>
                      </a:lnTo>
                      <a:lnTo>
                        <a:pt x="2235" y="197"/>
                      </a:lnTo>
                      <a:lnTo>
                        <a:pt x="2244" y="199"/>
                      </a:lnTo>
                      <a:lnTo>
                        <a:pt x="2253" y="202"/>
                      </a:lnTo>
                      <a:lnTo>
                        <a:pt x="2261" y="205"/>
                      </a:lnTo>
                      <a:lnTo>
                        <a:pt x="2267" y="209"/>
                      </a:lnTo>
                      <a:lnTo>
                        <a:pt x="2274" y="213"/>
                      </a:lnTo>
                      <a:lnTo>
                        <a:pt x="2280" y="215"/>
                      </a:lnTo>
                      <a:lnTo>
                        <a:pt x="2286" y="216"/>
                      </a:lnTo>
                      <a:lnTo>
                        <a:pt x="2290" y="215"/>
                      </a:lnTo>
                      <a:lnTo>
                        <a:pt x="2296" y="213"/>
                      </a:lnTo>
                      <a:lnTo>
                        <a:pt x="2300" y="211"/>
                      </a:lnTo>
                      <a:lnTo>
                        <a:pt x="2305" y="206"/>
                      </a:lnTo>
                      <a:lnTo>
                        <a:pt x="2309" y="202"/>
                      </a:lnTo>
                      <a:lnTo>
                        <a:pt x="2312" y="197"/>
                      </a:lnTo>
                      <a:lnTo>
                        <a:pt x="2316" y="191"/>
                      </a:lnTo>
                      <a:lnTo>
                        <a:pt x="2319" y="184"/>
                      </a:lnTo>
                      <a:lnTo>
                        <a:pt x="2326" y="183"/>
                      </a:lnTo>
                      <a:lnTo>
                        <a:pt x="2334" y="180"/>
                      </a:lnTo>
                      <a:lnTo>
                        <a:pt x="2339" y="179"/>
                      </a:lnTo>
                      <a:lnTo>
                        <a:pt x="2342" y="177"/>
                      </a:lnTo>
                      <a:lnTo>
                        <a:pt x="2344" y="174"/>
                      </a:lnTo>
                      <a:lnTo>
                        <a:pt x="2345" y="172"/>
                      </a:lnTo>
                      <a:lnTo>
                        <a:pt x="2378" y="172"/>
                      </a:lnTo>
                      <a:lnTo>
                        <a:pt x="2376" y="178"/>
                      </a:lnTo>
                      <a:lnTo>
                        <a:pt x="2372" y="185"/>
                      </a:lnTo>
                      <a:lnTo>
                        <a:pt x="2369" y="189"/>
                      </a:lnTo>
                      <a:lnTo>
                        <a:pt x="2367" y="193"/>
                      </a:lnTo>
                      <a:lnTo>
                        <a:pt x="2366" y="198"/>
                      </a:lnTo>
                      <a:lnTo>
                        <a:pt x="2365" y="202"/>
                      </a:lnTo>
                      <a:lnTo>
                        <a:pt x="2365" y="216"/>
                      </a:lnTo>
                      <a:lnTo>
                        <a:pt x="2365" y="228"/>
                      </a:lnTo>
                      <a:lnTo>
                        <a:pt x="2405" y="228"/>
                      </a:lnTo>
                      <a:lnTo>
                        <a:pt x="2401" y="213"/>
                      </a:lnTo>
                      <a:lnTo>
                        <a:pt x="2400" y="203"/>
                      </a:lnTo>
                      <a:lnTo>
                        <a:pt x="2401" y="195"/>
                      </a:lnTo>
                      <a:lnTo>
                        <a:pt x="2405" y="184"/>
                      </a:lnTo>
                      <a:lnTo>
                        <a:pt x="2430" y="184"/>
                      </a:lnTo>
                      <a:lnTo>
                        <a:pt x="2454" y="182"/>
                      </a:lnTo>
                      <a:lnTo>
                        <a:pt x="2465" y="180"/>
                      </a:lnTo>
                      <a:lnTo>
                        <a:pt x="2476" y="178"/>
                      </a:lnTo>
                      <a:lnTo>
                        <a:pt x="2487" y="175"/>
                      </a:lnTo>
                      <a:lnTo>
                        <a:pt x="2497" y="172"/>
                      </a:lnTo>
                      <a:lnTo>
                        <a:pt x="2506" y="168"/>
                      </a:lnTo>
                      <a:lnTo>
                        <a:pt x="2513" y="164"/>
                      </a:lnTo>
                      <a:lnTo>
                        <a:pt x="2521" y="159"/>
                      </a:lnTo>
                      <a:lnTo>
                        <a:pt x="2526" y="153"/>
                      </a:lnTo>
                      <a:lnTo>
                        <a:pt x="2532" y="146"/>
                      </a:lnTo>
                      <a:lnTo>
                        <a:pt x="2535" y="139"/>
                      </a:lnTo>
                      <a:lnTo>
                        <a:pt x="2537" y="131"/>
                      </a:lnTo>
                      <a:lnTo>
                        <a:pt x="2539" y="123"/>
                      </a:lnTo>
                      <a:lnTo>
                        <a:pt x="2532" y="123"/>
                      </a:lnTo>
                      <a:lnTo>
                        <a:pt x="2518" y="123"/>
                      </a:lnTo>
                      <a:lnTo>
                        <a:pt x="2501" y="123"/>
                      </a:lnTo>
                      <a:lnTo>
                        <a:pt x="2491" y="123"/>
                      </a:lnTo>
                      <a:lnTo>
                        <a:pt x="2487" y="120"/>
                      </a:lnTo>
                      <a:lnTo>
                        <a:pt x="2483" y="115"/>
                      </a:lnTo>
                      <a:lnTo>
                        <a:pt x="2479" y="110"/>
                      </a:lnTo>
                      <a:lnTo>
                        <a:pt x="2477" y="105"/>
                      </a:lnTo>
                      <a:lnTo>
                        <a:pt x="2473" y="93"/>
                      </a:lnTo>
                      <a:lnTo>
                        <a:pt x="2472" y="85"/>
                      </a:lnTo>
                      <a:lnTo>
                        <a:pt x="2473" y="81"/>
                      </a:lnTo>
                      <a:lnTo>
                        <a:pt x="2476" y="75"/>
                      </a:lnTo>
                      <a:lnTo>
                        <a:pt x="2480" y="69"/>
                      </a:lnTo>
                      <a:lnTo>
                        <a:pt x="2487" y="62"/>
                      </a:lnTo>
                      <a:lnTo>
                        <a:pt x="2495" y="55"/>
                      </a:lnTo>
                      <a:lnTo>
                        <a:pt x="2503" y="48"/>
                      </a:lnTo>
                      <a:lnTo>
                        <a:pt x="2512" y="40"/>
                      </a:lnTo>
                      <a:lnTo>
                        <a:pt x="2523" y="33"/>
                      </a:lnTo>
                      <a:lnTo>
                        <a:pt x="2534" y="26"/>
                      </a:lnTo>
                      <a:lnTo>
                        <a:pt x="2545" y="20"/>
                      </a:lnTo>
                      <a:lnTo>
                        <a:pt x="2556" y="15"/>
                      </a:lnTo>
                      <a:lnTo>
                        <a:pt x="2567" y="10"/>
                      </a:lnTo>
                      <a:lnTo>
                        <a:pt x="2577" y="6"/>
                      </a:lnTo>
                      <a:lnTo>
                        <a:pt x="2587" y="2"/>
                      </a:lnTo>
                      <a:lnTo>
                        <a:pt x="2597" y="0"/>
                      </a:lnTo>
                      <a:lnTo>
                        <a:pt x="2604" y="0"/>
                      </a:lnTo>
                      <a:lnTo>
                        <a:pt x="2611" y="0"/>
                      </a:lnTo>
                      <a:lnTo>
                        <a:pt x="2621" y="0"/>
                      </a:lnTo>
                      <a:lnTo>
                        <a:pt x="2631" y="0"/>
                      </a:lnTo>
                      <a:lnTo>
                        <a:pt x="2637" y="0"/>
                      </a:lnTo>
                      <a:lnTo>
                        <a:pt x="2638" y="8"/>
                      </a:lnTo>
                      <a:lnTo>
                        <a:pt x="2638" y="16"/>
                      </a:lnTo>
                      <a:lnTo>
                        <a:pt x="2640" y="24"/>
                      </a:lnTo>
                      <a:lnTo>
                        <a:pt x="2642" y="30"/>
                      </a:lnTo>
                      <a:lnTo>
                        <a:pt x="2646" y="42"/>
                      </a:lnTo>
                      <a:lnTo>
                        <a:pt x="2651" y="53"/>
                      </a:lnTo>
                      <a:lnTo>
                        <a:pt x="2656" y="62"/>
                      </a:lnTo>
                      <a:lnTo>
                        <a:pt x="2660" y="71"/>
                      </a:lnTo>
                      <a:lnTo>
                        <a:pt x="2663" y="81"/>
                      </a:lnTo>
                      <a:lnTo>
                        <a:pt x="2664" y="91"/>
                      </a:lnTo>
                      <a:lnTo>
                        <a:pt x="2664" y="95"/>
                      </a:lnTo>
                      <a:lnTo>
                        <a:pt x="2663" y="97"/>
                      </a:lnTo>
                      <a:lnTo>
                        <a:pt x="2660" y="100"/>
                      </a:lnTo>
                      <a:lnTo>
                        <a:pt x="2658" y="101"/>
                      </a:lnTo>
                      <a:lnTo>
                        <a:pt x="2652" y="103"/>
                      </a:lnTo>
                      <a:lnTo>
                        <a:pt x="2644" y="105"/>
                      </a:lnTo>
                      <a:lnTo>
                        <a:pt x="2635" y="106"/>
                      </a:lnTo>
                      <a:lnTo>
                        <a:pt x="2627" y="108"/>
                      </a:lnTo>
                      <a:lnTo>
                        <a:pt x="2624" y="109"/>
                      </a:lnTo>
                      <a:lnTo>
                        <a:pt x="2622" y="111"/>
                      </a:lnTo>
                      <a:lnTo>
                        <a:pt x="2620" y="114"/>
                      </a:lnTo>
                      <a:lnTo>
                        <a:pt x="2618" y="117"/>
                      </a:lnTo>
                      <a:lnTo>
                        <a:pt x="2627" y="118"/>
                      </a:lnTo>
                      <a:lnTo>
                        <a:pt x="2637" y="120"/>
                      </a:lnTo>
                      <a:lnTo>
                        <a:pt x="2647" y="122"/>
                      </a:lnTo>
                      <a:lnTo>
                        <a:pt x="2657" y="123"/>
                      </a:lnTo>
                      <a:lnTo>
                        <a:pt x="2653" y="127"/>
                      </a:lnTo>
                      <a:lnTo>
                        <a:pt x="2649" y="132"/>
                      </a:lnTo>
                      <a:lnTo>
                        <a:pt x="2647" y="137"/>
                      </a:lnTo>
                      <a:lnTo>
                        <a:pt x="2646" y="142"/>
                      </a:lnTo>
                      <a:lnTo>
                        <a:pt x="2644" y="153"/>
                      </a:lnTo>
                      <a:lnTo>
                        <a:pt x="2644" y="166"/>
                      </a:lnTo>
                      <a:lnTo>
                        <a:pt x="2645" y="168"/>
                      </a:lnTo>
                      <a:lnTo>
                        <a:pt x="2646" y="169"/>
                      </a:lnTo>
                      <a:lnTo>
                        <a:pt x="2648" y="169"/>
                      </a:lnTo>
                      <a:lnTo>
                        <a:pt x="2652" y="168"/>
                      </a:lnTo>
                      <a:lnTo>
                        <a:pt x="2658" y="167"/>
                      </a:lnTo>
                      <a:lnTo>
                        <a:pt x="2664" y="166"/>
                      </a:lnTo>
                      <a:lnTo>
                        <a:pt x="2664" y="160"/>
                      </a:lnTo>
                      <a:lnTo>
                        <a:pt x="2664" y="153"/>
                      </a:lnTo>
                      <a:lnTo>
                        <a:pt x="2672" y="151"/>
                      </a:lnTo>
                      <a:lnTo>
                        <a:pt x="2680" y="148"/>
                      </a:lnTo>
                      <a:lnTo>
                        <a:pt x="2685" y="145"/>
                      </a:lnTo>
                      <a:lnTo>
                        <a:pt x="2689" y="142"/>
                      </a:lnTo>
                      <a:lnTo>
                        <a:pt x="2692" y="139"/>
                      </a:lnTo>
                      <a:lnTo>
                        <a:pt x="2696" y="137"/>
                      </a:lnTo>
                      <a:lnTo>
                        <a:pt x="2700" y="135"/>
                      </a:lnTo>
                      <a:lnTo>
                        <a:pt x="2704" y="135"/>
                      </a:lnTo>
                      <a:lnTo>
                        <a:pt x="2709" y="137"/>
                      </a:lnTo>
                      <a:lnTo>
                        <a:pt x="2715" y="138"/>
                      </a:lnTo>
                      <a:lnTo>
                        <a:pt x="2724" y="139"/>
                      </a:lnTo>
                      <a:lnTo>
                        <a:pt x="2733" y="140"/>
                      </a:lnTo>
                      <a:lnTo>
                        <a:pt x="2749" y="141"/>
                      </a:lnTo>
                      <a:lnTo>
                        <a:pt x="2757" y="141"/>
                      </a:lnTo>
                      <a:lnTo>
                        <a:pt x="2752" y="153"/>
                      </a:lnTo>
                      <a:lnTo>
                        <a:pt x="2745" y="164"/>
                      </a:lnTo>
                      <a:lnTo>
                        <a:pt x="2738" y="173"/>
                      </a:lnTo>
                      <a:lnTo>
                        <a:pt x="2731" y="180"/>
                      </a:lnTo>
                      <a:lnTo>
                        <a:pt x="2723" y="188"/>
                      </a:lnTo>
                      <a:lnTo>
                        <a:pt x="2716" y="196"/>
                      </a:lnTo>
                      <a:lnTo>
                        <a:pt x="2710" y="204"/>
                      </a:lnTo>
                      <a:lnTo>
                        <a:pt x="2704" y="216"/>
                      </a:lnTo>
                      <a:lnTo>
                        <a:pt x="2712" y="217"/>
                      </a:lnTo>
                      <a:lnTo>
                        <a:pt x="2719" y="218"/>
                      </a:lnTo>
                      <a:lnTo>
                        <a:pt x="2725" y="218"/>
                      </a:lnTo>
                      <a:lnTo>
                        <a:pt x="2732" y="218"/>
                      </a:lnTo>
                      <a:lnTo>
                        <a:pt x="2744" y="216"/>
                      </a:lnTo>
                      <a:lnTo>
                        <a:pt x="2750" y="216"/>
                      </a:lnTo>
                      <a:lnTo>
                        <a:pt x="2780" y="194"/>
                      </a:lnTo>
                      <a:lnTo>
                        <a:pt x="2810" y="172"/>
                      </a:lnTo>
                      <a:lnTo>
                        <a:pt x="2817" y="167"/>
                      </a:lnTo>
                      <a:lnTo>
                        <a:pt x="2825" y="163"/>
                      </a:lnTo>
                      <a:lnTo>
                        <a:pt x="2834" y="159"/>
                      </a:lnTo>
                      <a:lnTo>
                        <a:pt x="2843" y="155"/>
                      </a:lnTo>
                      <a:lnTo>
                        <a:pt x="2853" y="151"/>
                      </a:lnTo>
                      <a:lnTo>
                        <a:pt x="2862" y="149"/>
                      </a:lnTo>
                      <a:lnTo>
                        <a:pt x="2872" y="147"/>
                      </a:lnTo>
                      <a:lnTo>
                        <a:pt x="2883" y="147"/>
                      </a:lnTo>
                      <a:lnTo>
                        <a:pt x="2884" y="139"/>
                      </a:lnTo>
                      <a:lnTo>
                        <a:pt x="2885" y="132"/>
                      </a:lnTo>
                      <a:lnTo>
                        <a:pt x="2888" y="126"/>
                      </a:lnTo>
                      <a:lnTo>
                        <a:pt x="2891" y="121"/>
                      </a:lnTo>
                      <a:lnTo>
                        <a:pt x="2895" y="116"/>
                      </a:lnTo>
                      <a:lnTo>
                        <a:pt x="2900" y="111"/>
                      </a:lnTo>
                      <a:lnTo>
                        <a:pt x="2905" y="107"/>
                      </a:lnTo>
                      <a:lnTo>
                        <a:pt x="2912" y="104"/>
                      </a:lnTo>
                      <a:lnTo>
                        <a:pt x="2918" y="101"/>
                      </a:lnTo>
                      <a:lnTo>
                        <a:pt x="2925" y="98"/>
                      </a:lnTo>
                      <a:lnTo>
                        <a:pt x="2932" y="96"/>
                      </a:lnTo>
                      <a:lnTo>
                        <a:pt x="2939" y="94"/>
                      </a:lnTo>
                      <a:lnTo>
                        <a:pt x="2955" y="92"/>
                      </a:lnTo>
                      <a:lnTo>
                        <a:pt x="2970" y="91"/>
                      </a:lnTo>
                      <a:lnTo>
                        <a:pt x="2978" y="92"/>
                      </a:lnTo>
                      <a:lnTo>
                        <a:pt x="2984" y="93"/>
                      </a:lnTo>
                      <a:lnTo>
                        <a:pt x="2993" y="95"/>
                      </a:lnTo>
                      <a:lnTo>
                        <a:pt x="3001" y="98"/>
                      </a:lnTo>
                      <a:lnTo>
                        <a:pt x="3008" y="101"/>
                      </a:lnTo>
                      <a:lnTo>
                        <a:pt x="3017" y="103"/>
                      </a:lnTo>
                      <a:lnTo>
                        <a:pt x="3026" y="104"/>
                      </a:lnTo>
                      <a:lnTo>
                        <a:pt x="3036" y="105"/>
                      </a:lnTo>
                      <a:lnTo>
                        <a:pt x="3036" y="110"/>
                      </a:lnTo>
                      <a:lnTo>
                        <a:pt x="3036" y="117"/>
                      </a:lnTo>
                      <a:lnTo>
                        <a:pt x="3036" y="126"/>
                      </a:lnTo>
                      <a:lnTo>
                        <a:pt x="3036" y="135"/>
                      </a:lnTo>
                      <a:lnTo>
                        <a:pt x="3036" y="139"/>
                      </a:lnTo>
                      <a:lnTo>
                        <a:pt x="3035" y="143"/>
                      </a:lnTo>
                      <a:lnTo>
                        <a:pt x="3033" y="147"/>
                      </a:lnTo>
                      <a:lnTo>
                        <a:pt x="3030" y="150"/>
                      </a:lnTo>
                      <a:lnTo>
                        <a:pt x="3025" y="157"/>
                      </a:lnTo>
                      <a:lnTo>
                        <a:pt x="3018" y="162"/>
                      </a:lnTo>
                      <a:lnTo>
                        <a:pt x="3003" y="170"/>
                      </a:lnTo>
                      <a:lnTo>
                        <a:pt x="2990" y="178"/>
                      </a:lnTo>
                      <a:lnTo>
                        <a:pt x="2982" y="196"/>
                      </a:lnTo>
                      <a:lnTo>
                        <a:pt x="2973" y="214"/>
                      </a:lnTo>
                      <a:lnTo>
                        <a:pt x="2968" y="222"/>
                      </a:lnTo>
                      <a:lnTo>
                        <a:pt x="2963" y="229"/>
                      </a:lnTo>
                      <a:lnTo>
                        <a:pt x="2958" y="236"/>
                      </a:lnTo>
                      <a:lnTo>
                        <a:pt x="2951" y="243"/>
                      </a:lnTo>
                      <a:lnTo>
                        <a:pt x="2945" y="249"/>
                      </a:lnTo>
                      <a:lnTo>
                        <a:pt x="2938" y="254"/>
                      </a:lnTo>
                      <a:lnTo>
                        <a:pt x="2931" y="259"/>
                      </a:lnTo>
                      <a:lnTo>
                        <a:pt x="2923" y="263"/>
                      </a:lnTo>
                      <a:lnTo>
                        <a:pt x="2914" y="267"/>
                      </a:lnTo>
                      <a:lnTo>
                        <a:pt x="2904" y="269"/>
                      </a:lnTo>
                      <a:lnTo>
                        <a:pt x="2894" y="271"/>
                      </a:lnTo>
                      <a:lnTo>
                        <a:pt x="2883" y="271"/>
                      </a:lnTo>
                      <a:lnTo>
                        <a:pt x="2878" y="271"/>
                      </a:lnTo>
                      <a:lnTo>
                        <a:pt x="2872" y="270"/>
                      </a:lnTo>
                      <a:lnTo>
                        <a:pt x="2867" y="268"/>
                      </a:lnTo>
                      <a:lnTo>
                        <a:pt x="2861" y="266"/>
                      </a:lnTo>
                      <a:lnTo>
                        <a:pt x="2856" y="263"/>
                      </a:lnTo>
                      <a:lnTo>
                        <a:pt x="2850" y="260"/>
                      </a:lnTo>
                      <a:lnTo>
                        <a:pt x="2847" y="256"/>
                      </a:lnTo>
                      <a:lnTo>
                        <a:pt x="2844" y="252"/>
                      </a:lnTo>
                      <a:lnTo>
                        <a:pt x="2838" y="257"/>
                      </a:lnTo>
                      <a:lnTo>
                        <a:pt x="2835" y="264"/>
                      </a:lnTo>
                      <a:lnTo>
                        <a:pt x="2834" y="268"/>
                      </a:lnTo>
                      <a:lnTo>
                        <a:pt x="2834" y="272"/>
                      </a:lnTo>
                      <a:lnTo>
                        <a:pt x="2835" y="275"/>
                      </a:lnTo>
                      <a:lnTo>
                        <a:pt x="2837" y="277"/>
                      </a:lnTo>
                      <a:lnTo>
                        <a:pt x="2829" y="278"/>
                      </a:lnTo>
                      <a:lnTo>
                        <a:pt x="2823" y="279"/>
                      </a:lnTo>
                      <a:lnTo>
                        <a:pt x="2817" y="281"/>
                      </a:lnTo>
                      <a:lnTo>
                        <a:pt x="2811" y="283"/>
                      </a:lnTo>
                      <a:lnTo>
                        <a:pt x="2805" y="285"/>
                      </a:lnTo>
                      <a:lnTo>
                        <a:pt x="2801" y="287"/>
                      </a:lnTo>
                      <a:lnTo>
                        <a:pt x="2795" y="289"/>
                      </a:lnTo>
                      <a:lnTo>
                        <a:pt x="2790" y="289"/>
                      </a:lnTo>
                      <a:lnTo>
                        <a:pt x="2783" y="288"/>
                      </a:lnTo>
                      <a:lnTo>
                        <a:pt x="2777" y="286"/>
                      </a:lnTo>
                      <a:lnTo>
                        <a:pt x="2770" y="283"/>
                      </a:lnTo>
                      <a:lnTo>
                        <a:pt x="2765" y="279"/>
                      </a:lnTo>
                      <a:lnTo>
                        <a:pt x="2754" y="271"/>
                      </a:lnTo>
                      <a:lnTo>
                        <a:pt x="2744" y="264"/>
                      </a:lnTo>
                      <a:lnTo>
                        <a:pt x="2730" y="272"/>
                      </a:lnTo>
                      <a:lnTo>
                        <a:pt x="2717" y="281"/>
                      </a:lnTo>
                      <a:lnTo>
                        <a:pt x="2707" y="290"/>
                      </a:lnTo>
                      <a:lnTo>
                        <a:pt x="2696" y="299"/>
                      </a:lnTo>
                      <a:lnTo>
                        <a:pt x="2685" y="307"/>
                      </a:lnTo>
                      <a:lnTo>
                        <a:pt x="2671" y="313"/>
                      </a:lnTo>
                      <a:lnTo>
                        <a:pt x="2664" y="316"/>
                      </a:lnTo>
                      <a:lnTo>
                        <a:pt x="2656" y="318"/>
                      </a:lnTo>
                      <a:lnTo>
                        <a:pt x="2647" y="319"/>
                      </a:lnTo>
                      <a:lnTo>
                        <a:pt x="2637" y="319"/>
                      </a:lnTo>
                      <a:lnTo>
                        <a:pt x="2626" y="319"/>
                      </a:lnTo>
                      <a:lnTo>
                        <a:pt x="2615" y="317"/>
                      </a:lnTo>
                      <a:lnTo>
                        <a:pt x="2602" y="315"/>
                      </a:lnTo>
                      <a:lnTo>
                        <a:pt x="2590" y="312"/>
                      </a:lnTo>
                      <a:lnTo>
                        <a:pt x="2579" y="308"/>
                      </a:lnTo>
                      <a:lnTo>
                        <a:pt x="2569" y="304"/>
                      </a:lnTo>
                      <a:lnTo>
                        <a:pt x="2562" y="300"/>
                      </a:lnTo>
                      <a:lnTo>
                        <a:pt x="2558" y="295"/>
                      </a:lnTo>
                      <a:lnTo>
                        <a:pt x="2518" y="295"/>
                      </a:lnTo>
                      <a:lnTo>
                        <a:pt x="2521" y="303"/>
                      </a:lnTo>
                      <a:lnTo>
                        <a:pt x="2525" y="309"/>
                      </a:lnTo>
                      <a:lnTo>
                        <a:pt x="2530" y="314"/>
                      </a:lnTo>
                      <a:lnTo>
                        <a:pt x="2536" y="318"/>
                      </a:lnTo>
                      <a:lnTo>
                        <a:pt x="2542" y="322"/>
                      </a:lnTo>
                      <a:lnTo>
                        <a:pt x="2550" y="324"/>
                      </a:lnTo>
                      <a:lnTo>
                        <a:pt x="2557" y="326"/>
                      </a:lnTo>
                      <a:lnTo>
                        <a:pt x="2565" y="327"/>
                      </a:lnTo>
                      <a:lnTo>
                        <a:pt x="2601" y="328"/>
                      </a:lnTo>
                      <a:lnTo>
                        <a:pt x="2637" y="326"/>
                      </a:lnTo>
                      <a:lnTo>
                        <a:pt x="2637" y="335"/>
                      </a:lnTo>
                      <a:lnTo>
                        <a:pt x="2638" y="342"/>
                      </a:lnTo>
                      <a:lnTo>
                        <a:pt x="2641" y="349"/>
                      </a:lnTo>
                      <a:lnTo>
                        <a:pt x="2644" y="357"/>
                      </a:lnTo>
                      <a:lnTo>
                        <a:pt x="2619" y="363"/>
                      </a:lnTo>
                      <a:lnTo>
                        <a:pt x="2590" y="371"/>
                      </a:lnTo>
                      <a:lnTo>
                        <a:pt x="2562" y="382"/>
                      </a:lnTo>
                      <a:lnTo>
                        <a:pt x="2531" y="392"/>
                      </a:lnTo>
                      <a:lnTo>
                        <a:pt x="2501" y="402"/>
                      </a:lnTo>
                      <a:lnTo>
                        <a:pt x="2473" y="410"/>
                      </a:lnTo>
                      <a:lnTo>
                        <a:pt x="2458" y="414"/>
                      </a:lnTo>
                      <a:lnTo>
                        <a:pt x="2444" y="416"/>
                      </a:lnTo>
                      <a:lnTo>
                        <a:pt x="2431" y="418"/>
                      </a:lnTo>
                      <a:lnTo>
                        <a:pt x="2419" y="418"/>
                      </a:lnTo>
                      <a:lnTo>
                        <a:pt x="2339" y="400"/>
                      </a:lnTo>
                      <a:lnTo>
                        <a:pt x="2319" y="400"/>
                      </a:lnTo>
                      <a:lnTo>
                        <a:pt x="2340" y="408"/>
                      </a:lnTo>
                      <a:lnTo>
                        <a:pt x="2361" y="416"/>
                      </a:lnTo>
                      <a:lnTo>
                        <a:pt x="2372" y="420"/>
                      </a:lnTo>
                      <a:lnTo>
                        <a:pt x="2382" y="425"/>
                      </a:lnTo>
                      <a:lnTo>
                        <a:pt x="2390" y="430"/>
                      </a:lnTo>
                      <a:lnTo>
                        <a:pt x="2398" y="437"/>
                      </a:lnTo>
                      <a:lnTo>
                        <a:pt x="2394" y="444"/>
                      </a:lnTo>
                      <a:lnTo>
                        <a:pt x="2388" y="449"/>
                      </a:lnTo>
                      <a:lnTo>
                        <a:pt x="2384" y="454"/>
                      </a:lnTo>
                      <a:lnTo>
                        <a:pt x="2378" y="457"/>
                      </a:lnTo>
                      <a:lnTo>
                        <a:pt x="2373" y="461"/>
                      </a:lnTo>
                      <a:lnTo>
                        <a:pt x="2368" y="463"/>
                      </a:lnTo>
                      <a:lnTo>
                        <a:pt x="2363" y="465"/>
                      </a:lnTo>
                      <a:lnTo>
                        <a:pt x="2357" y="467"/>
                      </a:lnTo>
                      <a:lnTo>
                        <a:pt x="2333" y="471"/>
                      </a:lnTo>
                      <a:lnTo>
                        <a:pt x="2306" y="474"/>
                      </a:lnTo>
                      <a:lnTo>
                        <a:pt x="2296" y="477"/>
                      </a:lnTo>
                      <a:lnTo>
                        <a:pt x="2286" y="481"/>
                      </a:lnTo>
                      <a:lnTo>
                        <a:pt x="2277" y="486"/>
                      </a:lnTo>
                      <a:lnTo>
                        <a:pt x="2268" y="492"/>
                      </a:lnTo>
                      <a:lnTo>
                        <a:pt x="2260" y="497"/>
                      </a:lnTo>
                      <a:lnTo>
                        <a:pt x="2251" y="501"/>
                      </a:lnTo>
                      <a:lnTo>
                        <a:pt x="2242" y="504"/>
                      </a:lnTo>
                      <a:lnTo>
                        <a:pt x="2232" y="505"/>
                      </a:lnTo>
                      <a:lnTo>
                        <a:pt x="2232" y="517"/>
                      </a:lnTo>
                      <a:lnTo>
                        <a:pt x="2232" y="529"/>
                      </a:lnTo>
                      <a:lnTo>
                        <a:pt x="2220" y="532"/>
                      </a:lnTo>
                      <a:lnTo>
                        <a:pt x="2208" y="537"/>
                      </a:lnTo>
                      <a:lnTo>
                        <a:pt x="2194" y="542"/>
                      </a:lnTo>
                      <a:lnTo>
                        <a:pt x="2181" y="550"/>
                      </a:lnTo>
                      <a:lnTo>
                        <a:pt x="2166" y="559"/>
                      </a:lnTo>
                      <a:lnTo>
                        <a:pt x="2151" y="568"/>
                      </a:lnTo>
                      <a:lnTo>
                        <a:pt x="2138" y="578"/>
                      </a:lnTo>
                      <a:lnTo>
                        <a:pt x="2123" y="588"/>
                      </a:lnTo>
                      <a:lnTo>
                        <a:pt x="2110" y="601"/>
                      </a:lnTo>
                      <a:lnTo>
                        <a:pt x="2098" y="613"/>
                      </a:lnTo>
                      <a:lnTo>
                        <a:pt x="2087" y="625"/>
                      </a:lnTo>
                      <a:lnTo>
                        <a:pt x="2078" y="637"/>
                      </a:lnTo>
                      <a:lnTo>
                        <a:pt x="2071" y="650"/>
                      </a:lnTo>
                      <a:lnTo>
                        <a:pt x="2064" y="664"/>
                      </a:lnTo>
                      <a:lnTo>
                        <a:pt x="2062" y="670"/>
                      </a:lnTo>
                      <a:lnTo>
                        <a:pt x="2061" y="677"/>
                      </a:lnTo>
                      <a:lnTo>
                        <a:pt x="2060" y="683"/>
                      </a:lnTo>
                      <a:lnTo>
                        <a:pt x="2060" y="689"/>
                      </a:lnTo>
                      <a:lnTo>
                        <a:pt x="2106" y="689"/>
                      </a:lnTo>
                      <a:lnTo>
                        <a:pt x="2104" y="714"/>
                      </a:lnTo>
                      <a:lnTo>
                        <a:pt x="2102" y="736"/>
                      </a:lnTo>
                      <a:lnTo>
                        <a:pt x="2100" y="745"/>
                      </a:lnTo>
                      <a:lnTo>
                        <a:pt x="2100" y="753"/>
                      </a:lnTo>
                      <a:lnTo>
                        <a:pt x="2102" y="757"/>
                      </a:lnTo>
                      <a:lnTo>
                        <a:pt x="2103" y="759"/>
                      </a:lnTo>
                      <a:lnTo>
                        <a:pt x="2104" y="762"/>
                      </a:lnTo>
                      <a:lnTo>
                        <a:pt x="2106" y="763"/>
                      </a:lnTo>
                      <a:lnTo>
                        <a:pt x="2086" y="776"/>
                      </a:lnTo>
                      <a:lnTo>
                        <a:pt x="2087" y="780"/>
                      </a:lnTo>
                      <a:lnTo>
                        <a:pt x="2089" y="784"/>
                      </a:lnTo>
                      <a:lnTo>
                        <a:pt x="2093" y="787"/>
                      </a:lnTo>
                      <a:lnTo>
                        <a:pt x="2097" y="790"/>
                      </a:lnTo>
                      <a:lnTo>
                        <a:pt x="2106" y="793"/>
                      </a:lnTo>
                      <a:lnTo>
                        <a:pt x="2112" y="794"/>
                      </a:lnTo>
                      <a:lnTo>
                        <a:pt x="2193" y="776"/>
                      </a:lnTo>
                      <a:lnTo>
                        <a:pt x="2204" y="782"/>
                      </a:lnTo>
                      <a:lnTo>
                        <a:pt x="2214" y="789"/>
                      </a:lnTo>
                      <a:lnTo>
                        <a:pt x="2223" y="796"/>
                      </a:lnTo>
                      <a:lnTo>
                        <a:pt x="2232" y="803"/>
                      </a:lnTo>
                      <a:lnTo>
                        <a:pt x="2250" y="819"/>
                      </a:lnTo>
                      <a:lnTo>
                        <a:pt x="2266" y="836"/>
                      </a:lnTo>
                      <a:lnTo>
                        <a:pt x="2284" y="852"/>
                      </a:lnTo>
                      <a:lnTo>
                        <a:pt x="2301" y="866"/>
                      </a:lnTo>
                      <a:lnTo>
                        <a:pt x="2311" y="872"/>
                      </a:lnTo>
                      <a:lnTo>
                        <a:pt x="2322" y="878"/>
                      </a:lnTo>
                      <a:lnTo>
                        <a:pt x="2333" y="883"/>
                      </a:lnTo>
                      <a:lnTo>
                        <a:pt x="2345" y="887"/>
                      </a:lnTo>
                      <a:lnTo>
                        <a:pt x="2345" y="891"/>
                      </a:lnTo>
                      <a:lnTo>
                        <a:pt x="2346" y="895"/>
                      </a:lnTo>
                      <a:lnTo>
                        <a:pt x="2347" y="898"/>
                      </a:lnTo>
                      <a:lnTo>
                        <a:pt x="2350" y="901"/>
                      </a:lnTo>
                      <a:lnTo>
                        <a:pt x="2352" y="903"/>
                      </a:lnTo>
                      <a:lnTo>
                        <a:pt x="2354" y="905"/>
                      </a:lnTo>
                      <a:lnTo>
                        <a:pt x="2356" y="906"/>
                      </a:lnTo>
                      <a:lnTo>
                        <a:pt x="2360" y="907"/>
                      </a:lnTo>
                      <a:lnTo>
                        <a:pt x="2367" y="909"/>
                      </a:lnTo>
                      <a:lnTo>
                        <a:pt x="2375" y="908"/>
                      </a:lnTo>
                      <a:lnTo>
                        <a:pt x="2383" y="907"/>
                      </a:lnTo>
                      <a:lnTo>
                        <a:pt x="2391" y="905"/>
                      </a:lnTo>
                      <a:lnTo>
                        <a:pt x="2409" y="900"/>
                      </a:lnTo>
                      <a:lnTo>
                        <a:pt x="2423" y="894"/>
                      </a:lnTo>
                      <a:lnTo>
                        <a:pt x="2434" y="889"/>
                      </a:lnTo>
                      <a:lnTo>
                        <a:pt x="2439" y="887"/>
                      </a:lnTo>
                      <a:lnTo>
                        <a:pt x="2485" y="905"/>
                      </a:lnTo>
                      <a:lnTo>
                        <a:pt x="2479" y="917"/>
                      </a:lnTo>
                      <a:lnTo>
                        <a:pt x="2474" y="925"/>
                      </a:lnTo>
                      <a:lnTo>
                        <a:pt x="2467" y="931"/>
                      </a:lnTo>
                      <a:lnTo>
                        <a:pt x="2458" y="936"/>
                      </a:lnTo>
                      <a:lnTo>
                        <a:pt x="2472" y="949"/>
                      </a:lnTo>
                      <a:lnTo>
                        <a:pt x="2461" y="971"/>
                      </a:lnTo>
                      <a:lnTo>
                        <a:pt x="2450" y="995"/>
                      </a:lnTo>
                      <a:lnTo>
                        <a:pt x="2445" y="1006"/>
                      </a:lnTo>
                      <a:lnTo>
                        <a:pt x="2442" y="1018"/>
                      </a:lnTo>
                      <a:lnTo>
                        <a:pt x="2440" y="1029"/>
                      </a:lnTo>
                      <a:lnTo>
                        <a:pt x="2439" y="1040"/>
                      </a:lnTo>
                      <a:lnTo>
                        <a:pt x="2440" y="1049"/>
                      </a:lnTo>
                      <a:lnTo>
                        <a:pt x="2443" y="1059"/>
                      </a:lnTo>
                      <a:lnTo>
                        <a:pt x="2447" y="1070"/>
                      </a:lnTo>
                      <a:lnTo>
                        <a:pt x="2454" y="1081"/>
                      </a:lnTo>
                      <a:lnTo>
                        <a:pt x="2462" y="1092"/>
                      </a:lnTo>
                      <a:lnTo>
                        <a:pt x="2469" y="1101"/>
                      </a:lnTo>
                      <a:lnTo>
                        <a:pt x="2473" y="1104"/>
                      </a:lnTo>
                      <a:lnTo>
                        <a:pt x="2477" y="1107"/>
                      </a:lnTo>
                      <a:lnTo>
                        <a:pt x="2481" y="1108"/>
                      </a:lnTo>
                      <a:lnTo>
                        <a:pt x="2485" y="1109"/>
                      </a:lnTo>
                      <a:lnTo>
                        <a:pt x="2487" y="1114"/>
                      </a:lnTo>
                      <a:lnTo>
                        <a:pt x="2492" y="1121"/>
                      </a:lnTo>
                      <a:lnTo>
                        <a:pt x="2499" y="1128"/>
                      </a:lnTo>
                      <a:lnTo>
                        <a:pt x="2504" y="1133"/>
                      </a:lnTo>
                      <a:lnTo>
                        <a:pt x="2528" y="1113"/>
                      </a:lnTo>
                      <a:lnTo>
                        <a:pt x="2548" y="1091"/>
                      </a:lnTo>
                      <a:lnTo>
                        <a:pt x="2559" y="1080"/>
                      </a:lnTo>
                      <a:lnTo>
                        <a:pt x="2569" y="1068"/>
                      </a:lnTo>
                      <a:lnTo>
                        <a:pt x="2578" y="1057"/>
                      </a:lnTo>
                      <a:lnTo>
                        <a:pt x="2587" y="1043"/>
                      </a:lnTo>
                      <a:lnTo>
                        <a:pt x="2595" y="1031"/>
                      </a:lnTo>
                      <a:lnTo>
                        <a:pt x="2602" y="1017"/>
                      </a:lnTo>
                      <a:lnTo>
                        <a:pt x="2609" y="1003"/>
                      </a:lnTo>
                      <a:lnTo>
                        <a:pt x="2614" y="987"/>
                      </a:lnTo>
                      <a:lnTo>
                        <a:pt x="2619" y="971"/>
                      </a:lnTo>
                      <a:lnTo>
                        <a:pt x="2622" y="955"/>
                      </a:lnTo>
                      <a:lnTo>
                        <a:pt x="2624" y="937"/>
                      </a:lnTo>
                      <a:lnTo>
                        <a:pt x="2624" y="917"/>
                      </a:lnTo>
                      <a:lnTo>
                        <a:pt x="2638" y="917"/>
                      </a:lnTo>
                      <a:lnTo>
                        <a:pt x="2655" y="914"/>
                      </a:lnTo>
                      <a:lnTo>
                        <a:pt x="2672" y="911"/>
                      </a:lnTo>
                      <a:lnTo>
                        <a:pt x="2690" y="906"/>
                      </a:lnTo>
                      <a:lnTo>
                        <a:pt x="2709" y="900"/>
                      </a:lnTo>
                      <a:lnTo>
                        <a:pt x="2727" y="892"/>
                      </a:lnTo>
                      <a:lnTo>
                        <a:pt x="2746" y="884"/>
                      </a:lnTo>
                      <a:lnTo>
                        <a:pt x="2765" y="873"/>
                      </a:lnTo>
                      <a:lnTo>
                        <a:pt x="2782" y="863"/>
                      </a:lnTo>
                      <a:lnTo>
                        <a:pt x="2798" y="852"/>
                      </a:lnTo>
                      <a:lnTo>
                        <a:pt x="2813" y="840"/>
                      </a:lnTo>
                      <a:lnTo>
                        <a:pt x="2825" y="827"/>
                      </a:lnTo>
                      <a:lnTo>
                        <a:pt x="2831" y="819"/>
                      </a:lnTo>
                      <a:lnTo>
                        <a:pt x="2836" y="813"/>
                      </a:lnTo>
                      <a:lnTo>
                        <a:pt x="2839" y="806"/>
                      </a:lnTo>
                      <a:lnTo>
                        <a:pt x="2844" y="799"/>
                      </a:lnTo>
                      <a:lnTo>
                        <a:pt x="2846" y="792"/>
                      </a:lnTo>
                      <a:lnTo>
                        <a:pt x="2848" y="785"/>
                      </a:lnTo>
                      <a:lnTo>
                        <a:pt x="2849" y="777"/>
                      </a:lnTo>
                      <a:lnTo>
                        <a:pt x="2850" y="770"/>
                      </a:lnTo>
                      <a:lnTo>
                        <a:pt x="2849" y="763"/>
                      </a:lnTo>
                      <a:lnTo>
                        <a:pt x="2848" y="757"/>
                      </a:lnTo>
                      <a:lnTo>
                        <a:pt x="2846" y="752"/>
                      </a:lnTo>
                      <a:lnTo>
                        <a:pt x="2843" y="747"/>
                      </a:lnTo>
                      <a:lnTo>
                        <a:pt x="2835" y="738"/>
                      </a:lnTo>
                      <a:lnTo>
                        <a:pt x="2827" y="731"/>
                      </a:lnTo>
                      <a:lnTo>
                        <a:pt x="2819" y="725"/>
                      </a:lnTo>
                      <a:lnTo>
                        <a:pt x="2811" y="718"/>
                      </a:lnTo>
                      <a:lnTo>
                        <a:pt x="2808" y="715"/>
                      </a:lnTo>
                      <a:lnTo>
                        <a:pt x="2805" y="711"/>
                      </a:lnTo>
                      <a:lnTo>
                        <a:pt x="2804" y="706"/>
                      </a:lnTo>
                      <a:lnTo>
                        <a:pt x="2804" y="702"/>
                      </a:lnTo>
                      <a:lnTo>
                        <a:pt x="2804" y="698"/>
                      </a:lnTo>
                      <a:lnTo>
                        <a:pt x="2808" y="694"/>
                      </a:lnTo>
                      <a:lnTo>
                        <a:pt x="2812" y="688"/>
                      </a:lnTo>
                      <a:lnTo>
                        <a:pt x="2819" y="680"/>
                      </a:lnTo>
                      <a:lnTo>
                        <a:pt x="2833" y="664"/>
                      </a:lnTo>
                      <a:lnTo>
                        <a:pt x="2850" y="645"/>
                      </a:lnTo>
                      <a:lnTo>
                        <a:pt x="2882" y="612"/>
                      </a:lnTo>
                      <a:lnTo>
                        <a:pt x="2896" y="597"/>
                      </a:lnTo>
                      <a:lnTo>
                        <a:pt x="2894" y="593"/>
                      </a:lnTo>
                      <a:lnTo>
                        <a:pt x="2892" y="589"/>
                      </a:lnTo>
                      <a:lnTo>
                        <a:pt x="2891" y="585"/>
                      </a:lnTo>
                      <a:lnTo>
                        <a:pt x="2890" y="581"/>
                      </a:lnTo>
                      <a:lnTo>
                        <a:pt x="2890" y="573"/>
                      </a:lnTo>
                      <a:lnTo>
                        <a:pt x="2892" y="566"/>
                      </a:lnTo>
                      <a:lnTo>
                        <a:pt x="2896" y="558"/>
                      </a:lnTo>
                      <a:lnTo>
                        <a:pt x="2902" y="551"/>
                      </a:lnTo>
                      <a:lnTo>
                        <a:pt x="2909" y="544"/>
                      </a:lnTo>
                      <a:lnTo>
                        <a:pt x="2916" y="535"/>
                      </a:lnTo>
                      <a:lnTo>
                        <a:pt x="2934" y="520"/>
                      </a:lnTo>
                      <a:lnTo>
                        <a:pt x="2951" y="505"/>
                      </a:lnTo>
                      <a:lnTo>
                        <a:pt x="2959" y="498"/>
                      </a:lnTo>
                      <a:lnTo>
                        <a:pt x="2966" y="490"/>
                      </a:lnTo>
                      <a:lnTo>
                        <a:pt x="2972" y="482"/>
                      </a:lnTo>
                      <a:lnTo>
                        <a:pt x="2977" y="474"/>
                      </a:lnTo>
                      <a:lnTo>
                        <a:pt x="3149" y="480"/>
                      </a:lnTo>
                      <a:lnTo>
                        <a:pt x="3149" y="485"/>
                      </a:lnTo>
                      <a:lnTo>
                        <a:pt x="3150" y="490"/>
                      </a:lnTo>
                      <a:lnTo>
                        <a:pt x="3151" y="494"/>
                      </a:lnTo>
                      <a:lnTo>
                        <a:pt x="3153" y="497"/>
                      </a:lnTo>
                      <a:lnTo>
                        <a:pt x="3156" y="500"/>
                      </a:lnTo>
                      <a:lnTo>
                        <a:pt x="3159" y="502"/>
                      </a:lnTo>
                      <a:lnTo>
                        <a:pt x="3161" y="503"/>
                      </a:lnTo>
                      <a:lnTo>
                        <a:pt x="3165" y="504"/>
                      </a:lnTo>
                      <a:lnTo>
                        <a:pt x="3180" y="505"/>
                      </a:lnTo>
                      <a:lnTo>
                        <a:pt x="3196" y="505"/>
                      </a:lnTo>
                      <a:lnTo>
                        <a:pt x="3201" y="509"/>
                      </a:lnTo>
                      <a:lnTo>
                        <a:pt x="3204" y="514"/>
                      </a:lnTo>
                      <a:lnTo>
                        <a:pt x="3208" y="521"/>
                      </a:lnTo>
                      <a:lnTo>
                        <a:pt x="3210" y="529"/>
                      </a:lnTo>
                      <a:lnTo>
                        <a:pt x="3215" y="545"/>
                      </a:lnTo>
                      <a:lnTo>
                        <a:pt x="3216" y="554"/>
                      </a:lnTo>
                      <a:lnTo>
                        <a:pt x="3221" y="556"/>
                      </a:lnTo>
                      <a:lnTo>
                        <a:pt x="3229" y="557"/>
                      </a:lnTo>
                      <a:lnTo>
                        <a:pt x="3238" y="557"/>
                      </a:lnTo>
                      <a:lnTo>
                        <a:pt x="3247" y="557"/>
                      </a:lnTo>
                      <a:lnTo>
                        <a:pt x="3268" y="555"/>
                      </a:lnTo>
                      <a:lnTo>
                        <a:pt x="3288" y="554"/>
                      </a:lnTo>
                      <a:lnTo>
                        <a:pt x="3292" y="566"/>
                      </a:lnTo>
                      <a:lnTo>
                        <a:pt x="3295" y="572"/>
                      </a:lnTo>
                      <a:lnTo>
                        <a:pt x="3288" y="579"/>
                      </a:lnTo>
                      <a:lnTo>
                        <a:pt x="3282" y="585"/>
                      </a:lnTo>
                      <a:lnTo>
                        <a:pt x="3276" y="592"/>
                      </a:lnTo>
                      <a:lnTo>
                        <a:pt x="3272" y="601"/>
                      </a:lnTo>
                      <a:lnTo>
                        <a:pt x="3264" y="616"/>
                      </a:lnTo>
                      <a:lnTo>
                        <a:pt x="3257" y="632"/>
                      </a:lnTo>
                      <a:lnTo>
                        <a:pt x="3251" y="646"/>
                      </a:lnTo>
                      <a:lnTo>
                        <a:pt x="3245" y="660"/>
                      </a:lnTo>
                      <a:lnTo>
                        <a:pt x="3241" y="666"/>
                      </a:lnTo>
                      <a:lnTo>
                        <a:pt x="3238" y="671"/>
                      </a:lnTo>
                      <a:lnTo>
                        <a:pt x="3234" y="675"/>
                      </a:lnTo>
                      <a:lnTo>
                        <a:pt x="3229" y="677"/>
                      </a:lnTo>
                      <a:lnTo>
                        <a:pt x="3238" y="677"/>
                      </a:lnTo>
                      <a:lnTo>
                        <a:pt x="3246" y="677"/>
                      </a:lnTo>
                      <a:lnTo>
                        <a:pt x="3253" y="677"/>
                      </a:lnTo>
                      <a:lnTo>
                        <a:pt x="3262" y="677"/>
                      </a:lnTo>
                      <a:lnTo>
                        <a:pt x="3262" y="683"/>
                      </a:lnTo>
                      <a:lnTo>
                        <a:pt x="3261" y="688"/>
                      </a:lnTo>
                      <a:lnTo>
                        <a:pt x="3259" y="693"/>
                      </a:lnTo>
                      <a:lnTo>
                        <a:pt x="3257" y="697"/>
                      </a:lnTo>
                      <a:lnTo>
                        <a:pt x="3251" y="705"/>
                      </a:lnTo>
                      <a:lnTo>
                        <a:pt x="3245" y="714"/>
                      </a:lnTo>
                      <a:lnTo>
                        <a:pt x="3238" y="721"/>
                      </a:lnTo>
                      <a:lnTo>
                        <a:pt x="3231" y="729"/>
                      </a:lnTo>
                      <a:lnTo>
                        <a:pt x="3226" y="736"/>
                      </a:lnTo>
                      <a:lnTo>
                        <a:pt x="3223" y="745"/>
                      </a:lnTo>
                      <a:lnTo>
                        <a:pt x="3229" y="742"/>
                      </a:lnTo>
                      <a:lnTo>
                        <a:pt x="3237" y="738"/>
                      </a:lnTo>
                      <a:lnTo>
                        <a:pt x="3245" y="734"/>
                      </a:lnTo>
                      <a:lnTo>
                        <a:pt x="3251" y="730"/>
                      </a:lnTo>
                      <a:lnTo>
                        <a:pt x="3264" y="721"/>
                      </a:lnTo>
                      <a:lnTo>
                        <a:pt x="3275" y="715"/>
                      </a:lnTo>
                      <a:lnTo>
                        <a:pt x="3280" y="717"/>
                      </a:lnTo>
                      <a:lnTo>
                        <a:pt x="3284" y="718"/>
                      </a:lnTo>
                      <a:lnTo>
                        <a:pt x="3290" y="718"/>
                      </a:lnTo>
                      <a:lnTo>
                        <a:pt x="3295" y="718"/>
                      </a:lnTo>
                      <a:lnTo>
                        <a:pt x="3307" y="715"/>
                      </a:lnTo>
                      <a:lnTo>
                        <a:pt x="3320" y="709"/>
                      </a:lnTo>
                      <a:lnTo>
                        <a:pt x="3336" y="703"/>
                      </a:lnTo>
                      <a:lnTo>
                        <a:pt x="3351" y="695"/>
                      </a:lnTo>
                      <a:lnTo>
                        <a:pt x="3368" y="685"/>
                      </a:lnTo>
                      <a:lnTo>
                        <a:pt x="3384" y="675"/>
                      </a:lnTo>
                      <a:lnTo>
                        <a:pt x="3417" y="653"/>
                      </a:lnTo>
                      <a:lnTo>
                        <a:pt x="3447" y="632"/>
                      </a:lnTo>
                      <a:lnTo>
                        <a:pt x="3471" y="615"/>
                      </a:lnTo>
                      <a:lnTo>
                        <a:pt x="3488" y="604"/>
                      </a:lnTo>
                      <a:lnTo>
                        <a:pt x="3492" y="613"/>
                      </a:lnTo>
                      <a:lnTo>
                        <a:pt x="3495" y="621"/>
                      </a:lnTo>
                      <a:lnTo>
                        <a:pt x="3496" y="629"/>
                      </a:lnTo>
                      <a:lnTo>
                        <a:pt x="3496" y="637"/>
                      </a:lnTo>
                      <a:lnTo>
                        <a:pt x="3496" y="653"/>
                      </a:lnTo>
                      <a:lnTo>
                        <a:pt x="3495" y="671"/>
                      </a:lnTo>
                      <a:lnTo>
                        <a:pt x="3521" y="671"/>
                      </a:lnTo>
                      <a:lnTo>
                        <a:pt x="3522" y="680"/>
                      </a:lnTo>
                      <a:lnTo>
                        <a:pt x="3523" y="687"/>
                      </a:lnTo>
                      <a:lnTo>
                        <a:pt x="3521" y="692"/>
                      </a:lnTo>
                      <a:lnTo>
                        <a:pt x="3519" y="698"/>
                      </a:lnTo>
                      <a:lnTo>
                        <a:pt x="3514" y="708"/>
                      </a:lnTo>
                      <a:lnTo>
                        <a:pt x="3508" y="721"/>
                      </a:lnTo>
                      <a:lnTo>
                        <a:pt x="3521" y="721"/>
                      </a:lnTo>
                      <a:lnTo>
                        <a:pt x="3534" y="721"/>
                      </a:lnTo>
                      <a:lnTo>
                        <a:pt x="3534" y="732"/>
                      </a:lnTo>
                      <a:lnTo>
                        <a:pt x="3534" y="741"/>
                      </a:lnTo>
                      <a:lnTo>
                        <a:pt x="3534" y="749"/>
                      </a:lnTo>
                      <a:lnTo>
                        <a:pt x="3534" y="757"/>
                      </a:lnTo>
                      <a:lnTo>
                        <a:pt x="3536" y="762"/>
                      </a:lnTo>
                      <a:lnTo>
                        <a:pt x="3540" y="769"/>
                      </a:lnTo>
                      <a:lnTo>
                        <a:pt x="3542" y="772"/>
                      </a:lnTo>
                      <a:lnTo>
                        <a:pt x="3545" y="774"/>
                      </a:lnTo>
                      <a:lnTo>
                        <a:pt x="3550" y="776"/>
                      </a:lnTo>
                      <a:lnTo>
                        <a:pt x="3554" y="776"/>
                      </a:lnTo>
                      <a:lnTo>
                        <a:pt x="3551" y="786"/>
                      </a:lnTo>
                      <a:lnTo>
                        <a:pt x="3548" y="794"/>
                      </a:lnTo>
                      <a:lnTo>
                        <a:pt x="3542" y="800"/>
                      </a:lnTo>
                      <a:lnTo>
                        <a:pt x="3537" y="804"/>
                      </a:lnTo>
                      <a:lnTo>
                        <a:pt x="3526" y="811"/>
                      </a:lnTo>
                      <a:lnTo>
                        <a:pt x="3515" y="818"/>
                      </a:lnTo>
                      <a:lnTo>
                        <a:pt x="3522" y="828"/>
                      </a:lnTo>
                      <a:lnTo>
                        <a:pt x="3530" y="836"/>
                      </a:lnTo>
                      <a:lnTo>
                        <a:pt x="3539" y="844"/>
                      </a:lnTo>
                      <a:lnTo>
                        <a:pt x="3546" y="851"/>
                      </a:lnTo>
                      <a:lnTo>
                        <a:pt x="3556" y="857"/>
                      </a:lnTo>
                      <a:lnTo>
                        <a:pt x="3565" y="863"/>
                      </a:lnTo>
                      <a:lnTo>
                        <a:pt x="3575" y="869"/>
                      </a:lnTo>
                      <a:lnTo>
                        <a:pt x="3584" y="874"/>
                      </a:lnTo>
                      <a:lnTo>
                        <a:pt x="3605" y="885"/>
                      </a:lnTo>
                      <a:lnTo>
                        <a:pt x="3627" y="894"/>
                      </a:lnTo>
                      <a:lnTo>
                        <a:pt x="3650" y="902"/>
                      </a:lnTo>
                      <a:lnTo>
                        <a:pt x="3674" y="911"/>
                      </a:lnTo>
                      <a:lnTo>
                        <a:pt x="3668" y="918"/>
                      </a:lnTo>
                      <a:lnTo>
                        <a:pt x="3662" y="924"/>
                      </a:lnTo>
                      <a:lnTo>
                        <a:pt x="3652" y="930"/>
                      </a:lnTo>
                      <a:lnTo>
                        <a:pt x="3640" y="936"/>
                      </a:lnTo>
                      <a:lnTo>
                        <a:pt x="3615" y="946"/>
                      </a:lnTo>
                      <a:lnTo>
                        <a:pt x="3588" y="954"/>
                      </a:lnTo>
                      <a:lnTo>
                        <a:pt x="3563" y="961"/>
                      </a:lnTo>
                      <a:lnTo>
                        <a:pt x="3545" y="966"/>
                      </a:lnTo>
                      <a:lnTo>
                        <a:pt x="3540" y="968"/>
                      </a:lnTo>
                      <a:lnTo>
                        <a:pt x="3537" y="970"/>
                      </a:lnTo>
                      <a:lnTo>
                        <a:pt x="3537" y="971"/>
                      </a:lnTo>
                      <a:lnTo>
                        <a:pt x="3537" y="972"/>
                      </a:lnTo>
                      <a:lnTo>
                        <a:pt x="3539" y="972"/>
                      </a:lnTo>
                      <a:lnTo>
                        <a:pt x="3541" y="973"/>
                      </a:lnTo>
                      <a:lnTo>
                        <a:pt x="3548" y="974"/>
                      </a:lnTo>
                      <a:lnTo>
                        <a:pt x="3554" y="974"/>
                      </a:lnTo>
                      <a:lnTo>
                        <a:pt x="3560" y="974"/>
                      </a:lnTo>
                      <a:lnTo>
                        <a:pt x="3564" y="972"/>
                      </a:lnTo>
                      <a:lnTo>
                        <a:pt x="3570" y="970"/>
                      </a:lnTo>
                      <a:lnTo>
                        <a:pt x="3575" y="969"/>
                      </a:lnTo>
                      <a:lnTo>
                        <a:pt x="3581" y="967"/>
                      </a:lnTo>
                      <a:lnTo>
                        <a:pt x="3588" y="967"/>
                      </a:lnTo>
                      <a:lnTo>
                        <a:pt x="3598" y="965"/>
                      </a:lnTo>
                      <a:lnTo>
                        <a:pt x="3616" y="961"/>
                      </a:lnTo>
                      <a:lnTo>
                        <a:pt x="3637" y="957"/>
                      </a:lnTo>
                      <a:lnTo>
                        <a:pt x="3654" y="955"/>
                      </a:lnTo>
                      <a:lnTo>
                        <a:pt x="3673" y="955"/>
                      </a:lnTo>
                      <a:lnTo>
                        <a:pt x="3686" y="956"/>
                      </a:lnTo>
                      <a:lnTo>
                        <a:pt x="3695" y="958"/>
                      </a:lnTo>
                      <a:lnTo>
                        <a:pt x="3701" y="959"/>
                      </a:lnTo>
                      <a:lnTo>
                        <a:pt x="3707" y="960"/>
                      </a:lnTo>
                      <a:lnTo>
                        <a:pt x="3713" y="960"/>
                      </a:lnTo>
                      <a:lnTo>
                        <a:pt x="3721" y="958"/>
                      </a:lnTo>
                      <a:lnTo>
                        <a:pt x="3734" y="955"/>
                      </a:lnTo>
                      <a:lnTo>
                        <a:pt x="3734" y="964"/>
                      </a:lnTo>
                      <a:lnTo>
                        <a:pt x="3734" y="972"/>
                      </a:lnTo>
                      <a:lnTo>
                        <a:pt x="3734" y="979"/>
                      </a:lnTo>
                      <a:lnTo>
                        <a:pt x="3734" y="985"/>
                      </a:lnTo>
                      <a:lnTo>
                        <a:pt x="3734" y="998"/>
                      </a:lnTo>
                      <a:lnTo>
                        <a:pt x="3733" y="1007"/>
                      </a:lnTo>
                      <a:lnTo>
                        <a:pt x="3732" y="1014"/>
                      </a:lnTo>
                      <a:lnTo>
                        <a:pt x="3729" y="1018"/>
                      </a:lnTo>
                      <a:lnTo>
                        <a:pt x="3724" y="1022"/>
                      </a:lnTo>
                      <a:lnTo>
                        <a:pt x="3717" y="1024"/>
                      </a:lnTo>
                      <a:lnTo>
                        <a:pt x="3707" y="1026"/>
                      </a:lnTo>
                      <a:lnTo>
                        <a:pt x="3694" y="1028"/>
                      </a:lnTo>
                      <a:lnTo>
                        <a:pt x="3699" y="1037"/>
                      </a:lnTo>
                      <a:lnTo>
                        <a:pt x="3704" y="1047"/>
                      </a:lnTo>
                      <a:lnTo>
                        <a:pt x="3709" y="1054"/>
                      </a:lnTo>
                      <a:lnTo>
                        <a:pt x="3713" y="1059"/>
                      </a:lnTo>
                      <a:lnTo>
                        <a:pt x="3706" y="1068"/>
                      </a:lnTo>
                      <a:lnTo>
                        <a:pt x="3697" y="1076"/>
                      </a:lnTo>
                      <a:lnTo>
                        <a:pt x="3687" y="1083"/>
                      </a:lnTo>
                      <a:lnTo>
                        <a:pt x="3676" y="1087"/>
                      </a:lnTo>
                      <a:lnTo>
                        <a:pt x="3672" y="1089"/>
                      </a:lnTo>
                      <a:lnTo>
                        <a:pt x="3666" y="1090"/>
                      </a:lnTo>
                      <a:lnTo>
                        <a:pt x="3661" y="1091"/>
                      </a:lnTo>
                      <a:lnTo>
                        <a:pt x="3655" y="1091"/>
                      </a:lnTo>
                      <a:lnTo>
                        <a:pt x="3650" y="1090"/>
                      </a:lnTo>
                      <a:lnTo>
                        <a:pt x="3644" y="1089"/>
                      </a:lnTo>
                      <a:lnTo>
                        <a:pt x="3639" y="1087"/>
                      </a:lnTo>
                      <a:lnTo>
                        <a:pt x="3634" y="1084"/>
                      </a:lnTo>
                      <a:lnTo>
                        <a:pt x="3627" y="1089"/>
                      </a:lnTo>
                      <a:lnTo>
                        <a:pt x="3617" y="1093"/>
                      </a:lnTo>
                      <a:lnTo>
                        <a:pt x="3608" y="1096"/>
                      </a:lnTo>
                      <a:lnTo>
                        <a:pt x="3598" y="1099"/>
                      </a:lnTo>
                      <a:lnTo>
                        <a:pt x="3577" y="1104"/>
                      </a:lnTo>
                      <a:lnTo>
                        <a:pt x="3556" y="1108"/>
                      </a:lnTo>
                      <a:lnTo>
                        <a:pt x="3546" y="1110"/>
                      </a:lnTo>
                      <a:lnTo>
                        <a:pt x="3538" y="1113"/>
                      </a:lnTo>
                      <a:lnTo>
                        <a:pt x="3529" y="1116"/>
                      </a:lnTo>
                      <a:lnTo>
                        <a:pt x="3522" y="1120"/>
                      </a:lnTo>
                      <a:lnTo>
                        <a:pt x="3516" y="1124"/>
                      </a:lnTo>
                      <a:lnTo>
                        <a:pt x="3511" y="1130"/>
                      </a:lnTo>
                      <a:lnTo>
                        <a:pt x="3509" y="1137"/>
                      </a:lnTo>
                      <a:lnTo>
                        <a:pt x="3508" y="1145"/>
                      </a:lnTo>
                      <a:lnTo>
                        <a:pt x="3501" y="1145"/>
                      </a:lnTo>
                      <a:lnTo>
                        <a:pt x="3489" y="1159"/>
                      </a:lnTo>
                      <a:lnTo>
                        <a:pt x="3480" y="1168"/>
                      </a:lnTo>
                      <a:lnTo>
                        <a:pt x="3474" y="1172"/>
                      </a:lnTo>
                      <a:lnTo>
                        <a:pt x="3467" y="1174"/>
                      </a:lnTo>
                      <a:lnTo>
                        <a:pt x="3459" y="1176"/>
                      </a:lnTo>
                      <a:lnTo>
                        <a:pt x="3448" y="1176"/>
                      </a:lnTo>
                      <a:lnTo>
                        <a:pt x="3336" y="1164"/>
                      </a:lnTo>
                      <a:lnTo>
                        <a:pt x="3301" y="1164"/>
                      </a:lnTo>
                      <a:lnTo>
                        <a:pt x="3264" y="1164"/>
                      </a:lnTo>
                      <a:lnTo>
                        <a:pt x="3228" y="1164"/>
                      </a:lnTo>
                      <a:lnTo>
                        <a:pt x="3189" y="1164"/>
                      </a:lnTo>
                      <a:lnTo>
                        <a:pt x="3169" y="1165"/>
                      </a:lnTo>
                      <a:lnTo>
                        <a:pt x="3151" y="1168"/>
                      </a:lnTo>
                      <a:lnTo>
                        <a:pt x="3135" y="1172"/>
                      </a:lnTo>
                      <a:lnTo>
                        <a:pt x="3119" y="1177"/>
                      </a:lnTo>
                      <a:lnTo>
                        <a:pt x="3105" y="1183"/>
                      </a:lnTo>
                      <a:lnTo>
                        <a:pt x="3093" y="1191"/>
                      </a:lnTo>
                      <a:lnTo>
                        <a:pt x="3081" y="1198"/>
                      </a:lnTo>
                      <a:lnTo>
                        <a:pt x="3070" y="1207"/>
                      </a:lnTo>
                      <a:lnTo>
                        <a:pt x="3047" y="1225"/>
                      </a:lnTo>
                      <a:lnTo>
                        <a:pt x="3025" y="1242"/>
                      </a:lnTo>
                      <a:lnTo>
                        <a:pt x="3013" y="1250"/>
                      </a:lnTo>
                      <a:lnTo>
                        <a:pt x="3000" y="1257"/>
                      </a:lnTo>
                      <a:lnTo>
                        <a:pt x="2985" y="1263"/>
                      </a:lnTo>
                      <a:lnTo>
                        <a:pt x="2970" y="1269"/>
                      </a:lnTo>
                      <a:lnTo>
                        <a:pt x="2959" y="1272"/>
                      </a:lnTo>
                      <a:lnTo>
                        <a:pt x="2948" y="1276"/>
                      </a:lnTo>
                      <a:lnTo>
                        <a:pt x="2936" y="1281"/>
                      </a:lnTo>
                      <a:lnTo>
                        <a:pt x="2924" y="1286"/>
                      </a:lnTo>
                      <a:lnTo>
                        <a:pt x="2912" y="1293"/>
                      </a:lnTo>
                      <a:lnTo>
                        <a:pt x="2900" y="1300"/>
                      </a:lnTo>
                      <a:lnTo>
                        <a:pt x="2887" y="1308"/>
                      </a:lnTo>
                      <a:lnTo>
                        <a:pt x="2876" y="1316"/>
                      </a:lnTo>
                      <a:lnTo>
                        <a:pt x="2864" y="1326"/>
                      </a:lnTo>
                      <a:lnTo>
                        <a:pt x="2853" y="1335"/>
                      </a:lnTo>
                      <a:lnTo>
                        <a:pt x="2843" y="1344"/>
                      </a:lnTo>
                      <a:lnTo>
                        <a:pt x="2834" y="1354"/>
                      </a:lnTo>
                      <a:lnTo>
                        <a:pt x="2825" y="1363"/>
                      </a:lnTo>
                      <a:lnTo>
                        <a:pt x="2819" y="1373"/>
                      </a:lnTo>
                      <a:lnTo>
                        <a:pt x="2814" y="1383"/>
                      </a:lnTo>
                      <a:lnTo>
                        <a:pt x="2811" y="1392"/>
                      </a:lnTo>
                      <a:lnTo>
                        <a:pt x="2819" y="1392"/>
                      </a:lnTo>
                      <a:lnTo>
                        <a:pt x="2825" y="1391"/>
                      </a:lnTo>
                      <a:lnTo>
                        <a:pt x="2832" y="1389"/>
                      </a:lnTo>
                      <a:lnTo>
                        <a:pt x="2836" y="1387"/>
                      </a:lnTo>
                      <a:lnTo>
                        <a:pt x="2840" y="1385"/>
                      </a:lnTo>
                      <a:lnTo>
                        <a:pt x="2845" y="1382"/>
                      </a:lnTo>
                      <a:lnTo>
                        <a:pt x="2847" y="1379"/>
                      </a:lnTo>
                      <a:lnTo>
                        <a:pt x="2850" y="1375"/>
                      </a:lnTo>
                      <a:lnTo>
                        <a:pt x="2855" y="1369"/>
                      </a:lnTo>
                      <a:lnTo>
                        <a:pt x="2859" y="1363"/>
                      </a:lnTo>
                      <a:lnTo>
                        <a:pt x="2861" y="1361"/>
                      </a:lnTo>
                      <a:lnTo>
                        <a:pt x="2864" y="1358"/>
                      </a:lnTo>
                      <a:lnTo>
                        <a:pt x="2867" y="1356"/>
                      </a:lnTo>
                      <a:lnTo>
                        <a:pt x="2870" y="1355"/>
                      </a:lnTo>
                      <a:lnTo>
                        <a:pt x="2888" y="1346"/>
                      </a:lnTo>
                      <a:lnTo>
                        <a:pt x="2905" y="1337"/>
                      </a:lnTo>
                      <a:lnTo>
                        <a:pt x="2923" y="1327"/>
                      </a:lnTo>
                      <a:lnTo>
                        <a:pt x="2940" y="1315"/>
                      </a:lnTo>
                      <a:lnTo>
                        <a:pt x="2976" y="1293"/>
                      </a:lnTo>
                      <a:lnTo>
                        <a:pt x="3012" y="1271"/>
                      </a:lnTo>
                      <a:lnTo>
                        <a:pt x="3029" y="1260"/>
                      </a:lnTo>
                      <a:lnTo>
                        <a:pt x="3048" y="1251"/>
                      </a:lnTo>
                      <a:lnTo>
                        <a:pt x="3067" y="1242"/>
                      </a:lnTo>
                      <a:lnTo>
                        <a:pt x="3085" y="1235"/>
                      </a:lnTo>
                      <a:lnTo>
                        <a:pt x="3104" y="1228"/>
                      </a:lnTo>
                      <a:lnTo>
                        <a:pt x="3123" y="1224"/>
                      </a:lnTo>
                      <a:lnTo>
                        <a:pt x="3142" y="1221"/>
                      </a:lnTo>
                      <a:lnTo>
                        <a:pt x="3162" y="1220"/>
                      </a:lnTo>
                      <a:lnTo>
                        <a:pt x="3171" y="1220"/>
                      </a:lnTo>
                      <a:lnTo>
                        <a:pt x="3179" y="1222"/>
                      </a:lnTo>
                      <a:lnTo>
                        <a:pt x="3189" y="1225"/>
                      </a:lnTo>
                      <a:lnTo>
                        <a:pt x="3196" y="1229"/>
                      </a:lnTo>
                      <a:lnTo>
                        <a:pt x="3204" y="1234"/>
                      </a:lnTo>
                      <a:lnTo>
                        <a:pt x="3210" y="1240"/>
                      </a:lnTo>
                      <a:lnTo>
                        <a:pt x="3213" y="1244"/>
                      </a:lnTo>
                      <a:lnTo>
                        <a:pt x="3214" y="1248"/>
                      </a:lnTo>
                      <a:lnTo>
                        <a:pt x="3215" y="1252"/>
                      </a:lnTo>
                      <a:lnTo>
                        <a:pt x="3216" y="1256"/>
                      </a:lnTo>
                      <a:lnTo>
                        <a:pt x="3215" y="1265"/>
                      </a:lnTo>
                      <a:lnTo>
                        <a:pt x="3213" y="1274"/>
                      </a:lnTo>
                      <a:lnTo>
                        <a:pt x="3208" y="1281"/>
                      </a:lnTo>
                      <a:lnTo>
                        <a:pt x="3203" y="1287"/>
                      </a:lnTo>
                      <a:lnTo>
                        <a:pt x="3197" y="1293"/>
                      </a:lnTo>
                      <a:lnTo>
                        <a:pt x="3191" y="1296"/>
                      </a:lnTo>
                      <a:lnTo>
                        <a:pt x="3183" y="1299"/>
                      </a:lnTo>
                      <a:lnTo>
                        <a:pt x="3175" y="1299"/>
                      </a:lnTo>
                      <a:lnTo>
                        <a:pt x="3165" y="1299"/>
                      </a:lnTo>
                      <a:lnTo>
                        <a:pt x="3156" y="1298"/>
                      </a:lnTo>
                      <a:lnTo>
                        <a:pt x="3146" y="1296"/>
                      </a:lnTo>
                      <a:lnTo>
                        <a:pt x="3136" y="1293"/>
                      </a:lnTo>
                      <a:lnTo>
                        <a:pt x="3126" y="1291"/>
                      </a:lnTo>
                      <a:lnTo>
                        <a:pt x="3116" y="1289"/>
                      </a:lnTo>
                      <a:lnTo>
                        <a:pt x="3106" y="1288"/>
                      </a:lnTo>
                      <a:lnTo>
                        <a:pt x="3096" y="1287"/>
                      </a:lnTo>
                      <a:lnTo>
                        <a:pt x="3089" y="1288"/>
                      </a:lnTo>
                      <a:lnTo>
                        <a:pt x="3082" y="1289"/>
                      </a:lnTo>
                      <a:lnTo>
                        <a:pt x="3077" y="1290"/>
                      </a:lnTo>
                      <a:lnTo>
                        <a:pt x="3072" y="1292"/>
                      </a:lnTo>
                      <a:lnTo>
                        <a:pt x="3068" y="1294"/>
                      </a:lnTo>
                      <a:lnTo>
                        <a:pt x="3066" y="1298"/>
                      </a:lnTo>
                      <a:lnTo>
                        <a:pt x="3063" y="1301"/>
                      </a:lnTo>
                      <a:lnTo>
                        <a:pt x="3063" y="1306"/>
                      </a:lnTo>
                      <a:lnTo>
                        <a:pt x="3129" y="1331"/>
                      </a:lnTo>
                      <a:lnTo>
                        <a:pt x="3140" y="1329"/>
                      </a:lnTo>
                      <a:lnTo>
                        <a:pt x="3152" y="1325"/>
                      </a:lnTo>
                      <a:lnTo>
                        <a:pt x="3159" y="1324"/>
                      </a:lnTo>
                      <a:lnTo>
                        <a:pt x="3164" y="1323"/>
                      </a:lnTo>
                      <a:lnTo>
                        <a:pt x="3171" y="1323"/>
                      </a:lnTo>
                      <a:lnTo>
                        <a:pt x="3175" y="1325"/>
                      </a:lnTo>
                      <a:lnTo>
                        <a:pt x="3170" y="1333"/>
                      </a:lnTo>
                      <a:lnTo>
                        <a:pt x="3164" y="1340"/>
                      </a:lnTo>
                      <a:lnTo>
                        <a:pt x="3158" y="1346"/>
                      </a:lnTo>
                      <a:lnTo>
                        <a:pt x="3151" y="1351"/>
                      </a:lnTo>
                      <a:lnTo>
                        <a:pt x="3145" y="1356"/>
                      </a:lnTo>
                      <a:lnTo>
                        <a:pt x="3140" y="1361"/>
                      </a:lnTo>
                      <a:lnTo>
                        <a:pt x="3138" y="1364"/>
                      </a:lnTo>
                      <a:lnTo>
                        <a:pt x="3137" y="1367"/>
                      </a:lnTo>
                      <a:lnTo>
                        <a:pt x="3136" y="1370"/>
                      </a:lnTo>
                      <a:lnTo>
                        <a:pt x="3136" y="1373"/>
                      </a:lnTo>
                      <a:lnTo>
                        <a:pt x="3136" y="1380"/>
                      </a:lnTo>
                      <a:lnTo>
                        <a:pt x="3137" y="1386"/>
                      </a:lnTo>
                      <a:lnTo>
                        <a:pt x="3138" y="1391"/>
                      </a:lnTo>
                      <a:lnTo>
                        <a:pt x="3140" y="1396"/>
                      </a:lnTo>
                      <a:lnTo>
                        <a:pt x="3144" y="1401"/>
                      </a:lnTo>
                      <a:lnTo>
                        <a:pt x="3146" y="1405"/>
                      </a:lnTo>
                      <a:lnTo>
                        <a:pt x="3149" y="1410"/>
                      </a:lnTo>
                      <a:lnTo>
                        <a:pt x="3153" y="1413"/>
                      </a:lnTo>
                      <a:lnTo>
                        <a:pt x="3162" y="1420"/>
                      </a:lnTo>
                      <a:lnTo>
                        <a:pt x="3173" y="1426"/>
                      </a:lnTo>
                      <a:lnTo>
                        <a:pt x="3184" y="1431"/>
                      </a:lnTo>
                      <a:lnTo>
                        <a:pt x="3196" y="1436"/>
                      </a:lnTo>
                      <a:lnTo>
                        <a:pt x="3209" y="1439"/>
                      </a:lnTo>
                      <a:lnTo>
                        <a:pt x="3224" y="1441"/>
                      </a:lnTo>
                      <a:lnTo>
                        <a:pt x="3237" y="1442"/>
                      </a:lnTo>
                      <a:lnTo>
                        <a:pt x="3251" y="1443"/>
                      </a:lnTo>
                      <a:lnTo>
                        <a:pt x="3277" y="1443"/>
                      </a:lnTo>
                      <a:lnTo>
                        <a:pt x="3302" y="1442"/>
                      </a:lnTo>
                      <a:lnTo>
                        <a:pt x="3302" y="1466"/>
                      </a:lnTo>
                      <a:lnTo>
                        <a:pt x="3292" y="1469"/>
                      </a:lnTo>
                      <a:lnTo>
                        <a:pt x="3283" y="1471"/>
                      </a:lnTo>
                      <a:lnTo>
                        <a:pt x="3274" y="1472"/>
                      </a:lnTo>
                      <a:lnTo>
                        <a:pt x="3265" y="1472"/>
                      </a:lnTo>
                      <a:lnTo>
                        <a:pt x="3257" y="1472"/>
                      </a:lnTo>
                      <a:lnTo>
                        <a:pt x="3248" y="1473"/>
                      </a:lnTo>
                      <a:lnTo>
                        <a:pt x="3239" y="1474"/>
                      </a:lnTo>
                      <a:lnTo>
                        <a:pt x="3229" y="1478"/>
                      </a:lnTo>
                      <a:lnTo>
                        <a:pt x="3213" y="1485"/>
                      </a:lnTo>
                      <a:lnTo>
                        <a:pt x="3198" y="1494"/>
                      </a:lnTo>
                      <a:lnTo>
                        <a:pt x="3184" y="1502"/>
                      </a:lnTo>
                      <a:lnTo>
                        <a:pt x="3172" y="1510"/>
                      </a:lnTo>
                      <a:lnTo>
                        <a:pt x="3158" y="1519"/>
                      </a:lnTo>
                      <a:lnTo>
                        <a:pt x="3144" y="1527"/>
                      </a:lnTo>
                      <a:lnTo>
                        <a:pt x="3128" y="1536"/>
                      </a:lnTo>
                      <a:lnTo>
                        <a:pt x="3109" y="1546"/>
                      </a:lnTo>
                      <a:lnTo>
                        <a:pt x="3099" y="1550"/>
                      </a:lnTo>
                      <a:lnTo>
                        <a:pt x="3088" y="1553"/>
                      </a:lnTo>
                      <a:lnTo>
                        <a:pt x="3077" y="1555"/>
                      </a:lnTo>
                      <a:lnTo>
                        <a:pt x="3066" y="1556"/>
                      </a:lnTo>
                      <a:lnTo>
                        <a:pt x="3056" y="1558"/>
                      </a:lnTo>
                      <a:lnTo>
                        <a:pt x="3047" y="1561"/>
                      </a:lnTo>
                      <a:lnTo>
                        <a:pt x="3044" y="1563"/>
                      </a:lnTo>
                      <a:lnTo>
                        <a:pt x="3040" y="1565"/>
                      </a:lnTo>
                      <a:lnTo>
                        <a:pt x="3038" y="1568"/>
                      </a:lnTo>
                      <a:lnTo>
                        <a:pt x="3036" y="1571"/>
                      </a:lnTo>
                      <a:lnTo>
                        <a:pt x="3026" y="1567"/>
                      </a:lnTo>
                      <a:lnTo>
                        <a:pt x="3018" y="1564"/>
                      </a:lnTo>
                      <a:lnTo>
                        <a:pt x="3015" y="1562"/>
                      </a:lnTo>
                      <a:lnTo>
                        <a:pt x="3012" y="1560"/>
                      </a:lnTo>
                      <a:lnTo>
                        <a:pt x="3011" y="1557"/>
                      </a:lnTo>
                      <a:lnTo>
                        <a:pt x="3010" y="1553"/>
                      </a:lnTo>
                      <a:lnTo>
                        <a:pt x="3010" y="1546"/>
                      </a:lnTo>
                      <a:lnTo>
                        <a:pt x="3012" y="1539"/>
                      </a:lnTo>
                      <a:lnTo>
                        <a:pt x="3013" y="1533"/>
                      </a:lnTo>
                      <a:lnTo>
                        <a:pt x="3016" y="1528"/>
                      </a:lnTo>
                      <a:lnTo>
                        <a:pt x="3019" y="1524"/>
                      </a:lnTo>
                      <a:lnTo>
                        <a:pt x="3024" y="1519"/>
                      </a:lnTo>
                      <a:lnTo>
                        <a:pt x="3028" y="1516"/>
                      </a:lnTo>
                      <a:lnTo>
                        <a:pt x="3033" y="1512"/>
                      </a:lnTo>
                      <a:lnTo>
                        <a:pt x="3045" y="1506"/>
                      </a:lnTo>
                      <a:lnTo>
                        <a:pt x="3058" y="1501"/>
                      </a:lnTo>
                      <a:lnTo>
                        <a:pt x="3072" y="1497"/>
                      </a:lnTo>
                      <a:lnTo>
                        <a:pt x="3086" y="1493"/>
                      </a:lnTo>
                      <a:lnTo>
                        <a:pt x="3117" y="1487"/>
                      </a:lnTo>
                      <a:lnTo>
                        <a:pt x="3147" y="1482"/>
                      </a:lnTo>
                      <a:lnTo>
                        <a:pt x="3160" y="1479"/>
                      </a:lnTo>
                      <a:lnTo>
                        <a:pt x="3172" y="1475"/>
                      </a:lnTo>
                      <a:lnTo>
                        <a:pt x="3182" y="1471"/>
                      </a:lnTo>
                      <a:lnTo>
                        <a:pt x="3189" y="1466"/>
                      </a:lnTo>
                      <a:lnTo>
                        <a:pt x="3178" y="1463"/>
                      </a:lnTo>
                      <a:lnTo>
                        <a:pt x="3169" y="1460"/>
                      </a:lnTo>
                      <a:lnTo>
                        <a:pt x="3160" y="1456"/>
                      </a:lnTo>
                      <a:lnTo>
                        <a:pt x="3153" y="1451"/>
                      </a:lnTo>
                      <a:lnTo>
                        <a:pt x="3147" y="1448"/>
                      </a:lnTo>
                      <a:lnTo>
                        <a:pt x="3139" y="1445"/>
                      </a:lnTo>
                      <a:lnTo>
                        <a:pt x="3131" y="1442"/>
                      </a:lnTo>
                      <a:lnTo>
                        <a:pt x="3123" y="1442"/>
                      </a:lnTo>
                      <a:lnTo>
                        <a:pt x="3117" y="1442"/>
                      </a:lnTo>
                      <a:lnTo>
                        <a:pt x="3113" y="1443"/>
                      </a:lnTo>
                      <a:lnTo>
                        <a:pt x="3107" y="1445"/>
                      </a:lnTo>
                      <a:lnTo>
                        <a:pt x="3103" y="1446"/>
                      </a:lnTo>
                      <a:lnTo>
                        <a:pt x="3093" y="1452"/>
                      </a:lnTo>
                      <a:lnTo>
                        <a:pt x="3083" y="1458"/>
                      </a:lnTo>
                      <a:lnTo>
                        <a:pt x="3074" y="1464"/>
                      </a:lnTo>
                      <a:lnTo>
                        <a:pt x="3066" y="1470"/>
                      </a:lnTo>
                      <a:lnTo>
                        <a:pt x="3057" y="1475"/>
                      </a:lnTo>
                      <a:lnTo>
                        <a:pt x="3049" y="1478"/>
                      </a:lnTo>
                      <a:lnTo>
                        <a:pt x="3044" y="1479"/>
                      </a:lnTo>
                      <a:lnTo>
                        <a:pt x="3036" y="1481"/>
                      </a:lnTo>
                      <a:lnTo>
                        <a:pt x="3026" y="1483"/>
                      </a:lnTo>
                      <a:lnTo>
                        <a:pt x="3016" y="1484"/>
                      </a:lnTo>
                      <a:lnTo>
                        <a:pt x="3010" y="1478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837" name="Freeform 434">
                <a:extLst>
                  <a:ext uri="{FF2B5EF4-FFF2-40B4-BE49-F238E27FC236}">
                    <a16:creationId xmlns:a16="http://schemas.microsoft.com/office/drawing/2014/main" id="{05DC9B5B-C051-4217-A8CE-7774BE391088}"/>
                  </a:ext>
                </a:extLst>
              </p:cNvPr>
              <p:cNvSpPr>
                <a:spLocks/>
              </p:cNvSpPr>
              <p:nvPr>
                <p:custDataLst>
                  <p:tags r:id="rId275"/>
                </p:custDataLst>
              </p:nvPr>
            </p:nvSpPr>
            <p:spPr bwMode="auto">
              <a:xfrm>
                <a:off x="4910998" y="4371735"/>
                <a:ext cx="153836" cy="177555"/>
              </a:xfrm>
              <a:custGeom>
                <a:avLst/>
                <a:gdLst>
                  <a:gd name="T0" fmla="*/ 50128901 w 292"/>
                  <a:gd name="T1" fmla="*/ 2656485 h 308"/>
                  <a:gd name="T2" fmla="*/ 52209613 w 292"/>
                  <a:gd name="T3" fmla="*/ 9829614 h 308"/>
                  <a:gd name="T4" fmla="*/ 54101130 w 292"/>
                  <a:gd name="T5" fmla="*/ 24174842 h 308"/>
                  <a:gd name="T6" fmla="*/ 55236301 w 292"/>
                  <a:gd name="T7" fmla="*/ 38255142 h 308"/>
                  <a:gd name="T8" fmla="*/ 55047106 w 292"/>
                  <a:gd name="T9" fmla="*/ 42771270 h 308"/>
                  <a:gd name="T10" fmla="*/ 54101130 w 292"/>
                  <a:gd name="T11" fmla="*/ 47553356 h 308"/>
                  <a:gd name="T12" fmla="*/ 50885682 w 292"/>
                  <a:gd name="T13" fmla="*/ 54725970 h 308"/>
                  <a:gd name="T14" fmla="*/ 43697134 w 292"/>
                  <a:gd name="T15" fmla="*/ 49147041 h 308"/>
                  <a:gd name="T16" fmla="*/ 31212425 w 292"/>
                  <a:gd name="T17" fmla="*/ 68540313 h 308"/>
                  <a:gd name="T18" fmla="*/ 24969853 w 292"/>
                  <a:gd name="T19" fmla="*/ 73853283 h 308"/>
                  <a:gd name="T20" fmla="*/ 11160777 w 292"/>
                  <a:gd name="T21" fmla="*/ 78635369 h 308"/>
                  <a:gd name="T22" fmla="*/ 6053377 w 292"/>
                  <a:gd name="T23" fmla="*/ 81823255 h 308"/>
                  <a:gd name="T24" fmla="*/ 1135171 w 292"/>
                  <a:gd name="T25" fmla="*/ 81823255 h 308"/>
                  <a:gd name="T26" fmla="*/ 1702322 w 292"/>
                  <a:gd name="T27" fmla="*/ 78900812 h 308"/>
                  <a:gd name="T28" fmla="*/ 2080712 w 292"/>
                  <a:gd name="T29" fmla="*/ 75978884 h 308"/>
                  <a:gd name="T30" fmla="*/ 1324366 w 292"/>
                  <a:gd name="T31" fmla="*/ 70399955 h 308"/>
                  <a:gd name="T32" fmla="*/ 378390 w 292"/>
                  <a:gd name="T33" fmla="*/ 65352427 h 308"/>
                  <a:gd name="T34" fmla="*/ 0 w 292"/>
                  <a:gd name="T35" fmla="*/ 60570341 h 308"/>
                  <a:gd name="T36" fmla="*/ 567586 w 292"/>
                  <a:gd name="T37" fmla="*/ 54460528 h 308"/>
                  <a:gd name="T38" fmla="*/ 2269908 w 292"/>
                  <a:gd name="T39" fmla="*/ 49943884 h 308"/>
                  <a:gd name="T40" fmla="*/ 4918205 w 292"/>
                  <a:gd name="T41" fmla="*/ 46224598 h 308"/>
                  <a:gd name="T42" fmla="*/ 7944894 w 292"/>
                  <a:gd name="T43" fmla="*/ 42771270 h 308"/>
                  <a:gd name="T44" fmla="*/ 14565856 w 292"/>
                  <a:gd name="T45" fmla="*/ 35864099 h 308"/>
                  <a:gd name="T46" fmla="*/ 17592545 w 292"/>
                  <a:gd name="T47" fmla="*/ 31613413 h 308"/>
                  <a:gd name="T48" fmla="*/ 19862452 w 292"/>
                  <a:gd name="T49" fmla="*/ 26034485 h 308"/>
                  <a:gd name="T50" fmla="*/ 18538086 w 292"/>
                  <a:gd name="T51" fmla="*/ 25503600 h 308"/>
                  <a:gd name="T52" fmla="*/ 17403349 w 292"/>
                  <a:gd name="T53" fmla="*/ 24174842 h 308"/>
                  <a:gd name="T54" fmla="*/ 15511397 w 292"/>
                  <a:gd name="T55" fmla="*/ 19393271 h 308"/>
                  <a:gd name="T56" fmla="*/ 13998271 w 292"/>
                  <a:gd name="T57" fmla="*/ 13282942 h 308"/>
                  <a:gd name="T58" fmla="*/ 13619880 w 292"/>
                  <a:gd name="T59" fmla="*/ 6375771 h 308"/>
                  <a:gd name="T60" fmla="*/ 17024959 w 292"/>
                  <a:gd name="T61" fmla="*/ 5047528 h 308"/>
                  <a:gd name="T62" fmla="*/ 19862452 w 292"/>
                  <a:gd name="T63" fmla="*/ 5312971 h 308"/>
                  <a:gd name="T64" fmla="*/ 24969853 w 292"/>
                  <a:gd name="T65" fmla="*/ 6375771 h 308"/>
                  <a:gd name="T66" fmla="*/ 31968771 w 292"/>
                  <a:gd name="T67" fmla="*/ 5578929 h 308"/>
                  <a:gd name="T68" fmla="*/ 39724904 w 292"/>
                  <a:gd name="T69" fmla="*/ 3187886 h 308"/>
                  <a:gd name="T70" fmla="*/ 48993729 w 292"/>
                  <a:gd name="T71" fmla="*/ 0 h 30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92" h="308">
                    <a:moveTo>
                      <a:pt x="259" y="0"/>
                    </a:moveTo>
                    <a:lnTo>
                      <a:pt x="265" y="10"/>
                    </a:lnTo>
                    <a:lnTo>
                      <a:pt x="271" y="23"/>
                    </a:lnTo>
                    <a:lnTo>
                      <a:pt x="276" y="37"/>
                    </a:lnTo>
                    <a:lnTo>
                      <a:pt x="280" y="54"/>
                    </a:lnTo>
                    <a:lnTo>
                      <a:pt x="286" y="91"/>
                    </a:lnTo>
                    <a:lnTo>
                      <a:pt x="292" y="135"/>
                    </a:lnTo>
                    <a:lnTo>
                      <a:pt x="292" y="144"/>
                    </a:lnTo>
                    <a:lnTo>
                      <a:pt x="292" y="153"/>
                    </a:lnTo>
                    <a:lnTo>
                      <a:pt x="291" y="161"/>
                    </a:lnTo>
                    <a:lnTo>
                      <a:pt x="289" y="168"/>
                    </a:lnTo>
                    <a:lnTo>
                      <a:pt x="286" y="179"/>
                    </a:lnTo>
                    <a:lnTo>
                      <a:pt x="281" y="189"/>
                    </a:lnTo>
                    <a:lnTo>
                      <a:pt x="269" y="206"/>
                    </a:lnTo>
                    <a:lnTo>
                      <a:pt x="258" y="225"/>
                    </a:lnTo>
                    <a:lnTo>
                      <a:pt x="231" y="185"/>
                    </a:lnTo>
                    <a:lnTo>
                      <a:pt x="192" y="222"/>
                    </a:lnTo>
                    <a:lnTo>
                      <a:pt x="165" y="258"/>
                    </a:lnTo>
                    <a:lnTo>
                      <a:pt x="152" y="246"/>
                    </a:lnTo>
                    <a:lnTo>
                      <a:pt x="132" y="278"/>
                    </a:lnTo>
                    <a:lnTo>
                      <a:pt x="132" y="296"/>
                    </a:lnTo>
                    <a:lnTo>
                      <a:pt x="59" y="296"/>
                    </a:lnTo>
                    <a:lnTo>
                      <a:pt x="46" y="302"/>
                    </a:lnTo>
                    <a:lnTo>
                      <a:pt x="32" y="308"/>
                    </a:lnTo>
                    <a:lnTo>
                      <a:pt x="19" y="308"/>
                    </a:lnTo>
                    <a:lnTo>
                      <a:pt x="6" y="308"/>
                    </a:lnTo>
                    <a:lnTo>
                      <a:pt x="8" y="302"/>
                    </a:lnTo>
                    <a:lnTo>
                      <a:pt x="9" y="297"/>
                    </a:lnTo>
                    <a:lnTo>
                      <a:pt x="11" y="291"/>
                    </a:lnTo>
                    <a:lnTo>
                      <a:pt x="11" y="286"/>
                    </a:lnTo>
                    <a:lnTo>
                      <a:pt x="9" y="276"/>
                    </a:lnTo>
                    <a:lnTo>
                      <a:pt x="7" y="265"/>
                    </a:lnTo>
                    <a:lnTo>
                      <a:pt x="5" y="256"/>
                    </a:lnTo>
                    <a:lnTo>
                      <a:pt x="2" y="246"/>
                    </a:lnTo>
                    <a:lnTo>
                      <a:pt x="0" y="237"/>
                    </a:lnTo>
                    <a:lnTo>
                      <a:pt x="0" y="228"/>
                    </a:lnTo>
                    <a:lnTo>
                      <a:pt x="0" y="216"/>
                    </a:lnTo>
                    <a:lnTo>
                      <a:pt x="3" y="205"/>
                    </a:lnTo>
                    <a:lnTo>
                      <a:pt x="6" y="196"/>
                    </a:lnTo>
                    <a:lnTo>
                      <a:pt x="12" y="188"/>
                    </a:lnTo>
                    <a:lnTo>
                      <a:pt x="18" y="180"/>
                    </a:lnTo>
                    <a:lnTo>
                      <a:pt x="26" y="174"/>
                    </a:lnTo>
                    <a:lnTo>
                      <a:pt x="34" y="167"/>
                    </a:lnTo>
                    <a:lnTo>
                      <a:pt x="42" y="161"/>
                    </a:lnTo>
                    <a:lnTo>
                      <a:pt x="60" y="148"/>
                    </a:lnTo>
                    <a:lnTo>
                      <a:pt x="77" y="135"/>
                    </a:lnTo>
                    <a:lnTo>
                      <a:pt x="85" y="128"/>
                    </a:lnTo>
                    <a:lnTo>
                      <a:pt x="93" y="119"/>
                    </a:lnTo>
                    <a:lnTo>
                      <a:pt x="99" y="110"/>
                    </a:lnTo>
                    <a:lnTo>
                      <a:pt x="105" y="98"/>
                    </a:lnTo>
                    <a:lnTo>
                      <a:pt x="102" y="98"/>
                    </a:lnTo>
                    <a:lnTo>
                      <a:pt x="98" y="96"/>
                    </a:lnTo>
                    <a:lnTo>
                      <a:pt x="95" y="94"/>
                    </a:lnTo>
                    <a:lnTo>
                      <a:pt x="92" y="91"/>
                    </a:lnTo>
                    <a:lnTo>
                      <a:pt x="86" y="83"/>
                    </a:lnTo>
                    <a:lnTo>
                      <a:pt x="82" y="73"/>
                    </a:lnTo>
                    <a:lnTo>
                      <a:pt x="77" y="62"/>
                    </a:lnTo>
                    <a:lnTo>
                      <a:pt x="74" y="50"/>
                    </a:lnTo>
                    <a:lnTo>
                      <a:pt x="73" y="36"/>
                    </a:lnTo>
                    <a:lnTo>
                      <a:pt x="72" y="24"/>
                    </a:lnTo>
                    <a:lnTo>
                      <a:pt x="82" y="21"/>
                    </a:lnTo>
                    <a:lnTo>
                      <a:pt x="90" y="19"/>
                    </a:lnTo>
                    <a:lnTo>
                      <a:pt x="97" y="19"/>
                    </a:lnTo>
                    <a:lnTo>
                      <a:pt x="105" y="20"/>
                    </a:lnTo>
                    <a:lnTo>
                      <a:pt x="118" y="23"/>
                    </a:lnTo>
                    <a:lnTo>
                      <a:pt x="132" y="24"/>
                    </a:lnTo>
                    <a:lnTo>
                      <a:pt x="149" y="23"/>
                    </a:lnTo>
                    <a:lnTo>
                      <a:pt x="169" y="21"/>
                    </a:lnTo>
                    <a:lnTo>
                      <a:pt x="189" y="17"/>
                    </a:lnTo>
                    <a:lnTo>
                      <a:pt x="210" y="12"/>
                    </a:lnTo>
                    <a:lnTo>
                      <a:pt x="244" y="4"/>
                    </a:lnTo>
                    <a:lnTo>
                      <a:pt x="259" y="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38" name="Freeform 435">
                <a:extLst>
                  <a:ext uri="{FF2B5EF4-FFF2-40B4-BE49-F238E27FC236}">
                    <a16:creationId xmlns:a16="http://schemas.microsoft.com/office/drawing/2014/main" id="{E42AB3F9-1F03-400D-9A9B-F9BF66C6BAD6}"/>
                  </a:ext>
                </a:extLst>
              </p:cNvPr>
              <p:cNvSpPr>
                <a:spLocks/>
              </p:cNvSpPr>
              <p:nvPr>
                <p:custDataLst>
                  <p:tags r:id="rId276"/>
                </p:custDataLst>
              </p:nvPr>
            </p:nvSpPr>
            <p:spPr bwMode="auto">
              <a:xfrm>
                <a:off x="5039496" y="4540500"/>
                <a:ext cx="7239" cy="65044"/>
              </a:xfrm>
              <a:custGeom>
                <a:avLst/>
                <a:gdLst>
                  <a:gd name="T0" fmla="*/ 2262868 w 14"/>
                  <a:gd name="T1" fmla="*/ 0 h 7"/>
                  <a:gd name="T2" fmla="*/ 2674257 w 14"/>
                  <a:gd name="T3" fmla="*/ 199967850 h 7"/>
                  <a:gd name="T4" fmla="*/ 2880179 w 14"/>
                  <a:gd name="T5" fmla="*/ 466588929 h 7"/>
                  <a:gd name="T6" fmla="*/ 0 w 14"/>
                  <a:gd name="T7" fmla="*/ 466588929 h 7"/>
                  <a:gd name="T8" fmla="*/ 2262868 w 14"/>
                  <a:gd name="T9" fmla="*/ 0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1" y="0"/>
                    </a:moveTo>
                    <a:lnTo>
                      <a:pt x="13" y="3"/>
                    </a:lnTo>
                    <a:lnTo>
                      <a:pt x="14" y="7"/>
                    </a:lnTo>
                    <a:lnTo>
                      <a:pt x="0" y="7"/>
                    </a:lnTo>
                    <a:lnTo>
                      <a:pt x="11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39" name="Freeform 436">
                <a:extLst>
                  <a:ext uri="{FF2B5EF4-FFF2-40B4-BE49-F238E27FC236}">
                    <a16:creationId xmlns:a16="http://schemas.microsoft.com/office/drawing/2014/main" id="{75A28F8B-531C-40B0-ACD9-393A541827AB}"/>
                  </a:ext>
                </a:extLst>
              </p:cNvPr>
              <p:cNvSpPr>
                <a:spLocks/>
              </p:cNvSpPr>
              <p:nvPr>
                <p:custDataLst>
                  <p:tags r:id="rId277"/>
                </p:custDataLst>
              </p:nvPr>
            </p:nvSpPr>
            <p:spPr bwMode="auto">
              <a:xfrm>
                <a:off x="4425965" y="3682610"/>
                <a:ext cx="300431" cy="562551"/>
              </a:xfrm>
              <a:custGeom>
                <a:avLst/>
                <a:gdLst>
                  <a:gd name="T0" fmla="*/ 14905745 w 581"/>
                  <a:gd name="T1" fmla="*/ 31531135 h 955"/>
                  <a:gd name="T2" fmla="*/ 19138485 w 581"/>
                  <a:gd name="T3" fmla="*/ 41675848 h 955"/>
                  <a:gd name="T4" fmla="*/ 20426710 w 581"/>
                  <a:gd name="T5" fmla="*/ 49353239 h 955"/>
                  <a:gd name="T6" fmla="*/ 17482195 w 581"/>
                  <a:gd name="T7" fmla="*/ 64158740 h 955"/>
                  <a:gd name="T8" fmla="*/ 17666227 w 581"/>
                  <a:gd name="T9" fmla="*/ 89109478 h 955"/>
                  <a:gd name="T10" fmla="*/ 17114131 w 581"/>
                  <a:gd name="T11" fmla="*/ 99528570 h 955"/>
                  <a:gd name="T12" fmla="*/ 15089777 w 581"/>
                  <a:gd name="T13" fmla="*/ 108576813 h 955"/>
                  <a:gd name="T14" fmla="*/ 10857467 w 581"/>
                  <a:gd name="T15" fmla="*/ 117624531 h 955"/>
                  <a:gd name="T16" fmla="*/ 5704567 w 581"/>
                  <a:gd name="T17" fmla="*/ 126398394 h 955"/>
                  <a:gd name="T18" fmla="*/ 3128546 w 581"/>
                  <a:gd name="T19" fmla="*/ 131882320 h 955"/>
                  <a:gd name="T20" fmla="*/ 368064 w 581"/>
                  <a:gd name="T21" fmla="*/ 148607430 h 955"/>
                  <a:gd name="T22" fmla="*/ 12697789 w 581"/>
                  <a:gd name="T23" fmla="*/ 168896857 h 955"/>
                  <a:gd name="T24" fmla="*/ 12697789 w 581"/>
                  <a:gd name="T25" fmla="*/ 173832024 h 955"/>
                  <a:gd name="T26" fmla="*/ 13617520 w 581"/>
                  <a:gd name="T27" fmla="*/ 182332030 h 955"/>
                  <a:gd name="T28" fmla="*/ 13617520 w 581"/>
                  <a:gd name="T29" fmla="*/ 190831514 h 955"/>
                  <a:gd name="T30" fmla="*/ 14353649 w 581"/>
                  <a:gd name="T31" fmla="*/ 200976227 h 955"/>
                  <a:gd name="T32" fmla="*/ 17298163 w 581"/>
                  <a:gd name="T33" fmla="*/ 213314406 h 955"/>
                  <a:gd name="T34" fmla="*/ 19322517 w 581"/>
                  <a:gd name="T35" fmla="*/ 217153102 h 955"/>
                  <a:gd name="T36" fmla="*/ 12513757 w 581"/>
                  <a:gd name="T37" fmla="*/ 217701337 h 955"/>
                  <a:gd name="T38" fmla="*/ 7728921 w 581"/>
                  <a:gd name="T39" fmla="*/ 219894803 h 955"/>
                  <a:gd name="T40" fmla="*/ 6624728 w 581"/>
                  <a:gd name="T41" fmla="*/ 222637028 h 955"/>
                  <a:gd name="T42" fmla="*/ 7728921 w 581"/>
                  <a:gd name="T43" fmla="*/ 230862131 h 955"/>
                  <a:gd name="T44" fmla="*/ 12697789 w 581"/>
                  <a:gd name="T45" fmla="*/ 240184753 h 955"/>
                  <a:gd name="T46" fmla="*/ 16009938 w 581"/>
                  <a:gd name="T47" fmla="*/ 246490770 h 955"/>
                  <a:gd name="T48" fmla="*/ 18402356 w 581"/>
                  <a:gd name="T49" fmla="*/ 254167639 h 955"/>
                  <a:gd name="T50" fmla="*/ 28707727 w 581"/>
                  <a:gd name="T51" fmla="*/ 261845030 h 955"/>
                  <a:gd name="T52" fmla="*/ 34780358 w 581"/>
                  <a:gd name="T53" fmla="*/ 258280714 h 955"/>
                  <a:gd name="T54" fmla="*/ 45637826 w 581"/>
                  <a:gd name="T55" fmla="*/ 254716398 h 955"/>
                  <a:gd name="T56" fmla="*/ 51342393 w 581"/>
                  <a:gd name="T57" fmla="*/ 252522932 h 955"/>
                  <a:gd name="T58" fmla="*/ 54654972 w 581"/>
                  <a:gd name="T59" fmla="*/ 247861621 h 955"/>
                  <a:gd name="T60" fmla="*/ 55575132 w 581"/>
                  <a:gd name="T61" fmla="*/ 244571684 h 955"/>
                  <a:gd name="T62" fmla="*/ 55575132 w 581"/>
                  <a:gd name="T63" fmla="*/ 237991287 h 955"/>
                  <a:gd name="T64" fmla="*/ 62199860 w 581"/>
                  <a:gd name="T65" fmla="*/ 238813379 h 955"/>
                  <a:gd name="T66" fmla="*/ 67536363 w 581"/>
                  <a:gd name="T67" fmla="*/ 237442528 h 955"/>
                  <a:gd name="T68" fmla="*/ 71585070 w 581"/>
                  <a:gd name="T69" fmla="*/ 234700827 h 955"/>
                  <a:gd name="T70" fmla="*/ 74529585 w 581"/>
                  <a:gd name="T71" fmla="*/ 230862131 h 955"/>
                  <a:gd name="T72" fmla="*/ 79498023 w 581"/>
                  <a:gd name="T73" fmla="*/ 221265653 h 955"/>
                  <a:gd name="T74" fmla="*/ 84650494 w 581"/>
                  <a:gd name="T75" fmla="*/ 211943555 h 955"/>
                  <a:gd name="T76" fmla="*/ 87779041 w 581"/>
                  <a:gd name="T77" fmla="*/ 208379239 h 955"/>
                  <a:gd name="T78" fmla="*/ 92379844 w 581"/>
                  <a:gd name="T79" fmla="*/ 206185773 h 955"/>
                  <a:gd name="T80" fmla="*/ 95876026 w 581"/>
                  <a:gd name="T81" fmla="*/ 204266687 h 955"/>
                  <a:gd name="T82" fmla="*/ 91827748 w 581"/>
                  <a:gd name="T83" fmla="*/ 191105893 h 955"/>
                  <a:gd name="T84" fmla="*/ 89067266 w 581"/>
                  <a:gd name="T85" fmla="*/ 179041570 h 955"/>
                  <a:gd name="T86" fmla="*/ 86858880 w 581"/>
                  <a:gd name="T87" fmla="*/ 170815943 h 955"/>
                  <a:gd name="T88" fmla="*/ 88515169 w 581"/>
                  <a:gd name="T89" fmla="*/ 167251627 h 955"/>
                  <a:gd name="T90" fmla="*/ 89619362 w 581"/>
                  <a:gd name="T91" fmla="*/ 158752144 h 955"/>
                  <a:gd name="T92" fmla="*/ 90907587 w 581"/>
                  <a:gd name="T93" fmla="*/ 148333051 h 955"/>
                  <a:gd name="T94" fmla="*/ 92931941 w 581"/>
                  <a:gd name="T95" fmla="*/ 142300889 h 955"/>
                  <a:gd name="T96" fmla="*/ 97900379 w 581"/>
                  <a:gd name="T97" fmla="*/ 133253171 h 955"/>
                  <a:gd name="T98" fmla="*/ 104893172 w 581"/>
                  <a:gd name="T99" fmla="*/ 126398394 h 955"/>
                  <a:gd name="T100" fmla="*/ 23738859 w 581"/>
                  <a:gd name="T101" fmla="*/ 0 h 955"/>
                  <a:gd name="T102" fmla="*/ 18034292 w 581"/>
                  <a:gd name="T103" fmla="*/ 1370851 h 955"/>
                  <a:gd name="T104" fmla="*/ 12697789 w 581"/>
                  <a:gd name="T105" fmla="*/ 6580397 h 955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581" h="955">
                    <a:moveTo>
                      <a:pt x="69" y="24"/>
                    </a:moveTo>
                    <a:lnTo>
                      <a:pt x="69" y="97"/>
                    </a:lnTo>
                    <a:lnTo>
                      <a:pt x="81" y="115"/>
                    </a:lnTo>
                    <a:lnTo>
                      <a:pt x="91" y="129"/>
                    </a:lnTo>
                    <a:lnTo>
                      <a:pt x="99" y="141"/>
                    </a:lnTo>
                    <a:lnTo>
                      <a:pt x="104" y="152"/>
                    </a:lnTo>
                    <a:lnTo>
                      <a:pt x="107" y="163"/>
                    </a:lnTo>
                    <a:lnTo>
                      <a:pt x="110" y="172"/>
                    </a:lnTo>
                    <a:lnTo>
                      <a:pt x="111" y="180"/>
                    </a:lnTo>
                    <a:lnTo>
                      <a:pt x="110" y="186"/>
                    </a:lnTo>
                    <a:lnTo>
                      <a:pt x="102" y="209"/>
                    </a:lnTo>
                    <a:lnTo>
                      <a:pt x="95" y="234"/>
                    </a:lnTo>
                    <a:lnTo>
                      <a:pt x="96" y="276"/>
                    </a:lnTo>
                    <a:lnTo>
                      <a:pt x="96" y="309"/>
                    </a:lnTo>
                    <a:lnTo>
                      <a:pt x="96" y="325"/>
                    </a:lnTo>
                    <a:lnTo>
                      <a:pt x="96" y="339"/>
                    </a:lnTo>
                    <a:lnTo>
                      <a:pt x="95" y="351"/>
                    </a:lnTo>
                    <a:lnTo>
                      <a:pt x="93" y="363"/>
                    </a:lnTo>
                    <a:lnTo>
                      <a:pt x="91" y="374"/>
                    </a:lnTo>
                    <a:lnTo>
                      <a:pt x="87" y="386"/>
                    </a:lnTo>
                    <a:lnTo>
                      <a:pt x="82" y="396"/>
                    </a:lnTo>
                    <a:lnTo>
                      <a:pt x="76" y="407"/>
                    </a:lnTo>
                    <a:lnTo>
                      <a:pt x="69" y="418"/>
                    </a:lnTo>
                    <a:lnTo>
                      <a:pt x="59" y="429"/>
                    </a:lnTo>
                    <a:lnTo>
                      <a:pt x="48" y="442"/>
                    </a:lnTo>
                    <a:lnTo>
                      <a:pt x="36" y="455"/>
                    </a:lnTo>
                    <a:lnTo>
                      <a:pt x="31" y="461"/>
                    </a:lnTo>
                    <a:lnTo>
                      <a:pt x="26" y="467"/>
                    </a:lnTo>
                    <a:lnTo>
                      <a:pt x="22" y="474"/>
                    </a:lnTo>
                    <a:lnTo>
                      <a:pt x="17" y="481"/>
                    </a:lnTo>
                    <a:lnTo>
                      <a:pt x="12" y="496"/>
                    </a:lnTo>
                    <a:lnTo>
                      <a:pt x="8" y="512"/>
                    </a:lnTo>
                    <a:lnTo>
                      <a:pt x="2" y="542"/>
                    </a:lnTo>
                    <a:lnTo>
                      <a:pt x="0" y="568"/>
                    </a:lnTo>
                    <a:lnTo>
                      <a:pt x="29" y="578"/>
                    </a:lnTo>
                    <a:lnTo>
                      <a:pt x="69" y="616"/>
                    </a:lnTo>
                    <a:lnTo>
                      <a:pt x="51" y="632"/>
                    </a:lnTo>
                    <a:lnTo>
                      <a:pt x="60" y="633"/>
                    </a:lnTo>
                    <a:lnTo>
                      <a:pt x="69" y="634"/>
                    </a:lnTo>
                    <a:lnTo>
                      <a:pt x="70" y="643"/>
                    </a:lnTo>
                    <a:lnTo>
                      <a:pt x="72" y="653"/>
                    </a:lnTo>
                    <a:lnTo>
                      <a:pt x="74" y="665"/>
                    </a:lnTo>
                    <a:lnTo>
                      <a:pt x="76" y="677"/>
                    </a:lnTo>
                    <a:lnTo>
                      <a:pt x="74" y="686"/>
                    </a:lnTo>
                    <a:lnTo>
                      <a:pt x="74" y="696"/>
                    </a:lnTo>
                    <a:lnTo>
                      <a:pt x="74" y="705"/>
                    </a:lnTo>
                    <a:lnTo>
                      <a:pt x="76" y="715"/>
                    </a:lnTo>
                    <a:lnTo>
                      <a:pt x="78" y="733"/>
                    </a:lnTo>
                    <a:lnTo>
                      <a:pt x="82" y="749"/>
                    </a:lnTo>
                    <a:lnTo>
                      <a:pt x="88" y="764"/>
                    </a:lnTo>
                    <a:lnTo>
                      <a:pt x="94" y="778"/>
                    </a:lnTo>
                    <a:lnTo>
                      <a:pt x="98" y="783"/>
                    </a:lnTo>
                    <a:lnTo>
                      <a:pt x="102" y="788"/>
                    </a:lnTo>
                    <a:lnTo>
                      <a:pt x="105" y="792"/>
                    </a:lnTo>
                    <a:lnTo>
                      <a:pt x="109" y="794"/>
                    </a:lnTo>
                    <a:lnTo>
                      <a:pt x="92" y="794"/>
                    </a:lnTo>
                    <a:lnTo>
                      <a:pt x="68" y="794"/>
                    </a:lnTo>
                    <a:lnTo>
                      <a:pt x="56" y="796"/>
                    </a:lnTo>
                    <a:lnTo>
                      <a:pt x="46" y="799"/>
                    </a:lnTo>
                    <a:lnTo>
                      <a:pt x="42" y="802"/>
                    </a:lnTo>
                    <a:lnTo>
                      <a:pt x="38" y="805"/>
                    </a:lnTo>
                    <a:lnTo>
                      <a:pt x="36" y="808"/>
                    </a:lnTo>
                    <a:lnTo>
                      <a:pt x="36" y="812"/>
                    </a:lnTo>
                    <a:lnTo>
                      <a:pt x="36" y="824"/>
                    </a:lnTo>
                    <a:lnTo>
                      <a:pt x="38" y="834"/>
                    </a:lnTo>
                    <a:lnTo>
                      <a:pt x="42" y="842"/>
                    </a:lnTo>
                    <a:lnTo>
                      <a:pt x="46" y="850"/>
                    </a:lnTo>
                    <a:lnTo>
                      <a:pt x="57" y="863"/>
                    </a:lnTo>
                    <a:lnTo>
                      <a:pt x="69" y="876"/>
                    </a:lnTo>
                    <a:lnTo>
                      <a:pt x="76" y="884"/>
                    </a:lnTo>
                    <a:lnTo>
                      <a:pt x="81" y="891"/>
                    </a:lnTo>
                    <a:lnTo>
                      <a:pt x="87" y="899"/>
                    </a:lnTo>
                    <a:lnTo>
                      <a:pt x="92" y="907"/>
                    </a:lnTo>
                    <a:lnTo>
                      <a:pt x="96" y="917"/>
                    </a:lnTo>
                    <a:lnTo>
                      <a:pt x="100" y="927"/>
                    </a:lnTo>
                    <a:lnTo>
                      <a:pt x="102" y="941"/>
                    </a:lnTo>
                    <a:lnTo>
                      <a:pt x="102" y="955"/>
                    </a:lnTo>
                    <a:lnTo>
                      <a:pt x="156" y="955"/>
                    </a:lnTo>
                    <a:lnTo>
                      <a:pt x="166" y="949"/>
                    </a:lnTo>
                    <a:lnTo>
                      <a:pt x="177" y="945"/>
                    </a:lnTo>
                    <a:lnTo>
                      <a:pt x="189" y="942"/>
                    </a:lnTo>
                    <a:lnTo>
                      <a:pt x="201" y="939"/>
                    </a:lnTo>
                    <a:lnTo>
                      <a:pt x="225" y="935"/>
                    </a:lnTo>
                    <a:lnTo>
                      <a:pt x="248" y="929"/>
                    </a:lnTo>
                    <a:lnTo>
                      <a:pt x="259" y="927"/>
                    </a:lnTo>
                    <a:lnTo>
                      <a:pt x="270" y="924"/>
                    </a:lnTo>
                    <a:lnTo>
                      <a:pt x="279" y="921"/>
                    </a:lnTo>
                    <a:lnTo>
                      <a:pt x="286" y="916"/>
                    </a:lnTo>
                    <a:lnTo>
                      <a:pt x="293" y="911"/>
                    </a:lnTo>
                    <a:lnTo>
                      <a:pt x="297" y="904"/>
                    </a:lnTo>
                    <a:lnTo>
                      <a:pt x="300" y="901"/>
                    </a:lnTo>
                    <a:lnTo>
                      <a:pt x="301" y="896"/>
                    </a:lnTo>
                    <a:lnTo>
                      <a:pt x="302" y="892"/>
                    </a:lnTo>
                    <a:lnTo>
                      <a:pt x="302" y="887"/>
                    </a:lnTo>
                    <a:lnTo>
                      <a:pt x="302" y="877"/>
                    </a:lnTo>
                    <a:lnTo>
                      <a:pt x="302" y="868"/>
                    </a:lnTo>
                    <a:lnTo>
                      <a:pt x="315" y="870"/>
                    </a:lnTo>
                    <a:lnTo>
                      <a:pt x="327" y="871"/>
                    </a:lnTo>
                    <a:lnTo>
                      <a:pt x="338" y="871"/>
                    </a:lnTo>
                    <a:lnTo>
                      <a:pt x="348" y="870"/>
                    </a:lnTo>
                    <a:lnTo>
                      <a:pt x="358" y="868"/>
                    </a:lnTo>
                    <a:lnTo>
                      <a:pt x="367" y="866"/>
                    </a:lnTo>
                    <a:lnTo>
                      <a:pt x="374" y="863"/>
                    </a:lnTo>
                    <a:lnTo>
                      <a:pt x="382" y="860"/>
                    </a:lnTo>
                    <a:lnTo>
                      <a:pt x="389" y="856"/>
                    </a:lnTo>
                    <a:lnTo>
                      <a:pt x="394" y="852"/>
                    </a:lnTo>
                    <a:lnTo>
                      <a:pt x="401" y="847"/>
                    </a:lnTo>
                    <a:lnTo>
                      <a:pt x="405" y="842"/>
                    </a:lnTo>
                    <a:lnTo>
                      <a:pt x="415" y="831"/>
                    </a:lnTo>
                    <a:lnTo>
                      <a:pt x="424" y="818"/>
                    </a:lnTo>
                    <a:lnTo>
                      <a:pt x="432" y="807"/>
                    </a:lnTo>
                    <a:lnTo>
                      <a:pt x="440" y="795"/>
                    </a:lnTo>
                    <a:lnTo>
                      <a:pt x="449" y="783"/>
                    </a:lnTo>
                    <a:lnTo>
                      <a:pt x="460" y="773"/>
                    </a:lnTo>
                    <a:lnTo>
                      <a:pt x="465" y="769"/>
                    </a:lnTo>
                    <a:lnTo>
                      <a:pt x="471" y="764"/>
                    </a:lnTo>
                    <a:lnTo>
                      <a:pt x="477" y="760"/>
                    </a:lnTo>
                    <a:lnTo>
                      <a:pt x="485" y="757"/>
                    </a:lnTo>
                    <a:lnTo>
                      <a:pt x="493" y="754"/>
                    </a:lnTo>
                    <a:lnTo>
                      <a:pt x="502" y="752"/>
                    </a:lnTo>
                    <a:lnTo>
                      <a:pt x="510" y="751"/>
                    </a:lnTo>
                    <a:lnTo>
                      <a:pt x="521" y="751"/>
                    </a:lnTo>
                    <a:lnTo>
                      <a:pt x="521" y="745"/>
                    </a:lnTo>
                    <a:lnTo>
                      <a:pt x="511" y="729"/>
                    </a:lnTo>
                    <a:lnTo>
                      <a:pt x="505" y="713"/>
                    </a:lnTo>
                    <a:lnTo>
                      <a:pt x="499" y="697"/>
                    </a:lnTo>
                    <a:lnTo>
                      <a:pt x="494" y="682"/>
                    </a:lnTo>
                    <a:lnTo>
                      <a:pt x="490" y="667"/>
                    </a:lnTo>
                    <a:lnTo>
                      <a:pt x="484" y="653"/>
                    </a:lnTo>
                    <a:lnTo>
                      <a:pt x="476" y="640"/>
                    </a:lnTo>
                    <a:lnTo>
                      <a:pt x="468" y="628"/>
                    </a:lnTo>
                    <a:lnTo>
                      <a:pt x="472" y="623"/>
                    </a:lnTo>
                    <a:lnTo>
                      <a:pt x="476" y="619"/>
                    </a:lnTo>
                    <a:lnTo>
                      <a:pt x="479" y="614"/>
                    </a:lnTo>
                    <a:lnTo>
                      <a:pt x="481" y="610"/>
                    </a:lnTo>
                    <a:lnTo>
                      <a:pt x="484" y="599"/>
                    </a:lnTo>
                    <a:lnTo>
                      <a:pt x="486" y="589"/>
                    </a:lnTo>
                    <a:lnTo>
                      <a:pt x="487" y="579"/>
                    </a:lnTo>
                    <a:lnTo>
                      <a:pt x="488" y="567"/>
                    </a:lnTo>
                    <a:lnTo>
                      <a:pt x="491" y="555"/>
                    </a:lnTo>
                    <a:lnTo>
                      <a:pt x="494" y="541"/>
                    </a:lnTo>
                    <a:lnTo>
                      <a:pt x="497" y="533"/>
                    </a:lnTo>
                    <a:lnTo>
                      <a:pt x="501" y="526"/>
                    </a:lnTo>
                    <a:lnTo>
                      <a:pt x="505" y="519"/>
                    </a:lnTo>
                    <a:lnTo>
                      <a:pt x="509" y="512"/>
                    </a:lnTo>
                    <a:lnTo>
                      <a:pt x="520" y="499"/>
                    </a:lnTo>
                    <a:lnTo>
                      <a:pt x="532" y="486"/>
                    </a:lnTo>
                    <a:lnTo>
                      <a:pt x="546" y="476"/>
                    </a:lnTo>
                    <a:lnTo>
                      <a:pt x="558" y="468"/>
                    </a:lnTo>
                    <a:lnTo>
                      <a:pt x="570" y="461"/>
                    </a:lnTo>
                    <a:lnTo>
                      <a:pt x="581" y="455"/>
                    </a:lnTo>
                    <a:lnTo>
                      <a:pt x="581" y="234"/>
                    </a:lnTo>
                    <a:lnTo>
                      <a:pt x="129" y="0"/>
                    </a:lnTo>
                    <a:lnTo>
                      <a:pt x="116" y="1"/>
                    </a:lnTo>
                    <a:lnTo>
                      <a:pt x="106" y="3"/>
                    </a:lnTo>
                    <a:lnTo>
                      <a:pt x="98" y="5"/>
                    </a:lnTo>
                    <a:lnTo>
                      <a:pt x="89" y="6"/>
                    </a:lnTo>
                    <a:lnTo>
                      <a:pt x="79" y="15"/>
                    </a:lnTo>
                    <a:lnTo>
                      <a:pt x="69" y="24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40" name="Freeform 437">
                <a:extLst>
                  <a:ext uri="{FF2B5EF4-FFF2-40B4-BE49-F238E27FC236}">
                    <a16:creationId xmlns:a16="http://schemas.microsoft.com/office/drawing/2014/main" id="{DDBA5D48-9BAC-443C-AE60-B805E791907E}"/>
                  </a:ext>
                </a:extLst>
              </p:cNvPr>
              <p:cNvSpPr>
                <a:spLocks/>
              </p:cNvSpPr>
              <p:nvPr>
                <p:custDataLst>
                  <p:tags r:id="rId278"/>
                </p:custDataLst>
              </p:nvPr>
            </p:nvSpPr>
            <p:spPr bwMode="auto">
              <a:xfrm>
                <a:off x="4035042" y="2988210"/>
                <a:ext cx="18098" cy="63287"/>
              </a:xfrm>
              <a:custGeom>
                <a:avLst/>
                <a:gdLst>
                  <a:gd name="T0" fmla="*/ 3235678 w 45"/>
                  <a:gd name="T1" fmla="*/ 0 h 36"/>
                  <a:gd name="T2" fmla="*/ 0 w 45"/>
                  <a:gd name="T3" fmla="*/ 45362813 h 36"/>
                  <a:gd name="T4" fmla="*/ 2862439 w 45"/>
                  <a:gd name="T5" fmla="*/ 90725625 h 36"/>
                  <a:gd name="T6" fmla="*/ 5600347 w 45"/>
                  <a:gd name="T7" fmla="*/ 37803138 h 36"/>
                  <a:gd name="T8" fmla="*/ 3235678 w 45"/>
                  <a:gd name="T9" fmla="*/ 0 h 3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5" h="36">
                    <a:moveTo>
                      <a:pt x="26" y="0"/>
                    </a:moveTo>
                    <a:lnTo>
                      <a:pt x="0" y="18"/>
                    </a:lnTo>
                    <a:lnTo>
                      <a:pt x="23" y="36"/>
                    </a:lnTo>
                    <a:lnTo>
                      <a:pt x="45" y="1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841" name="Group 438">
                <a:extLst>
                  <a:ext uri="{FF2B5EF4-FFF2-40B4-BE49-F238E27FC236}">
                    <a16:creationId xmlns:a16="http://schemas.microsoft.com/office/drawing/2014/main" id="{84FDFF87-9563-4BA3-8411-9E1F7B053A8C}"/>
                  </a:ext>
                </a:extLst>
              </p:cNvPr>
              <p:cNvGrpSpPr>
                <a:grpSpLocks/>
              </p:cNvGrpSpPr>
              <p:nvPr>
                <p:custDataLst>
                  <p:tags r:id="rId279"/>
                </p:custDataLst>
              </p:nvPr>
            </p:nvGrpSpPr>
            <p:grpSpPr bwMode="auto">
              <a:xfrm>
                <a:off x="1984429" y="5304498"/>
                <a:ext cx="463246" cy="1160160"/>
                <a:chOff x="1589" y="3126"/>
                <a:chExt cx="290" cy="657"/>
              </a:xfrm>
            </p:grpSpPr>
            <p:sp>
              <p:nvSpPr>
                <p:cNvPr id="954" name="Freeform 439">
                  <a:extLst>
                    <a:ext uri="{FF2B5EF4-FFF2-40B4-BE49-F238E27FC236}">
                      <a16:creationId xmlns:a16="http://schemas.microsoft.com/office/drawing/2014/main" id="{5FFF9924-0339-460F-ACEC-231A0AD3AB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48" y="3536"/>
                  <a:ext cx="16" cy="17"/>
                </a:xfrm>
                <a:custGeom>
                  <a:avLst/>
                  <a:gdLst>
                    <a:gd name="T0" fmla="*/ 5 w 46"/>
                    <a:gd name="T1" fmla="*/ 1 h 51"/>
                    <a:gd name="T2" fmla="*/ 2 w 46"/>
                    <a:gd name="T3" fmla="*/ 0 h 51"/>
                    <a:gd name="T4" fmla="*/ 1 w 46"/>
                    <a:gd name="T5" fmla="*/ 1 h 51"/>
                    <a:gd name="T6" fmla="*/ 1 w 46"/>
                    <a:gd name="T7" fmla="*/ 1 h 51"/>
                    <a:gd name="T8" fmla="*/ 0 w 46"/>
                    <a:gd name="T9" fmla="*/ 1 h 51"/>
                    <a:gd name="T10" fmla="*/ 0 w 46"/>
                    <a:gd name="T11" fmla="*/ 2 h 51"/>
                    <a:gd name="T12" fmla="*/ 0 w 46"/>
                    <a:gd name="T13" fmla="*/ 2 h 51"/>
                    <a:gd name="T14" fmla="*/ 0 w 46"/>
                    <a:gd name="T15" fmla="*/ 2 h 51"/>
                    <a:gd name="T16" fmla="*/ 0 w 46"/>
                    <a:gd name="T17" fmla="*/ 3 h 51"/>
                    <a:gd name="T18" fmla="*/ 0 w 46"/>
                    <a:gd name="T19" fmla="*/ 3 h 51"/>
                    <a:gd name="T20" fmla="*/ 0 w 46"/>
                    <a:gd name="T21" fmla="*/ 4 h 51"/>
                    <a:gd name="T22" fmla="*/ 1 w 46"/>
                    <a:gd name="T23" fmla="*/ 5 h 51"/>
                    <a:gd name="T24" fmla="*/ 1 w 46"/>
                    <a:gd name="T25" fmla="*/ 5 h 51"/>
                    <a:gd name="T26" fmla="*/ 1 w 46"/>
                    <a:gd name="T27" fmla="*/ 5 h 51"/>
                    <a:gd name="T28" fmla="*/ 2 w 46"/>
                    <a:gd name="T29" fmla="*/ 6 h 51"/>
                    <a:gd name="T30" fmla="*/ 2 w 46"/>
                    <a:gd name="T31" fmla="*/ 6 h 51"/>
                    <a:gd name="T32" fmla="*/ 2 w 46"/>
                    <a:gd name="T33" fmla="*/ 6 h 51"/>
                    <a:gd name="T34" fmla="*/ 2 w 46"/>
                    <a:gd name="T35" fmla="*/ 6 h 51"/>
                    <a:gd name="T36" fmla="*/ 4 w 46"/>
                    <a:gd name="T37" fmla="*/ 6 h 51"/>
                    <a:gd name="T38" fmla="*/ 5 w 46"/>
                    <a:gd name="T39" fmla="*/ 6 h 51"/>
                    <a:gd name="T40" fmla="*/ 5 w 46"/>
                    <a:gd name="T41" fmla="*/ 4 h 51"/>
                    <a:gd name="T42" fmla="*/ 5 w 46"/>
                    <a:gd name="T43" fmla="*/ 3 h 51"/>
                    <a:gd name="T44" fmla="*/ 5 w 46"/>
                    <a:gd name="T45" fmla="*/ 2 h 51"/>
                    <a:gd name="T46" fmla="*/ 5 w 46"/>
                    <a:gd name="T47" fmla="*/ 1 h 51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0" t="0" r="r" b="b"/>
                  <a:pathLst>
                    <a:path w="46" h="51">
                      <a:moveTo>
                        <a:pt x="46" y="12"/>
                      </a:moveTo>
                      <a:lnTo>
                        <a:pt x="19" y="0"/>
                      </a:lnTo>
                      <a:lnTo>
                        <a:pt x="13" y="5"/>
                      </a:lnTo>
                      <a:lnTo>
                        <a:pt x="7" y="9"/>
                      </a:lnTo>
                      <a:lnTo>
                        <a:pt x="4" y="12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0" y="24"/>
                      </a:lnTo>
                      <a:lnTo>
                        <a:pt x="2" y="29"/>
                      </a:lnTo>
                      <a:lnTo>
                        <a:pt x="4" y="36"/>
                      </a:lnTo>
                      <a:lnTo>
                        <a:pt x="7" y="41"/>
                      </a:lnTo>
                      <a:lnTo>
                        <a:pt x="10" y="46"/>
                      </a:lnTo>
                      <a:lnTo>
                        <a:pt x="13" y="49"/>
                      </a:lnTo>
                      <a:lnTo>
                        <a:pt x="15" y="50"/>
                      </a:lnTo>
                      <a:lnTo>
                        <a:pt x="16" y="51"/>
                      </a:lnTo>
                      <a:lnTo>
                        <a:pt x="18" y="51"/>
                      </a:lnTo>
                      <a:lnTo>
                        <a:pt x="19" y="50"/>
                      </a:lnTo>
                      <a:lnTo>
                        <a:pt x="35" y="50"/>
                      </a:lnTo>
                      <a:lnTo>
                        <a:pt x="46" y="50"/>
                      </a:lnTo>
                      <a:lnTo>
                        <a:pt x="46" y="37"/>
                      </a:lnTo>
                      <a:lnTo>
                        <a:pt x="46" y="26"/>
                      </a:lnTo>
                      <a:lnTo>
                        <a:pt x="46" y="18"/>
                      </a:lnTo>
                      <a:lnTo>
                        <a:pt x="46" y="12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55" name="Freeform 440">
                  <a:extLst>
                    <a:ext uri="{FF2B5EF4-FFF2-40B4-BE49-F238E27FC236}">
                      <a16:creationId xmlns:a16="http://schemas.microsoft.com/office/drawing/2014/main" id="{10E436BB-7E3F-460E-B0E0-7EDBB963D6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9" y="3735"/>
                  <a:ext cx="63" cy="53"/>
                </a:xfrm>
                <a:custGeom>
                  <a:avLst/>
                  <a:gdLst>
                    <a:gd name="T0" fmla="*/ 0 w 192"/>
                    <a:gd name="T1" fmla="*/ 0 h 158"/>
                    <a:gd name="T2" fmla="*/ 0 w 192"/>
                    <a:gd name="T3" fmla="*/ 2 h 158"/>
                    <a:gd name="T4" fmla="*/ 0 w 192"/>
                    <a:gd name="T5" fmla="*/ 3 h 158"/>
                    <a:gd name="T6" fmla="*/ 0 w 192"/>
                    <a:gd name="T7" fmla="*/ 4 h 158"/>
                    <a:gd name="T8" fmla="*/ 1 w 192"/>
                    <a:gd name="T9" fmla="*/ 6 h 158"/>
                    <a:gd name="T10" fmla="*/ 1 w 192"/>
                    <a:gd name="T11" fmla="*/ 7 h 158"/>
                    <a:gd name="T12" fmla="*/ 2 w 192"/>
                    <a:gd name="T13" fmla="*/ 8 h 158"/>
                    <a:gd name="T14" fmla="*/ 2 w 192"/>
                    <a:gd name="T15" fmla="*/ 9 h 158"/>
                    <a:gd name="T16" fmla="*/ 3 w 192"/>
                    <a:gd name="T17" fmla="*/ 10 h 158"/>
                    <a:gd name="T18" fmla="*/ 5 w 192"/>
                    <a:gd name="T19" fmla="*/ 14 h 158"/>
                    <a:gd name="T20" fmla="*/ 7 w 192"/>
                    <a:gd name="T21" fmla="*/ 17 h 158"/>
                    <a:gd name="T22" fmla="*/ 8 w 192"/>
                    <a:gd name="T23" fmla="*/ 17 h 158"/>
                    <a:gd name="T24" fmla="*/ 9 w 192"/>
                    <a:gd name="T25" fmla="*/ 17 h 158"/>
                    <a:gd name="T26" fmla="*/ 9 w 192"/>
                    <a:gd name="T27" fmla="*/ 17 h 158"/>
                    <a:gd name="T28" fmla="*/ 10 w 192"/>
                    <a:gd name="T29" fmla="*/ 17 h 158"/>
                    <a:gd name="T30" fmla="*/ 11 w 192"/>
                    <a:gd name="T31" fmla="*/ 18 h 158"/>
                    <a:gd name="T32" fmla="*/ 13 w 192"/>
                    <a:gd name="T33" fmla="*/ 18 h 158"/>
                    <a:gd name="T34" fmla="*/ 16 w 192"/>
                    <a:gd name="T35" fmla="*/ 17 h 158"/>
                    <a:gd name="T36" fmla="*/ 21 w 192"/>
                    <a:gd name="T37" fmla="*/ 17 h 158"/>
                    <a:gd name="T38" fmla="*/ 20 w 192"/>
                    <a:gd name="T39" fmla="*/ 17 h 158"/>
                    <a:gd name="T40" fmla="*/ 19 w 192"/>
                    <a:gd name="T41" fmla="*/ 17 h 158"/>
                    <a:gd name="T42" fmla="*/ 18 w 192"/>
                    <a:gd name="T43" fmla="*/ 17 h 158"/>
                    <a:gd name="T44" fmla="*/ 17 w 192"/>
                    <a:gd name="T45" fmla="*/ 17 h 158"/>
                    <a:gd name="T46" fmla="*/ 16 w 192"/>
                    <a:gd name="T47" fmla="*/ 16 h 158"/>
                    <a:gd name="T48" fmla="*/ 14 w 192"/>
                    <a:gd name="T49" fmla="*/ 15 h 158"/>
                    <a:gd name="T50" fmla="*/ 12 w 192"/>
                    <a:gd name="T51" fmla="*/ 15 h 158"/>
                    <a:gd name="T52" fmla="*/ 11 w 192"/>
                    <a:gd name="T53" fmla="*/ 13 h 158"/>
                    <a:gd name="T54" fmla="*/ 10 w 192"/>
                    <a:gd name="T55" fmla="*/ 12 h 158"/>
                    <a:gd name="T56" fmla="*/ 8 w 192"/>
                    <a:gd name="T57" fmla="*/ 11 h 158"/>
                    <a:gd name="T58" fmla="*/ 7 w 192"/>
                    <a:gd name="T59" fmla="*/ 10 h 158"/>
                    <a:gd name="T60" fmla="*/ 6 w 192"/>
                    <a:gd name="T61" fmla="*/ 8 h 158"/>
                    <a:gd name="T62" fmla="*/ 5 w 192"/>
                    <a:gd name="T63" fmla="*/ 7 h 158"/>
                    <a:gd name="T64" fmla="*/ 4 w 192"/>
                    <a:gd name="T65" fmla="*/ 6 h 158"/>
                    <a:gd name="T66" fmla="*/ 3 w 192"/>
                    <a:gd name="T67" fmla="*/ 4 h 158"/>
                    <a:gd name="T68" fmla="*/ 2 w 192"/>
                    <a:gd name="T69" fmla="*/ 3 h 158"/>
                    <a:gd name="T70" fmla="*/ 2 w 192"/>
                    <a:gd name="T71" fmla="*/ 2 h 158"/>
                    <a:gd name="T72" fmla="*/ 1 w 192"/>
                    <a:gd name="T73" fmla="*/ 1 h 158"/>
                    <a:gd name="T74" fmla="*/ 0 w 192"/>
                    <a:gd name="T75" fmla="*/ 0 h 158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</a:gdLst>
                  <a:ahLst/>
                  <a:cxnLst>
                    <a:cxn ang="T76">
                      <a:pos x="T0" y="T1"/>
                    </a:cxn>
                    <a:cxn ang="T77">
                      <a:pos x="T2" y="T3"/>
                    </a:cxn>
                    <a:cxn ang="T78">
                      <a:pos x="T4" y="T5"/>
                    </a:cxn>
                    <a:cxn ang="T79">
                      <a:pos x="T6" y="T7"/>
                    </a:cxn>
                    <a:cxn ang="T80">
                      <a:pos x="T8" y="T9"/>
                    </a:cxn>
                    <a:cxn ang="T81">
                      <a:pos x="T10" y="T11"/>
                    </a:cxn>
                    <a:cxn ang="T82">
                      <a:pos x="T12" y="T13"/>
                    </a:cxn>
                    <a:cxn ang="T83">
                      <a:pos x="T14" y="T15"/>
                    </a:cxn>
                    <a:cxn ang="T84">
                      <a:pos x="T16" y="T17"/>
                    </a:cxn>
                    <a:cxn ang="T85">
                      <a:pos x="T18" y="T19"/>
                    </a:cxn>
                    <a:cxn ang="T86">
                      <a:pos x="T20" y="T21"/>
                    </a:cxn>
                    <a:cxn ang="T87">
                      <a:pos x="T22" y="T23"/>
                    </a:cxn>
                    <a:cxn ang="T88">
                      <a:pos x="T24" y="T25"/>
                    </a:cxn>
                    <a:cxn ang="T89">
                      <a:pos x="T26" y="T27"/>
                    </a:cxn>
                    <a:cxn ang="T90">
                      <a:pos x="T28" y="T29"/>
                    </a:cxn>
                    <a:cxn ang="T91">
                      <a:pos x="T30" y="T31"/>
                    </a:cxn>
                    <a:cxn ang="T92">
                      <a:pos x="T32" y="T33"/>
                    </a:cxn>
                    <a:cxn ang="T93">
                      <a:pos x="T34" y="T35"/>
                    </a:cxn>
                    <a:cxn ang="T94">
                      <a:pos x="T36" y="T37"/>
                    </a:cxn>
                    <a:cxn ang="T95">
                      <a:pos x="T38" y="T39"/>
                    </a:cxn>
                    <a:cxn ang="T96">
                      <a:pos x="T40" y="T41"/>
                    </a:cxn>
                    <a:cxn ang="T97">
                      <a:pos x="T42" y="T43"/>
                    </a:cxn>
                    <a:cxn ang="T98">
                      <a:pos x="T44" y="T45"/>
                    </a:cxn>
                    <a:cxn ang="T99">
                      <a:pos x="T46" y="T47"/>
                    </a:cxn>
                    <a:cxn ang="T100">
                      <a:pos x="T48" y="T49"/>
                    </a:cxn>
                    <a:cxn ang="T101">
                      <a:pos x="T50" y="T51"/>
                    </a:cxn>
                    <a:cxn ang="T102">
                      <a:pos x="T52" y="T53"/>
                    </a:cxn>
                    <a:cxn ang="T103">
                      <a:pos x="T54" y="T55"/>
                    </a:cxn>
                    <a:cxn ang="T104">
                      <a:pos x="T56" y="T57"/>
                    </a:cxn>
                    <a:cxn ang="T105">
                      <a:pos x="T58" y="T59"/>
                    </a:cxn>
                    <a:cxn ang="T106">
                      <a:pos x="T60" y="T61"/>
                    </a:cxn>
                    <a:cxn ang="T107">
                      <a:pos x="T62" y="T63"/>
                    </a:cxn>
                    <a:cxn ang="T108">
                      <a:pos x="T64" y="T65"/>
                    </a:cxn>
                    <a:cxn ang="T109">
                      <a:pos x="T66" y="T67"/>
                    </a:cxn>
                    <a:cxn ang="T110">
                      <a:pos x="T68" y="T69"/>
                    </a:cxn>
                    <a:cxn ang="T111">
                      <a:pos x="T70" y="T71"/>
                    </a:cxn>
                    <a:cxn ang="T112">
                      <a:pos x="T72" y="T73"/>
                    </a:cxn>
                    <a:cxn ang="T113">
                      <a:pos x="T74" y="T75"/>
                    </a:cxn>
                  </a:cxnLst>
                  <a:rect l="0" t="0" r="r" b="b"/>
                  <a:pathLst>
                    <a:path w="192" h="158">
                      <a:moveTo>
                        <a:pt x="0" y="0"/>
                      </a:moveTo>
                      <a:lnTo>
                        <a:pt x="0" y="14"/>
                      </a:lnTo>
                      <a:lnTo>
                        <a:pt x="2" y="26"/>
                      </a:lnTo>
                      <a:lnTo>
                        <a:pt x="4" y="38"/>
                      </a:lnTo>
                      <a:lnTo>
                        <a:pt x="7" y="50"/>
                      </a:lnTo>
                      <a:lnTo>
                        <a:pt x="11" y="61"/>
                      </a:lnTo>
                      <a:lnTo>
                        <a:pt x="15" y="71"/>
                      </a:lnTo>
                      <a:lnTo>
                        <a:pt x="21" y="81"/>
                      </a:lnTo>
                      <a:lnTo>
                        <a:pt x="25" y="90"/>
                      </a:lnTo>
                      <a:lnTo>
                        <a:pt x="47" y="122"/>
                      </a:lnTo>
                      <a:lnTo>
                        <a:pt x="66" y="148"/>
                      </a:lnTo>
                      <a:lnTo>
                        <a:pt x="72" y="151"/>
                      </a:lnTo>
                      <a:lnTo>
                        <a:pt x="79" y="153"/>
                      </a:lnTo>
                      <a:lnTo>
                        <a:pt x="85" y="155"/>
                      </a:lnTo>
                      <a:lnTo>
                        <a:pt x="92" y="156"/>
                      </a:lnTo>
                      <a:lnTo>
                        <a:pt x="105" y="158"/>
                      </a:lnTo>
                      <a:lnTo>
                        <a:pt x="119" y="158"/>
                      </a:lnTo>
                      <a:lnTo>
                        <a:pt x="152" y="155"/>
                      </a:lnTo>
                      <a:lnTo>
                        <a:pt x="192" y="154"/>
                      </a:lnTo>
                      <a:lnTo>
                        <a:pt x="184" y="153"/>
                      </a:lnTo>
                      <a:lnTo>
                        <a:pt x="176" y="152"/>
                      </a:lnTo>
                      <a:lnTo>
                        <a:pt x="168" y="151"/>
                      </a:lnTo>
                      <a:lnTo>
                        <a:pt x="160" y="149"/>
                      </a:lnTo>
                      <a:lnTo>
                        <a:pt x="145" y="144"/>
                      </a:lnTo>
                      <a:lnTo>
                        <a:pt x="129" y="138"/>
                      </a:lnTo>
                      <a:lnTo>
                        <a:pt x="115" y="130"/>
                      </a:lnTo>
                      <a:lnTo>
                        <a:pt x="101" y="120"/>
                      </a:lnTo>
                      <a:lnTo>
                        <a:pt x="87" y="110"/>
                      </a:lnTo>
                      <a:lnTo>
                        <a:pt x="75" y="98"/>
                      </a:lnTo>
                      <a:lnTo>
                        <a:pt x="63" y="87"/>
                      </a:lnTo>
                      <a:lnTo>
                        <a:pt x="52" y="75"/>
                      </a:lnTo>
                      <a:lnTo>
                        <a:pt x="42" y="63"/>
                      </a:lnTo>
                      <a:lnTo>
                        <a:pt x="35" y="50"/>
                      </a:lnTo>
                      <a:lnTo>
                        <a:pt x="27" y="38"/>
                      </a:lnTo>
                      <a:lnTo>
                        <a:pt x="21" y="26"/>
                      </a:lnTo>
                      <a:lnTo>
                        <a:pt x="16" y="16"/>
                      </a:lnTo>
                      <a:lnTo>
                        <a:pt x="13" y="6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56" name="Freeform 441">
                  <a:extLst>
                    <a:ext uri="{FF2B5EF4-FFF2-40B4-BE49-F238E27FC236}">
                      <a16:creationId xmlns:a16="http://schemas.microsoft.com/office/drawing/2014/main" id="{B395CCE7-9CA3-4DD1-8454-45E5043F4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9" y="3126"/>
                  <a:ext cx="290" cy="606"/>
                </a:xfrm>
                <a:custGeom>
                  <a:avLst/>
                  <a:gdLst>
                    <a:gd name="T0" fmla="*/ 83 w 884"/>
                    <a:gd name="T1" fmla="*/ 46 h 1818"/>
                    <a:gd name="T2" fmla="*/ 94 w 884"/>
                    <a:gd name="T3" fmla="*/ 38 h 1818"/>
                    <a:gd name="T4" fmla="*/ 95 w 884"/>
                    <a:gd name="T5" fmla="*/ 26 h 1818"/>
                    <a:gd name="T6" fmla="*/ 91 w 884"/>
                    <a:gd name="T7" fmla="*/ 21 h 1818"/>
                    <a:gd name="T8" fmla="*/ 91 w 884"/>
                    <a:gd name="T9" fmla="*/ 29 h 1818"/>
                    <a:gd name="T10" fmla="*/ 83 w 884"/>
                    <a:gd name="T11" fmla="*/ 36 h 1818"/>
                    <a:gd name="T12" fmla="*/ 72 w 884"/>
                    <a:gd name="T13" fmla="*/ 37 h 1818"/>
                    <a:gd name="T14" fmla="*/ 67 w 884"/>
                    <a:gd name="T15" fmla="*/ 32 h 1818"/>
                    <a:gd name="T16" fmla="*/ 71 w 884"/>
                    <a:gd name="T17" fmla="*/ 24 h 1818"/>
                    <a:gd name="T18" fmla="*/ 58 w 884"/>
                    <a:gd name="T19" fmla="*/ 16 h 1818"/>
                    <a:gd name="T20" fmla="*/ 46 w 884"/>
                    <a:gd name="T21" fmla="*/ 10 h 1818"/>
                    <a:gd name="T22" fmla="*/ 40 w 884"/>
                    <a:gd name="T23" fmla="*/ 1 h 1818"/>
                    <a:gd name="T24" fmla="*/ 31 w 884"/>
                    <a:gd name="T25" fmla="*/ 2 h 1818"/>
                    <a:gd name="T26" fmla="*/ 25 w 884"/>
                    <a:gd name="T27" fmla="*/ 3 h 1818"/>
                    <a:gd name="T28" fmla="*/ 18 w 884"/>
                    <a:gd name="T29" fmla="*/ 1 h 1818"/>
                    <a:gd name="T30" fmla="*/ 10 w 884"/>
                    <a:gd name="T31" fmla="*/ 6 h 1818"/>
                    <a:gd name="T32" fmla="*/ 7 w 884"/>
                    <a:gd name="T33" fmla="*/ 13 h 1818"/>
                    <a:gd name="T34" fmla="*/ 3 w 884"/>
                    <a:gd name="T35" fmla="*/ 20 h 1818"/>
                    <a:gd name="T36" fmla="*/ 6 w 884"/>
                    <a:gd name="T37" fmla="*/ 28 h 1818"/>
                    <a:gd name="T38" fmla="*/ 6 w 884"/>
                    <a:gd name="T39" fmla="*/ 35 h 1818"/>
                    <a:gd name="T40" fmla="*/ 0 w 884"/>
                    <a:gd name="T41" fmla="*/ 48 h 1818"/>
                    <a:gd name="T42" fmla="*/ 1 w 884"/>
                    <a:gd name="T43" fmla="*/ 68 h 1818"/>
                    <a:gd name="T44" fmla="*/ 8 w 884"/>
                    <a:gd name="T45" fmla="*/ 77 h 1818"/>
                    <a:gd name="T46" fmla="*/ 7 w 884"/>
                    <a:gd name="T47" fmla="*/ 84 h 1818"/>
                    <a:gd name="T48" fmla="*/ 7 w 884"/>
                    <a:gd name="T49" fmla="*/ 90 h 1818"/>
                    <a:gd name="T50" fmla="*/ 9 w 884"/>
                    <a:gd name="T51" fmla="*/ 94 h 1818"/>
                    <a:gd name="T52" fmla="*/ 6 w 884"/>
                    <a:gd name="T53" fmla="*/ 100 h 1818"/>
                    <a:gd name="T54" fmla="*/ 9 w 884"/>
                    <a:gd name="T55" fmla="*/ 109 h 1818"/>
                    <a:gd name="T56" fmla="*/ 9 w 884"/>
                    <a:gd name="T57" fmla="*/ 117 h 1818"/>
                    <a:gd name="T58" fmla="*/ 9 w 884"/>
                    <a:gd name="T59" fmla="*/ 128 h 1818"/>
                    <a:gd name="T60" fmla="*/ 15 w 884"/>
                    <a:gd name="T61" fmla="*/ 141 h 1818"/>
                    <a:gd name="T62" fmla="*/ 21 w 884"/>
                    <a:gd name="T63" fmla="*/ 155 h 1818"/>
                    <a:gd name="T64" fmla="*/ 23 w 884"/>
                    <a:gd name="T65" fmla="*/ 163 h 1818"/>
                    <a:gd name="T66" fmla="*/ 25 w 884"/>
                    <a:gd name="T67" fmla="*/ 170 h 1818"/>
                    <a:gd name="T68" fmla="*/ 23 w 884"/>
                    <a:gd name="T69" fmla="*/ 177 h 1818"/>
                    <a:gd name="T70" fmla="*/ 22 w 884"/>
                    <a:gd name="T71" fmla="*/ 183 h 1818"/>
                    <a:gd name="T72" fmla="*/ 25 w 884"/>
                    <a:gd name="T73" fmla="*/ 191 h 1818"/>
                    <a:gd name="T74" fmla="*/ 33 w 884"/>
                    <a:gd name="T75" fmla="*/ 197 h 1818"/>
                    <a:gd name="T76" fmla="*/ 42 w 884"/>
                    <a:gd name="T77" fmla="*/ 200 h 1818"/>
                    <a:gd name="T78" fmla="*/ 49 w 884"/>
                    <a:gd name="T79" fmla="*/ 198 h 1818"/>
                    <a:gd name="T80" fmla="*/ 49 w 884"/>
                    <a:gd name="T81" fmla="*/ 189 h 1818"/>
                    <a:gd name="T82" fmla="*/ 51 w 884"/>
                    <a:gd name="T83" fmla="*/ 179 h 1818"/>
                    <a:gd name="T84" fmla="*/ 53 w 884"/>
                    <a:gd name="T85" fmla="*/ 168 h 1818"/>
                    <a:gd name="T86" fmla="*/ 45 w 884"/>
                    <a:gd name="T87" fmla="*/ 165 h 1818"/>
                    <a:gd name="T88" fmla="*/ 43 w 884"/>
                    <a:gd name="T89" fmla="*/ 159 h 1818"/>
                    <a:gd name="T90" fmla="*/ 49 w 884"/>
                    <a:gd name="T91" fmla="*/ 155 h 1818"/>
                    <a:gd name="T92" fmla="*/ 52 w 884"/>
                    <a:gd name="T93" fmla="*/ 148 h 1818"/>
                    <a:gd name="T94" fmla="*/ 49 w 884"/>
                    <a:gd name="T95" fmla="*/ 136 h 1818"/>
                    <a:gd name="T96" fmla="*/ 46 w 884"/>
                    <a:gd name="T97" fmla="*/ 127 h 1818"/>
                    <a:gd name="T98" fmla="*/ 56 w 884"/>
                    <a:gd name="T99" fmla="*/ 130 h 1818"/>
                    <a:gd name="T100" fmla="*/ 61 w 884"/>
                    <a:gd name="T101" fmla="*/ 128 h 1818"/>
                    <a:gd name="T102" fmla="*/ 60 w 884"/>
                    <a:gd name="T103" fmla="*/ 120 h 1818"/>
                    <a:gd name="T104" fmla="*/ 61 w 884"/>
                    <a:gd name="T105" fmla="*/ 114 h 1818"/>
                    <a:gd name="T106" fmla="*/ 73 w 884"/>
                    <a:gd name="T107" fmla="*/ 114 h 1818"/>
                    <a:gd name="T108" fmla="*/ 86 w 884"/>
                    <a:gd name="T109" fmla="*/ 108 h 1818"/>
                    <a:gd name="T110" fmla="*/ 88 w 884"/>
                    <a:gd name="T111" fmla="*/ 98 h 1818"/>
                    <a:gd name="T112" fmla="*/ 84 w 884"/>
                    <a:gd name="T113" fmla="*/ 95 h 1818"/>
                    <a:gd name="T114" fmla="*/ 82 w 884"/>
                    <a:gd name="T115" fmla="*/ 90 h 1818"/>
                    <a:gd name="T116" fmla="*/ 74 w 884"/>
                    <a:gd name="T117" fmla="*/ 84 h 1818"/>
                    <a:gd name="T118" fmla="*/ 75 w 884"/>
                    <a:gd name="T119" fmla="*/ 59 h 181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0" t="0" r="r" b="b"/>
                  <a:pathLst>
                    <a:path w="884" h="1818">
                      <a:moveTo>
                        <a:pt x="725" y="493"/>
                      </a:moveTo>
                      <a:lnTo>
                        <a:pt x="726" y="484"/>
                      </a:lnTo>
                      <a:lnTo>
                        <a:pt x="729" y="474"/>
                      </a:lnTo>
                      <a:lnTo>
                        <a:pt x="735" y="462"/>
                      </a:lnTo>
                      <a:lnTo>
                        <a:pt x="742" y="450"/>
                      </a:lnTo>
                      <a:lnTo>
                        <a:pt x="750" y="438"/>
                      </a:lnTo>
                      <a:lnTo>
                        <a:pt x="761" y="427"/>
                      </a:lnTo>
                      <a:lnTo>
                        <a:pt x="772" y="415"/>
                      </a:lnTo>
                      <a:lnTo>
                        <a:pt x="784" y="402"/>
                      </a:lnTo>
                      <a:lnTo>
                        <a:pt x="798" y="391"/>
                      </a:lnTo>
                      <a:lnTo>
                        <a:pt x="811" y="381"/>
                      </a:lnTo>
                      <a:lnTo>
                        <a:pt x="824" y="371"/>
                      </a:lnTo>
                      <a:lnTo>
                        <a:pt x="837" y="362"/>
                      </a:lnTo>
                      <a:lnTo>
                        <a:pt x="849" y="353"/>
                      </a:lnTo>
                      <a:lnTo>
                        <a:pt x="862" y="347"/>
                      </a:lnTo>
                      <a:lnTo>
                        <a:pt x="873" y="342"/>
                      </a:lnTo>
                      <a:lnTo>
                        <a:pt x="884" y="339"/>
                      </a:lnTo>
                      <a:lnTo>
                        <a:pt x="884" y="329"/>
                      </a:lnTo>
                      <a:lnTo>
                        <a:pt x="884" y="310"/>
                      </a:lnTo>
                      <a:lnTo>
                        <a:pt x="884" y="289"/>
                      </a:lnTo>
                      <a:lnTo>
                        <a:pt x="884" y="272"/>
                      </a:lnTo>
                      <a:lnTo>
                        <a:pt x="884" y="259"/>
                      </a:lnTo>
                      <a:lnTo>
                        <a:pt x="884" y="247"/>
                      </a:lnTo>
                      <a:lnTo>
                        <a:pt x="884" y="232"/>
                      </a:lnTo>
                      <a:lnTo>
                        <a:pt x="884" y="216"/>
                      </a:lnTo>
                      <a:lnTo>
                        <a:pt x="874" y="216"/>
                      </a:lnTo>
                      <a:lnTo>
                        <a:pt x="867" y="214"/>
                      </a:lnTo>
                      <a:lnTo>
                        <a:pt x="859" y="211"/>
                      </a:lnTo>
                      <a:lnTo>
                        <a:pt x="854" y="208"/>
                      </a:lnTo>
                      <a:lnTo>
                        <a:pt x="848" y="203"/>
                      </a:lnTo>
                      <a:lnTo>
                        <a:pt x="844" y="198"/>
                      </a:lnTo>
                      <a:lnTo>
                        <a:pt x="840" y="192"/>
                      </a:lnTo>
                      <a:lnTo>
                        <a:pt x="837" y="185"/>
                      </a:lnTo>
                      <a:lnTo>
                        <a:pt x="837" y="222"/>
                      </a:lnTo>
                      <a:lnTo>
                        <a:pt x="840" y="227"/>
                      </a:lnTo>
                      <a:lnTo>
                        <a:pt x="843" y="231"/>
                      </a:lnTo>
                      <a:lnTo>
                        <a:pt x="844" y="236"/>
                      </a:lnTo>
                      <a:lnTo>
                        <a:pt x="845" y="241"/>
                      </a:lnTo>
                      <a:lnTo>
                        <a:pt x="844" y="252"/>
                      </a:lnTo>
                      <a:lnTo>
                        <a:pt x="841" y="262"/>
                      </a:lnTo>
                      <a:lnTo>
                        <a:pt x="837" y="271"/>
                      </a:lnTo>
                      <a:lnTo>
                        <a:pt x="832" y="281"/>
                      </a:lnTo>
                      <a:lnTo>
                        <a:pt x="824" y="290"/>
                      </a:lnTo>
                      <a:lnTo>
                        <a:pt x="815" y="299"/>
                      </a:lnTo>
                      <a:lnTo>
                        <a:pt x="805" y="308"/>
                      </a:lnTo>
                      <a:lnTo>
                        <a:pt x="795" y="316"/>
                      </a:lnTo>
                      <a:lnTo>
                        <a:pt x="785" y="322"/>
                      </a:lnTo>
                      <a:lnTo>
                        <a:pt x="774" y="328"/>
                      </a:lnTo>
                      <a:lnTo>
                        <a:pt x="765" y="333"/>
                      </a:lnTo>
                      <a:lnTo>
                        <a:pt x="755" y="336"/>
                      </a:lnTo>
                      <a:lnTo>
                        <a:pt x="746" y="338"/>
                      </a:lnTo>
                      <a:lnTo>
                        <a:pt x="738" y="339"/>
                      </a:lnTo>
                      <a:lnTo>
                        <a:pt x="722" y="339"/>
                      </a:lnTo>
                      <a:lnTo>
                        <a:pt x="703" y="338"/>
                      </a:lnTo>
                      <a:lnTo>
                        <a:pt x="684" y="335"/>
                      </a:lnTo>
                      <a:lnTo>
                        <a:pt x="667" y="331"/>
                      </a:lnTo>
                      <a:lnTo>
                        <a:pt x="658" y="328"/>
                      </a:lnTo>
                      <a:lnTo>
                        <a:pt x="650" y="325"/>
                      </a:lnTo>
                      <a:lnTo>
                        <a:pt x="643" y="321"/>
                      </a:lnTo>
                      <a:lnTo>
                        <a:pt x="637" y="316"/>
                      </a:lnTo>
                      <a:lnTo>
                        <a:pt x="632" y="311"/>
                      </a:lnTo>
                      <a:lnTo>
                        <a:pt x="628" y="305"/>
                      </a:lnTo>
                      <a:lnTo>
                        <a:pt x="625" y="297"/>
                      </a:lnTo>
                      <a:lnTo>
                        <a:pt x="625" y="290"/>
                      </a:lnTo>
                      <a:lnTo>
                        <a:pt x="625" y="283"/>
                      </a:lnTo>
                      <a:lnTo>
                        <a:pt x="626" y="277"/>
                      </a:lnTo>
                      <a:lnTo>
                        <a:pt x="628" y="270"/>
                      </a:lnTo>
                      <a:lnTo>
                        <a:pt x="631" y="264"/>
                      </a:lnTo>
                      <a:lnTo>
                        <a:pt x="636" y="252"/>
                      </a:lnTo>
                      <a:lnTo>
                        <a:pt x="643" y="240"/>
                      </a:lnTo>
                      <a:lnTo>
                        <a:pt x="650" y="228"/>
                      </a:lnTo>
                      <a:lnTo>
                        <a:pt x="658" y="215"/>
                      </a:lnTo>
                      <a:lnTo>
                        <a:pt x="666" y="201"/>
                      </a:lnTo>
                      <a:lnTo>
                        <a:pt x="671" y="185"/>
                      </a:lnTo>
                      <a:lnTo>
                        <a:pt x="654" y="178"/>
                      </a:lnTo>
                      <a:lnTo>
                        <a:pt x="637" y="172"/>
                      </a:lnTo>
                      <a:lnTo>
                        <a:pt x="621" y="166"/>
                      </a:lnTo>
                      <a:lnTo>
                        <a:pt x="605" y="162"/>
                      </a:lnTo>
                      <a:lnTo>
                        <a:pt x="574" y="155"/>
                      </a:lnTo>
                      <a:lnTo>
                        <a:pt x="544" y="148"/>
                      </a:lnTo>
                      <a:lnTo>
                        <a:pt x="529" y="144"/>
                      </a:lnTo>
                      <a:lnTo>
                        <a:pt x="514" y="139"/>
                      </a:lnTo>
                      <a:lnTo>
                        <a:pt x="499" y="133"/>
                      </a:lnTo>
                      <a:lnTo>
                        <a:pt x="485" y="127"/>
                      </a:lnTo>
                      <a:lnTo>
                        <a:pt x="470" y="119"/>
                      </a:lnTo>
                      <a:lnTo>
                        <a:pt x="455" y="110"/>
                      </a:lnTo>
                      <a:lnTo>
                        <a:pt x="441" y="100"/>
                      </a:lnTo>
                      <a:lnTo>
                        <a:pt x="425" y="87"/>
                      </a:lnTo>
                      <a:lnTo>
                        <a:pt x="417" y="76"/>
                      </a:lnTo>
                      <a:lnTo>
                        <a:pt x="410" y="66"/>
                      </a:lnTo>
                      <a:lnTo>
                        <a:pt x="403" y="55"/>
                      </a:lnTo>
                      <a:lnTo>
                        <a:pt x="398" y="44"/>
                      </a:lnTo>
                      <a:lnTo>
                        <a:pt x="390" y="32"/>
                      </a:lnTo>
                      <a:lnTo>
                        <a:pt x="383" y="20"/>
                      </a:lnTo>
                      <a:lnTo>
                        <a:pt x="378" y="15"/>
                      </a:lnTo>
                      <a:lnTo>
                        <a:pt x="373" y="10"/>
                      </a:lnTo>
                      <a:lnTo>
                        <a:pt x="366" y="5"/>
                      </a:lnTo>
                      <a:lnTo>
                        <a:pt x="359" y="0"/>
                      </a:lnTo>
                      <a:lnTo>
                        <a:pt x="332" y="6"/>
                      </a:lnTo>
                      <a:lnTo>
                        <a:pt x="308" y="11"/>
                      </a:lnTo>
                      <a:lnTo>
                        <a:pt x="302" y="13"/>
                      </a:lnTo>
                      <a:lnTo>
                        <a:pt x="297" y="15"/>
                      </a:lnTo>
                      <a:lnTo>
                        <a:pt x="291" y="19"/>
                      </a:lnTo>
                      <a:lnTo>
                        <a:pt x="286" y="22"/>
                      </a:lnTo>
                      <a:lnTo>
                        <a:pt x="281" y="28"/>
                      </a:lnTo>
                      <a:lnTo>
                        <a:pt x="276" y="34"/>
                      </a:lnTo>
                      <a:lnTo>
                        <a:pt x="272" y="41"/>
                      </a:lnTo>
                      <a:lnTo>
                        <a:pt x="266" y="50"/>
                      </a:lnTo>
                      <a:lnTo>
                        <a:pt x="257" y="44"/>
                      </a:lnTo>
                      <a:lnTo>
                        <a:pt x="249" y="38"/>
                      </a:lnTo>
                      <a:lnTo>
                        <a:pt x="242" y="31"/>
                      </a:lnTo>
                      <a:lnTo>
                        <a:pt x="234" y="24"/>
                      </a:lnTo>
                      <a:lnTo>
                        <a:pt x="225" y="17"/>
                      </a:lnTo>
                      <a:lnTo>
                        <a:pt x="215" y="11"/>
                      </a:lnTo>
                      <a:lnTo>
                        <a:pt x="209" y="9"/>
                      </a:lnTo>
                      <a:lnTo>
                        <a:pt x="202" y="8"/>
                      </a:lnTo>
                      <a:lnTo>
                        <a:pt x="195" y="7"/>
                      </a:lnTo>
                      <a:lnTo>
                        <a:pt x="186" y="6"/>
                      </a:lnTo>
                      <a:lnTo>
                        <a:pt x="178" y="7"/>
                      </a:lnTo>
                      <a:lnTo>
                        <a:pt x="171" y="8"/>
                      </a:lnTo>
                      <a:lnTo>
                        <a:pt x="163" y="11"/>
                      </a:lnTo>
                      <a:lnTo>
                        <a:pt x="156" y="14"/>
                      </a:lnTo>
                      <a:lnTo>
                        <a:pt x="143" y="22"/>
                      </a:lnTo>
                      <a:lnTo>
                        <a:pt x="132" y="32"/>
                      </a:lnTo>
                      <a:lnTo>
                        <a:pt x="120" y="41"/>
                      </a:lnTo>
                      <a:lnTo>
                        <a:pt x="110" y="48"/>
                      </a:lnTo>
                      <a:lnTo>
                        <a:pt x="105" y="51"/>
                      </a:lnTo>
                      <a:lnTo>
                        <a:pt x="98" y="54"/>
                      </a:lnTo>
                      <a:lnTo>
                        <a:pt x="93" y="55"/>
                      </a:lnTo>
                      <a:lnTo>
                        <a:pt x="87" y="56"/>
                      </a:lnTo>
                      <a:lnTo>
                        <a:pt x="86" y="69"/>
                      </a:lnTo>
                      <a:lnTo>
                        <a:pt x="84" y="81"/>
                      </a:lnTo>
                      <a:lnTo>
                        <a:pt x="82" y="91"/>
                      </a:lnTo>
                      <a:lnTo>
                        <a:pt x="77" y="100"/>
                      </a:lnTo>
                      <a:lnTo>
                        <a:pt x="73" y="109"/>
                      </a:lnTo>
                      <a:lnTo>
                        <a:pt x="67" y="116"/>
                      </a:lnTo>
                      <a:lnTo>
                        <a:pt x="62" y="123"/>
                      </a:lnTo>
                      <a:lnTo>
                        <a:pt x="56" y="129"/>
                      </a:lnTo>
                      <a:lnTo>
                        <a:pt x="45" y="141"/>
                      </a:lnTo>
                      <a:lnTo>
                        <a:pt x="37" y="152"/>
                      </a:lnTo>
                      <a:lnTo>
                        <a:pt x="32" y="158"/>
                      </a:lnTo>
                      <a:lnTo>
                        <a:pt x="30" y="164"/>
                      </a:lnTo>
                      <a:lnTo>
                        <a:pt x="28" y="171"/>
                      </a:lnTo>
                      <a:lnTo>
                        <a:pt x="27" y="179"/>
                      </a:lnTo>
                      <a:lnTo>
                        <a:pt x="28" y="186"/>
                      </a:lnTo>
                      <a:lnTo>
                        <a:pt x="28" y="194"/>
                      </a:lnTo>
                      <a:lnTo>
                        <a:pt x="30" y="201"/>
                      </a:lnTo>
                      <a:lnTo>
                        <a:pt x="32" y="207"/>
                      </a:lnTo>
                      <a:lnTo>
                        <a:pt x="38" y="218"/>
                      </a:lnTo>
                      <a:lnTo>
                        <a:pt x="43" y="228"/>
                      </a:lnTo>
                      <a:lnTo>
                        <a:pt x="50" y="239"/>
                      </a:lnTo>
                      <a:lnTo>
                        <a:pt x="55" y="251"/>
                      </a:lnTo>
                      <a:lnTo>
                        <a:pt x="57" y="257"/>
                      </a:lnTo>
                      <a:lnTo>
                        <a:pt x="59" y="263"/>
                      </a:lnTo>
                      <a:lnTo>
                        <a:pt x="60" y="270"/>
                      </a:lnTo>
                      <a:lnTo>
                        <a:pt x="60" y="278"/>
                      </a:lnTo>
                      <a:lnTo>
                        <a:pt x="60" y="289"/>
                      </a:lnTo>
                      <a:lnTo>
                        <a:pt x="57" y="299"/>
                      </a:lnTo>
                      <a:lnTo>
                        <a:pt x="54" y="310"/>
                      </a:lnTo>
                      <a:lnTo>
                        <a:pt x="51" y="319"/>
                      </a:lnTo>
                      <a:lnTo>
                        <a:pt x="41" y="337"/>
                      </a:lnTo>
                      <a:lnTo>
                        <a:pt x="30" y="354"/>
                      </a:lnTo>
                      <a:lnTo>
                        <a:pt x="19" y="372"/>
                      </a:lnTo>
                      <a:lnTo>
                        <a:pt x="9" y="390"/>
                      </a:lnTo>
                      <a:lnTo>
                        <a:pt x="6" y="400"/>
                      </a:lnTo>
                      <a:lnTo>
                        <a:pt x="3" y="410"/>
                      </a:lnTo>
                      <a:lnTo>
                        <a:pt x="2" y="421"/>
                      </a:lnTo>
                      <a:lnTo>
                        <a:pt x="0" y="432"/>
                      </a:lnTo>
                      <a:lnTo>
                        <a:pt x="0" y="471"/>
                      </a:lnTo>
                      <a:lnTo>
                        <a:pt x="0" y="501"/>
                      </a:lnTo>
                      <a:lnTo>
                        <a:pt x="0" y="529"/>
                      </a:lnTo>
                      <a:lnTo>
                        <a:pt x="0" y="561"/>
                      </a:lnTo>
                      <a:lnTo>
                        <a:pt x="2" y="574"/>
                      </a:lnTo>
                      <a:lnTo>
                        <a:pt x="4" y="587"/>
                      </a:lnTo>
                      <a:lnTo>
                        <a:pt x="8" y="598"/>
                      </a:lnTo>
                      <a:lnTo>
                        <a:pt x="12" y="609"/>
                      </a:lnTo>
                      <a:lnTo>
                        <a:pt x="19" y="618"/>
                      </a:lnTo>
                      <a:lnTo>
                        <a:pt x="26" y="627"/>
                      </a:lnTo>
                      <a:lnTo>
                        <a:pt x="33" y="637"/>
                      </a:lnTo>
                      <a:lnTo>
                        <a:pt x="40" y="645"/>
                      </a:lnTo>
                      <a:lnTo>
                        <a:pt x="55" y="662"/>
                      </a:lnTo>
                      <a:lnTo>
                        <a:pt x="67" y="678"/>
                      </a:lnTo>
                      <a:lnTo>
                        <a:pt x="73" y="686"/>
                      </a:lnTo>
                      <a:lnTo>
                        <a:pt x="76" y="696"/>
                      </a:lnTo>
                      <a:lnTo>
                        <a:pt x="79" y="705"/>
                      </a:lnTo>
                      <a:lnTo>
                        <a:pt x="81" y="715"/>
                      </a:lnTo>
                      <a:lnTo>
                        <a:pt x="79" y="722"/>
                      </a:lnTo>
                      <a:lnTo>
                        <a:pt x="78" y="728"/>
                      </a:lnTo>
                      <a:lnTo>
                        <a:pt x="75" y="733"/>
                      </a:lnTo>
                      <a:lnTo>
                        <a:pt x="73" y="738"/>
                      </a:lnTo>
                      <a:lnTo>
                        <a:pt x="66" y="747"/>
                      </a:lnTo>
                      <a:lnTo>
                        <a:pt x="60" y="753"/>
                      </a:lnTo>
                      <a:lnTo>
                        <a:pt x="71" y="753"/>
                      </a:lnTo>
                      <a:lnTo>
                        <a:pt x="81" y="753"/>
                      </a:lnTo>
                      <a:lnTo>
                        <a:pt x="79" y="760"/>
                      </a:lnTo>
                      <a:lnTo>
                        <a:pt x="77" y="768"/>
                      </a:lnTo>
                      <a:lnTo>
                        <a:pt x="74" y="776"/>
                      </a:lnTo>
                      <a:lnTo>
                        <a:pt x="71" y="784"/>
                      </a:lnTo>
                      <a:lnTo>
                        <a:pt x="63" y="799"/>
                      </a:lnTo>
                      <a:lnTo>
                        <a:pt x="60" y="808"/>
                      </a:lnTo>
                      <a:lnTo>
                        <a:pt x="61" y="813"/>
                      </a:lnTo>
                      <a:lnTo>
                        <a:pt x="63" y="817"/>
                      </a:lnTo>
                      <a:lnTo>
                        <a:pt x="66" y="822"/>
                      </a:lnTo>
                      <a:lnTo>
                        <a:pt x="71" y="827"/>
                      </a:lnTo>
                      <a:lnTo>
                        <a:pt x="74" y="832"/>
                      </a:lnTo>
                      <a:lnTo>
                        <a:pt x="77" y="838"/>
                      </a:lnTo>
                      <a:lnTo>
                        <a:pt x="79" y="844"/>
                      </a:lnTo>
                      <a:lnTo>
                        <a:pt x="81" y="850"/>
                      </a:lnTo>
                      <a:lnTo>
                        <a:pt x="79" y="858"/>
                      </a:lnTo>
                      <a:lnTo>
                        <a:pt x="76" y="864"/>
                      </a:lnTo>
                      <a:lnTo>
                        <a:pt x="72" y="870"/>
                      </a:lnTo>
                      <a:lnTo>
                        <a:pt x="67" y="876"/>
                      </a:lnTo>
                      <a:lnTo>
                        <a:pt x="62" y="881"/>
                      </a:lnTo>
                      <a:lnTo>
                        <a:pt x="57" y="887"/>
                      </a:lnTo>
                      <a:lnTo>
                        <a:pt x="54" y="893"/>
                      </a:lnTo>
                      <a:lnTo>
                        <a:pt x="53" y="900"/>
                      </a:lnTo>
                      <a:lnTo>
                        <a:pt x="54" y="909"/>
                      </a:lnTo>
                      <a:lnTo>
                        <a:pt x="55" y="918"/>
                      </a:lnTo>
                      <a:lnTo>
                        <a:pt x="56" y="925"/>
                      </a:lnTo>
                      <a:lnTo>
                        <a:pt x="59" y="932"/>
                      </a:lnTo>
                      <a:lnTo>
                        <a:pt x="64" y="945"/>
                      </a:lnTo>
                      <a:lnTo>
                        <a:pt x="71" y="958"/>
                      </a:lnTo>
                      <a:lnTo>
                        <a:pt x="76" y="970"/>
                      </a:lnTo>
                      <a:lnTo>
                        <a:pt x="82" y="983"/>
                      </a:lnTo>
                      <a:lnTo>
                        <a:pt x="84" y="989"/>
                      </a:lnTo>
                      <a:lnTo>
                        <a:pt x="85" y="996"/>
                      </a:lnTo>
                      <a:lnTo>
                        <a:pt x="86" y="1003"/>
                      </a:lnTo>
                      <a:lnTo>
                        <a:pt x="87" y="1011"/>
                      </a:lnTo>
                      <a:lnTo>
                        <a:pt x="86" y="1022"/>
                      </a:lnTo>
                      <a:lnTo>
                        <a:pt x="85" y="1034"/>
                      </a:lnTo>
                      <a:lnTo>
                        <a:pt x="83" y="1044"/>
                      </a:lnTo>
                      <a:lnTo>
                        <a:pt x="81" y="1055"/>
                      </a:lnTo>
                      <a:lnTo>
                        <a:pt x="77" y="1066"/>
                      </a:lnTo>
                      <a:lnTo>
                        <a:pt x="75" y="1077"/>
                      </a:lnTo>
                      <a:lnTo>
                        <a:pt x="74" y="1090"/>
                      </a:lnTo>
                      <a:lnTo>
                        <a:pt x="74" y="1103"/>
                      </a:lnTo>
                      <a:lnTo>
                        <a:pt x="74" y="1116"/>
                      </a:lnTo>
                      <a:lnTo>
                        <a:pt x="75" y="1128"/>
                      </a:lnTo>
                      <a:lnTo>
                        <a:pt x="76" y="1141"/>
                      </a:lnTo>
                      <a:lnTo>
                        <a:pt x="78" y="1152"/>
                      </a:lnTo>
                      <a:lnTo>
                        <a:pt x="82" y="1163"/>
                      </a:lnTo>
                      <a:lnTo>
                        <a:pt x="85" y="1174"/>
                      </a:lnTo>
                      <a:lnTo>
                        <a:pt x="89" y="1184"/>
                      </a:lnTo>
                      <a:lnTo>
                        <a:pt x="94" y="1195"/>
                      </a:lnTo>
                      <a:lnTo>
                        <a:pt x="103" y="1213"/>
                      </a:lnTo>
                      <a:lnTo>
                        <a:pt x="113" y="1231"/>
                      </a:lnTo>
                      <a:lnTo>
                        <a:pt x="124" y="1249"/>
                      </a:lnTo>
                      <a:lnTo>
                        <a:pt x="137" y="1265"/>
                      </a:lnTo>
                      <a:lnTo>
                        <a:pt x="149" y="1282"/>
                      </a:lnTo>
                      <a:lnTo>
                        <a:pt x="160" y="1298"/>
                      </a:lnTo>
                      <a:lnTo>
                        <a:pt x="171" y="1316"/>
                      </a:lnTo>
                      <a:lnTo>
                        <a:pt x="180" y="1334"/>
                      </a:lnTo>
                      <a:lnTo>
                        <a:pt x="188" y="1352"/>
                      </a:lnTo>
                      <a:lnTo>
                        <a:pt x="195" y="1373"/>
                      </a:lnTo>
                      <a:lnTo>
                        <a:pt x="197" y="1383"/>
                      </a:lnTo>
                      <a:lnTo>
                        <a:pt x="198" y="1394"/>
                      </a:lnTo>
                      <a:lnTo>
                        <a:pt x="199" y="1405"/>
                      </a:lnTo>
                      <a:lnTo>
                        <a:pt x="200" y="1418"/>
                      </a:lnTo>
                      <a:lnTo>
                        <a:pt x="200" y="1425"/>
                      </a:lnTo>
                      <a:lnTo>
                        <a:pt x="201" y="1431"/>
                      </a:lnTo>
                      <a:lnTo>
                        <a:pt x="202" y="1437"/>
                      </a:lnTo>
                      <a:lnTo>
                        <a:pt x="205" y="1442"/>
                      </a:lnTo>
                      <a:lnTo>
                        <a:pt x="210" y="1453"/>
                      </a:lnTo>
                      <a:lnTo>
                        <a:pt x="217" y="1463"/>
                      </a:lnTo>
                      <a:lnTo>
                        <a:pt x="222" y="1475"/>
                      </a:lnTo>
                      <a:lnTo>
                        <a:pt x="228" y="1485"/>
                      </a:lnTo>
                      <a:lnTo>
                        <a:pt x="230" y="1491"/>
                      </a:lnTo>
                      <a:lnTo>
                        <a:pt x="231" y="1497"/>
                      </a:lnTo>
                      <a:lnTo>
                        <a:pt x="232" y="1503"/>
                      </a:lnTo>
                      <a:lnTo>
                        <a:pt x="233" y="1510"/>
                      </a:lnTo>
                      <a:lnTo>
                        <a:pt x="232" y="1518"/>
                      </a:lnTo>
                      <a:lnTo>
                        <a:pt x="230" y="1526"/>
                      </a:lnTo>
                      <a:lnTo>
                        <a:pt x="227" y="1532"/>
                      </a:lnTo>
                      <a:lnTo>
                        <a:pt x="223" y="1537"/>
                      </a:lnTo>
                      <a:lnTo>
                        <a:pt x="219" y="1542"/>
                      </a:lnTo>
                      <a:lnTo>
                        <a:pt x="216" y="1547"/>
                      </a:lnTo>
                      <a:lnTo>
                        <a:pt x="213" y="1553"/>
                      </a:lnTo>
                      <a:lnTo>
                        <a:pt x="213" y="1559"/>
                      </a:lnTo>
                      <a:lnTo>
                        <a:pt x="213" y="1578"/>
                      </a:lnTo>
                      <a:lnTo>
                        <a:pt x="213" y="1590"/>
                      </a:lnTo>
                      <a:lnTo>
                        <a:pt x="213" y="1598"/>
                      </a:lnTo>
                      <a:lnTo>
                        <a:pt x="213" y="1603"/>
                      </a:lnTo>
                      <a:lnTo>
                        <a:pt x="212" y="1609"/>
                      </a:lnTo>
                      <a:lnTo>
                        <a:pt x="211" y="1615"/>
                      </a:lnTo>
                      <a:lnTo>
                        <a:pt x="209" y="1622"/>
                      </a:lnTo>
                      <a:lnTo>
                        <a:pt x="207" y="1628"/>
                      </a:lnTo>
                      <a:lnTo>
                        <a:pt x="204" y="1635"/>
                      </a:lnTo>
                      <a:lnTo>
                        <a:pt x="201" y="1644"/>
                      </a:lnTo>
                      <a:lnTo>
                        <a:pt x="200" y="1654"/>
                      </a:lnTo>
                      <a:lnTo>
                        <a:pt x="200" y="1664"/>
                      </a:lnTo>
                      <a:lnTo>
                        <a:pt x="200" y="1672"/>
                      </a:lnTo>
                      <a:lnTo>
                        <a:pt x="204" y="1681"/>
                      </a:lnTo>
                      <a:lnTo>
                        <a:pt x="207" y="1690"/>
                      </a:lnTo>
                      <a:lnTo>
                        <a:pt x="213" y="1700"/>
                      </a:lnTo>
                      <a:lnTo>
                        <a:pt x="220" y="1709"/>
                      </a:lnTo>
                      <a:lnTo>
                        <a:pt x="228" y="1718"/>
                      </a:lnTo>
                      <a:lnTo>
                        <a:pt x="236" y="1727"/>
                      </a:lnTo>
                      <a:lnTo>
                        <a:pt x="246" y="1735"/>
                      </a:lnTo>
                      <a:lnTo>
                        <a:pt x="256" y="1743"/>
                      </a:lnTo>
                      <a:lnTo>
                        <a:pt x="267" y="1752"/>
                      </a:lnTo>
                      <a:lnTo>
                        <a:pt x="278" y="1758"/>
                      </a:lnTo>
                      <a:lnTo>
                        <a:pt x="289" y="1764"/>
                      </a:lnTo>
                      <a:lnTo>
                        <a:pt x="300" y="1769"/>
                      </a:lnTo>
                      <a:lnTo>
                        <a:pt x="311" y="1772"/>
                      </a:lnTo>
                      <a:lnTo>
                        <a:pt x="322" y="1774"/>
                      </a:lnTo>
                      <a:lnTo>
                        <a:pt x="333" y="1775"/>
                      </a:lnTo>
                      <a:lnTo>
                        <a:pt x="342" y="1776"/>
                      </a:lnTo>
                      <a:lnTo>
                        <a:pt x="351" y="1779"/>
                      </a:lnTo>
                      <a:lnTo>
                        <a:pt x="358" y="1781"/>
                      </a:lnTo>
                      <a:lnTo>
                        <a:pt x="366" y="1784"/>
                      </a:lnTo>
                      <a:lnTo>
                        <a:pt x="380" y="1791"/>
                      </a:lnTo>
                      <a:lnTo>
                        <a:pt x="392" y="1798"/>
                      </a:lnTo>
                      <a:lnTo>
                        <a:pt x="404" y="1807"/>
                      </a:lnTo>
                      <a:lnTo>
                        <a:pt x="419" y="1813"/>
                      </a:lnTo>
                      <a:lnTo>
                        <a:pt x="426" y="1815"/>
                      </a:lnTo>
                      <a:lnTo>
                        <a:pt x="434" y="1817"/>
                      </a:lnTo>
                      <a:lnTo>
                        <a:pt x="443" y="1818"/>
                      </a:lnTo>
                      <a:lnTo>
                        <a:pt x="452" y="1818"/>
                      </a:lnTo>
                      <a:lnTo>
                        <a:pt x="452" y="1803"/>
                      </a:lnTo>
                      <a:lnTo>
                        <a:pt x="451" y="1786"/>
                      </a:lnTo>
                      <a:lnTo>
                        <a:pt x="448" y="1772"/>
                      </a:lnTo>
                      <a:lnTo>
                        <a:pt x="445" y="1758"/>
                      </a:lnTo>
                      <a:lnTo>
                        <a:pt x="441" y="1736"/>
                      </a:lnTo>
                      <a:lnTo>
                        <a:pt x="439" y="1726"/>
                      </a:lnTo>
                      <a:lnTo>
                        <a:pt x="440" y="1721"/>
                      </a:lnTo>
                      <a:lnTo>
                        <a:pt x="443" y="1715"/>
                      </a:lnTo>
                      <a:lnTo>
                        <a:pt x="448" y="1709"/>
                      </a:lnTo>
                      <a:lnTo>
                        <a:pt x="454" y="1703"/>
                      </a:lnTo>
                      <a:lnTo>
                        <a:pt x="460" y="1698"/>
                      </a:lnTo>
                      <a:lnTo>
                        <a:pt x="467" y="1693"/>
                      </a:lnTo>
                      <a:lnTo>
                        <a:pt x="474" y="1689"/>
                      </a:lnTo>
                      <a:lnTo>
                        <a:pt x="479" y="1688"/>
                      </a:lnTo>
                      <a:lnTo>
                        <a:pt x="466" y="1633"/>
                      </a:lnTo>
                      <a:lnTo>
                        <a:pt x="459" y="1633"/>
                      </a:lnTo>
                      <a:lnTo>
                        <a:pt x="459" y="1615"/>
                      </a:lnTo>
                      <a:lnTo>
                        <a:pt x="470" y="1612"/>
                      </a:lnTo>
                      <a:lnTo>
                        <a:pt x="479" y="1610"/>
                      </a:lnTo>
                      <a:lnTo>
                        <a:pt x="487" y="1608"/>
                      </a:lnTo>
                      <a:lnTo>
                        <a:pt x="493" y="1605"/>
                      </a:lnTo>
                      <a:lnTo>
                        <a:pt x="505" y="1599"/>
                      </a:lnTo>
                      <a:lnTo>
                        <a:pt x="519" y="1590"/>
                      </a:lnTo>
                      <a:lnTo>
                        <a:pt x="519" y="1510"/>
                      </a:lnTo>
                      <a:lnTo>
                        <a:pt x="507" y="1510"/>
                      </a:lnTo>
                      <a:lnTo>
                        <a:pt x="495" y="1509"/>
                      </a:lnTo>
                      <a:lnTo>
                        <a:pt x="482" y="1508"/>
                      </a:lnTo>
                      <a:lnTo>
                        <a:pt x="471" y="1506"/>
                      </a:lnTo>
                      <a:lnTo>
                        <a:pt x="462" y="1504"/>
                      </a:lnTo>
                      <a:lnTo>
                        <a:pt x="452" y="1502"/>
                      </a:lnTo>
                      <a:lnTo>
                        <a:pt x="443" y="1498"/>
                      </a:lnTo>
                      <a:lnTo>
                        <a:pt x="434" y="1495"/>
                      </a:lnTo>
                      <a:lnTo>
                        <a:pt x="426" y="1490"/>
                      </a:lnTo>
                      <a:lnTo>
                        <a:pt x="420" y="1486"/>
                      </a:lnTo>
                      <a:lnTo>
                        <a:pt x="413" y="1480"/>
                      </a:lnTo>
                      <a:lnTo>
                        <a:pt x="409" y="1474"/>
                      </a:lnTo>
                      <a:lnTo>
                        <a:pt x="404" y="1466"/>
                      </a:lnTo>
                      <a:lnTo>
                        <a:pt x="401" y="1459"/>
                      </a:lnTo>
                      <a:lnTo>
                        <a:pt x="400" y="1451"/>
                      </a:lnTo>
                      <a:lnTo>
                        <a:pt x="399" y="1442"/>
                      </a:lnTo>
                      <a:lnTo>
                        <a:pt x="400" y="1436"/>
                      </a:lnTo>
                      <a:lnTo>
                        <a:pt x="401" y="1430"/>
                      </a:lnTo>
                      <a:lnTo>
                        <a:pt x="404" y="1424"/>
                      </a:lnTo>
                      <a:lnTo>
                        <a:pt x="408" y="1419"/>
                      </a:lnTo>
                      <a:lnTo>
                        <a:pt x="412" y="1415"/>
                      </a:lnTo>
                      <a:lnTo>
                        <a:pt x="417" y="1410"/>
                      </a:lnTo>
                      <a:lnTo>
                        <a:pt x="422" y="1407"/>
                      </a:lnTo>
                      <a:lnTo>
                        <a:pt x="429" y="1403"/>
                      </a:lnTo>
                      <a:lnTo>
                        <a:pt x="441" y="1399"/>
                      </a:lnTo>
                      <a:lnTo>
                        <a:pt x="453" y="1395"/>
                      </a:lnTo>
                      <a:lnTo>
                        <a:pt x="464" y="1393"/>
                      </a:lnTo>
                      <a:lnTo>
                        <a:pt x="473" y="1393"/>
                      </a:lnTo>
                      <a:lnTo>
                        <a:pt x="473" y="1384"/>
                      </a:lnTo>
                      <a:lnTo>
                        <a:pt x="474" y="1374"/>
                      </a:lnTo>
                      <a:lnTo>
                        <a:pt x="476" y="1364"/>
                      </a:lnTo>
                      <a:lnTo>
                        <a:pt x="479" y="1353"/>
                      </a:lnTo>
                      <a:lnTo>
                        <a:pt x="481" y="1342"/>
                      </a:lnTo>
                      <a:lnTo>
                        <a:pt x="484" y="1332"/>
                      </a:lnTo>
                      <a:lnTo>
                        <a:pt x="485" y="1323"/>
                      </a:lnTo>
                      <a:lnTo>
                        <a:pt x="486" y="1313"/>
                      </a:lnTo>
                      <a:lnTo>
                        <a:pt x="485" y="1301"/>
                      </a:lnTo>
                      <a:lnTo>
                        <a:pt x="482" y="1290"/>
                      </a:lnTo>
                      <a:lnTo>
                        <a:pt x="480" y="1278"/>
                      </a:lnTo>
                      <a:lnTo>
                        <a:pt x="476" y="1267"/>
                      </a:lnTo>
                      <a:lnTo>
                        <a:pt x="466" y="1245"/>
                      </a:lnTo>
                      <a:lnTo>
                        <a:pt x="455" y="1224"/>
                      </a:lnTo>
                      <a:lnTo>
                        <a:pt x="444" y="1205"/>
                      </a:lnTo>
                      <a:lnTo>
                        <a:pt x="435" y="1187"/>
                      </a:lnTo>
                      <a:lnTo>
                        <a:pt x="431" y="1179"/>
                      </a:lnTo>
                      <a:lnTo>
                        <a:pt x="429" y="1172"/>
                      </a:lnTo>
                      <a:lnTo>
                        <a:pt x="426" y="1165"/>
                      </a:lnTo>
                      <a:lnTo>
                        <a:pt x="425" y="1159"/>
                      </a:lnTo>
                      <a:lnTo>
                        <a:pt x="425" y="1148"/>
                      </a:lnTo>
                      <a:lnTo>
                        <a:pt x="425" y="1141"/>
                      </a:lnTo>
                      <a:lnTo>
                        <a:pt x="433" y="1141"/>
                      </a:lnTo>
                      <a:lnTo>
                        <a:pt x="441" y="1142"/>
                      </a:lnTo>
                      <a:lnTo>
                        <a:pt x="448" y="1144"/>
                      </a:lnTo>
                      <a:lnTo>
                        <a:pt x="456" y="1145"/>
                      </a:lnTo>
                      <a:lnTo>
                        <a:pt x="473" y="1150"/>
                      </a:lnTo>
                      <a:lnTo>
                        <a:pt x="488" y="1156"/>
                      </a:lnTo>
                      <a:lnTo>
                        <a:pt x="503" y="1161"/>
                      </a:lnTo>
                      <a:lnTo>
                        <a:pt x="518" y="1166"/>
                      </a:lnTo>
                      <a:lnTo>
                        <a:pt x="532" y="1170"/>
                      </a:lnTo>
                      <a:lnTo>
                        <a:pt x="545" y="1171"/>
                      </a:lnTo>
                      <a:lnTo>
                        <a:pt x="549" y="1171"/>
                      </a:lnTo>
                      <a:lnTo>
                        <a:pt x="554" y="1169"/>
                      </a:lnTo>
                      <a:lnTo>
                        <a:pt x="557" y="1168"/>
                      </a:lnTo>
                      <a:lnTo>
                        <a:pt x="560" y="1165"/>
                      </a:lnTo>
                      <a:lnTo>
                        <a:pt x="565" y="1159"/>
                      </a:lnTo>
                      <a:lnTo>
                        <a:pt x="568" y="1151"/>
                      </a:lnTo>
                      <a:lnTo>
                        <a:pt x="570" y="1142"/>
                      </a:lnTo>
                      <a:lnTo>
                        <a:pt x="571" y="1132"/>
                      </a:lnTo>
                      <a:lnTo>
                        <a:pt x="571" y="1123"/>
                      </a:lnTo>
                      <a:lnTo>
                        <a:pt x="571" y="1116"/>
                      </a:lnTo>
                      <a:lnTo>
                        <a:pt x="569" y="1112"/>
                      </a:lnTo>
                      <a:lnTo>
                        <a:pt x="565" y="1102"/>
                      </a:lnTo>
                      <a:lnTo>
                        <a:pt x="560" y="1090"/>
                      </a:lnTo>
                      <a:lnTo>
                        <a:pt x="558" y="1078"/>
                      </a:lnTo>
                      <a:lnTo>
                        <a:pt x="552" y="1066"/>
                      </a:lnTo>
                      <a:lnTo>
                        <a:pt x="545" y="1054"/>
                      </a:lnTo>
                      <a:lnTo>
                        <a:pt x="546" y="1049"/>
                      </a:lnTo>
                      <a:lnTo>
                        <a:pt x="548" y="1044"/>
                      </a:lnTo>
                      <a:lnTo>
                        <a:pt x="551" y="1040"/>
                      </a:lnTo>
                      <a:lnTo>
                        <a:pt x="555" y="1036"/>
                      </a:lnTo>
                      <a:lnTo>
                        <a:pt x="559" y="1032"/>
                      </a:lnTo>
                      <a:lnTo>
                        <a:pt x="565" y="1030"/>
                      </a:lnTo>
                      <a:lnTo>
                        <a:pt x="571" y="1027"/>
                      </a:lnTo>
                      <a:lnTo>
                        <a:pt x="578" y="1025"/>
                      </a:lnTo>
                      <a:lnTo>
                        <a:pt x="591" y="1022"/>
                      </a:lnTo>
                      <a:lnTo>
                        <a:pt x="604" y="1021"/>
                      </a:lnTo>
                      <a:lnTo>
                        <a:pt x="615" y="1021"/>
                      </a:lnTo>
                      <a:lnTo>
                        <a:pt x="625" y="1023"/>
                      </a:lnTo>
                      <a:lnTo>
                        <a:pt x="652" y="1023"/>
                      </a:lnTo>
                      <a:lnTo>
                        <a:pt x="676" y="1023"/>
                      </a:lnTo>
                      <a:lnTo>
                        <a:pt x="697" y="1021"/>
                      </a:lnTo>
                      <a:lnTo>
                        <a:pt x="716" y="1017"/>
                      </a:lnTo>
                      <a:lnTo>
                        <a:pt x="734" y="1013"/>
                      </a:lnTo>
                      <a:lnTo>
                        <a:pt x="750" y="1007"/>
                      </a:lnTo>
                      <a:lnTo>
                        <a:pt x="764" y="1001"/>
                      </a:lnTo>
                      <a:lnTo>
                        <a:pt x="776" y="993"/>
                      </a:lnTo>
                      <a:lnTo>
                        <a:pt x="787" y="984"/>
                      </a:lnTo>
                      <a:lnTo>
                        <a:pt x="795" y="973"/>
                      </a:lnTo>
                      <a:lnTo>
                        <a:pt x="802" y="961"/>
                      </a:lnTo>
                      <a:lnTo>
                        <a:pt x="809" y="949"/>
                      </a:lnTo>
                      <a:lnTo>
                        <a:pt x="812" y="935"/>
                      </a:lnTo>
                      <a:lnTo>
                        <a:pt x="815" y="921"/>
                      </a:lnTo>
                      <a:lnTo>
                        <a:pt x="817" y="904"/>
                      </a:lnTo>
                      <a:lnTo>
                        <a:pt x="817" y="888"/>
                      </a:lnTo>
                      <a:lnTo>
                        <a:pt x="817" y="884"/>
                      </a:lnTo>
                      <a:lnTo>
                        <a:pt x="816" y="882"/>
                      </a:lnTo>
                      <a:lnTo>
                        <a:pt x="815" y="879"/>
                      </a:lnTo>
                      <a:lnTo>
                        <a:pt x="813" y="877"/>
                      </a:lnTo>
                      <a:lnTo>
                        <a:pt x="809" y="874"/>
                      </a:lnTo>
                      <a:lnTo>
                        <a:pt x="803" y="871"/>
                      </a:lnTo>
                      <a:lnTo>
                        <a:pt x="792" y="867"/>
                      </a:lnTo>
                      <a:lnTo>
                        <a:pt x="784" y="863"/>
                      </a:lnTo>
                      <a:lnTo>
                        <a:pt x="782" y="859"/>
                      </a:lnTo>
                      <a:lnTo>
                        <a:pt x="781" y="852"/>
                      </a:lnTo>
                      <a:lnTo>
                        <a:pt x="780" y="847"/>
                      </a:lnTo>
                      <a:lnTo>
                        <a:pt x="779" y="841"/>
                      </a:lnTo>
                      <a:lnTo>
                        <a:pt x="780" y="836"/>
                      </a:lnTo>
                      <a:lnTo>
                        <a:pt x="781" y="830"/>
                      </a:lnTo>
                      <a:lnTo>
                        <a:pt x="782" y="825"/>
                      </a:lnTo>
                      <a:lnTo>
                        <a:pt x="784" y="820"/>
                      </a:lnTo>
                      <a:lnTo>
                        <a:pt x="772" y="816"/>
                      </a:lnTo>
                      <a:lnTo>
                        <a:pt x="758" y="810"/>
                      </a:lnTo>
                      <a:lnTo>
                        <a:pt x="742" y="800"/>
                      </a:lnTo>
                      <a:lnTo>
                        <a:pt x="725" y="789"/>
                      </a:lnTo>
                      <a:lnTo>
                        <a:pt x="717" y="783"/>
                      </a:lnTo>
                      <a:lnTo>
                        <a:pt x="711" y="777"/>
                      </a:lnTo>
                      <a:lnTo>
                        <a:pt x="704" y="771"/>
                      </a:lnTo>
                      <a:lnTo>
                        <a:pt x="700" y="765"/>
                      </a:lnTo>
                      <a:lnTo>
                        <a:pt x="695" y="758"/>
                      </a:lnTo>
                      <a:lnTo>
                        <a:pt x="692" y="752"/>
                      </a:lnTo>
                      <a:lnTo>
                        <a:pt x="691" y="745"/>
                      </a:lnTo>
                      <a:lnTo>
                        <a:pt x="691" y="739"/>
                      </a:lnTo>
                      <a:lnTo>
                        <a:pt x="698" y="616"/>
                      </a:lnTo>
                      <a:lnTo>
                        <a:pt x="697" y="585"/>
                      </a:lnTo>
                      <a:lnTo>
                        <a:pt x="697" y="553"/>
                      </a:lnTo>
                      <a:lnTo>
                        <a:pt x="698" y="546"/>
                      </a:lnTo>
                      <a:lnTo>
                        <a:pt x="699" y="539"/>
                      </a:lnTo>
                      <a:lnTo>
                        <a:pt x="701" y="532"/>
                      </a:lnTo>
                      <a:lnTo>
                        <a:pt x="703" y="525"/>
                      </a:lnTo>
                      <a:lnTo>
                        <a:pt x="708" y="518"/>
                      </a:lnTo>
                      <a:lnTo>
                        <a:pt x="712" y="511"/>
                      </a:lnTo>
                      <a:lnTo>
                        <a:pt x="717" y="505"/>
                      </a:lnTo>
                      <a:lnTo>
                        <a:pt x="725" y="499"/>
                      </a:lnTo>
                      <a:lnTo>
                        <a:pt x="725" y="49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842" name="Freeform 442">
                <a:extLst>
                  <a:ext uri="{FF2B5EF4-FFF2-40B4-BE49-F238E27FC236}">
                    <a16:creationId xmlns:a16="http://schemas.microsoft.com/office/drawing/2014/main" id="{BC8CB805-912E-491B-85C6-D16ACB014507}"/>
                  </a:ext>
                </a:extLst>
              </p:cNvPr>
              <p:cNvSpPr>
                <a:spLocks/>
              </p:cNvSpPr>
              <p:nvPr>
                <p:custDataLst>
                  <p:tags r:id="rId280"/>
                </p:custDataLst>
              </p:nvPr>
            </p:nvSpPr>
            <p:spPr bwMode="auto">
              <a:xfrm>
                <a:off x="5251245" y="3002274"/>
                <a:ext cx="150216" cy="123058"/>
              </a:xfrm>
              <a:custGeom>
                <a:avLst/>
                <a:gdLst>
                  <a:gd name="T0" fmla="*/ 6500147 w 279"/>
                  <a:gd name="T1" fmla="*/ 25083665 h 204"/>
                  <a:gd name="T2" fmla="*/ 11621353 w 279"/>
                  <a:gd name="T3" fmla="*/ 40940901 h 204"/>
                  <a:gd name="T4" fmla="*/ 11621353 w 279"/>
                  <a:gd name="T5" fmla="*/ 51608507 h 204"/>
                  <a:gd name="T6" fmla="*/ 20091161 w 279"/>
                  <a:gd name="T7" fmla="*/ 56509795 h 204"/>
                  <a:gd name="T8" fmla="*/ 24030926 w 279"/>
                  <a:gd name="T9" fmla="*/ 58239851 h 204"/>
                  <a:gd name="T10" fmla="*/ 27379527 w 279"/>
                  <a:gd name="T11" fmla="*/ 58816536 h 204"/>
                  <a:gd name="T12" fmla="*/ 28758023 w 279"/>
                  <a:gd name="T13" fmla="*/ 57951508 h 204"/>
                  <a:gd name="T14" fmla="*/ 29742854 w 279"/>
                  <a:gd name="T15" fmla="*/ 55933110 h 204"/>
                  <a:gd name="T16" fmla="*/ 31515903 w 279"/>
                  <a:gd name="T17" fmla="*/ 49590645 h 204"/>
                  <a:gd name="T18" fmla="*/ 33879674 w 279"/>
                  <a:gd name="T19" fmla="*/ 42959300 h 204"/>
                  <a:gd name="T20" fmla="*/ 35652280 w 279"/>
                  <a:gd name="T21" fmla="*/ 40652559 h 204"/>
                  <a:gd name="T22" fmla="*/ 37818995 w 279"/>
                  <a:gd name="T23" fmla="*/ 39210845 h 204"/>
                  <a:gd name="T24" fmla="*/ 41167596 w 279"/>
                  <a:gd name="T25" fmla="*/ 39787531 h 204"/>
                  <a:gd name="T26" fmla="*/ 43334312 w 279"/>
                  <a:gd name="T27" fmla="*/ 40940901 h 204"/>
                  <a:gd name="T28" fmla="*/ 44909863 w 279"/>
                  <a:gd name="T29" fmla="*/ 42670957 h 204"/>
                  <a:gd name="T30" fmla="*/ 45501027 w 279"/>
                  <a:gd name="T31" fmla="*/ 44400477 h 204"/>
                  <a:gd name="T32" fmla="*/ 46091748 w 279"/>
                  <a:gd name="T33" fmla="*/ 47283903 h 204"/>
                  <a:gd name="T34" fmla="*/ 45501027 w 279"/>
                  <a:gd name="T35" fmla="*/ 48148931 h 204"/>
                  <a:gd name="T36" fmla="*/ 46091748 w 279"/>
                  <a:gd name="T37" fmla="*/ 44112671 h 204"/>
                  <a:gd name="T38" fmla="*/ 46879524 w 279"/>
                  <a:gd name="T39" fmla="*/ 40364216 h 204"/>
                  <a:gd name="T40" fmla="*/ 48258464 w 279"/>
                  <a:gd name="T41" fmla="*/ 33732871 h 204"/>
                  <a:gd name="T42" fmla="*/ 50031513 w 279"/>
                  <a:gd name="T43" fmla="*/ 33156186 h 204"/>
                  <a:gd name="T44" fmla="*/ 52001174 w 279"/>
                  <a:gd name="T45" fmla="*/ 31715010 h 204"/>
                  <a:gd name="T46" fmla="*/ 54955665 w 279"/>
                  <a:gd name="T47" fmla="*/ 28543240 h 204"/>
                  <a:gd name="T48" fmla="*/ 49637404 w 279"/>
                  <a:gd name="T49" fmla="*/ 21623553 h 204"/>
                  <a:gd name="T50" fmla="*/ 44713252 w 279"/>
                  <a:gd name="T51" fmla="*/ 16722264 h 204"/>
                  <a:gd name="T52" fmla="*/ 40182766 w 279"/>
                  <a:gd name="T53" fmla="*/ 12686004 h 204"/>
                  <a:gd name="T54" fmla="*/ 36440055 w 279"/>
                  <a:gd name="T55" fmla="*/ 8937549 h 204"/>
                  <a:gd name="T56" fmla="*/ 28758023 w 279"/>
                  <a:gd name="T57" fmla="*/ 19605691 h 204"/>
                  <a:gd name="T58" fmla="*/ 15561119 w 279"/>
                  <a:gd name="T59" fmla="*/ 7208030 h 204"/>
                  <a:gd name="T60" fmla="*/ 10242413 w 279"/>
                  <a:gd name="T61" fmla="*/ 3459575 h 204"/>
                  <a:gd name="T62" fmla="*/ 9060972 w 279"/>
                  <a:gd name="T63" fmla="*/ 17875635 h 204"/>
                  <a:gd name="T64" fmla="*/ 0 w 279"/>
                  <a:gd name="T65" fmla="*/ 16145579 h 204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279" h="204">
                    <a:moveTo>
                      <a:pt x="0" y="56"/>
                    </a:moveTo>
                    <a:lnTo>
                      <a:pt x="33" y="87"/>
                    </a:lnTo>
                    <a:lnTo>
                      <a:pt x="46" y="123"/>
                    </a:lnTo>
                    <a:lnTo>
                      <a:pt x="59" y="142"/>
                    </a:lnTo>
                    <a:lnTo>
                      <a:pt x="59" y="173"/>
                    </a:lnTo>
                    <a:lnTo>
                      <a:pt x="59" y="179"/>
                    </a:lnTo>
                    <a:lnTo>
                      <a:pt x="80" y="188"/>
                    </a:lnTo>
                    <a:lnTo>
                      <a:pt x="102" y="196"/>
                    </a:lnTo>
                    <a:lnTo>
                      <a:pt x="112" y="199"/>
                    </a:lnTo>
                    <a:lnTo>
                      <a:pt x="122" y="202"/>
                    </a:lnTo>
                    <a:lnTo>
                      <a:pt x="130" y="203"/>
                    </a:lnTo>
                    <a:lnTo>
                      <a:pt x="139" y="204"/>
                    </a:lnTo>
                    <a:lnTo>
                      <a:pt x="142" y="203"/>
                    </a:lnTo>
                    <a:lnTo>
                      <a:pt x="146" y="201"/>
                    </a:lnTo>
                    <a:lnTo>
                      <a:pt x="148" y="198"/>
                    </a:lnTo>
                    <a:lnTo>
                      <a:pt x="151" y="194"/>
                    </a:lnTo>
                    <a:lnTo>
                      <a:pt x="156" y="183"/>
                    </a:lnTo>
                    <a:lnTo>
                      <a:pt x="160" y="172"/>
                    </a:lnTo>
                    <a:lnTo>
                      <a:pt x="165" y="160"/>
                    </a:lnTo>
                    <a:lnTo>
                      <a:pt x="172" y="149"/>
                    </a:lnTo>
                    <a:lnTo>
                      <a:pt x="176" y="145"/>
                    </a:lnTo>
                    <a:lnTo>
                      <a:pt x="181" y="141"/>
                    </a:lnTo>
                    <a:lnTo>
                      <a:pt x="186" y="138"/>
                    </a:lnTo>
                    <a:lnTo>
                      <a:pt x="192" y="136"/>
                    </a:lnTo>
                    <a:lnTo>
                      <a:pt x="201" y="137"/>
                    </a:lnTo>
                    <a:lnTo>
                      <a:pt x="209" y="138"/>
                    </a:lnTo>
                    <a:lnTo>
                      <a:pt x="215" y="140"/>
                    </a:lnTo>
                    <a:lnTo>
                      <a:pt x="220" y="142"/>
                    </a:lnTo>
                    <a:lnTo>
                      <a:pt x="225" y="145"/>
                    </a:lnTo>
                    <a:lnTo>
                      <a:pt x="228" y="148"/>
                    </a:lnTo>
                    <a:lnTo>
                      <a:pt x="230" y="151"/>
                    </a:lnTo>
                    <a:lnTo>
                      <a:pt x="231" y="154"/>
                    </a:lnTo>
                    <a:lnTo>
                      <a:pt x="234" y="160"/>
                    </a:lnTo>
                    <a:lnTo>
                      <a:pt x="234" y="164"/>
                    </a:lnTo>
                    <a:lnTo>
                      <a:pt x="232" y="167"/>
                    </a:lnTo>
                    <a:lnTo>
                      <a:pt x="231" y="167"/>
                    </a:lnTo>
                    <a:lnTo>
                      <a:pt x="232" y="160"/>
                    </a:lnTo>
                    <a:lnTo>
                      <a:pt x="234" y="153"/>
                    </a:lnTo>
                    <a:lnTo>
                      <a:pt x="236" y="147"/>
                    </a:lnTo>
                    <a:lnTo>
                      <a:pt x="238" y="140"/>
                    </a:lnTo>
                    <a:lnTo>
                      <a:pt x="243" y="127"/>
                    </a:lnTo>
                    <a:lnTo>
                      <a:pt x="245" y="117"/>
                    </a:lnTo>
                    <a:lnTo>
                      <a:pt x="250" y="117"/>
                    </a:lnTo>
                    <a:lnTo>
                      <a:pt x="254" y="115"/>
                    </a:lnTo>
                    <a:lnTo>
                      <a:pt x="260" y="113"/>
                    </a:lnTo>
                    <a:lnTo>
                      <a:pt x="264" y="110"/>
                    </a:lnTo>
                    <a:lnTo>
                      <a:pt x="272" y="104"/>
                    </a:lnTo>
                    <a:lnTo>
                      <a:pt x="279" y="99"/>
                    </a:lnTo>
                    <a:lnTo>
                      <a:pt x="265" y="87"/>
                    </a:lnTo>
                    <a:lnTo>
                      <a:pt x="252" y="75"/>
                    </a:lnTo>
                    <a:lnTo>
                      <a:pt x="239" y="66"/>
                    </a:lnTo>
                    <a:lnTo>
                      <a:pt x="227" y="58"/>
                    </a:lnTo>
                    <a:lnTo>
                      <a:pt x="215" y="51"/>
                    </a:lnTo>
                    <a:lnTo>
                      <a:pt x="204" y="44"/>
                    </a:lnTo>
                    <a:lnTo>
                      <a:pt x="194" y="38"/>
                    </a:lnTo>
                    <a:lnTo>
                      <a:pt x="185" y="31"/>
                    </a:lnTo>
                    <a:lnTo>
                      <a:pt x="172" y="31"/>
                    </a:lnTo>
                    <a:lnTo>
                      <a:pt x="146" y="68"/>
                    </a:lnTo>
                    <a:lnTo>
                      <a:pt x="112" y="50"/>
                    </a:lnTo>
                    <a:lnTo>
                      <a:pt x="79" y="25"/>
                    </a:lnTo>
                    <a:lnTo>
                      <a:pt x="33" y="0"/>
                    </a:lnTo>
                    <a:lnTo>
                      <a:pt x="52" y="12"/>
                    </a:lnTo>
                    <a:lnTo>
                      <a:pt x="72" y="74"/>
                    </a:lnTo>
                    <a:lnTo>
                      <a:pt x="46" y="62"/>
                    </a:lnTo>
                    <a:lnTo>
                      <a:pt x="19" y="50"/>
                    </a:lnTo>
                    <a:lnTo>
                      <a:pt x="0" y="56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43" name="Freeform 443">
                <a:extLst>
                  <a:ext uri="{FF2B5EF4-FFF2-40B4-BE49-F238E27FC236}">
                    <a16:creationId xmlns:a16="http://schemas.microsoft.com/office/drawing/2014/main" id="{B6E11F53-A96D-4048-898A-ECD0975E188D}"/>
                  </a:ext>
                </a:extLst>
              </p:cNvPr>
              <p:cNvSpPr>
                <a:spLocks/>
              </p:cNvSpPr>
              <p:nvPr>
                <p:custDataLst>
                  <p:tags r:id="rId281"/>
                </p:custDataLst>
              </p:nvPr>
            </p:nvSpPr>
            <p:spPr bwMode="auto">
              <a:xfrm>
                <a:off x="4608758" y="2522348"/>
                <a:ext cx="253376" cy="168765"/>
              </a:xfrm>
              <a:custGeom>
                <a:avLst/>
                <a:gdLst>
                  <a:gd name="T0" fmla="*/ 47042895 w 485"/>
                  <a:gd name="T1" fmla="*/ 5371706 h 291"/>
                  <a:gd name="T2" fmla="*/ 56003426 w 485"/>
                  <a:gd name="T3" fmla="*/ 11817753 h 291"/>
                  <a:gd name="T4" fmla="*/ 69444006 w 485"/>
                  <a:gd name="T5" fmla="*/ 11817753 h 291"/>
                  <a:gd name="T6" fmla="*/ 79337790 w 485"/>
                  <a:gd name="T7" fmla="*/ 35184802 h 291"/>
                  <a:gd name="T8" fmla="*/ 90538562 w 485"/>
                  <a:gd name="T9" fmla="*/ 44853873 h 291"/>
                  <a:gd name="T10" fmla="*/ 76910899 w 485"/>
                  <a:gd name="T11" fmla="*/ 46465644 h 291"/>
                  <a:gd name="T12" fmla="*/ 80831428 w 485"/>
                  <a:gd name="T13" fmla="*/ 56403170 h 291"/>
                  <a:gd name="T14" fmla="*/ 73177452 w 485"/>
                  <a:gd name="T15" fmla="*/ 64729443 h 291"/>
                  <a:gd name="T16" fmla="*/ 71870897 w 485"/>
                  <a:gd name="T17" fmla="*/ 78158967 h 291"/>
                  <a:gd name="T18" fmla="*/ 53203233 w 485"/>
                  <a:gd name="T19" fmla="*/ 71444464 h 291"/>
                  <a:gd name="T20" fmla="*/ 32295328 w 485"/>
                  <a:gd name="T21" fmla="*/ 68221441 h 291"/>
                  <a:gd name="T22" fmla="*/ 11200772 w 485"/>
                  <a:gd name="T23" fmla="*/ 71444464 h 291"/>
                  <a:gd name="T24" fmla="*/ 2800193 w 485"/>
                  <a:gd name="T25" fmla="*/ 72787261 h 291"/>
                  <a:gd name="T26" fmla="*/ 1493206 w 485"/>
                  <a:gd name="T27" fmla="*/ 69026808 h 291"/>
                  <a:gd name="T28" fmla="*/ 559952 w 485"/>
                  <a:gd name="T29" fmla="*/ 65535329 h 291"/>
                  <a:gd name="T30" fmla="*/ 0 w 485"/>
                  <a:gd name="T31" fmla="*/ 61506420 h 291"/>
                  <a:gd name="T32" fmla="*/ 933254 w 485"/>
                  <a:gd name="T33" fmla="*/ 58820826 h 291"/>
                  <a:gd name="T34" fmla="*/ 2613542 w 485"/>
                  <a:gd name="T35" fmla="*/ 55597803 h 291"/>
                  <a:gd name="T36" fmla="*/ 4293399 w 485"/>
                  <a:gd name="T37" fmla="*/ 50763008 h 291"/>
                  <a:gd name="T38" fmla="*/ 5787036 w 485"/>
                  <a:gd name="T39" fmla="*/ 44585417 h 291"/>
                  <a:gd name="T40" fmla="*/ 7653976 w 485"/>
                  <a:gd name="T41" fmla="*/ 36796573 h 291"/>
                  <a:gd name="T42" fmla="*/ 8960531 w 485"/>
                  <a:gd name="T43" fmla="*/ 33842005 h 291"/>
                  <a:gd name="T44" fmla="*/ 11200772 w 485"/>
                  <a:gd name="T45" fmla="*/ 31961779 h 291"/>
                  <a:gd name="T46" fmla="*/ 16240773 w 485"/>
                  <a:gd name="T47" fmla="*/ 29813097 h 291"/>
                  <a:gd name="T48" fmla="*/ 16614507 w 485"/>
                  <a:gd name="T49" fmla="*/ 28470300 h 291"/>
                  <a:gd name="T50" fmla="*/ 17547760 w 485"/>
                  <a:gd name="T51" fmla="*/ 26858529 h 291"/>
                  <a:gd name="T52" fmla="*/ 18854315 w 485"/>
                  <a:gd name="T53" fmla="*/ 25515732 h 291"/>
                  <a:gd name="T54" fmla="*/ 19788001 w 485"/>
                  <a:gd name="T55" fmla="*/ 24978821 h 291"/>
                  <a:gd name="T56" fmla="*/ 19788001 w 485"/>
                  <a:gd name="T57" fmla="*/ 20412482 h 291"/>
                  <a:gd name="T58" fmla="*/ 20347953 w 485"/>
                  <a:gd name="T59" fmla="*/ 18801229 h 291"/>
                  <a:gd name="T60" fmla="*/ 21094556 w 485"/>
                  <a:gd name="T61" fmla="*/ 17995344 h 291"/>
                  <a:gd name="T62" fmla="*/ 22774845 w 485"/>
                  <a:gd name="T63" fmla="*/ 18532774 h 291"/>
                  <a:gd name="T64" fmla="*/ 23894749 w 485"/>
                  <a:gd name="T65" fmla="*/ 18532774 h 291"/>
                  <a:gd name="T66" fmla="*/ 24641352 w 485"/>
                  <a:gd name="T67" fmla="*/ 17726888 h 291"/>
                  <a:gd name="T68" fmla="*/ 25014653 w 485"/>
                  <a:gd name="T69" fmla="*/ 15040776 h 291"/>
                  <a:gd name="T70" fmla="*/ 25948339 w 485"/>
                  <a:gd name="T71" fmla="*/ 11817753 h 291"/>
                  <a:gd name="T72" fmla="*/ 26881592 w 485"/>
                  <a:gd name="T73" fmla="*/ 10474956 h 291"/>
                  <a:gd name="T74" fmla="*/ 39762221 w 485"/>
                  <a:gd name="T75" fmla="*/ 0 h 29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485" h="291">
                    <a:moveTo>
                      <a:pt x="206" y="6"/>
                    </a:moveTo>
                    <a:lnTo>
                      <a:pt x="252" y="20"/>
                    </a:lnTo>
                    <a:lnTo>
                      <a:pt x="292" y="20"/>
                    </a:lnTo>
                    <a:lnTo>
                      <a:pt x="300" y="44"/>
                    </a:lnTo>
                    <a:lnTo>
                      <a:pt x="339" y="32"/>
                    </a:lnTo>
                    <a:lnTo>
                      <a:pt x="372" y="44"/>
                    </a:lnTo>
                    <a:lnTo>
                      <a:pt x="379" y="93"/>
                    </a:lnTo>
                    <a:lnTo>
                      <a:pt x="425" y="131"/>
                    </a:lnTo>
                    <a:lnTo>
                      <a:pt x="459" y="149"/>
                    </a:lnTo>
                    <a:lnTo>
                      <a:pt x="485" y="167"/>
                    </a:lnTo>
                    <a:lnTo>
                      <a:pt x="459" y="186"/>
                    </a:lnTo>
                    <a:lnTo>
                      <a:pt x="412" y="173"/>
                    </a:lnTo>
                    <a:lnTo>
                      <a:pt x="418" y="198"/>
                    </a:lnTo>
                    <a:lnTo>
                      <a:pt x="433" y="210"/>
                    </a:lnTo>
                    <a:lnTo>
                      <a:pt x="433" y="241"/>
                    </a:lnTo>
                    <a:lnTo>
                      <a:pt x="392" y="241"/>
                    </a:lnTo>
                    <a:lnTo>
                      <a:pt x="385" y="266"/>
                    </a:lnTo>
                    <a:lnTo>
                      <a:pt x="385" y="291"/>
                    </a:lnTo>
                    <a:lnTo>
                      <a:pt x="339" y="278"/>
                    </a:lnTo>
                    <a:lnTo>
                      <a:pt x="285" y="266"/>
                    </a:lnTo>
                    <a:lnTo>
                      <a:pt x="239" y="272"/>
                    </a:lnTo>
                    <a:lnTo>
                      <a:pt x="173" y="254"/>
                    </a:lnTo>
                    <a:lnTo>
                      <a:pt x="113" y="254"/>
                    </a:lnTo>
                    <a:lnTo>
                      <a:pt x="60" y="266"/>
                    </a:lnTo>
                    <a:lnTo>
                      <a:pt x="20" y="278"/>
                    </a:lnTo>
                    <a:lnTo>
                      <a:pt x="15" y="271"/>
                    </a:lnTo>
                    <a:lnTo>
                      <a:pt x="11" y="264"/>
                    </a:lnTo>
                    <a:lnTo>
                      <a:pt x="8" y="257"/>
                    </a:lnTo>
                    <a:lnTo>
                      <a:pt x="5" y="251"/>
                    </a:lnTo>
                    <a:lnTo>
                      <a:pt x="3" y="244"/>
                    </a:lnTo>
                    <a:lnTo>
                      <a:pt x="1" y="237"/>
                    </a:lnTo>
                    <a:lnTo>
                      <a:pt x="0" y="229"/>
                    </a:lnTo>
                    <a:lnTo>
                      <a:pt x="0" y="222"/>
                    </a:lnTo>
                    <a:lnTo>
                      <a:pt x="5" y="219"/>
                    </a:lnTo>
                    <a:lnTo>
                      <a:pt x="10" y="214"/>
                    </a:lnTo>
                    <a:lnTo>
                      <a:pt x="14" y="207"/>
                    </a:lnTo>
                    <a:lnTo>
                      <a:pt x="20" y="198"/>
                    </a:lnTo>
                    <a:lnTo>
                      <a:pt x="23" y="189"/>
                    </a:lnTo>
                    <a:lnTo>
                      <a:pt x="27" y="178"/>
                    </a:lnTo>
                    <a:lnTo>
                      <a:pt x="31" y="166"/>
                    </a:lnTo>
                    <a:lnTo>
                      <a:pt x="33" y="155"/>
                    </a:lnTo>
                    <a:lnTo>
                      <a:pt x="41" y="137"/>
                    </a:lnTo>
                    <a:lnTo>
                      <a:pt x="44" y="131"/>
                    </a:lnTo>
                    <a:lnTo>
                      <a:pt x="48" y="126"/>
                    </a:lnTo>
                    <a:lnTo>
                      <a:pt x="54" y="123"/>
                    </a:lnTo>
                    <a:lnTo>
                      <a:pt x="60" y="119"/>
                    </a:lnTo>
                    <a:lnTo>
                      <a:pt x="75" y="115"/>
                    </a:lnTo>
                    <a:lnTo>
                      <a:pt x="87" y="111"/>
                    </a:lnTo>
                    <a:lnTo>
                      <a:pt x="87" y="109"/>
                    </a:lnTo>
                    <a:lnTo>
                      <a:pt x="89" y="106"/>
                    </a:lnTo>
                    <a:lnTo>
                      <a:pt x="91" y="103"/>
                    </a:lnTo>
                    <a:lnTo>
                      <a:pt x="94" y="100"/>
                    </a:lnTo>
                    <a:lnTo>
                      <a:pt x="98" y="97"/>
                    </a:lnTo>
                    <a:lnTo>
                      <a:pt x="101" y="95"/>
                    </a:lnTo>
                    <a:lnTo>
                      <a:pt x="103" y="94"/>
                    </a:lnTo>
                    <a:lnTo>
                      <a:pt x="106" y="93"/>
                    </a:lnTo>
                    <a:lnTo>
                      <a:pt x="106" y="81"/>
                    </a:lnTo>
                    <a:lnTo>
                      <a:pt x="106" y="76"/>
                    </a:lnTo>
                    <a:lnTo>
                      <a:pt x="107" y="72"/>
                    </a:lnTo>
                    <a:lnTo>
                      <a:pt x="109" y="70"/>
                    </a:lnTo>
                    <a:lnTo>
                      <a:pt x="110" y="68"/>
                    </a:lnTo>
                    <a:lnTo>
                      <a:pt x="113" y="67"/>
                    </a:lnTo>
                    <a:lnTo>
                      <a:pt x="117" y="68"/>
                    </a:lnTo>
                    <a:lnTo>
                      <a:pt x="122" y="69"/>
                    </a:lnTo>
                    <a:lnTo>
                      <a:pt x="126" y="69"/>
                    </a:lnTo>
                    <a:lnTo>
                      <a:pt x="128" y="69"/>
                    </a:lnTo>
                    <a:lnTo>
                      <a:pt x="129" y="68"/>
                    </a:lnTo>
                    <a:lnTo>
                      <a:pt x="132" y="66"/>
                    </a:lnTo>
                    <a:lnTo>
                      <a:pt x="133" y="62"/>
                    </a:lnTo>
                    <a:lnTo>
                      <a:pt x="134" y="56"/>
                    </a:lnTo>
                    <a:lnTo>
                      <a:pt x="137" y="48"/>
                    </a:lnTo>
                    <a:lnTo>
                      <a:pt x="139" y="44"/>
                    </a:lnTo>
                    <a:lnTo>
                      <a:pt x="142" y="41"/>
                    </a:lnTo>
                    <a:lnTo>
                      <a:pt x="144" y="39"/>
                    </a:lnTo>
                    <a:lnTo>
                      <a:pt x="146" y="38"/>
                    </a:lnTo>
                    <a:lnTo>
                      <a:pt x="213" y="0"/>
                    </a:lnTo>
                    <a:lnTo>
                      <a:pt x="206" y="6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44" name="Freeform 444">
                <a:extLst>
                  <a:ext uri="{FF2B5EF4-FFF2-40B4-BE49-F238E27FC236}">
                    <a16:creationId xmlns:a16="http://schemas.microsoft.com/office/drawing/2014/main" id="{4EA55C6E-4B9F-4F0E-B116-C446C1D8FF83}"/>
                  </a:ext>
                </a:extLst>
              </p:cNvPr>
              <p:cNvSpPr>
                <a:spLocks/>
              </p:cNvSpPr>
              <p:nvPr>
                <p:custDataLst>
                  <p:tags r:id="rId282"/>
                </p:custDataLst>
              </p:nvPr>
            </p:nvSpPr>
            <p:spPr bwMode="auto">
              <a:xfrm>
                <a:off x="4436824" y="2895038"/>
                <a:ext cx="99541" cy="98446"/>
              </a:xfrm>
              <a:custGeom>
                <a:avLst/>
                <a:gdLst>
                  <a:gd name="T0" fmla="*/ 16939615 w 186"/>
                  <a:gd name="T1" fmla="*/ 40668397 h 166"/>
                  <a:gd name="T2" fmla="*/ 16348894 w 186"/>
                  <a:gd name="T3" fmla="*/ 37625591 h 166"/>
                  <a:gd name="T4" fmla="*/ 15364064 w 186"/>
                  <a:gd name="T5" fmla="*/ 35135593 h 166"/>
                  <a:gd name="T6" fmla="*/ 14575845 w 186"/>
                  <a:gd name="T7" fmla="*/ 32645594 h 166"/>
                  <a:gd name="T8" fmla="*/ 13788069 w 186"/>
                  <a:gd name="T9" fmla="*/ 30432262 h 166"/>
                  <a:gd name="T10" fmla="*/ 11818408 w 186"/>
                  <a:gd name="T11" fmla="*/ 26282265 h 166"/>
                  <a:gd name="T12" fmla="*/ 9651693 w 186"/>
                  <a:gd name="T13" fmla="*/ 22686127 h 166"/>
                  <a:gd name="T14" fmla="*/ 7287922 w 186"/>
                  <a:gd name="T15" fmla="*/ 19366129 h 166"/>
                  <a:gd name="T16" fmla="*/ 4924152 w 186"/>
                  <a:gd name="T17" fmla="*/ 15492798 h 166"/>
                  <a:gd name="T18" fmla="*/ 2560825 w 186"/>
                  <a:gd name="T19" fmla="*/ 10512801 h 166"/>
                  <a:gd name="T20" fmla="*/ 0 w 186"/>
                  <a:gd name="T21" fmla="*/ 4979997 h 166"/>
                  <a:gd name="T22" fmla="*/ 0 w 186"/>
                  <a:gd name="T23" fmla="*/ 0 h 166"/>
                  <a:gd name="T24" fmla="*/ 1378940 w 186"/>
                  <a:gd name="T25" fmla="*/ 553333 h 166"/>
                  <a:gd name="T26" fmla="*/ 2757436 w 186"/>
                  <a:gd name="T27" fmla="*/ 829999 h 166"/>
                  <a:gd name="T28" fmla="*/ 3939322 w 186"/>
                  <a:gd name="T29" fmla="*/ 1106666 h 166"/>
                  <a:gd name="T30" fmla="*/ 5318262 w 186"/>
                  <a:gd name="T31" fmla="*/ 1106666 h 166"/>
                  <a:gd name="T32" fmla="*/ 6500147 w 186"/>
                  <a:gd name="T33" fmla="*/ 1106666 h 166"/>
                  <a:gd name="T34" fmla="*/ 7879087 w 186"/>
                  <a:gd name="T35" fmla="*/ 829999 h 166"/>
                  <a:gd name="T36" fmla="*/ 9257583 w 186"/>
                  <a:gd name="T37" fmla="*/ 553333 h 166"/>
                  <a:gd name="T38" fmla="*/ 10439468 w 186"/>
                  <a:gd name="T39" fmla="*/ 0 h 166"/>
                  <a:gd name="T40" fmla="*/ 27576138 w 186"/>
                  <a:gd name="T41" fmla="*/ 3319998 h 166"/>
                  <a:gd name="T42" fmla="*/ 36637110 w 186"/>
                  <a:gd name="T43" fmla="*/ 25175599 h 166"/>
                  <a:gd name="T44" fmla="*/ 33682619 w 186"/>
                  <a:gd name="T45" fmla="*/ 30985595 h 166"/>
                  <a:gd name="T46" fmla="*/ 30531073 w 186"/>
                  <a:gd name="T47" fmla="*/ 35688926 h 166"/>
                  <a:gd name="T48" fmla="*/ 29349188 w 186"/>
                  <a:gd name="T49" fmla="*/ 37902258 h 166"/>
                  <a:gd name="T50" fmla="*/ 28364358 w 186"/>
                  <a:gd name="T51" fmla="*/ 40115064 h 166"/>
                  <a:gd name="T52" fmla="*/ 27970248 w 186"/>
                  <a:gd name="T53" fmla="*/ 41498396 h 166"/>
                  <a:gd name="T54" fmla="*/ 27773193 w 186"/>
                  <a:gd name="T55" fmla="*/ 43158395 h 166"/>
                  <a:gd name="T56" fmla="*/ 27576138 w 186"/>
                  <a:gd name="T57" fmla="*/ 44541728 h 166"/>
                  <a:gd name="T58" fmla="*/ 27576138 w 186"/>
                  <a:gd name="T59" fmla="*/ 45925060 h 166"/>
                  <a:gd name="T60" fmla="*/ 16939615 w 186"/>
                  <a:gd name="T61" fmla="*/ 40668397 h 16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186" h="166">
                    <a:moveTo>
                      <a:pt x="86" y="147"/>
                    </a:moveTo>
                    <a:lnTo>
                      <a:pt x="83" y="136"/>
                    </a:lnTo>
                    <a:lnTo>
                      <a:pt x="78" y="127"/>
                    </a:lnTo>
                    <a:lnTo>
                      <a:pt x="74" y="118"/>
                    </a:lnTo>
                    <a:lnTo>
                      <a:pt x="70" y="110"/>
                    </a:lnTo>
                    <a:lnTo>
                      <a:pt x="60" y="95"/>
                    </a:lnTo>
                    <a:lnTo>
                      <a:pt x="49" y="82"/>
                    </a:lnTo>
                    <a:lnTo>
                      <a:pt x="37" y="70"/>
                    </a:lnTo>
                    <a:lnTo>
                      <a:pt x="25" y="56"/>
                    </a:lnTo>
                    <a:lnTo>
                      <a:pt x="13" y="38"/>
                    </a:lnTo>
                    <a:lnTo>
                      <a:pt x="0" y="18"/>
                    </a:lnTo>
                    <a:lnTo>
                      <a:pt x="0" y="0"/>
                    </a:lnTo>
                    <a:lnTo>
                      <a:pt x="7" y="2"/>
                    </a:lnTo>
                    <a:lnTo>
                      <a:pt x="14" y="3"/>
                    </a:lnTo>
                    <a:lnTo>
                      <a:pt x="20" y="4"/>
                    </a:lnTo>
                    <a:lnTo>
                      <a:pt x="27" y="4"/>
                    </a:lnTo>
                    <a:lnTo>
                      <a:pt x="33" y="4"/>
                    </a:lnTo>
                    <a:lnTo>
                      <a:pt x="40" y="3"/>
                    </a:lnTo>
                    <a:lnTo>
                      <a:pt x="47" y="2"/>
                    </a:lnTo>
                    <a:lnTo>
                      <a:pt x="53" y="0"/>
                    </a:lnTo>
                    <a:lnTo>
                      <a:pt x="140" y="12"/>
                    </a:lnTo>
                    <a:lnTo>
                      <a:pt x="186" y="91"/>
                    </a:lnTo>
                    <a:lnTo>
                      <a:pt x="171" y="112"/>
                    </a:lnTo>
                    <a:lnTo>
                      <a:pt x="155" y="129"/>
                    </a:lnTo>
                    <a:lnTo>
                      <a:pt x="149" y="137"/>
                    </a:lnTo>
                    <a:lnTo>
                      <a:pt x="144" y="145"/>
                    </a:lnTo>
                    <a:lnTo>
                      <a:pt x="142" y="150"/>
                    </a:lnTo>
                    <a:lnTo>
                      <a:pt x="141" y="156"/>
                    </a:lnTo>
                    <a:lnTo>
                      <a:pt x="140" y="161"/>
                    </a:lnTo>
                    <a:lnTo>
                      <a:pt x="140" y="166"/>
                    </a:lnTo>
                    <a:lnTo>
                      <a:pt x="86" y="14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45" name="Freeform 445">
                <a:extLst>
                  <a:ext uri="{FF2B5EF4-FFF2-40B4-BE49-F238E27FC236}">
                    <a16:creationId xmlns:a16="http://schemas.microsoft.com/office/drawing/2014/main" id="{155143E9-39A5-4EC4-ABEA-6767218F342C}"/>
                  </a:ext>
                </a:extLst>
              </p:cNvPr>
              <p:cNvSpPr>
                <a:spLocks/>
              </p:cNvSpPr>
              <p:nvPr>
                <p:custDataLst>
                  <p:tags r:id="rId283"/>
                </p:custDataLst>
              </p:nvPr>
            </p:nvSpPr>
            <p:spPr bwMode="auto">
              <a:xfrm>
                <a:off x="2464113" y="4510614"/>
                <a:ext cx="99541" cy="63287"/>
              </a:xfrm>
              <a:custGeom>
                <a:avLst/>
                <a:gdLst>
                  <a:gd name="T0" fmla="*/ 30136963 w 186"/>
                  <a:gd name="T1" fmla="*/ 6341452 h 104"/>
                  <a:gd name="T2" fmla="*/ 28758023 w 186"/>
                  <a:gd name="T3" fmla="*/ 6341452 h 104"/>
                  <a:gd name="T4" fmla="*/ 27773193 w 186"/>
                  <a:gd name="T5" fmla="*/ 6039216 h 104"/>
                  <a:gd name="T6" fmla="*/ 26788363 w 186"/>
                  <a:gd name="T7" fmla="*/ 5435295 h 104"/>
                  <a:gd name="T8" fmla="*/ 26197642 w 186"/>
                  <a:gd name="T9" fmla="*/ 4529687 h 104"/>
                  <a:gd name="T10" fmla="*/ 25606477 w 186"/>
                  <a:gd name="T11" fmla="*/ 3925765 h 104"/>
                  <a:gd name="T12" fmla="*/ 24621647 w 186"/>
                  <a:gd name="T13" fmla="*/ 3321844 h 104"/>
                  <a:gd name="T14" fmla="*/ 23636817 w 186"/>
                  <a:gd name="T15" fmla="*/ 3019608 h 104"/>
                  <a:gd name="T16" fmla="*/ 22257877 w 186"/>
                  <a:gd name="T17" fmla="*/ 2717922 h 104"/>
                  <a:gd name="T18" fmla="*/ 19697495 w 186"/>
                  <a:gd name="T19" fmla="*/ 2415687 h 104"/>
                  <a:gd name="T20" fmla="*/ 17333725 w 186"/>
                  <a:gd name="T21" fmla="*/ 1811765 h 104"/>
                  <a:gd name="T22" fmla="*/ 14772899 w 186"/>
                  <a:gd name="T23" fmla="*/ 906157 h 104"/>
                  <a:gd name="T24" fmla="*/ 12606184 w 186"/>
                  <a:gd name="T25" fmla="*/ 302236 h 104"/>
                  <a:gd name="T26" fmla="*/ 11818408 w 186"/>
                  <a:gd name="T27" fmla="*/ 0 h 104"/>
                  <a:gd name="T28" fmla="*/ 10636523 w 186"/>
                  <a:gd name="T29" fmla="*/ 0 h 104"/>
                  <a:gd name="T30" fmla="*/ 10045802 w 186"/>
                  <a:gd name="T31" fmla="*/ 302236 h 104"/>
                  <a:gd name="T32" fmla="*/ 9060972 w 186"/>
                  <a:gd name="T33" fmla="*/ 603922 h 104"/>
                  <a:gd name="T34" fmla="*/ 8666862 w 186"/>
                  <a:gd name="T35" fmla="*/ 1207843 h 104"/>
                  <a:gd name="T36" fmla="*/ 8272753 w 186"/>
                  <a:gd name="T37" fmla="*/ 1811765 h 104"/>
                  <a:gd name="T38" fmla="*/ 8076142 w 186"/>
                  <a:gd name="T39" fmla="*/ 3019608 h 104"/>
                  <a:gd name="T40" fmla="*/ 7879087 w 186"/>
                  <a:gd name="T41" fmla="*/ 4529687 h 104"/>
                  <a:gd name="T42" fmla="*/ 6697202 w 186"/>
                  <a:gd name="T43" fmla="*/ 8153217 h 104"/>
                  <a:gd name="T44" fmla="*/ 3939322 w 186"/>
                  <a:gd name="T45" fmla="*/ 14192433 h 104"/>
                  <a:gd name="T46" fmla="*/ 1378940 w 186"/>
                  <a:gd name="T47" fmla="*/ 19929963 h 104"/>
                  <a:gd name="T48" fmla="*/ 0 w 186"/>
                  <a:gd name="T49" fmla="*/ 23251807 h 104"/>
                  <a:gd name="T50" fmla="*/ 1575995 w 186"/>
                  <a:gd name="T51" fmla="*/ 23251807 h 104"/>
                  <a:gd name="T52" fmla="*/ 3151546 w 186"/>
                  <a:gd name="T53" fmla="*/ 23553493 h 104"/>
                  <a:gd name="T54" fmla="*/ 4136376 w 186"/>
                  <a:gd name="T55" fmla="*/ 23855729 h 104"/>
                  <a:gd name="T56" fmla="*/ 4924152 w 186"/>
                  <a:gd name="T57" fmla="*/ 24459650 h 104"/>
                  <a:gd name="T58" fmla="*/ 6500147 w 186"/>
                  <a:gd name="T59" fmla="*/ 25667494 h 104"/>
                  <a:gd name="T60" fmla="*/ 7879087 w 186"/>
                  <a:gd name="T61" fmla="*/ 26875337 h 104"/>
                  <a:gd name="T62" fmla="*/ 8863917 w 186"/>
                  <a:gd name="T63" fmla="*/ 28385416 h 104"/>
                  <a:gd name="T64" fmla="*/ 10242413 w 186"/>
                  <a:gd name="T65" fmla="*/ 29593259 h 104"/>
                  <a:gd name="T66" fmla="*/ 11030633 w 186"/>
                  <a:gd name="T67" fmla="*/ 30197181 h 104"/>
                  <a:gd name="T68" fmla="*/ 12015463 w 186"/>
                  <a:gd name="T69" fmla="*/ 30498867 h 104"/>
                  <a:gd name="T70" fmla="*/ 13000294 w 186"/>
                  <a:gd name="T71" fmla="*/ 30801102 h 104"/>
                  <a:gd name="T72" fmla="*/ 14575845 w 186"/>
                  <a:gd name="T73" fmla="*/ 30801102 h 104"/>
                  <a:gd name="T74" fmla="*/ 21075991 w 186"/>
                  <a:gd name="T75" fmla="*/ 31102788 h 104"/>
                  <a:gd name="T76" fmla="*/ 25803532 w 186"/>
                  <a:gd name="T77" fmla="*/ 31405024 h 104"/>
                  <a:gd name="T78" fmla="*/ 26591308 w 186"/>
                  <a:gd name="T79" fmla="*/ 31102788 h 104"/>
                  <a:gd name="T80" fmla="*/ 27379527 w 186"/>
                  <a:gd name="T81" fmla="*/ 30801102 h 104"/>
                  <a:gd name="T82" fmla="*/ 27970248 w 186"/>
                  <a:gd name="T83" fmla="*/ 30197181 h 104"/>
                  <a:gd name="T84" fmla="*/ 28560969 w 186"/>
                  <a:gd name="T85" fmla="*/ 29291024 h 104"/>
                  <a:gd name="T86" fmla="*/ 28955078 w 186"/>
                  <a:gd name="T87" fmla="*/ 28385416 h 104"/>
                  <a:gd name="T88" fmla="*/ 29546243 w 186"/>
                  <a:gd name="T89" fmla="*/ 26573651 h 104"/>
                  <a:gd name="T90" fmla="*/ 29939909 w 186"/>
                  <a:gd name="T91" fmla="*/ 25063572 h 104"/>
                  <a:gd name="T92" fmla="*/ 30136963 w 186"/>
                  <a:gd name="T93" fmla="*/ 23251807 h 104"/>
                  <a:gd name="T94" fmla="*/ 36637110 w 186"/>
                  <a:gd name="T95" fmla="*/ 8153217 h 104"/>
                  <a:gd name="T96" fmla="*/ 30136963 w 186"/>
                  <a:gd name="T97" fmla="*/ 6341452 h 104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86" h="104">
                    <a:moveTo>
                      <a:pt x="153" y="21"/>
                    </a:moveTo>
                    <a:lnTo>
                      <a:pt x="146" y="21"/>
                    </a:lnTo>
                    <a:lnTo>
                      <a:pt x="141" y="20"/>
                    </a:lnTo>
                    <a:lnTo>
                      <a:pt x="136" y="18"/>
                    </a:lnTo>
                    <a:lnTo>
                      <a:pt x="133" y="15"/>
                    </a:lnTo>
                    <a:lnTo>
                      <a:pt x="130" y="13"/>
                    </a:lnTo>
                    <a:lnTo>
                      <a:pt x="125" y="11"/>
                    </a:lnTo>
                    <a:lnTo>
                      <a:pt x="120" y="10"/>
                    </a:lnTo>
                    <a:lnTo>
                      <a:pt x="113" y="9"/>
                    </a:lnTo>
                    <a:lnTo>
                      <a:pt x="100" y="8"/>
                    </a:lnTo>
                    <a:lnTo>
                      <a:pt x="88" y="6"/>
                    </a:lnTo>
                    <a:lnTo>
                      <a:pt x="75" y="3"/>
                    </a:lnTo>
                    <a:lnTo>
                      <a:pt x="64" y="1"/>
                    </a:lnTo>
                    <a:lnTo>
                      <a:pt x="60" y="0"/>
                    </a:lnTo>
                    <a:lnTo>
                      <a:pt x="54" y="0"/>
                    </a:lnTo>
                    <a:lnTo>
                      <a:pt x="51" y="1"/>
                    </a:lnTo>
                    <a:lnTo>
                      <a:pt x="46" y="2"/>
                    </a:lnTo>
                    <a:lnTo>
                      <a:pt x="44" y="4"/>
                    </a:lnTo>
                    <a:lnTo>
                      <a:pt x="42" y="6"/>
                    </a:lnTo>
                    <a:lnTo>
                      <a:pt x="41" y="10"/>
                    </a:lnTo>
                    <a:lnTo>
                      <a:pt x="40" y="15"/>
                    </a:lnTo>
                    <a:lnTo>
                      <a:pt x="34" y="27"/>
                    </a:lnTo>
                    <a:lnTo>
                      <a:pt x="20" y="47"/>
                    </a:lnTo>
                    <a:lnTo>
                      <a:pt x="7" y="66"/>
                    </a:lnTo>
                    <a:lnTo>
                      <a:pt x="0" y="77"/>
                    </a:lnTo>
                    <a:lnTo>
                      <a:pt x="8" y="77"/>
                    </a:lnTo>
                    <a:lnTo>
                      <a:pt x="16" y="78"/>
                    </a:lnTo>
                    <a:lnTo>
                      <a:pt x="21" y="79"/>
                    </a:lnTo>
                    <a:lnTo>
                      <a:pt x="25" y="81"/>
                    </a:lnTo>
                    <a:lnTo>
                      <a:pt x="33" y="85"/>
                    </a:lnTo>
                    <a:lnTo>
                      <a:pt x="40" y="89"/>
                    </a:lnTo>
                    <a:lnTo>
                      <a:pt x="45" y="94"/>
                    </a:lnTo>
                    <a:lnTo>
                      <a:pt x="52" y="98"/>
                    </a:lnTo>
                    <a:lnTo>
                      <a:pt x="56" y="100"/>
                    </a:lnTo>
                    <a:lnTo>
                      <a:pt x="61" y="101"/>
                    </a:lnTo>
                    <a:lnTo>
                      <a:pt x="66" y="102"/>
                    </a:lnTo>
                    <a:lnTo>
                      <a:pt x="74" y="102"/>
                    </a:lnTo>
                    <a:lnTo>
                      <a:pt x="107" y="103"/>
                    </a:lnTo>
                    <a:lnTo>
                      <a:pt x="131" y="104"/>
                    </a:lnTo>
                    <a:lnTo>
                      <a:pt x="135" y="103"/>
                    </a:lnTo>
                    <a:lnTo>
                      <a:pt x="139" y="102"/>
                    </a:lnTo>
                    <a:lnTo>
                      <a:pt x="142" y="100"/>
                    </a:lnTo>
                    <a:lnTo>
                      <a:pt x="145" y="97"/>
                    </a:lnTo>
                    <a:lnTo>
                      <a:pt x="147" y="94"/>
                    </a:lnTo>
                    <a:lnTo>
                      <a:pt x="150" y="88"/>
                    </a:lnTo>
                    <a:lnTo>
                      <a:pt x="152" y="83"/>
                    </a:lnTo>
                    <a:lnTo>
                      <a:pt x="153" y="77"/>
                    </a:lnTo>
                    <a:lnTo>
                      <a:pt x="186" y="27"/>
                    </a:lnTo>
                    <a:lnTo>
                      <a:pt x="153" y="2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46" name="Freeform 446">
                <a:extLst>
                  <a:ext uri="{FF2B5EF4-FFF2-40B4-BE49-F238E27FC236}">
                    <a16:creationId xmlns:a16="http://schemas.microsoft.com/office/drawing/2014/main" id="{D975A90C-8DEA-4B92-A064-A41A5EBDFF49}"/>
                  </a:ext>
                </a:extLst>
              </p:cNvPr>
              <p:cNvSpPr>
                <a:spLocks/>
              </p:cNvSpPr>
              <p:nvPr>
                <p:custDataLst>
                  <p:tags r:id="rId284"/>
                </p:custDataLst>
              </p:nvPr>
            </p:nvSpPr>
            <p:spPr bwMode="auto">
              <a:xfrm>
                <a:off x="4628665" y="2933713"/>
                <a:ext cx="159265" cy="108994"/>
              </a:xfrm>
              <a:custGeom>
                <a:avLst/>
                <a:gdLst>
                  <a:gd name="T0" fmla="*/ 14524002 w 311"/>
                  <a:gd name="T1" fmla="*/ 11121763 h 179"/>
                  <a:gd name="T2" fmla="*/ 21142621 w 311"/>
                  <a:gd name="T3" fmla="*/ 7609627 h 179"/>
                  <a:gd name="T4" fmla="*/ 27209832 w 311"/>
                  <a:gd name="T5" fmla="*/ 4097492 h 179"/>
                  <a:gd name="T6" fmla="*/ 32725634 w 311"/>
                  <a:gd name="T7" fmla="*/ 1170712 h 179"/>
                  <a:gd name="T8" fmla="*/ 38792415 w 311"/>
                  <a:gd name="T9" fmla="*/ 0 h 179"/>
                  <a:gd name="T10" fmla="*/ 43388917 w 311"/>
                  <a:gd name="T11" fmla="*/ 585356 h 179"/>
                  <a:gd name="T12" fmla="*/ 47065690 w 311"/>
                  <a:gd name="T13" fmla="*/ 1756068 h 179"/>
                  <a:gd name="T14" fmla="*/ 53684309 w 311"/>
                  <a:gd name="T15" fmla="*/ 3512136 h 179"/>
                  <a:gd name="T16" fmla="*/ 52765009 w 311"/>
                  <a:gd name="T17" fmla="*/ 8194983 h 179"/>
                  <a:gd name="T18" fmla="*/ 51110354 w 311"/>
                  <a:gd name="T19" fmla="*/ 12292475 h 179"/>
                  <a:gd name="T20" fmla="*/ 49455699 w 311"/>
                  <a:gd name="T21" fmla="*/ 15511933 h 179"/>
                  <a:gd name="T22" fmla="*/ 48720344 w 311"/>
                  <a:gd name="T23" fmla="*/ 18146035 h 179"/>
                  <a:gd name="T24" fmla="*/ 48904290 w 311"/>
                  <a:gd name="T25" fmla="*/ 19316747 h 179"/>
                  <a:gd name="T26" fmla="*/ 49823591 w 311"/>
                  <a:gd name="T27" fmla="*/ 20780136 h 179"/>
                  <a:gd name="T28" fmla="*/ 52397546 w 311"/>
                  <a:gd name="T29" fmla="*/ 23121560 h 179"/>
                  <a:gd name="T30" fmla="*/ 57177564 w 311"/>
                  <a:gd name="T31" fmla="*/ 27218511 h 179"/>
                  <a:gd name="T32" fmla="*/ 52765009 w 311"/>
                  <a:gd name="T33" fmla="*/ 31316003 h 179"/>
                  <a:gd name="T34" fmla="*/ 51662191 w 311"/>
                  <a:gd name="T35" fmla="*/ 33657426 h 179"/>
                  <a:gd name="T36" fmla="*/ 51110354 w 311"/>
                  <a:gd name="T37" fmla="*/ 37754918 h 179"/>
                  <a:gd name="T38" fmla="*/ 46330335 w 311"/>
                  <a:gd name="T39" fmla="*/ 39803664 h 179"/>
                  <a:gd name="T40" fmla="*/ 38792415 w 311"/>
                  <a:gd name="T41" fmla="*/ 43315800 h 179"/>
                  <a:gd name="T42" fmla="*/ 35115643 w 311"/>
                  <a:gd name="T43" fmla="*/ 49169359 h 179"/>
                  <a:gd name="T44" fmla="*/ 32725634 w 311"/>
                  <a:gd name="T45" fmla="*/ 51510783 h 179"/>
                  <a:gd name="T46" fmla="*/ 30335195 w 311"/>
                  <a:gd name="T47" fmla="*/ 52388817 h 179"/>
                  <a:gd name="T48" fmla="*/ 27761240 w 311"/>
                  <a:gd name="T49" fmla="*/ 51218105 h 179"/>
                  <a:gd name="T50" fmla="*/ 25187714 w 311"/>
                  <a:gd name="T51" fmla="*/ 48876681 h 179"/>
                  <a:gd name="T52" fmla="*/ 22061921 w 311"/>
                  <a:gd name="T53" fmla="*/ 46242579 h 179"/>
                  <a:gd name="T54" fmla="*/ 18017257 w 311"/>
                  <a:gd name="T55" fmla="*/ 45364546 h 179"/>
                  <a:gd name="T56" fmla="*/ 12133992 w 311"/>
                  <a:gd name="T57" fmla="*/ 45364546 h 179"/>
                  <a:gd name="T58" fmla="*/ 9376520 w 311"/>
                  <a:gd name="T59" fmla="*/ 45949901 h 179"/>
                  <a:gd name="T60" fmla="*/ 7170028 w 311"/>
                  <a:gd name="T61" fmla="*/ 47120613 h 179"/>
                  <a:gd name="T62" fmla="*/ 6618619 w 311"/>
                  <a:gd name="T63" fmla="*/ 41559732 h 179"/>
                  <a:gd name="T64" fmla="*/ 5883265 w 311"/>
                  <a:gd name="T65" fmla="*/ 35998850 h 179"/>
                  <a:gd name="T66" fmla="*/ 3860718 w 311"/>
                  <a:gd name="T67" fmla="*/ 37462240 h 179"/>
                  <a:gd name="T68" fmla="*/ 2390009 w 311"/>
                  <a:gd name="T69" fmla="*/ 37754918 h 179"/>
                  <a:gd name="T70" fmla="*/ 1286763 w 311"/>
                  <a:gd name="T71" fmla="*/ 36876884 h 179"/>
                  <a:gd name="T72" fmla="*/ 551409 w 311"/>
                  <a:gd name="T73" fmla="*/ 35413494 h 179"/>
                  <a:gd name="T74" fmla="*/ 0 w 311"/>
                  <a:gd name="T75" fmla="*/ 30730647 h 179"/>
                  <a:gd name="T76" fmla="*/ 0 w 311"/>
                  <a:gd name="T77" fmla="*/ 25462984 h 179"/>
                  <a:gd name="T78" fmla="*/ 551409 w 311"/>
                  <a:gd name="T79" fmla="*/ 23999594 h 179"/>
                  <a:gd name="T80" fmla="*/ 2390009 w 311"/>
                  <a:gd name="T81" fmla="*/ 22828882 h 179"/>
                  <a:gd name="T82" fmla="*/ 3860718 w 311"/>
                  <a:gd name="T83" fmla="*/ 21072814 h 179"/>
                  <a:gd name="T84" fmla="*/ 4596073 w 311"/>
                  <a:gd name="T85" fmla="*/ 19902102 h 179"/>
                  <a:gd name="T86" fmla="*/ 4780019 w 311"/>
                  <a:gd name="T87" fmla="*/ 18146035 h 179"/>
                  <a:gd name="T88" fmla="*/ 4412556 w 311"/>
                  <a:gd name="T89" fmla="*/ 14926577 h 179"/>
                  <a:gd name="T90" fmla="*/ 3493255 w 311"/>
                  <a:gd name="T91" fmla="*/ 12585153 h 179"/>
                  <a:gd name="T92" fmla="*/ 1470709 w 311"/>
                  <a:gd name="T93" fmla="*/ 8487661 h 179"/>
                  <a:gd name="T94" fmla="*/ 183946 w 311"/>
                  <a:gd name="T95" fmla="*/ 5268204 h 179"/>
                  <a:gd name="T96" fmla="*/ 183946 w 311"/>
                  <a:gd name="T97" fmla="*/ 3804814 h 179"/>
                  <a:gd name="T98" fmla="*/ 1103246 w 311"/>
                  <a:gd name="T99" fmla="*/ 1756068 h 179"/>
                  <a:gd name="T100" fmla="*/ 0 w 311"/>
                  <a:gd name="T101" fmla="*/ 1756068 h 17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311" h="179">
                    <a:moveTo>
                      <a:pt x="0" y="6"/>
                    </a:moveTo>
                    <a:lnTo>
                      <a:pt x="79" y="38"/>
                    </a:lnTo>
                    <a:lnTo>
                      <a:pt x="97" y="33"/>
                    </a:lnTo>
                    <a:lnTo>
                      <a:pt x="115" y="26"/>
                    </a:lnTo>
                    <a:lnTo>
                      <a:pt x="132" y="20"/>
                    </a:lnTo>
                    <a:lnTo>
                      <a:pt x="148" y="14"/>
                    </a:lnTo>
                    <a:lnTo>
                      <a:pt x="163" y="9"/>
                    </a:lnTo>
                    <a:lnTo>
                      <a:pt x="178" y="4"/>
                    </a:lnTo>
                    <a:lnTo>
                      <a:pt x="195" y="1"/>
                    </a:lnTo>
                    <a:lnTo>
                      <a:pt x="211" y="0"/>
                    </a:lnTo>
                    <a:lnTo>
                      <a:pt x="224" y="1"/>
                    </a:lnTo>
                    <a:lnTo>
                      <a:pt x="236" y="2"/>
                    </a:lnTo>
                    <a:lnTo>
                      <a:pt x="247" y="4"/>
                    </a:lnTo>
                    <a:lnTo>
                      <a:pt x="256" y="6"/>
                    </a:lnTo>
                    <a:lnTo>
                      <a:pt x="275" y="10"/>
                    </a:lnTo>
                    <a:lnTo>
                      <a:pt x="292" y="12"/>
                    </a:lnTo>
                    <a:lnTo>
                      <a:pt x="290" y="21"/>
                    </a:lnTo>
                    <a:lnTo>
                      <a:pt x="287" y="28"/>
                    </a:lnTo>
                    <a:lnTo>
                      <a:pt x="283" y="36"/>
                    </a:lnTo>
                    <a:lnTo>
                      <a:pt x="278" y="42"/>
                    </a:lnTo>
                    <a:lnTo>
                      <a:pt x="273" y="48"/>
                    </a:lnTo>
                    <a:lnTo>
                      <a:pt x="269" y="53"/>
                    </a:lnTo>
                    <a:lnTo>
                      <a:pt x="266" y="57"/>
                    </a:lnTo>
                    <a:lnTo>
                      <a:pt x="265" y="62"/>
                    </a:lnTo>
                    <a:lnTo>
                      <a:pt x="265" y="64"/>
                    </a:lnTo>
                    <a:lnTo>
                      <a:pt x="266" y="66"/>
                    </a:lnTo>
                    <a:lnTo>
                      <a:pt x="269" y="69"/>
                    </a:lnTo>
                    <a:lnTo>
                      <a:pt x="271" y="71"/>
                    </a:lnTo>
                    <a:lnTo>
                      <a:pt x="277" y="75"/>
                    </a:lnTo>
                    <a:lnTo>
                      <a:pt x="285" y="79"/>
                    </a:lnTo>
                    <a:lnTo>
                      <a:pt x="301" y="87"/>
                    </a:lnTo>
                    <a:lnTo>
                      <a:pt x="311" y="93"/>
                    </a:lnTo>
                    <a:lnTo>
                      <a:pt x="298" y="100"/>
                    </a:lnTo>
                    <a:lnTo>
                      <a:pt x="287" y="107"/>
                    </a:lnTo>
                    <a:lnTo>
                      <a:pt x="283" y="110"/>
                    </a:lnTo>
                    <a:lnTo>
                      <a:pt x="281" y="115"/>
                    </a:lnTo>
                    <a:lnTo>
                      <a:pt x="278" y="121"/>
                    </a:lnTo>
                    <a:lnTo>
                      <a:pt x="278" y="129"/>
                    </a:lnTo>
                    <a:lnTo>
                      <a:pt x="271" y="131"/>
                    </a:lnTo>
                    <a:lnTo>
                      <a:pt x="252" y="136"/>
                    </a:lnTo>
                    <a:lnTo>
                      <a:pt x="230" y="143"/>
                    </a:lnTo>
                    <a:lnTo>
                      <a:pt x="211" y="148"/>
                    </a:lnTo>
                    <a:lnTo>
                      <a:pt x="202" y="158"/>
                    </a:lnTo>
                    <a:lnTo>
                      <a:pt x="191" y="168"/>
                    </a:lnTo>
                    <a:lnTo>
                      <a:pt x="185" y="172"/>
                    </a:lnTo>
                    <a:lnTo>
                      <a:pt x="178" y="176"/>
                    </a:lnTo>
                    <a:lnTo>
                      <a:pt x="172" y="178"/>
                    </a:lnTo>
                    <a:lnTo>
                      <a:pt x="165" y="179"/>
                    </a:lnTo>
                    <a:lnTo>
                      <a:pt x="158" y="178"/>
                    </a:lnTo>
                    <a:lnTo>
                      <a:pt x="151" y="175"/>
                    </a:lnTo>
                    <a:lnTo>
                      <a:pt x="144" y="171"/>
                    </a:lnTo>
                    <a:lnTo>
                      <a:pt x="137" y="167"/>
                    </a:lnTo>
                    <a:lnTo>
                      <a:pt x="129" y="162"/>
                    </a:lnTo>
                    <a:lnTo>
                      <a:pt x="120" y="158"/>
                    </a:lnTo>
                    <a:lnTo>
                      <a:pt x="110" y="156"/>
                    </a:lnTo>
                    <a:lnTo>
                      <a:pt x="98" y="155"/>
                    </a:lnTo>
                    <a:lnTo>
                      <a:pt x="83" y="155"/>
                    </a:lnTo>
                    <a:lnTo>
                      <a:pt x="66" y="155"/>
                    </a:lnTo>
                    <a:lnTo>
                      <a:pt x="59" y="156"/>
                    </a:lnTo>
                    <a:lnTo>
                      <a:pt x="51" y="157"/>
                    </a:lnTo>
                    <a:lnTo>
                      <a:pt x="45" y="159"/>
                    </a:lnTo>
                    <a:lnTo>
                      <a:pt x="39" y="161"/>
                    </a:lnTo>
                    <a:lnTo>
                      <a:pt x="38" y="151"/>
                    </a:lnTo>
                    <a:lnTo>
                      <a:pt x="36" y="142"/>
                    </a:lnTo>
                    <a:lnTo>
                      <a:pt x="34" y="132"/>
                    </a:lnTo>
                    <a:lnTo>
                      <a:pt x="32" y="123"/>
                    </a:lnTo>
                    <a:lnTo>
                      <a:pt x="26" y="126"/>
                    </a:lnTo>
                    <a:lnTo>
                      <a:pt x="21" y="128"/>
                    </a:lnTo>
                    <a:lnTo>
                      <a:pt x="17" y="129"/>
                    </a:lnTo>
                    <a:lnTo>
                      <a:pt x="13" y="129"/>
                    </a:lnTo>
                    <a:lnTo>
                      <a:pt x="9" y="128"/>
                    </a:lnTo>
                    <a:lnTo>
                      <a:pt x="7" y="126"/>
                    </a:lnTo>
                    <a:lnTo>
                      <a:pt x="5" y="124"/>
                    </a:lnTo>
                    <a:lnTo>
                      <a:pt x="3" y="121"/>
                    </a:lnTo>
                    <a:lnTo>
                      <a:pt x="1" y="114"/>
                    </a:lnTo>
                    <a:lnTo>
                      <a:pt x="0" y="105"/>
                    </a:lnTo>
                    <a:lnTo>
                      <a:pt x="0" y="96"/>
                    </a:lnTo>
                    <a:lnTo>
                      <a:pt x="0" y="87"/>
                    </a:lnTo>
                    <a:lnTo>
                      <a:pt x="1" y="84"/>
                    </a:lnTo>
                    <a:lnTo>
                      <a:pt x="3" y="82"/>
                    </a:lnTo>
                    <a:lnTo>
                      <a:pt x="7" y="80"/>
                    </a:lnTo>
                    <a:lnTo>
                      <a:pt x="13" y="78"/>
                    </a:lnTo>
                    <a:lnTo>
                      <a:pt x="17" y="76"/>
                    </a:lnTo>
                    <a:lnTo>
                      <a:pt x="21" y="72"/>
                    </a:lnTo>
                    <a:lnTo>
                      <a:pt x="23" y="70"/>
                    </a:lnTo>
                    <a:lnTo>
                      <a:pt x="25" y="68"/>
                    </a:lnTo>
                    <a:lnTo>
                      <a:pt x="25" y="65"/>
                    </a:lnTo>
                    <a:lnTo>
                      <a:pt x="26" y="62"/>
                    </a:lnTo>
                    <a:lnTo>
                      <a:pt x="25" y="56"/>
                    </a:lnTo>
                    <a:lnTo>
                      <a:pt x="24" y="51"/>
                    </a:lnTo>
                    <a:lnTo>
                      <a:pt x="21" y="47"/>
                    </a:lnTo>
                    <a:lnTo>
                      <a:pt x="19" y="43"/>
                    </a:lnTo>
                    <a:lnTo>
                      <a:pt x="14" y="36"/>
                    </a:lnTo>
                    <a:lnTo>
                      <a:pt x="8" y="29"/>
                    </a:lnTo>
                    <a:lnTo>
                      <a:pt x="3" y="24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1" y="13"/>
                    </a:lnTo>
                    <a:lnTo>
                      <a:pt x="3" y="10"/>
                    </a:lnTo>
                    <a:lnTo>
                      <a:pt x="6" y="6"/>
                    </a:lnTo>
                    <a:lnTo>
                      <a:pt x="3" y="6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47" name="Freeform 447">
                <a:extLst>
                  <a:ext uri="{FF2B5EF4-FFF2-40B4-BE49-F238E27FC236}">
                    <a16:creationId xmlns:a16="http://schemas.microsoft.com/office/drawing/2014/main" id="{FB21C281-A9D2-4045-9CCD-D75F11DBCAA8}"/>
                  </a:ext>
                </a:extLst>
              </p:cNvPr>
              <p:cNvSpPr>
                <a:spLocks/>
              </p:cNvSpPr>
              <p:nvPr>
                <p:custDataLst>
                  <p:tags r:id="rId285"/>
                </p:custDataLst>
              </p:nvPr>
            </p:nvSpPr>
            <p:spPr bwMode="auto">
              <a:xfrm>
                <a:off x="3850440" y="3976191"/>
                <a:ext cx="215370" cy="186345"/>
              </a:xfrm>
              <a:custGeom>
                <a:avLst/>
                <a:gdLst>
                  <a:gd name="T0" fmla="*/ 1156359 w 405"/>
                  <a:gd name="T1" fmla="*/ 71880018 h 314"/>
                  <a:gd name="T2" fmla="*/ 2505443 w 405"/>
                  <a:gd name="T3" fmla="*/ 65521565 h 314"/>
                  <a:gd name="T4" fmla="*/ 3276349 w 405"/>
                  <a:gd name="T5" fmla="*/ 55845338 h 314"/>
                  <a:gd name="T6" fmla="*/ 4432708 w 405"/>
                  <a:gd name="T7" fmla="*/ 47827998 h 314"/>
                  <a:gd name="T8" fmla="*/ 6167245 w 405"/>
                  <a:gd name="T9" fmla="*/ 44786793 h 314"/>
                  <a:gd name="T10" fmla="*/ 9251307 w 405"/>
                  <a:gd name="T11" fmla="*/ 41469019 h 314"/>
                  <a:gd name="T12" fmla="*/ 13876741 w 405"/>
                  <a:gd name="T13" fmla="*/ 38980951 h 314"/>
                  <a:gd name="T14" fmla="*/ 17923996 w 405"/>
                  <a:gd name="T15" fmla="*/ 37046021 h 314"/>
                  <a:gd name="T16" fmla="*/ 20043987 w 405"/>
                  <a:gd name="T17" fmla="*/ 34557954 h 314"/>
                  <a:gd name="T18" fmla="*/ 21778524 w 405"/>
                  <a:gd name="T19" fmla="*/ 31516749 h 314"/>
                  <a:gd name="T20" fmla="*/ 23706228 w 405"/>
                  <a:gd name="T21" fmla="*/ 25710907 h 314"/>
                  <a:gd name="T22" fmla="*/ 26211671 w 405"/>
                  <a:gd name="T23" fmla="*/ 19075885 h 314"/>
                  <a:gd name="T24" fmla="*/ 28331662 w 405"/>
                  <a:gd name="T25" fmla="*/ 15205500 h 314"/>
                  <a:gd name="T26" fmla="*/ 29873473 w 405"/>
                  <a:gd name="T27" fmla="*/ 14099750 h 314"/>
                  <a:gd name="T28" fmla="*/ 32764369 w 405"/>
                  <a:gd name="T29" fmla="*/ 14099750 h 314"/>
                  <a:gd name="T30" fmla="*/ 36426171 w 405"/>
                  <a:gd name="T31" fmla="*/ 13270044 h 314"/>
                  <a:gd name="T32" fmla="*/ 41052044 w 405"/>
                  <a:gd name="T33" fmla="*/ 9676227 h 314"/>
                  <a:gd name="T34" fmla="*/ 45677479 w 405"/>
                  <a:gd name="T35" fmla="*/ 5529273 h 314"/>
                  <a:gd name="T36" fmla="*/ 49532007 w 405"/>
                  <a:gd name="T37" fmla="*/ 3041205 h 314"/>
                  <a:gd name="T38" fmla="*/ 54350167 w 405"/>
                  <a:gd name="T39" fmla="*/ 1105749 h 314"/>
                  <a:gd name="T40" fmla="*/ 60517852 w 405"/>
                  <a:gd name="T41" fmla="*/ 0 h 314"/>
                  <a:gd name="T42" fmla="*/ 63986927 w 405"/>
                  <a:gd name="T43" fmla="*/ 3870386 h 314"/>
                  <a:gd name="T44" fmla="*/ 64950560 w 405"/>
                  <a:gd name="T45" fmla="*/ 9399658 h 314"/>
                  <a:gd name="T46" fmla="*/ 66106918 w 405"/>
                  <a:gd name="T47" fmla="*/ 13823182 h 314"/>
                  <a:gd name="T48" fmla="*/ 67841456 w 405"/>
                  <a:gd name="T49" fmla="*/ 17140430 h 314"/>
                  <a:gd name="T50" fmla="*/ 70925518 w 405"/>
                  <a:gd name="T51" fmla="*/ 20458204 h 314"/>
                  <a:gd name="T52" fmla="*/ 73623687 w 405"/>
                  <a:gd name="T53" fmla="*/ 23499409 h 314"/>
                  <a:gd name="T54" fmla="*/ 75165499 w 405"/>
                  <a:gd name="T55" fmla="*/ 25710907 h 314"/>
                  <a:gd name="T56" fmla="*/ 76321857 w 405"/>
                  <a:gd name="T57" fmla="*/ 31793318 h 314"/>
                  <a:gd name="T58" fmla="*/ 76707310 w 405"/>
                  <a:gd name="T59" fmla="*/ 39534089 h 314"/>
                  <a:gd name="T60" fmla="*/ 76707310 w 405"/>
                  <a:gd name="T61" fmla="*/ 46998291 h 314"/>
                  <a:gd name="T62" fmla="*/ 77478216 w 405"/>
                  <a:gd name="T63" fmla="*/ 54186451 h 314"/>
                  <a:gd name="T64" fmla="*/ 76707310 w 405"/>
                  <a:gd name="T65" fmla="*/ 59992292 h 314"/>
                  <a:gd name="T66" fmla="*/ 73623687 w 405"/>
                  <a:gd name="T67" fmla="*/ 62480360 h 314"/>
                  <a:gd name="T68" fmla="*/ 70347338 w 405"/>
                  <a:gd name="T69" fmla="*/ 66627314 h 314"/>
                  <a:gd name="T70" fmla="*/ 69961446 w 405"/>
                  <a:gd name="T71" fmla="*/ 65521565 h 314"/>
                  <a:gd name="T72" fmla="*/ 68997814 w 405"/>
                  <a:gd name="T73" fmla="*/ 64415816 h 314"/>
                  <a:gd name="T74" fmla="*/ 65914192 w 405"/>
                  <a:gd name="T75" fmla="*/ 62756929 h 314"/>
                  <a:gd name="T76" fmla="*/ 61481484 w 405"/>
                  <a:gd name="T77" fmla="*/ 61651179 h 314"/>
                  <a:gd name="T78" fmla="*/ 29295294 w 405"/>
                  <a:gd name="T79" fmla="*/ 66627314 h 314"/>
                  <a:gd name="T80" fmla="*/ 28909841 w 405"/>
                  <a:gd name="T81" fmla="*/ 71050838 h 314"/>
                  <a:gd name="T82" fmla="*/ 28909841 w 405"/>
                  <a:gd name="T83" fmla="*/ 75750404 h 314"/>
                  <a:gd name="T84" fmla="*/ 29295294 w 405"/>
                  <a:gd name="T85" fmla="*/ 86808949 h 314"/>
                  <a:gd name="T86" fmla="*/ 26789850 w 405"/>
                  <a:gd name="T87" fmla="*/ 86255811 h 314"/>
                  <a:gd name="T88" fmla="*/ 24284407 w 405"/>
                  <a:gd name="T89" fmla="*/ 84320882 h 314"/>
                  <a:gd name="T90" fmla="*/ 19273081 w 405"/>
                  <a:gd name="T91" fmla="*/ 80173927 h 314"/>
                  <a:gd name="T92" fmla="*/ 17153090 w 405"/>
                  <a:gd name="T93" fmla="*/ 84873493 h 314"/>
                  <a:gd name="T94" fmla="*/ 15804005 w 405"/>
                  <a:gd name="T95" fmla="*/ 86255811 h 314"/>
                  <a:gd name="T96" fmla="*/ 14069468 w 405"/>
                  <a:gd name="T97" fmla="*/ 86808949 h 314"/>
                  <a:gd name="T98" fmla="*/ 11564024 w 405"/>
                  <a:gd name="T99" fmla="*/ 85979768 h 314"/>
                  <a:gd name="T100" fmla="*/ 9058581 w 405"/>
                  <a:gd name="T101" fmla="*/ 83491175 h 314"/>
                  <a:gd name="T102" fmla="*/ 5396340 w 405"/>
                  <a:gd name="T103" fmla="*/ 80450496 h 314"/>
                  <a:gd name="T104" fmla="*/ 0 w 405"/>
                  <a:gd name="T105" fmla="*/ 78515040 h 31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405" h="314">
                    <a:moveTo>
                      <a:pt x="0" y="272"/>
                    </a:moveTo>
                    <a:lnTo>
                      <a:pt x="6" y="260"/>
                    </a:lnTo>
                    <a:lnTo>
                      <a:pt x="11" y="248"/>
                    </a:lnTo>
                    <a:lnTo>
                      <a:pt x="13" y="237"/>
                    </a:lnTo>
                    <a:lnTo>
                      <a:pt x="15" y="226"/>
                    </a:lnTo>
                    <a:lnTo>
                      <a:pt x="17" y="202"/>
                    </a:lnTo>
                    <a:lnTo>
                      <a:pt x="20" y="179"/>
                    </a:lnTo>
                    <a:lnTo>
                      <a:pt x="23" y="173"/>
                    </a:lnTo>
                    <a:lnTo>
                      <a:pt x="26" y="167"/>
                    </a:lnTo>
                    <a:lnTo>
                      <a:pt x="32" y="162"/>
                    </a:lnTo>
                    <a:lnTo>
                      <a:pt x="36" y="158"/>
                    </a:lnTo>
                    <a:lnTo>
                      <a:pt x="48" y="150"/>
                    </a:lnTo>
                    <a:lnTo>
                      <a:pt x="60" y="145"/>
                    </a:lnTo>
                    <a:lnTo>
                      <a:pt x="72" y="141"/>
                    </a:lnTo>
                    <a:lnTo>
                      <a:pt x="83" y="137"/>
                    </a:lnTo>
                    <a:lnTo>
                      <a:pt x="93" y="134"/>
                    </a:lnTo>
                    <a:lnTo>
                      <a:pt x="100" y="130"/>
                    </a:lnTo>
                    <a:lnTo>
                      <a:pt x="104" y="125"/>
                    </a:lnTo>
                    <a:lnTo>
                      <a:pt x="109" y="120"/>
                    </a:lnTo>
                    <a:lnTo>
                      <a:pt x="113" y="114"/>
                    </a:lnTo>
                    <a:lnTo>
                      <a:pt x="116" y="107"/>
                    </a:lnTo>
                    <a:lnTo>
                      <a:pt x="123" y="93"/>
                    </a:lnTo>
                    <a:lnTo>
                      <a:pt x="129" y="81"/>
                    </a:lnTo>
                    <a:lnTo>
                      <a:pt x="136" y="69"/>
                    </a:lnTo>
                    <a:lnTo>
                      <a:pt x="143" y="59"/>
                    </a:lnTo>
                    <a:lnTo>
                      <a:pt x="147" y="55"/>
                    </a:lnTo>
                    <a:lnTo>
                      <a:pt x="150" y="53"/>
                    </a:lnTo>
                    <a:lnTo>
                      <a:pt x="155" y="51"/>
                    </a:lnTo>
                    <a:lnTo>
                      <a:pt x="159" y="50"/>
                    </a:lnTo>
                    <a:lnTo>
                      <a:pt x="170" y="51"/>
                    </a:lnTo>
                    <a:lnTo>
                      <a:pt x="180" y="50"/>
                    </a:lnTo>
                    <a:lnTo>
                      <a:pt x="189" y="48"/>
                    </a:lnTo>
                    <a:lnTo>
                      <a:pt x="196" y="44"/>
                    </a:lnTo>
                    <a:lnTo>
                      <a:pt x="213" y="35"/>
                    </a:lnTo>
                    <a:lnTo>
                      <a:pt x="228" y="25"/>
                    </a:lnTo>
                    <a:lnTo>
                      <a:pt x="237" y="20"/>
                    </a:lnTo>
                    <a:lnTo>
                      <a:pt x="247" y="15"/>
                    </a:lnTo>
                    <a:lnTo>
                      <a:pt x="257" y="11"/>
                    </a:lnTo>
                    <a:lnTo>
                      <a:pt x="269" y="7"/>
                    </a:lnTo>
                    <a:lnTo>
                      <a:pt x="282" y="4"/>
                    </a:lnTo>
                    <a:lnTo>
                      <a:pt x="296" y="1"/>
                    </a:lnTo>
                    <a:lnTo>
                      <a:pt x="314" y="0"/>
                    </a:lnTo>
                    <a:lnTo>
                      <a:pt x="332" y="1"/>
                    </a:lnTo>
                    <a:lnTo>
                      <a:pt x="332" y="14"/>
                    </a:lnTo>
                    <a:lnTo>
                      <a:pt x="335" y="25"/>
                    </a:lnTo>
                    <a:lnTo>
                      <a:pt x="337" y="34"/>
                    </a:lnTo>
                    <a:lnTo>
                      <a:pt x="340" y="43"/>
                    </a:lnTo>
                    <a:lnTo>
                      <a:pt x="343" y="50"/>
                    </a:lnTo>
                    <a:lnTo>
                      <a:pt x="348" y="56"/>
                    </a:lnTo>
                    <a:lnTo>
                      <a:pt x="352" y="62"/>
                    </a:lnTo>
                    <a:lnTo>
                      <a:pt x="357" y="66"/>
                    </a:lnTo>
                    <a:lnTo>
                      <a:pt x="368" y="74"/>
                    </a:lnTo>
                    <a:lnTo>
                      <a:pt x="378" y="81"/>
                    </a:lnTo>
                    <a:lnTo>
                      <a:pt x="382" y="85"/>
                    </a:lnTo>
                    <a:lnTo>
                      <a:pt x="385" y="89"/>
                    </a:lnTo>
                    <a:lnTo>
                      <a:pt x="390" y="93"/>
                    </a:lnTo>
                    <a:lnTo>
                      <a:pt x="392" y="100"/>
                    </a:lnTo>
                    <a:lnTo>
                      <a:pt x="396" y="115"/>
                    </a:lnTo>
                    <a:lnTo>
                      <a:pt x="398" y="129"/>
                    </a:lnTo>
                    <a:lnTo>
                      <a:pt x="398" y="143"/>
                    </a:lnTo>
                    <a:lnTo>
                      <a:pt x="398" y="157"/>
                    </a:lnTo>
                    <a:lnTo>
                      <a:pt x="398" y="170"/>
                    </a:lnTo>
                    <a:lnTo>
                      <a:pt x="399" y="183"/>
                    </a:lnTo>
                    <a:lnTo>
                      <a:pt x="402" y="196"/>
                    </a:lnTo>
                    <a:lnTo>
                      <a:pt x="405" y="211"/>
                    </a:lnTo>
                    <a:lnTo>
                      <a:pt x="398" y="217"/>
                    </a:lnTo>
                    <a:lnTo>
                      <a:pt x="390" y="221"/>
                    </a:lnTo>
                    <a:lnTo>
                      <a:pt x="382" y="226"/>
                    </a:lnTo>
                    <a:lnTo>
                      <a:pt x="374" y="233"/>
                    </a:lnTo>
                    <a:lnTo>
                      <a:pt x="365" y="241"/>
                    </a:lnTo>
                    <a:lnTo>
                      <a:pt x="365" y="239"/>
                    </a:lnTo>
                    <a:lnTo>
                      <a:pt x="363" y="237"/>
                    </a:lnTo>
                    <a:lnTo>
                      <a:pt x="361" y="235"/>
                    </a:lnTo>
                    <a:lnTo>
                      <a:pt x="358" y="233"/>
                    </a:lnTo>
                    <a:lnTo>
                      <a:pt x="351" y="230"/>
                    </a:lnTo>
                    <a:lnTo>
                      <a:pt x="342" y="227"/>
                    </a:lnTo>
                    <a:lnTo>
                      <a:pt x="326" y="224"/>
                    </a:lnTo>
                    <a:lnTo>
                      <a:pt x="319" y="223"/>
                    </a:lnTo>
                    <a:lnTo>
                      <a:pt x="300" y="241"/>
                    </a:lnTo>
                    <a:lnTo>
                      <a:pt x="152" y="241"/>
                    </a:lnTo>
                    <a:lnTo>
                      <a:pt x="151" y="249"/>
                    </a:lnTo>
                    <a:lnTo>
                      <a:pt x="150" y="257"/>
                    </a:lnTo>
                    <a:lnTo>
                      <a:pt x="150" y="266"/>
                    </a:lnTo>
                    <a:lnTo>
                      <a:pt x="150" y="274"/>
                    </a:lnTo>
                    <a:lnTo>
                      <a:pt x="152" y="291"/>
                    </a:lnTo>
                    <a:lnTo>
                      <a:pt x="152" y="314"/>
                    </a:lnTo>
                    <a:lnTo>
                      <a:pt x="146" y="314"/>
                    </a:lnTo>
                    <a:lnTo>
                      <a:pt x="139" y="312"/>
                    </a:lnTo>
                    <a:lnTo>
                      <a:pt x="133" y="308"/>
                    </a:lnTo>
                    <a:lnTo>
                      <a:pt x="126" y="305"/>
                    </a:lnTo>
                    <a:lnTo>
                      <a:pt x="114" y="297"/>
                    </a:lnTo>
                    <a:lnTo>
                      <a:pt x="100" y="290"/>
                    </a:lnTo>
                    <a:lnTo>
                      <a:pt x="94" y="299"/>
                    </a:lnTo>
                    <a:lnTo>
                      <a:pt x="89" y="307"/>
                    </a:lnTo>
                    <a:lnTo>
                      <a:pt x="85" y="310"/>
                    </a:lnTo>
                    <a:lnTo>
                      <a:pt x="82" y="312"/>
                    </a:lnTo>
                    <a:lnTo>
                      <a:pt x="78" y="314"/>
                    </a:lnTo>
                    <a:lnTo>
                      <a:pt x="73" y="314"/>
                    </a:lnTo>
                    <a:lnTo>
                      <a:pt x="66" y="313"/>
                    </a:lnTo>
                    <a:lnTo>
                      <a:pt x="60" y="311"/>
                    </a:lnTo>
                    <a:lnTo>
                      <a:pt x="54" y="306"/>
                    </a:lnTo>
                    <a:lnTo>
                      <a:pt x="47" y="302"/>
                    </a:lnTo>
                    <a:lnTo>
                      <a:pt x="38" y="296"/>
                    </a:lnTo>
                    <a:lnTo>
                      <a:pt x="28" y="291"/>
                    </a:lnTo>
                    <a:lnTo>
                      <a:pt x="16" y="287"/>
                    </a:lnTo>
                    <a:lnTo>
                      <a:pt x="0" y="284"/>
                    </a:lnTo>
                    <a:lnTo>
                      <a:pt x="0" y="272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48" name="Freeform 448">
                <a:extLst>
                  <a:ext uri="{FF2B5EF4-FFF2-40B4-BE49-F238E27FC236}">
                    <a16:creationId xmlns:a16="http://schemas.microsoft.com/office/drawing/2014/main" id="{6082ABEE-DCDB-4C6A-9143-368D5B6DC549}"/>
                  </a:ext>
                </a:extLst>
              </p:cNvPr>
              <p:cNvSpPr>
                <a:spLocks/>
              </p:cNvSpPr>
              <p:nvPr>
                <p:custDataLst>
                  <p:tags r:id="rId286"/>
                </p:custDataLst>
              </p:nvPr>
            </p:nvSpPr>
            <p:spPr bwMode="auto">
              <a:xfrm>
                <a:off x="4270320" y="4053541"/>
                <a:ext cx="233468" cy="392028"/>
              </a:xfrm>
              <a:custGeom>
                <a:avLst/>
                <a:gdLst>
                  <a:gd name="T0" fmla="*/ 61234220 w 453"/>
                  <a:gd name="T1" fmla="*/ 10050052 h 661"/>
                  <a:gd name="T2" fmla="*/ 58675402 w 453"/>
                  <a:gd name="T3" fmla="*/ 27358797 h 661"/>
                  <a:gd name="T4" fmla="*/ 50632545 w 453"/>
                  <a:gd name="T5" fmla="*/ 45225497 h 661"/>
                  <a:gd name="T6" fmla="*/ 46245571 w 453"/>
                  <a:gd name="T7" fmla="*/ 61138300 h 661"/>
                  <a:gd name="T8" fmla="*/ 42407129 w 453"/>
                  <a:gd name="T9" fmla="*/ 75934664 h 661"/>
                  <a:gd name="T10" fmla="*/ 38203142 w 453"/>
                  <a:gd name="T11" fmla="*/ 91846938 h 661"/>
                  <a:gd name="T12" fmla="*/ 35826882 w 453"/>
                  <a:gd name="T13" fmla="*/ 101060058 h 661"/>
                  <a:gd name="T14" fmla="*/ 32902090 w 453"/>
                  <a:gd name="T15" fmla="*/ 106084820 h 661"/>
                  <a:gd name="T16" fmla="*/ 30525831 w 453"/>
                  <a:gd name="T17" fmla="*/ 108876706 h 661"/>
                  <a:gd name="T18" fmla="*/ 25773311 w 453"/>
                  <a:gd name="T19" fmla="*/ 106643303 h 661"/>
                  <a:gd name="T20" fmla="*/ 22117428 w 453"/>
                  <a:gd name="T21" fmla="*/ 103292933 h 661"/>
                  <a:gd name="T22" fmla="*/ 17182350 w 453"/>
                  <a:gd name="T23" fmla="*/ 102455473 h 661"/>
                  <a:gd name="T24" fmla="*/ 11698312 w 453"/>
                  <a:gd name="T25" fmla="*/ 106084820 h 661"/>
                  <a:gd name="T26" fmla="*/ 8042857 w 453"/>
                  <a:gd name="T27" fmla="*/ 112506053 h 661"/>
                  <a:gd name="T28" fmla="*/ 3838442 w 453"/>
                  <a:gd name="T29" fmla="*/ 126743406 h 661"/>
                  <a:gd name="T30" fmla="*/ 1279623 w 453"/>
                  <a:gd name="T31" fmla="*/ 134560054 h 661"/>
                  <a:gd name="T32" fmla="*/ 182987 w 453"/>
                  <a:gd name="T33" fmla="*/ 139585345 h 661"/>
                  <a:gd name="T34" fmla="*/ 1462182 w 453"/>
                  <a:gd name="T35" fmla="*/ 144331129 h 661"/>
                  <a:gd name="T36" fmla="*/ 3655883 w 453"/>
                  <a:gd name="T37" fmla="*/ 146844038 h 661"/>
                  <a:gd name="T38" fmla="*/ 10053571 w 453"/>
                  <a:gd name="T39" fmla="*/ 146844038 h 661"/>
                  <a:gd name="T40" fmla="*/ 12977935 w 453"/>
                  <a:gd name="T41" fmla="*/ 152985766 h 661"/>
                  <a:gd name="T42" fmla="*/ 13343481 w 453"/>
                  <a:gd name="T43" fmla="*/ 164710738 h 661"/>
                  <a:gd name="T44" fmla="*/ 12246844 w 453"/>
                  <a:gd name="T45" fmla="*/ 175877756 h 661"/>
                  <a:gd name="T46" fmla="*/ 79147662 w 453"/>
                  <a:gd name="T47" fmla="*/ 184531865 h 661"/>
                  <a:gd name="T48" fmla="*/ 80792830 w 453"/>
                  <a:gd name="T49" fmla="*/ 162477335 h 661"/>
                  <a:gd name="T50" fmla="*/ 75857752 w 453"/>
                  <a:gd name="T51" fmla="*/ 158569011 h 661"/>
                  <a:gd name="T52" fmla="*/ 68180441 w 453"/>
                  <a:gd name="T53" fmla="*/ 155498147 h 661"/>
                  <a:gd name="T54" fmla="*/ 64524558 w 453"/>
                  <a:gd name="T55" fmla="*/ 153264743 h 661"/>
                  <a:gd name="T56" fmla="*/ 62148298 w 453"/>
                  <a:gd name="T57" fmla="*/ 149914902 h 661"/>
                  <a:gd name="T58" fmla="*/ 60868675 w 453"/>
                  <a:gd name="T59" fmla="*/ 143773174 h 661"/>
                  <a:gd name="T60" fmla="*/ 60868675 w 453"/>
                  <a:gd name="T61" fmla="*/ 129535293 h 661"/>
                  <a:gd name="T62" fmla="*/ 61600194 w 453"/>
                  <a:gd name="T63" fmla="*/ 119485241 h 661"/>
                  <a:gd name="T64" fmla="*/ 64159012 w 453"/>
                  <a:gd name="T65" fmla="*/ 110830604 h 661"/>
                  <a:gd name="T66" fmla="*/ 68180441 w 453"/>
                  <a:gd name="T67" fmla="*/ 101618012 h 661"/>
                  <a:gd name="T68" fmla="*/ 71653337 w 453"/>
                  <a:gd name="T69" fmla="*/ 92126444 h 661"/>
                  <a:gd name="T70" fmla="*/ 72932960 w 453"/>
                  <a:gd name="T71" fmla="*/ 82913852 h 661"/>
                  <a:gd name="T72" fmla="*/ 71105232 w 453"/>
                  <a:gd name="T73" fmla="*/ 74538721 h 661"/>
                  <a:gd name="T74" fmla="*/ 68180441 w 453"/>
                  <a:gd name="T75" fmla="*/ 68675970 h 661"/>
                  <a:gd name="T76" fmla="*/ 62696830 w 453"/>
                  <a:gd name="T77" fmla="*/ 60579817 h 661"/>
                  <a:gd name="T78" fmla="*/ 60868675 w 453"/>
                  <a:gd name="T79" fmla="*/ 53600629 h 661"/>
                  <a:gd name="T80" fmla="*/ 61234220 w 453"/>
                  <a:gd name="T81" fmla="*/ 48296361 h 661"/>
                  <a:gd name="T82" fmla="*/ 64524558 w 453"/>
                  <a:gd name="T83" fmla="*/ 45783980 h 661"/>
                  <a:gd name="T84" fmla="*/ 74212583 w 453"/>
                  <a:gd name="T85" fmla="*/ 45225497 h 661"/>
                  <a:gd name="T86" fmla="*/ 72201869 w 453"/>
                  <a:gd name="T87" fmla="*/ 42154634 h 661"/>
                  <a:gd name="T88" fmla="*/ 69277077 w 453"/>
                  <a:gd name="T89" fmla="*/ 32663065 h 661"/>
                  <a:gd name="T90" fmla="*/ 67814895 w 453"/>
                  <a:gd name="T91" fmla="*/ 20379609 h 661"/>
                  <a:gd name="T92" fmla="*/ 68180441 w 453"/>
                  <a:gd name="T93" fmla="*/ 12562433 h 661"/>
                  <a:gd name="T94" fmla="*/ 67083804 w 453"/>
                  <a:gd name="T95" fmla="*/ 3070864 h 661"/>
                  <a:gd name="T96" fmla="*/ 63427921 w 453"/>
                  <a:gd name="T97" fmla="*/ 0 h 661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453" h="661">
                    <a:moveTo>
                      <a:pt x="330" y="9"/>
                    </a:moveTo>
                    <a:lnTo>
                      <a:pt x="332" y="23"/>
                    </a:lnTo>
                    <a:lnTo>
                      <a:pt x="335" y="36"/>
                    </a:lnTo>
                    <a:lnTo>
                      <a:pt x="340" y="50"/>
                    </a:lnTo>
                    <a:lnTo>
                      <a:pt x="346" y="63"/>
                    </a:lnTo>
                    <a:lnTo>
                      <a:pt x="321" y="98"/>
                    </a:lnTo>
                    <a:lnTo>
                      <a:pt x="298" y="129"/>
                    </a:lnTo>
                    <a:lnTo>
                      <a:pt x="287" y="145"/>
                    </a:lnTo>
                    <a:lnTo>
                      <a:pt x="277" y="162"/>
                    </a:lnTo>
                    <a:lnTo>
                      <a:pt x="268" y="179"/>
                    </a:lnTo>
                    <a:lnTo>
                      <a:pt x="259" y="200"/>
                    </a:lnTo>
                    <a:lnTo>
                      <a:pt x="253" y="219"/>
                    </a:lnTo>
                    <a:lnTo>
                      <a:pt x="245" y="237"/>
                    </a:lnTo>
                    <a:lnTo>
                      <a:pt x="239" y="255"/>
                    </a:lnTo>
                    <a:lnTo>
                      <a:pt x="232" y="272"/>
                    </a:lnTo>
                    <a:lnTo>
                      <a:pt x="225" y="289"/>
                    </a:lnTo>
                    <a:lnTo>
                      <a:pt x="218" y="309"/>
                    </a:lnTo>
                    <a:lnTo>
                      <a:pt x="209" y="329"/>
                    </a:lnTo>
                    <a:lnTo>
                      <a:pt x="200" y="353"/>
                    </a:lnTo>
                    <a:lnTo>
                      <a:pt x="199" y="356"/>
                    </a:lnTo>
                    <a:lnTo>
                      <a:pt x="196" y="362"/>
                    </a:lnTo>
                    <a:lnTo>
                      <a:pt x="191" y="368"/>
                    </a:lnTo>
                    <a:lnTo>
                      <a:pt x="186" y="374"/>
                    </a:lnTo>
                    <a:lnTo>
                      <a:pt x="180" y="380"/>
                    </a:lnTo>
                    <a:lnTo>
                      <a:pt x="175" y="385"/>
                    </a:lnTo>
                    <a:lnTo>
                      <a:pt x="171" y="389"/>
                    </a:lnTo>
                    <a:lnTo>
                      <a:pt x="167" y="390"/>
                    </a:lnTo>
                    <a:lnTo>
                      <a:pt x="157" y="389"/>
                    </a:lnTo>
                    <a:lnTo>
                      <a:pt x="149" y="386"/>
                    </a:lnTo>
                    <a:lnTo>
                      <a:pt x="141" y="382"/>
                    </a:lnTo>
                    <a:lnTo>
                      <a:pt x="134" y="378"/>
                    </a:lnTo>
                    <a:lnTo>
                      <a:pt x="128" y="374"/>
                    </a:lnTo>
                    <a:lnTo>
                      <a:pt x="121" y="370"/>
                    </a:lnTo>
                    <a:lnTo>
                      <a:pt x="115" y="367"/>
                    </a:lnTo>
                    <a:lnTo>
                      <a:pt x="107" y="366"/>
                    </a:lnTo>
                    <a:lnTo>
                      <a:pt x="94" y="367"/>
                    </a:lnTo>
                    <a:lnTo>
                      <a:pt x="83" y="370"/>
                    </a:lnTo>
                    <a:lnTo>
                      <a:pt x="73" y="374"/>
                    </a:lnTo>
                    <a:lnTo>
                      <a:pt x="64" y="380"/>
                    </a:lnTo>
                    <a:lnTo>
                      <a:pt x="56" y="387"/>
                    </a:lnTo>
                    <a:lnTo>
                      <a:pt x="50" y="395"/>
                    </a:lnTo>
                    <a:lnTo>
                      <a:pt x="44" y="403"/>
                    </a:lnTo>
                    <a:lnTo>
                      <a:pt x="39" y="413"/>
                    </a:lnTo>
                    <a:lnTo>
                      <a:pt x="30" y="434"/>
                    </a:lnTo>
                    <a:lnTo>
                      <a:pt x="21" y="454"/>
                    </a:lnTo>
                    <a:lnTo>
                      <a:pt x="17" y="463"/>
                    </a:lnTo>
                    <a:lnTo>
                      <a:pt x="11" y="473"/>
                    </a:lnTo>
                    <a:lnTo>
                      <a:pt x="7" y="482"/>
                    </a:lnTo>
                    <a:lnTo>
                      <a:pt x="0" y="489"/>
                    </a:lnTo>
                    <a:lnTo>
                      <a:pt x="1" y="494"/>
                    </a:lnTo>
                    <a:lnTo>
                      <a:pt x="1" y="500"/>
                    </a:lnTo>
                    <a:lnTo>
                      <a:pt x="4" y="506"/>
                    </a:lnTo>
                    <a:lnTo>
                      <a:pt x="6" y="512"/>
                    </a:lnTo>
                    <a:lnTo>
                      <a:pt x="8" y="517"/>
                    </a:lnTo>
                    <a:lnTo>
                      <a:pt x="11" y="521"/>
                    </a:lnTo>
                    <a:lnTo>
                      <a:pt x="16" y="524"/>
                    </a:lnTo>
                    <a:lnTo>
                      <a:pt x="20" y="526"/>
                    </a:lnTo>
                    <a:lnTo>
                      <a:pt x="28" y="526"/>
                    </a:lnTo>
                    <a:lnTo>
                      <a:pt x="40" y="526"/>
                    </a:lnTo>
                    <a:lnTo>
                      <a:pt x="55" y="526"/>
                    </a:lnTo>
                    <a:lnTo>
                      <a:pt x="74" y="526"/>
                    </a:lnTo>
                    <a:lnTo>
                      <a:pt x="72" y="537"/>
                    </a:lnTo>
                    <a:lnTo>
                      <a:pt x="71" y="548"/>
                    </a:lnTo>
                    <a:lnTo>
                      <a:pt x="71" y="558"/>
                    </a:lnTo>
                    <a:lnTo>
                      <a:pt x="72" y="569"/>
                    </a:lnTo>
                    <a:lnTo>
                      <a:pt x="73" y="590"/>
                    </a:lnTo>
                    <a:lnTo>
                      <a:pt x="74" y="612"/>
                    </a:lnTo>
                    <a:lnTo>
                      <a:pt x="71" y="621"/>
                    </a:lnTo>
                    <a:lnTo>
                      <a:pt x="67" y="630"/>
                    </a:lnTo>
                    <a:lnTo>
                      <a:pt x="167" y="630"/>
                    </a:lnTo>
                    <a:lnTo>
                      <a:pt x="273" y="630"/>
                    </a:lnTo>
                    <a:lnTo>
                      <a:pt x="433" y="661"/>
                    </a:lnTo>
                    <a:lnTo>
                      <a:pt x="453" y="594"/>
                    </a:lnTo>
                    <a:lnTo>
                      <a:pt x="447" y="588"/>
                    </a:lnTo>
                    <a:lnTo>
                      <a:pt x="442" y="582"/>
                    </a:lnTo>
                    <a:lnTo>
                      <a:pt x="435" y="577"/>
                    </a:lnTo>
                    <a:lnTo>
                      <a:pt x="430" y="573"/>
                    </a:lnTo>
                    <a:lnTo>
                      <a:pt x="415" y="568"/>
                    </a:lnTo>
                    <a:lnTo>
                      <a:pt x="402" y="564"/>
                    </a:lnTo>
                    <a:lnTo>
                      <a:pt x="387" y="561"/>
                    </a:lnTo>
                    <a:lnTo>
                      <a:pt x="373" y="557"/>
                    </a:lnTo>
                    <a:lnTo>
                      <a:pt x="366" y="555"/>
                    </a:lnTo>
                    <a:lnTo>
                      <a:pt x="359" y="552"/>
                    </a:lnTo>
                    <a:lnTo>
                      <a:pt x="353" y="549"/>
                    </a:lnTo>
                    <a:lnTo>
                      <a:pt x="346" y="544"/>
                    </a:lnTo>
                    <a:lnTo>
                      <a:pt x="343" y="541"/>
                    </a:lnTo>
                    <a:lnTo>
                      <a:pt x="340" y="537"/>
                    </a:lnTo>
                    <a:lnTo>
                      <a:pt x="337" y="532"/>
                    </a:lnTo>
                    <a:lnTo>
                      <a:pt x="335" y="527"/>
                    </a:lnTo>
                    <a:lnTo>
                      <a:pt x="333" y="515"/>
                    </a:lnTo>
                    <a:lnTo>
                      <a:pt x="332" y="504"/>
                    </a:lnTo>
                    <a:lnTo>
                      <a:pt x="332" y="482"/>
                    </a:lnTo>
                    <a:lnTo>
                      <a:pt x="333" y="464"/>
                    </a:lnTo>
                    <a:lnTo>
                      <a:pt x="333" y="451"/>
                    </a:lnTo>
                    <a:lnTo>
                      <a:pt x="335" y="439"/>
                    </a:lnTo>
                    <a:lnTo>
                      <a:pt x="337" y="428"/>
                    </a:lnTo>
                    <a:lnTo>
                      <a:pt x="342" y="417"/>
                    </a:lnTo>
                    <a:lnTo>
                      <a:pt x="345" y="406"/>
                    </a:lnTo>
                    <a:lnTo>
                      <a:pt x="351" y="397"/>
                    </a:lnTo>
                    <a:lnTo>
                      <a:pt x="355" y="389"/>
                    </a:lnTo>
                    <a:lnTo>
                      <a:pt x="362" y="380"/>
                    </a:lnTo>
                    <a:lnTo>
                      <a:pt x="373" y="364"/>
                    </a:lnTo>
                    <a:lnTo>
                      <a:pt x="384" y="347"/>
                    </a:lnTo>
                    <a:lnTo>
                      <a:pt x="388" y="338"/>
                    </a:lnTo>
                    <a:lnTo>
                      <a:pt x="392" y="330"/>
                    </a:lnTo>
                    <a:lnTo>
                      <a:pt x="397" y="320"/>
                    </a:lnTo>
                    <a:lnTo>
                      <a:pt x="399" y="310"/>
                    </a:lnTo>
                    <a:lnTo>
                      <a:pt x="399" y="297"/>
                    </a:lnTo>
                    <a:lnTo>
                      <a:pt x="397" y="286"/>
                    </a:lnTo>
                    <a:lnTo>
                      <a:pt x="393" y="276"/>
                    </a:lnTo>
                    <a:lnTo>
                      <a:pt x="389" y="267"/>
                    </a:lnTo>
                    <a:lnTo>
                      <a:pt x="384" y="260"/>
                    </a:lnTo>
                    <a:lnTo>
                      <a:pt x="378" y="253"/>
                    </a:lnTo>
                    <a:lnTo>
                      <a:pt x="373" y="246"/>
                    </a:lnTo>
                    <a:lnTo>
                      <a:pt x="366" y="240"/>
                    </a:lnTo>
                    <a:lnTo>
                      <a:pt x="354" y="229"/>
                    </a:lnTo>
                    <a:lnTo>
                      <a:pt x="343" y="217"/>
                    </a:lnTo>
                    <a:lnTo>
                      <a:pt x="339" y="209"/>
                    </a:lnTo>
                    <a:lnTo>
                      <a:pt x="335" y="201"/>
                    </a:lnTo>
                    <a:lnTo>
                      <a:pt x="333" y="192"/>
                    </a:lnTo>
                    <a:lnTo>
                      <a:pt x="333" y="180"/>
                    </a:lnTo>
                    <a:lnTo>
                      <a:pt x="333" y="176"/>
                    </a:lnTo>
                    <a:lnTo>
                      <a:pt x="335" y="173"/>
                    </a:lnTo>
                    <a:lnTo>
                      <a:pt x="339" y="170"/>
                    </a:lnTo>
                    <a:lnTo>
                      <a:pt x="343" y="167"/>
                    </a:lnTo>
                    <a:lnTo>
                      <a:pt x="353" y="164"/>
                    </a:lnTo>
                    <a:lnTo>
                      <a:pt x="365" y="162"/>
                    </a:lnTo>
                    <a:lnTo>
                      <a:pt x="389" y="162"/>
                    </a:lnTo>
                    <a:lnTo>
                      <a:pt x="406" y="162"/>
                    </a:lnTo>
                    <a:lnTo>
                      <a:pt x="402" y="160"/>
                    </a:lnTo>
                    <a:lnTo>
                      <a:pt x="399" y="156"/>
                    </a:lnTo>
                    <a:lnTo>
                      <a:pt x="395" y="151"/>
                    </a:lnTo>
                    <a:lnTo>
                      <a:pt x="391" y="146"/>
                    </a:lnTo>
                    <a:lnTo>
                      <a:pt x="385" y="132"/>
                    </a:lnTo>
                    <a:lnTo>
                      <a:pt x="379" y="117"/>
                    </a:lnTo>
                    <a:lnTo>
                      <a:pt x="375" y="101"/>
                    </a:lnTo>
                    <a:lnTo>
                      <a:pt x="373" y="83"/>
                    </a:lnTo>
                    <a:lnTo>
                      <a:pt x="371" y="73"/>
                    </a:lnTo>
                    <a:lnTo>
                      <a:pt x="371" y="64"/>
                    </a:lnTo>
                    <a:lnTo>
                      <a:pt x="371" y="54"/>
                    </a:lnTo>
                    <a:lnTo>
                      <a:pt x="373" y="45"/>
                    </a:lnTo>
                    <a:lnTo>
                      <a:pt x="371" y="33"/>
                    </a:lnTo>
                    <a:lnTo>
                      <a:pt x="369" y="21"/>
                    </a:lnTo>
                    <a:lnTo>
                      <a:pt x="367" y="11"/>
                    </a:lnTo>
                    <a:lnTo>
                      <a:pt x="366" y="2"/>
                    </a:lnTo>
                    <a:lnTo>
                      <a:pt x="357" y="1"/>
                    </a:lnTo>
                    <a:lnTo>
                      <a:pt x="347" y="0"/>
                    </a:lnTo>
                    <a:lnTo>
                      <a:pt x="346" y="2"/>
                    </a:lnTo>
                    <a:lnTo>
                      <a:pt x="330" y="9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49" name="Freeform 449">
                <a:extLst>
                  <a:ext uri="{FF2B5EF4-FFF2-40B4-BE49-F238E27FC236}">
                    <a16:creationId xmlns:a16="http://schemas.microsoft.com/office/drawing/2014/main" id="{5CD4A13E-548A-4F80-B3D8-B53EB6086FBD}"/>
                  </a:ext>
                </a:extLst>
              </p:cNvPr>
              <p:cNvSpPr>
                <a:spLocks/>
              </p:cNvSpPr>
              <p:nvPr>
                <p:custDataLst>
                  <p:tags r:id="rId287"/>
                </p:custDataLst>
              </p:nvPr>
            </p:nvSpPr>
            <p:spPr bwMode="auto">
              <a:xfrm>
                <a:off x="7225766" y="3782814"/>
                <a:ext cx="66963" cy="63287"/>
              </a:xfrm>
              <a:custGeom>
                <a:avLst/>
                <a:gdLst>
                  <a:gd name="T0" fmla="*/ 0 w 126"/>
                  <a:gd name="T1" fmla="*/ 16589829 h 105"/>
                  <a:gd name="T2" fmla="*/ 777882 w 126"/>
                  <a:gd name="T3" fmla="*/ 14516100 h 105"/>
                  <a:gd name="T4" fmla="*/ 1944705 w 126"/>
                  <a:gd name="T5" fmla="*/ 12146280 h 105"/>
                  <a:gd name="T6" fmla="*/ 3111528 w 126"/>
                  <a:gd name="T7" fmla="*/ 9775916 h 105"/>
                  <a:gd name="T8" fmla="*/ 4666851 w 126"/>
                  <a:gd name="T9" fmla="*/ 7406096 h 105"/>
                  <a:gd name="T10" fmla="*/ 7194968 w 126"/>
                  <a:gd name="T11" fmla="*/ 3258639 h 105"/>
                  <a:gd name="T12" fmla="*/ 9139673 w 126"/>
                  <a:gd name="T13" fmla="*/ 0 h 105"/>
                  <a:gd name="T14" fmla="*/ 21973844 w 126"/>
                  <a:gd name="T15" fmla="*/ 0 h 105"/>
                  <a:gd name="T16" fmla="*/ 22168314 w 126"/>
                  <a:gd name="T17" fmla="*/ 1184910 h 105"/>
                  <a:gd name="T18" fmla="*/ 22362785 w 126"/>
                  <a:gd name="T19" fmla="*/ 2369820 h 105"/>
                  <a:gd name="T20" fmla="*/ 22751726 w 126"/>
                  <a:gd name="T21" fmla="*/ 3554730 h 105"/>
                  <a:gd name="T22" fmla="*/ 23140667 w 126"/>
                  <a:gd name="T23" fmla="*/ 4147457 h 105"/>
                  <a:gd name="T24" fmla="*/ 24113019 w 126"/>
                  <a:gd name="T25" fmla="*/ 5925094 h 105"/>
                  <a:gd name="T26" fmla="*/ 24501960 w 126"/>
                  <a:gd name="T27" fmla="*/ 7110004 h 105"/>
                  <a:gd name="T28" fmla="*/ 24501960 w 126"/>
                  <a:gd name="T29" fmla="*/ 9479824 h 105"/>
                  <a:gd name="T30" fmla="*/ 24307490 w 126"/>
                  <a:gd name="T31" fmla="*/ 12146280 h 105"/>
                  <a:gd name="T32" fmla="*/ 24113019 w 126"/>
                  <a:gd name="T33" fmla="*/ 14220009 h 105"/>
                  <a:gd name="T34" fmla="*/ 23724078 w 126"/>
                  <a:gd name="T35" fmla="*/ 16293737 h 105"/>
                  <a:gd name="T36" fmla="*/ 23140667 w 126"/>
                  <a:gd name="T37" fmla="*/ 18367466 h 105"/>
                  <a:gd name="T38" fmla="*/ 22557255 w 126"/>
                  <a:gd name="T39" fmla="*/ 20441194 h 105"/>
                  <a:gd name="T40" fmla="*/ 21779373 w 126"/>
                  <a:gd name="T41" fmla="*/ 22218287 h 105"/>
                  <a:gd name="T42" fmla="*/ 21001491 w 126"/>
                  <a:gd name="T43" fmla="*/ 23995924 h 105"/>
                  <a:gd name="T44" fmla="*/ 20224050 w 126"/>
                  <a:gd name="T45" fmla="*/ 25477470 h 105"/>
                  <a:gd name="T46" fmla="*/ 19251698 w 126"/>
                  <a:gd name="T47" fmla="*/ 26662380 h 105"/>
                  <a:gd name="T48" fmla="*/ 18084875 w 126"/>
                  <a:gd name="T49" fmla="*/ 27847290 h 105"/>
                  <a:gd name="T50" fmla="*/ 17112522 w 126"/>
                  <a:gd name="T51" fmla="*/ 29328291 h 105"/>
                  <a:gd name="T52" fmla="*/ 15751229 w 126"/>
                  <a:gd name="T53" fmla="*/ 29921019 h 105"/>
                  <a:gd name="T54" fmla="*/ 14389935 w 126"/>
                  <a:gd name="T55" fmla="*/ 30513201 h 105"/>
                  <a:gd name="T56" fmla="*/ 13028642 w 126"/>
                  <a:gd name="T57" fmla="*/ 31105929 h 105"/>
                  <a:gd name="T58" fmla="*/ 11667789 w 126"/>
                  <a:gd name="T59" fmla="*/ 31105929 h 105"/>
                  <a:gd name="T60" fmla="*/ 9334143 w 126"/>
                  <a:gd name="T61" fmla="*/ 30809837 h 105"/>
                  <a:gd name="T62" fmla="*/ 7389438 w 126"/>
                  <a:gd name="T63" fmla="*/ 30217110 h 105"/>
                  <a:gd name="T64" fmla="*/ 6028145 w 126"/>
                  <a:gd name="T65" fmla="*/ 29032200 h 105"/>
                  <a:gd name="T66" fmla="*/ 4666851 w 126"/>
                  <a:gd name="T67" fmla="*/ 27254563 h 105"/>
                  <a:gd name="T68" fmla="*/ 3889410 w 126"/>
                  <a:gd name="T69" fmla="*/ 25477470 h 105"/>
                  <a:gd name="T70" fmla="*/ 3111528 w 126"/>
                  <a:gd name="T71" fmla="*/ 23107106 h 105"/>
                  <a:gd name="T72" fmla="*/ 2722587 w 126"/>
                  <a:gd name="T73" fmla="*/ 20737286 h 105"/>
                  <a:gd name="T74" fmla="*/ 2528117 w 126"/>
                  <a:gd name="T75" fmla="*/ 18367466 h 105"/>
                  <a:gd name="T76" fmla="*/ 0 w 126"/>
                  <a:gd name="T77" fmla="*/ 16589829 h 105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26" h="105">
                    <a:moveTo>
                      <a:pt x="0" y="56"/>
                    </a:moveTo>
                    <a:lnTo>
                      <a:pt x="4" y="49"/>
                    </a:lnTo>
                    <a:lnTo>
                      <a:pt x="10" y="41"/>
                    </a:lnTo>
                    <a:lnTo>
                      <a:pt x="16" y="33"/>
                    </a:lnTo>
                    <a:lnTo>
                      <a:pt x="24" y="25"/>
                    </a:lnTo>
                    <a:lnTo>
                      <a:pt x="37" y="11"/>
                    </a:lnTo>
                    <a:lnTo>
                      <a:pt x="47" y="0"/>
                    </a:lnTo>
                    <a:lnTo>
                      <a:pt x="113" y="0"/>
                    </a:lnTo>
                    <a:lnTo>
                      <a:pt x="114" y="4"/>
                    </a:lnTo>
                    <a:lnTo>
                      <a:pt x="115" y="8"/>
                    </a:lnTo>
                    <a:lnTo>
                      <a:pt x="117" y="12"/>
                    </a:lnTo>
                    <a:lnTo>
                      <a:pt x="119" y="14"/>
                    </a:lnTo>
                    <a:lnTo>
                      <a:pt x="124" y="20"/>
                    </a:lnTo>
                    <a:lnTo>
                      <a:pt x="126" y="24"/>
                    </a:lnTo>
                    <a:lnTo>
                      <a:pt x="126" y="32"/>
                    </a:lnTo>
                    <a:lnTo>
                      <a:pt x="125" y="41"/>
                    </a:lnTo>
                    <a:lnTo>
                      <a:pt x="124" y="48"/>
                    </a:lnTo>
                    <a:lnTo>
                      <a:pt x="122" y="55"/>
                    </a:lnTo>
                    <a:lnTo>
                      <a:pt x="119" y="62"/>
                    </a:lnTo>
                    <a:lnTo>
                      <a:pt x="116" y="69"/>
                    </a:lnTo>
                    <a:lnTo>
                      <a:pt x="112" y="75"/>
                    </a:lnTo>
                    <a:lnTo>
                      <a:pt x="108" y="81"/>
                    </a:lnTo>
                    <a:lnTo>
                      <a:pt x="104" y="86"/>
                    </a:lnTo>
                    <a:lnTo>
                      <a:pt x="99" y="90"/>
                    </a:lnTo>
                    <a:lnTo>
                      <a:pt x="93" y="94"/>
                    </a:lnTo>
                    <a:lnTo>
                      <a:pt x="88" y="99"/>
                    </a:lnTo>
                    <a:lnTo>
                      <a:pt x="81" y="101"/>
                    </a:lnTo>
                    <a:lnTo>
                      <a:pt x="74" y="103"/>
                    </a:lnTo>
                    <a:lnTo>
                      <a:pt x="67" y="105"/>
                    </a:lnTo>
                    <a:lnTo>
                      <a:pt x="60" y="105"/>
                    </a:lnTo>
                    <a:lnTo>
                      <a:pt x="48" y="104"/>
                    </a:lnTo>
                    <a:lnTo>
                      <a:pt x="38" y="102"/>
                    </a:lnTo>
                    <a:lnTo>
                      <a:pt x="31" y="98"/>
                    </a:lnTo>
                    <a:lnTo>
                      <a:pt x="24" y="92"/>
                    </a:lnTo>
                    <a:lnTo>
                      <a:pt x="20" y="86"/>
                    </a:lnTo>
                    <a:lnTo>
                      <a:pt x="16" y="78"/>
                    </a:lnTo>
                    <a:lnTo>
                      <a:pt x="14" y="70"/>
                    </a:lnTo>
                    <a:lnTo>
                      <a:pt x="13" y="62"/>
                    </a:lnTo>
                    <a:lnTo>
                      <a:pt x="0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0" name="Freeform 450">
                <a:extLst>
                  <a:ext uri="{FF2B5EF4-FFF2-40B4-BE49-F238E27FC236}">
                    <a16:creationId xmlns:a16="http://schemas.microsoft.com/office/drawing/2014/main" id="{CF6EDA9F-8218-4E74-B286-2DB4CC50628D}"/>
                  </a:ext>
                </a:extLst>
              </p:cNvPr>
              <p:cNvSpPr>
                <a:spLocks/>
              </p:cNvSpPr>
              <p:nvPr>
                <p:custDataLst>
                  <p:tags r:id="rId288"/>
                </p:custDataLst>
              </p:nvPr>
            </p:nvSpPr>
            <p:spPr bwMode="auto">
              <a:xfrm>
                <a:off x="1624354" y="4078153"/>
                <a:ext cx="360156" cy="588921"/>
              </a:xfrm>
              <a:custGeom>
                <a:avLst/>
                <a:gdLst>
                  <a:gd name="T0" fmla="*/ 127747945 w 684"/>
                  <a:gd name="T1" fmla="*/ 157887946 h 998"/>
                  <a:gd name="T2" fmla="*/ 129461414 w 684"/>
                  <a:gd name="T3" fmla="*/ 151550528 h 998"/>
                  <a:gd name="T4" fmla="*/ 127747945 w 684"/>
                  <a:gd name="T5" fmla="*/ 135293081 h 998"/>
                  <a:gd name="T6" fmla="*/ 125463319 w 684"/>
                  <a:gd name="T7" fmla="*/ 116555888 h 998"/>
                  <a:gd name="T8" fmla="*/ 129080498 w 684"/>
                  <a:gd name="T9" fmla="*/ 107187555 h 998"/>
                  <a:gd name="T10" fmla="*/ 106043997 w 684"/>
                  <a:gd name="T11" fmla="*/ 99472209 h 998"/>
                  <a:gd name="T12" fmla="*/ 101474745 w 684"/>
                  <a:gd name="T13" fmla="*/ 89828290 h 998"/>
                  <a:gd name="T14" fmla="*/ 87957666 w 684"/>
                  <a:gd name="T15" fmla="*/ 85419446 h 998"/>
                  <a:gd name="T16" fmla="*/ 76534535 w 684"/>
                  <a:gd name="T17" fmla="*/ 74397599 h 998"/>
                  <a:gd name="T18" fmla="*/ 71394127 w 684"/>
                  <a:gd name="T19" fmla="*/ 55384821 h 998"/>
                  <a:gd name="T20" fmla="*/ 71394127 w 684"/>
                  <a:gd name="T21" fmla="*/ 36647628 h 998"/>
                  <a:gd name="T22" fmla="*/ 75201982 w 684"/>
                  <a:gd name="T23" fmla="*/ 23146036 h 998"/>
                  <a:gd name="T24" fmla="*/ 82817257 w 684"/>
                  <a:gd name="T25" fmla="*/ 13226007 h 998"/>
                  <a:gd name="T26" fmla="*/ 88147906 w 684"/>
                  <a:gd name="T27" fmla="*/ 3030916 h 998"/>
                  <a:gd name="T28" fmla="*/ 74059669 w 684"/>
                  <a:gd name="T29" fmla="*/ 10746262 h 998"/>
                  <a:gd name="T30" fmla="*/ 63778852 w 684"/>
                  <a:gd name="T31" fmla="*/ 18737193 h 998"/>
                  <a:gd name="T32" fmla="*/ 57876611 w 684"/>
                  <a:gd name="T33" fmla="*/ 21492523 h 998"/>
                  <a:gd name="T34" fmla="*/ 52926879 w 684"/>
                  <a:gd name="T35" fmla="*/ 23146036 h 998"/>
                  <a:gd name="T36" fmla="*/ 45882761 w 684"/>
                  <a:gd name="T37" fmla="*/ 22319280 h 998"/>
                  <a:gd name="T38" fmla="*/ 41313508 w 684"/>
                  <a:gd name="T39" fmla="*/ 29759040 h 998"/>
                  <a:gd name="T40" fmla="*/ 37315413 w 684"/>
                  <a:gd name="T41" fmla="*/ 48220647 h 998"/>
                  <a:gd name="T42" fmla="*/ 29890378 w 684"/>
                  <a:gd name="T43" fmla="*/ 62548995 h 998"/>
                  <a:gd name="T44" fmla="*/ 20370958 w 684"/>
                  <a:gd name="T45" fmla="*/ 78255272 h 998"/>
                  <a:gd name="T46" fmla="*/ 17134695 w 684"/>
                  <a:gd name="T47" fmla="*/ 87348020 h 998"/>
                  <a:gd name="T48" fmla="*/ 16372862 w 684"/>
                  <a:gd name="T49" fmla="*/ 98094281 h 998"/>
                  <a:gd name="T50" fmla="*/ 18467248 w 684"/>
                  <a:gd name="T51" fmla="*/ 105258456 h 998"/>
                  <a:gd name="T52" fmla="*/ 18467248 w 684"/>
                  <a:gd name="T53" fmla="*/ 124271234 h 998"/>
                  <a:gd name="T54" fmla="*/ 18086332 w 684"/>
                  <a:gd name="T55" fmla="*/ 144661940 h 998"/>
                  <a:gd name="T56" fmla="*/ 13707756 w 684"/>
                  <a:gd name="T57" fmla="*/ 155132616 h 998"/>
                  <a:gd name="T58" fmla="*/ 7044118 w 684"/>
                  <a:gd name="T59" fmla="*/ 163123547 h 998"/>
                  <a:gd name="T60" fmla="*/ 2094386 w 684"/>
                  <a:gd name="T61" fmla="*/ 168634208 h 998"/>
                  <a:gd name="T62" fmla="*/ 5711565 w 684"/>
                  <a:gd name="T63" fmla="*/ 184064899 h 998"/>
                  <a:gd name="T64" fmla="*/ 23417417 w 684"/>
                  <a:gd name="T65" fmla="*/ 199771175 h 998"/>
                  <a:gd name="T66" fmla="*/ 33317317 w 684"/>
                  <a:gd name="T67" fmla="*/ 200597407 h 998"/>
                  <a:gd name="T68" fmla="*/ 44549771 w 684"/>
                  <a:gd name="T69" fmla="*/ 205557422 h 998"/>
                  <a:gd name="T70" fmla="*/ 56924974 w 684"/>
                  <a:gd name="T71" fmla="*/ 219059014 h 998"/>
                  <a:gd name="T72" fmla="*/ 64159332 w 684"/>
                  <a:gd name="T73" fmla="*/ 234214119 h 998"/>
                  <a:gd name="T74" fmla="*/ 69870897 w 684"/>
                  <a:gd name="T75" fmla="*/ 242756221 h 998"/>
                  <a:gd name="T76" fmla="*/ 78438245 w 684"/>
                  <a:gd name="T77" fmla="*/ 244133624 h 998"/>
                  <a:gd name="T78" fmla="*/ 87957666 w 684"/>
                  <a:gd name="T79" fmla="*/ 241378293 h 998"/>
                  <a:gd name="T80" fmla="*/ 93669231 w 684"/>
                  <a:gd name="T81" fmla="*/ 241929464 h 998"/>
                  <a:gd name="T82" fmla="*/ 98047806 w 684"/>
                  <a:gd name="T83" fmla="*/ 249093639 h 998"/>
                  <a:gd name="T84" fmla="*/ 97667326 w 684"/>
                  <a:gd name="T85" fmla="*/ 254053654 h 998"/>
                  <a:gd name="T86" fmla="*/ 92907398 w 684"/>
                  <a:gd name="T87" fmla="*/ 258186912 h 998"/>
                  <a:gd name="T88" fmla="*/ 92907398 w 684"/>
                  <a:gd name="T89" fmla="*/ 265351086 h 998"/>
                  <a:gd name="T90" fmla="*/ 97286410 w 684"/>
                  <a:gd name="T91" fmla="*/ 273892663 h 998"/>
                  <a:gd name="T92" fmla="*/ 103188215 w 684"/>
                  <a:gd name="T93" fmla="*/ 265075501 h 998"/>
                  <a:gd name="T94" fmla="*/ 107757467 w 684"/>
                  <a:gd name="T95" fmla="*/ 237245035 h 998"/>
                  <a:gd name="T96" fmla="*/ 108709540 w 684"/>
                  <a:gd name="T97" fmla="*/ 221263698 h 998"/>
                  <a:gd name="T98" fmla="*/ 105663081 w 684"/>
                  <a:gd name="T99" fmla="*/ 212446010 h 998"/>
                  <a:gd name="T100" fmla="*/ 99571036 w 684"/>
                  <a:gd name="T101" fmla="*/ 206384178 h 998"/>
                  <a:gd name="T102" fmla="*/ 99190119 w 684"/>
                  <a:gd name="T103" fmla="*/ 199220004 h 998"/>
                  <a:gd name="T104" fmla="*/ 107757467 w 684"/>
                  <a:gd name="T105" fmla="*/ 192882061 h 998"/>
                  <a:gd name="T106" fmla="*/ 105853757 w 684"/>
                  <a:gd name="T107" fmla="*/ 183238142 h 998"/>
                  <a:gd name="T108" fmla="*/ 105853757 w 684"/>
                  <a:gd name="T109" fmla="*/ 178829298 h 998"/>
                  <a:gd name="T110" fmla="*/ 124701486 w 684"/>
                  <a:gd name="T111" fmla="*/ 173043051 h 998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84" h="998">
                    <a:moveTo>
                      <a:pt x="684" y="622"/>
                    </a:moveTo>
                    <a:lnTo>
                      <a:pt x="680" y="609"/>
                    </a:lnTo>
                    <a:lnTo>
                      <a:pt x="676" y="596"/>
                    </a:lnTo>
                    <a:lnTo>
                      <a:pt x="672" y="583"/>
                    </a:lnTo>
                    <a:lnTo>
                      <a:pt x="671" y="573"/>
                    </a:lnTo>
                    <a:lnTo>
                      <a:pt x="671" y="568"/>
                    </a:lnTo>
                    <a:lnTo>
                      <a:pt x="673" y="564"/>
                    </a:lnTo>
                    <a:lnTo>
                      <a:pt x="676" y="559"/>
                    </a:lnTo>
                    <a:lnTo>
                      <a:pt x="678" y="555"/>
                    </a:lnTo>
                    <a:lnTo>
                      <a:pt x="680" y="550"/>
                    </a:lnTo>
                    <a:lnTo>
                      <a:pt x="682" y="546"/>
                    </a:lnTo>
                    <a:lnTo>
                      <a:pt x="683" y="541"/>
                    </a:lnTo>
                    <a:lnTo>
                      <a:pt x="684" y="537"/>
                    </a:lnTo>
                    <a:lnTo>
                      <a:pt x="680" y="519"/>
                    </a:lnTo>
                    <a:lnTo>
                      <a:pt x="671" y="491"/>
                    </a:lnTo>
                    <a:lnTo>
                      <a:pt x="666" y="475"/>
                    </a:lnTo>
                    <a:lnTo>
                      <a:pt x="662" y="459"/>
                    </a:lnTo>
                    <a:lnTo>
                      <a:pt x="659" y="444"/>
                    </a:lnTo>
                    <a:lnTo>
                      <a:pt x="658" y="432"/>
                    </a:lnTo>
                    <a:lnTo>
                      <a:pt x="659" y="423"/>
                    </a:lnTo>
                    <a:lnTo>
                      <a:pt x="661" y="415"/>
                    </a:lnTo>
                    <a:lnTo>
                      <a:pt x="665" y="409"/>
                    </a:lnTo>
                    <a:lnTo>
                      <a:pt x="669" y="403"/>
                    </a:lnTo>
                    <a:lnTo>
                      <a:pt x="673" y="396"/>
                    </a:lnTo>
                    <a:lnTo>
                      <a:pt x="678" y="389"/>
                    </a:lnTo>
                    <a:lnTo>
                      <a:pt x="681" y="381"/>
                    </a:lnTo>
                    <a:lnTo>
                      <a:pt x="684" y="370"/>
                    </a:lnTo>
                    <a:lnTo>
                      <a:pt x="571" y="370"/>
                    </a:lnTo>
                    <a:lnTo>
                      <a:pt x="564" y="366"/>
                    </a:lnTo>
                    <a:lnTo>
                      <a:pt x="557" y="361"/>
                    </a:lnTo>
                    <a:lnTo>
                      <a:pt x="550" y="355"/>
                    </a:lnTo>
                    <a:lnTo>
                      <a:pt x="544" y="347"/>
                    </a:lnTo>
                    <a:lnTo>
                      <a:pt x="539" y="340"/>
                    </a:lnTo>
                    <a:lnTo>
                      <a:pt x="535" y="333"/>
                    </a:lnTo>
                    <a:lnTo>
                      <a:pt x="533" y="326"/>
                    </a:lnTo>
                    <a:lnTo>
                      <a:pt x="532" y="321"/>
                    </a:lnTo>
                    <a:lnTo>
                      <a:pt x="512" y="320"/>
                    </a:lnTo>
                    <a:lnTo>
                      <a:pt x="494" y="318"/>
                    </a:lnTo>
                    <a:lnTo>
                      <a:pt x="477" y="315"/>
                    </a:lnTo>
                    <a:lnTo>
                      <a:pt x="462" y="310"/>
                    </a:lnTo>
                    <a:lnTo>
                      <a:pt x="447" y="304"/>
                    </a:lnTo>
                    <a:lnTo>
                      <a:pt x="434" y="298"/>
                    </a:lnTo>
                    <a:lnTo>
                      <a:pt x="423" y="290"/>
                    </a:lnTo>
                    <a:lnTo>
                      <a:pt x="412" y="281"/>
                    </a:lnTo>
                    <a:lnTo>
                      <a:pt x="402" y="270"/>
                    </a:lnTo>
                    <a:lnTo>
                      <a:pt x="395" y="259"/>
                    </a:lnTo>
                    <a:lnTo>
                      <a:pt x="388" y="246"/>
                    </a:lnTo>
                    <a:lnTo>
                      <a:pt x="382" y="232"/>
                    </a:lnTo>
                    <a:lnTo>
                      <a:pt x="378" y="218"/>
                    </a:lnTo>
                    <a:lnTo>
                      <a:pt x="375" y="201"/>
                    </a:lnTo>
                    <a:lnTo>
                      <a:pt x="373" y="184"/>
                    </a:lnTo>
                    <a:lnTo>
                      <a:pt x="373" y="167"/>
                    </a:lnTo>
                    <a:lnTo>
                      <a:pt x="373" y="155"/>
                    </a:lnTo>
                    <a:lnTo>
                      <a:pt x="374" y="144"/>
                    </a:lnTo>
                    <a:lnTo>
                      <a:pt x="375" y="133"/>
                    </a:lnTo>
                    <a:lnTo>
                      <a:pt x="377" y="123"/>
                    </a:lnTo>
                    <a:lnTo>
                      <a:pt x="380" y="113"/>
                    </a:lnTo>
                    <a:lnTo>
                      <a:pt x="385" y="103"/>
                    </a:lnTo>
                    <a:lnTo>
                      <a:pt x="389" y="94"/>
                    </a:lnTo>
                    <a:lnTo>
                      <a:pt x="395" y="84"/>
                    </a:lnTo>
                    <a:lnTo>
                      <a:pt x="401" y="76"/>
                    </a:lnTo>
                    <a:lnTo>
                      <a:pt x="408" y="68"/>
                    </a:lnTo>
                    <a:lnTo>
                      <a:pt x="416" y="61"/>
                    </a:lnTo>
                    <a:lnTo>
                      <a:pt x="425" y="54"/>
                    </a:lnTo>
                    <a:lnTo>
                      <a:pt x="435" y="48"/>
                    </a:lnTo>
                    <a:lnTo>
                      <a:pt x="446" y="42"/>
                    </a:lnTo>
                    <a:lnTo>
                      <a:pt x="458" y="36"/>
                    </a:lnTo>
                    <a:lnTo>
                      <a:pt x="471" y="31"/>
                    </a:lnTo>
                    <a:lnTo>
                      <a:pt x="471" y="18"/>
                    </a:lnTo>
                    <a:lnTo>
                      <a:pt x="463" y="11"/>
                    </a:lnTo>
                    <a:lnTo>
                      <a:pt x="455" y="7"/>
                    </a:lnTo>
                    <a:lnTo>
                      <a:pt x="447" y="4"/>
                    </a:lnTo>
                    <a:lnTo>
                      <a:pt x="438" y="0"/>
                    </a:lnTo>
                    <a:lnTo>
                      <a:pt x="414" y="19"/>
                    </a:lnTo>
                    <a:lnTo>
                      <a:pt x="389" y="39"/>
                    </a:lnTo>
                    <a:lnTo>
                      <a:pt x="378" y="48"/>
                    </a:lnTo>
                    <a:lnTo>
                      <a:pt x="367" y="56"/>
                    </a:lnTo>
                    <a:lnTo>
                      <a:pt x="356" y="63"/>
                    </a:lnTo>
                    <a:lnTo>
                      <a:pt x="345" y="68"/>
                    </a:lnTo>
                    <a:lnTo>
                      <a:pt x="335" y="68"/>
                    </a:lnTo>
                    <a:lnTo>
                      <a:pt x="326" y="68"/>
                    </a:lnTo>
                    <a:lnTo>
                      <a:pt x="319" y="68"/>
                    </a:lnTo>
                    <a:lnTo>
                      <a:pt x="312" y="68"/>
                    </a:lnTo>
                    <a:lnTo>
                      <a:pt x="309" y="74"/>
                    </a:lnTo>
                    <a:lnTo>
                      <a:pt x="304" y="78"/>
                    </a:lnTo>
                    <a:lnTo>
                      <a:pt x="299" y="81"/>
                    </a:lnTo>
                    <a:lnTo>
                      <a:pt x="295" y="83"/>
                    </a:lnTo>
                    <a:lnTo>
                      <a:pt x="289" y="85"/>
                    </a:lnTo>
                    <a:lnTo>
                      <a:pt x="284" y="85"/>
                    </a:lnTo>
                    <a:lnTo>
                      <a:pt x="278" y="84"/>
                    </a:lnTo>
                    <a:lnTo>
                      <a:pt x="273" y="84"/>
                    </a:lnTo>
                    <a:lnTo>
                      <a:pt x="262" y="82"/>
                    </a:lnTo>
                    <a:lnTo>
                      <a:pt x="251" y="81"/>
                    </a:lnTo>
                    <a:lnTo>
                      <a:pt x="245" y="81"/>
                    </a:lnTo>
                    <a:lnTo>
                      <a:pt x="241" y="81"/>
                    </a:lnTo>
                    <a:lnTo>
                      <a:pt x="236" y="83"/>
                    </a:lnTo>
                    <a:lnTo>
                      <a:pt x="233" y="86"/>
                    </a:lnTo>
                    <a:lnTo>
                      <a:pt x="225" y="94"/>
                    </a:lnTo>
                    <a:lnTo>
                      <a:pt x="221" y="101"/>
                    </a:lnTo>
                    <a:lnTo>
                      <a:pt x="217" y="108"/>
                    </a:lnTo>
                    <a:lnTo>
                      <a:pt x="213" y="114"/>
                    </a:lnTo>
                    <a:lnTo>
                      <a:pt x="209" y="128"/>
                    </a:lnTo>
                    <a:lnTo>
                      <a:pt x="206" y="143"/>
                    </a:lnTo>
                    <a:lnTo>
                      <a:pt x="201" y="159"/>
                    </a:lnTo>
                    <a:lnTo>
                      <a:pt x="196" y="175"/>
                    </a:lnTo>
                    <a:lnTo>
                      <a:pt x="192" y="183"/>
                    </a:lnTo>
                    <a:lnTo>
                      <a:pt x="187" y="191"/>
                    </a:lnTo>
                    <a:lnTo>
                      <a:pt x="180" y="200"/>
                    </a:lnTo>
                    <a:lnTo>
                      <a:pt x="173" y="210"/>
                    </a:lnTo>
                    <a:lnTo>
                      <a:pt x="157" y="227"/>
                    </a:lnTo>
                    <a:lnTo>
                      <a:pt x="140" y="244"/>
                    </a:lnTo>
                    <a:lnTo>
                      <a:pt x="131" y="253"/>
                    </a:lnTo>
                    <a:lnTo>
                      <a:pt x="122" y="263"/>
                    </a:lnTo>
                    <a:lnTo>
                      <a:pt x="115" y="273"/>
                    </a:lnTo>
                    <a:lnTo>
                      <a:pt x="107" y="284"/>
                    </a:lnTo>
                    <a:lnTo>
                      <a:pt x="102" y="288"/>
                    </a:lnTo>
                    <a:lnTo>
                      <a:pt x="98" y="294"/>
                    </a:lnTo>
                    <a:lnTo>
                      <a:pt x="96" y="299"/>
                    </a:lnTo>
                    <a:lnTo>
                      <a:pt x="94" y="305"/>
                    </a:lnTo>
                    <a:lnTo>
                      <a:pt x="90" y="317"/>
                    </a:lnTo>
                    <a:lnTo>
                      <a:pt x="86" y="327"/>
                    </a:lnTo>
                    <a:lnTo>
                      <a:pt x="85" y="331"/>
                    </a:lnTo>
                    <a:lnTo>
                      <a:pt x="84" y="338"/>
                    </a:lnTo>
                    <a:lnTo>
                      <a:pt x="84" y="347"/>
                    </a:lnTo>
                    <a:lnTo>
                      <a:pt x="86" y="356"/>
                    </a:lnTo>
                    <a:lnTo>
                      <a:pt x="88" y="366"/>
                    </a:lnTo>
                    <a:lnTo>
                      <a:pt x="91" y="375"/>
                    </a:lnTo>
                    <a:lnTo>
                      <a:pt x="93" y="378"/>
                    </a:lnTo>
                    <a:lnTo>
                      <a:pt x="95" y="380"/>
                    </a:lnTo>
                    <a:lnTo>
                      <a:pt x="97" y="382"/>
                    </a:lnTo>
                    <a:lnTo>
                      <a:pt x="100" y="382"/>
                    </a:lnTo>
                    <a:lnTo>
                      <a:pt x="98" y="397"/>
                    </a:lnTo>
                    <a:lnTo>
                      <a:pt x="97" y="414"/>
                    </a:lnTo>
                    <a:lnTo>
                      <a:pt x="97" y="433"/>
                    </a:lnTo>
                    <a:lnTo>
                      <a:pt x="97" y="451"/>
                    </a:lnTo>
                    <a:lnTo>
                      <a:pt x="99" y="484"/>
                    </a:lnTo>
                    <a:lnTo>
                      <a:pt x="100" y="505"/>
                    </a:lnTo>
                    <a:lnTo>
                      <a:pt x="99" y="511"/>
                    </a:lnTo>
                    <a:lnTo>
                      <a:pt x="98" y="518"/>
                    </a:lnTo>
                    <a:lnTo>
                      <a:pt x="95" y="525"/>
                    </a:lnTo>
                    <a:lnTo>
                      <a:pt x="91" y="532"/>
                    </a:lnTo>
                    <a:lnTo>
                      <a:pt x="88" y="541"/>
                    </a:lnTo>
                    <a:lnTo>
                      <a:pt x="83" y="548"/>
                    </a:lnTo>
                    <a:lnTo>
                      <a:pt x="77" y="556"/>
                    </a:lnTo>
                    <a:lnTo>
                      <a:pt x="72" y="563"/>
                    </a:lnTo>
                    <a:lnTo>
                      <a:pt x="65" y="570"/>
                    </a:lnTo>
                    <a:lnTo>
                      <a:pt x="59" y="576"/>
                    </a:lnTo>
                    <a:lnTo>
                      <a:pt x="51" y="582"/>
                    </a:lnTo>
                    <a:lnTo>
                      <a:pt x="43" y="587"/>
                    </a:lnTo>
                    <a:lnTo>
                      <a:pt x="37" y="592"/>
                    </a:lnTo>
                    <a:lnTo>
                      <a:pt x="29" y="596"/>
                    </a:lnTo>
                    <a:lnTo>
                      <a:pt x="21" y="598"/>
                    </a:lnTo>
                    <a:lnTo>
                      <a:pt x="14" y="598"/>
                    </a:lnTo>
                    <a:lnTo>
                      <a:pt x="12" y="605"/>
                    </a:lnTo>
                    <a:lnTo>
                      <a:pt x="11" y="612"/>
                    </a:lnTo>
                    <a:lnTo>
                      <a:pt x="9" y="618"/>
                    </a:lnTo>
                    <a:lnTo>
                      <a:pt x="7" y="625"/>
                    </a:lnTo>
                    <a:lnTo>
                      <a:pt x="3" y="637"/>
                    </a:lnTo>
                    <a:lnTo>
                      <a:pt x="0" y="648"/>
                    </a:lnTo>
                    <a:lnTo>
                      <a:pt x="30" y="668"/>
                    </a:lnTo>
                    <a:lnTo>
                      <a:pt x="67" y="694"/>
                    </a:lnTo>
                    <a:lnTo>
                      <a:pt x="87" y="707"/>
                    </a:lnTo>
                    <a:lnTo>
                      <a:pt x="106" y="718"/>
                    </a:lnTo>
                    <a:lnTo>
                      <a:pt x="115" y="722"/>
                    </a:lnTo>
                    <a:lnTo>
                      <a:pt x="123" y="725"/>
                    </a:lnTo>
                    <a:lnTo>
                      <a:pt x="132" y="727"/>
                    </a:lnTo>
                    <a:lnTo>
                      <a:pt x="140" y="727"/>
                    </a:lnTo>
                    <a:lnTo>
                      <a:pt x="153" y="727"/>
                    </a:lnTo>
                    <a:lnTo>
                      <a:pt x="166" y="727"/>
                    </a:lnTo>
                    <a:lnTo>
                      <a:pt x="175" y="728"/>
                    </a:lnTo>
                    <a:lnTo>
                      <a:pt x="184" y="729"/>
                    </a:lnTo>
                    <a:lnTo>
                      <a:pt x="192" y="730"/>
                    </a:lnTo>
                    <a:lnTo>
                      <a:pt x="201" y="732"/>
                    </a:lnTo>
                    <a:lnTo>
                      <a:pt x="218" y="738"/>
                    </a:lnTo>
                    <a:lnTo>
                      <a:pt x="234" y="746"/>
                    </a:lnTo>
                    <a:lnTo>
                      <a:pt x="250" y="755"/>
                    </a:lnTo>
                    <a:lnTo>
                      <a:pt x="265" y="767"/>
                    </a:lnTo>
                    <a:lnTo>
                      <a:pt x="279" y="778"/>
                    </a:lnTo>
                    <a:lnTo>
                      <a:pt x="292" y="789"/>
                    </a:lnTo>
                    <a:lnTo>
                      <a:pt x="299" y="795"/>
                    </a:lnTo>
                    <a:lnTo>
                      <a:pt x="306" y="802"/>
                    </a:lnTo>
                    <a:lnTo>
                      <a:pt x="312" y="809"/>
                    </a:lnTo>
                    <a:lnTo>
                      <a:pt x="318" y="818"/>
                    </a:lnTo>
                    <a:lnTo>
                      <a:pt x="328" y="834"/>
                    </a:lnTo>
                    <a:lnTo>
                      <a:pt x="337" y="850"/>
                    </a:lnTo>
                    <a:lnTo>
                      <a:pt x="342" y="857"/>
                    </a:lnTo>
                    <a:lnTo>
                      <a:pt x="347" y="864"/>
                    </a:lnTo>
                    <a:lnTo>
                      <a:pt x="354" y="871"/>
                    </a:lnTo>
                    <a:lnTo>
                      <a:pt x="359" y="877"/>
                    </a:lnTo>
                    <a:lnTo>
                      <a:pt x="367" y="881"/>
                    </a:lnTo>
                    <a:lnTo>
                      <a:pt x="374" y="885"/>
                    </a:lnTo>
                    <a:lnTo>
                      <a:pt x="382" y="887"/>
                    </a:lnTo>
                    <a:lnTo>
                      <a:pt x="392" y="888"/>
                    </a:lnTo>
                    <a:lnTo>
                      <a:pt x="402" y="887"/>
                    </a:lnTo>
                    <a:lnTo>
                      <a:pt x="412" y="886"/>
                    </a:lnTo>
                    <a:lnTo>
                      <a:pt x="422" y="884"/>
                    </a:lnTo>
                    <a:lnTo>
                      <a:pt x="432" y="882"/>
                    </a:lnTo>
                    <a:lnTo>
                      <a:pt x="442" y="879"/>
                    </a:lnTo>
                    <a:lnTo>
                      <a:pt x="452" y="877"/>
                    </a:lnTo>
                    <a:lnTo>
                      <a:pt x="462" y="876"/>
                    </a:lnTo>
                    <a:lnTo>
                      <a:pt x="471" y="875"/>
                    </a:lnTo>
                    <a:lnTo>
                      <a:pt x="478" y="876"/>
                    </a:lnTo>
                    <a:lnTo>
                      <a:pt x="485" y="878"/>
                    </a:lnTo>
                    <a:lnTo>
                      <a:pt x="489" y="878"/>
                    </a:lnTo>
                    <a:lnTo>
                      <a:pt x="492" y="878"/>
                    </a:lnTo>
                    <a:lnTo>
                      <a:pt x="496" y="877"/>
                    </a:lnTo>
                    <a:lnTo>
                      <a:pt x="499" y="875"/>
                    </a:lnTo>
                    <a:lnTo>
                      <a:pt x="501" y="883"/>
                    </a:lnTo>
                    <a:lnTo>
                      <a:pt x="509" y="894"/>
                    </a:lnTo>
                    <a:lnTo>
                      <a:pt x="515" y="904"/>
                    </a:lnTo>
                    <a:lnTo>
                      <a:pt x="519" y="912"/>
                    </a:lnTo>
                    <a:lnTo>
                      <a:pt x="518" y="915"/>
                    </a:lnTo>
                    <a:lnTo>
                      <a:pt x="516" y="918"/>
                    </a:lnTo>
                    <a:lnTo>
                      <a:pt x="515" y="920"/>
                    </a:lnTo>
                    <a:lnTo>
                      <a:pt x="513" y="922"/>
                    </a:lnTo>
                    <a:lnTo>
                      <a:pt x="508" y="927"/>
                    </a:lnTo>
                    <a:lnTo>
                      <a:pt x="502" y="930"/>
                    </a:lnTo>
                    <a:lnTo>
                      <a:pt x="496" y="933"/>
                    </a:lnTo>
                    <a:lnTo>
                      <a:pt x="490" y="936"/>
                    </a:lnTo>
                    <a:lnTo>
                      <a:pt x="488" y="937"/>
                    </a:lnTo>
                    <a:lnTo>
                      <a:pt x="487" y="939"/>
                    </a:lnTo>
                    <a:lnTo>
                      <a:pt x="486" y="941"/>
                    </a:lnTo>
                    <a:lnTo>
                      <a:pt x="485" y="943"/>
                    </a:lnTo>
                    <a:lnTo>
                      <a:pt x="486" y="954"/>
                    </a:lnTo>
                    <a:lnTo>
                      <a:pt x="488" y="963"/>
                    </a:lnTo>
                    <a:lnTo>
                      <a:pt x="490" y="970"/>
                    </a:lnTo>
                    <a:lnTo>
                      <a:pt x="494" y="977"/>
                    </a:lnTo>
                    <a:lnTo>
                      <a:pt x="499" y="984"/>
                    </a:lnTo>
                    <a:lnTo>
                      <a:pt x="504" y="989"/>
                    </a:lnTo>
                    <a:lnTo>
                      <a:pt x="511" y="994"/>
                    </a:lnTo>
                    <a:lnTo>
                      <a:pt x="519" y="998"/>
                    </a:lnTo>
                    <a:lnTo>
                      <a:pt x="538" y="998"/>
                    </a:lnTo>
                    <a:lnTo>
                      <a:pt x="538" y="986"/>
                    </a:lnTo>
                    <a:lnTo>
                      <a:pt x="539" y="973"/>
                    </a:lnTo>
                    <a:lnTo>
                      <a:pt x="542" y="962"/>
                    </a:lnTo>
                    <a:lnTo>
                      <a:pt x="544" y="950"/>
                    </a:lnTo>
                    <a:lnTo>
                      <a:pt x="548" y="928"/>
                    </a:lnTo>
                    <a:lnTo>
                      <a:pt x="555" y="906"/>
                    </a:lnTo>
                    <a:lnTo>
                      <a:pt x="561" y="884"/>
                    </a:lnTo>
                    <a:lnTo>
                      <a:pt x="566" y="861"/>
                    </a:lnTo>
                    <a:lnTo>
                      <a:pt x="568" y="850"/>
                    </a:lnTo>
                    <a:lnTo>
                      <a:pt x="570" y="838"/>
                    </a:lnTo>
                    <a:lnTo>
                      <a:pt x="571" y="826"/>
                    </a:lnTo>
                    <a:lnTo>
                      <a:pt x="571" y="813"/>
                    </a:lnTo>
                    <a:lnTo>
                      <a:pt x="571" y="803"/>
                    </a:lnTo>
                    <a:lnTo>
                      <a:pt x="569" y="794"/>
                    </a:lnTo>
                    <a:lnTo>
                      <a:pt x="567" y="786"/>
                    </a:lnTo>
                    <a:lnTo>
                      <a:pt x="564" y="780"/>
                    </a:lnTo>
                    <a:lnTo>
                      <a:pt x="559" y="775"/>
                    </a:lnTo>
                    <a:lnTo>
                      <a:pt x="555" y="771"/>
                    </a:lnTo>
                    <a:lnTo>
                      <a:pt x="549" y="768"/>
                    </a:lnTo>
                    <a:lnTo>
                      <a:pt x="545" y="765"/>
                    </a:lnTo>
                    <a:lnTo>
                      <a:pt x="535" y="759"/>
                    </a:lnTo>
                    <a:lnTo>
                      <a:pt x="526" y="752"/>
                    </a:lnTo>
                    <a:lnTo>
                      <a:pt x="523" y="749"/>
                    </a:lnTo>
                    <a:lnTo>
                      <a:pt x="521" y="745"/>
                    </a:lnTo>
                    <a:lnTo>
                      <a:pt x="519" y="740"/>
                    </a:lnTo>
                    <a:lnTo>
                      <a:pt x="519" y="733"/>
                    </a:lnTo>
                    <a:lnTo>
                      <a:pt x="519" y="728"/>
                    </a:lnTo>
                    <a:lnTo>
                      <a:pt x="521" y="723"/>
                    </a:lnTo>
                    <a:lnTo>
                      <a:pt x="523" y="719"/>
                    </a:lnTo>
                    <a:lnTo>
                      <a:pt x="526" y="716"/>
                    </a:lnTo>
                    <a:lnTo>
                      <a:pt x="535" y="710"/>
                    </a:lnTo>
                    <a:lnTo>
                      <a:pt x="546" y="706"/>
                    </a:lnTo>
                    <a:lnTo>
                      <a:pt x="566" y="700"/>
                    </a:lnTo>
                    <a:lnTo>
                      <a:pt x="578" y="696"/>
                    </a:lnTo>
                    <a:lnTo>
                      <a:pt x="578" y="678"/>
                    </a:lnTo>
                    <a:lnTo>
                      <a:pt x="568" y="673"/>
                    </a:lnTo>
                    <a:lnTo>
                      <a:pt x="560" y="668"/>
                    </a:lnTo>
                    <a:lnTo>
                      <a:pt x="556" y="665"/>
                    </a:lnTo>
                    <a:lnTo>
                      <a:pt x="554" y="662"/>
                    </a:lnTo>
                    <a:lnTo>
                      <a:pt x="552" y="658"/>
                    </a:lnTo>
                    <a:lnTo>
                      <a:pt x="552" y="654"/>
                    </a:lnTo>
                    <a:lnTo>
                      <a:pt x="553" y="651"/>
                    </a:lnTo>
                    <a:lnTo>
                      <a:pt x="556" y="649"/>
                    </a:lnTo>
                    <a:lnTo>
                      <a:pt x="563" y="646"/>
                    </a:lnTo>
                    <a:lnTo>
                      <a:pt x="569" y="644"/>
                    </a:lnTo>
                    <a:lnTo>
                      <a:pt x="588" y="639"/>
                    </a:lnTo>
                    <a:lnTo>
                      <a:pt x="611" y="635"/>
                    </a:lnTo>
                    <a:lnTo>
                      <a:pt x="655" y="628"/>
                    </a:lnTo>
                    <a:lnTo>
                      <a:pt x="684" y="62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1" name="Freeform 451">
                <a:extLst>
                  <a:ext uri="{FF2B5EF4-FFF2-40B4-BE49-F238E27FC236}">
                    <a16:creationId xmlns:a16="http://schemas.microsoft.com/office/drawing/2014/main" id="{DE292A3F-7E2E-49D4-A7CE-0DFA5C74D661}"/>
                  </a:ext>
                </a:extLst>
              </p:cNvPr>
              <p:cNvSpPr>
                <a:spLocks/>
              </p:cNvSpPr>
              <p:nvPr>
                <p:custDataLst>
                  <p:tags r:id="rId289"/>
                </p:custDataLst>
              </p:nvPr>
            </p:nvSpPr>
            <p:spPr bwMode="auto">
              <a:xfrm>
                <a:off x="4340904" y="4380524"/>
                <a:ext cx="226228" cy="307646"/>
              </a:xfrm>
              <a:custGeom>
                <a:avLst/>
                <a:gdLst>
                  <a:gd name="T0" fmla="*/ 81796400 w 429"/>
                  <a:gd name="T1" fmla="*/ 6043608 h 524"/>
                  <a:gd name="T2" fmla="*/ 81605582 w 429"/>
                  <a:gd name="T3" fmla="*/ 11812055 h 524"/>
                  <a:gd name="T4" fmla="*/ 80843182 w 429"/>
                  <a:gd name="T5" fmla="*/ 14833597 h 524"/>
                  <a:gd name="T6" fmla="*/ 79127128 w 429"/>
                  <a:gd name="T7" fmla="*/ 18404939 h 524"/>
                  <a:gd name="T8" fmla="*/ 78745928 w 429"/>
                  <a:gd name="T9" fmla="*/ 22250919 h 524"/>
                  <a:gd name="T10" fmla="*/ 78936310 w 429"/>
                  <a:gd name="T11" fmla="*/ 43952038 h 524"/>
                  <a:gd name="T12" fmla="*/ 77792274 w 429"/>
                  <a:gd name="T13" fmla="*/ 56862645 h 524"/>
                  <a:gd name="T14" fmla="*/ 75504201 w 429"/>
                  <a:gd name="T15" fmla="*/ 66202957 h 524"/>
                  <a:gd name="T16" fmla="*/ 70928493 w 429"/>
                  <a:gd name="T17" fmla="*/ 76366660 h 524"/>
                  <a:gd name="T18" fmla="*/ 64445477 w 429"/>
                  <a:gd name="T19" fmla="*/ 84882534 h 524"/>
                  <a:gd name="T20" fmla="*/ 60822987 w 429"/>
                  <a:gd name="T21" fmla="*/ 91474895 h 524"/>
                  <a:gd name="T22" fmla="*/ 59488132 w 429"/>
                  <a:gd name="T23" fmla="*/ 113176538 h 524"/>
                  <a:gd name="T24" fmla="*/ 57962896 w 429"/>
                  <a:gd name="T25" fmla="*/ 120593336 h 524"/>
                  <a:gd name="T26" fmla="*/ 55293624 w 429"/>
                  <a:gd name="T27" fmla="*/ 123065602 h 524"/>
                  <a:gd name="T28" fmla="*/ 51289498 w 429"/>
                  <a:gd name="T29" fmla="*/ 124988592 h 524"/>
                  <a:gd name="T30" fmla="*/ 48239026 w 429"/>
                  <a:gd name="T31" fmla="*/ 129658487 h 524"/>
                  <a:gd name="T32" fmla="*/ 44616099 w 429"/>
                  <a:gd name="T33" fmla="*/ 137349923 h 524"/>
                  <a:gd name="T34" fmla="*/ 42518845 w 429"/>
                  <a:gd name="T35" fmla="*/ 138723637 h 524"/>
                  <a:gd name="T36" fmla="*/ 38324337 w 429"/>
                  <a:gd name="T37" fmla="*/ 138448999 h 524"/>
                  <a:gd name="T38" fmla="*/ 36036265 w 429"/>
                  <a:gd name="T39" fmla="*/ 136800647 h 524"/>
                  <a:gd name="T40" fmla="*/ 27646812 w 429"/>
                  <a:gd name="T41" fmla="*/ 137349923 h 524"/>
                  <a:gd name="T42" fmla="*/ 23452304 w 429"/>
                  <a:gd name="T43" fmla="*/ 137349923 h 524"/>
                  <a:gd name="T44" fmla="*/ 21545432 w 429"/>
                  <a:gd name="T45" fmla="*/ 135701571 h 524"/>
                  <a:gd name="T46" fmla="*/ 18113323 w 429"/>
                  <a:gd name="T47" fmla="*/ 135426933 h 524"/>
                  <a:gd name="T48" fmla="*/ 14872033 w 429"/>
                  <a:gd name="T49" fmla="*/ 137899199 h 524"/>
                  <a:gd name="T50" fmla="*/ 11821561 w 429"/>
                  <a:gd name="T51" fmla="*/ 142569093 h 524"/>
                  <a:gd name="T52" fmla="*/ 5148163 w 429"/>
                  <a:gd name="T53" fmla="*/ 134877657 h 524"/>
                  <a:gd name="T54" fmla="*/ 1144036 w 429"/>
                  <a:gd name="T55" fmla="*/ 122790964 h 524"/>
                  <a:gd name="T56" fmla="*/ 4766526 w 429"/>
                  <a:gd name="T57" fmla="*/ 118121070 h 524"/>
                  <a:gd name="T58" fmla="*/ 8008253 w 429"/>
                  <a:gd name="T59" fmla="*/ 116472718 h 524"/>
                  <a:gd name="T60" fmla="*/ 11630743 w 429"/>
                  <a:gd name="T61" fmla="*/ 117571794 h 524"/>
                  <a:gd name="T62" fmla="*/ 11058725 w 429"/>
                  <a:gd name="T63" fmla="*/ 114824366 h 524"/>
                  <a:gd name="T64" fmla="*/ 8579834 w 429"/>
                  <a:gd name="T65" fmla="*/ 106034377 h 524"/>
                  <a:gd name="T66" fmla="*/ 8961471 w 429"/>
                  <a:gd name="T67" fmla="*/ 100540045 h 524"/>
                  <a:gd name="T68" fmla="*/ 10867907 w 429"/>
                  <a:gd name="T69" fmla="*/ 97793141 h 524"/>
                  <a:gd name="T70" fmla="*/ 13537615 w 429"/>
                  <a:gd name="T71" fmla="*/ 96694589 h 524"/>
                  <a:gd name="T72" fmla="*/ 16969287 w 429"/>
                  <a:gd name="T73" fmla="*/ 92573971 h 524"/>
                  <a:gd name="T74" fmla="*/ 19829377 w 429"/>
                  <a:gd name="T75" fmla="*/ 91474895 h 524"/>
                  <a:gd name="T76" fmla="*/ 21926631 w 429"/>
                  <a:gd name="T77" fmla="*/ 93947161 h 524"/>
                  <a:gd name="T78" fmla="*/ 25739940 w 429"/>
                  <a:gd name="T79" fmla="*/ 98617055 h 524"/>
                  <a:gd name="T80" fmla="*/ 29362866 w 429"/>
                  <a:gd name="T81" fmla="*/ 96419951 h 524"/>
                  <a:gd name="T82" fmla="*/ 34511029 w 429"/>
                  <a:gd name="T83" fmla="*/ 96969227 h 524"/>
                  <a:gd name="T84" fmla="*/ 37942701 w 429"/>
                  <a:gd name="T85" fmla="*/ 93397885 h 524"/>
                  <a:gd name="T86" fmla="*/ 40040391 w 429"/>
                  <a:gd name="T87" fmla="*/ 86530362 h 524"/>
                  <a:gd name="T88" fmla="*/ 40612409 w 429"/>
                  <a:gd name="T89" fmla="*/ 79662840 h 524"/>
                  <a:gd name="T90" fmla="*/ 40993609 w 429"/>
                  <a:gd name="T91" fmla="*/ 73894394 h 524"/>
                  <a:gd name="T92" fmla="*/ 38324337 w 429"/>
                  <a:gd name="T93" fmla="*/ 64829243 h 524"/>
                  <a:gd name="T94" fmla="*/ 35845447 w 429"/>
                  <a:gd name="T95" fmla="*/ 55764093 h 524"/>
                  <a:gd name="T96" fmla="*/ 39468373 w 429"/>
                  <a:gd name="T97" fmla="*/ 48621932 h 524"/>
                  <a:gd name="T98" fmla="*/ 40040391 w 429"/>
                  <a:gd name="T99" fmla="*/ 45050590 h 524"/>
                  <a:gd name="T100" fmla="*/ 38133519 w 429"/>
                  <a:gd name="T101" fmla="*/ 42578324 h 524"/>
                  <a:gd name="T102" fmla="*/ 37561501 w 429"/>
                  <a:gd name="T103" fmla="*/ 37633792 h 524"/>
                  <a:gd name="T104" fmla="*/ 35845447 w 429"/>
                  <a:gd name="T105" fmla="*/ 35436164 h 524"/>
                  <a:gd name="T106" fmla="*/ 30697284 w 429"/>
                  <a:gd name="T107" fmla="*/ 36260602 h 524"/>
                  <a:gd name="T108" fmla="*/ 26121576 w 429"/>
                  <a:gd name="T109" fmla="*/ 35985964 h 524"/>
                  <a:gd name="T110" fmla="*/ 23833504 w 429"/>
                  <a:gd name="T111" fmla="*/ 32689260 h 524"/>
                  <a:gd name="T112" fmla="*/ 23452304 w 429"/>
                  <a:gd name="T113" fmla="*/ 28294003 h 524"/>
                  <a:gd name="T114" fmla="*/ 25167922 w 429"/>
                  <a:gd name="T115" fmla="*/ 20877205 h 524"/>
                  <a:gd name="T116" fmla="*/ 58344096 w 429"/>
                  <a:gd name="T117" fmla="*/ 10438340 h 524"/>
                  <a:gd name="T118" fmla="*/ 61585823 w 429"/>
                  <a:gd name="T119" fmla="*/ 4669894 h 524"/>
                  <a:gd name="T120" fmla="*/ 65399131 w 429"/>
                  <a:gd name="T121" fmla="*/ 1922990 h 524"/>
                  <a:gd name="T122" fmla="*/ 71309693 w 429"/>
                  <a:gd name="T123" fmla="*/ 1373714 h 524"/>
                  <a:gd name="T124" fmla="*/ 77792274 w 429"/>
                  <a:gd name="T125" fmla="*/ 1098552 h 52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29" h="524">
                    <a:moveTo>
                      <a:pt x="426" y="0"/>
                    </a:moveTo>
                    <a:lnTo>
                      <a:pt x="427" y="12"/>
                    </a:lnTo>
                    <a:lnTo>
                      <a:pt x="429" y="22"/>
                    </a:lnTo>
                    <a:lnTo>
                      <a:pt x="429" y="31"/>
                    </a:lnTo>
                    <a:lnTo>
                      <a:pt x="429" y="38"/>
                    </a:lnTo>
                    <a:lnTo>
                      <a:pt x="428" y="43"/>
                    </a:lnTo>
                    <a:lnTo>
                      <a:pt x="427" y="48"/>
                    </a:lnTo>
                    <a:lnTo>
                      <a:pt x="426" y="51"/>
                    </a:lnTo>
                    <a:lnTo>
                      <a:pt x="424" y="54"/>
                    </a:lnTo>
                    <a:lnTo>
                      <a:pt x="419" y="60"/>
                    </a:lnTo>
                    <a:lnTo>
                      <a:pt x="416" y="64"/>
                    </a:lnTo>
                    <a:lnTo>
                      <a:pt x="415" y="67"/>
                    </a:lnTo>
                    <a:lnTo>
                      <a:pt x="413" y="71"/>
                    </a:lnTo>
                    <a:lnTo>
                      <a:pt x="413" y="75"/>
                    </a:lnTo>
                    <a:lnTo>
                      <a:pt x="413" y="81"/>
                    </a:lnTo>
                    <a:lnTo>
                      <a:pt x="413" y="109"/>
                    </a:lnTo>
                    <a:lnTo>
                      <a:pt x="414" y="135"/>
                    </a:lnTo>
                    <a:lnTo>
                      <a:pt x="414" y="160"/>
                    </a:lnTo>
                    <a:lnTo>
                      <a:pt x="413" y="183"/>
                    </a:lnTo>
                    <a:lnTo>
                      <a:pt x="410" y="196"/>
                    </a:lnTo>
                    <a:lnTo>
                      <a:pt x="408" y="207"/>
                    </a:lnTo>
                    <a:lnTo>
                      <a:pt x="405" y="218"/>
                    </a:lnTo>
                    <a:lnTo>
                      <a:pt x="401" y="229"/>
                    </a:lnTo>
                    <a:lnTo>
                      <a:pt x="396" y="241"/>
                    </a:lnTo>
                    <a:lnTo>
                      <a:pt x="390" y="254"/>
                    </a:lnTo>
                    <a:lnTo>
                      <a:pt x="382" y="266"/>
                    </a:lnTo>
                    <a:lnTo>
                      <a:pt x="372" y="278"/>
                    </a:lnTo>
                    <a:lnTo>
                      <a:pt x="360" y="288"/>
                    </a:lnTo>
                    <a:lnTo>
                      <a:pt x="346" y="300"/>
                    </a:lnTo>
                    <a:lnTo>
                      <a:pt x="338" y="309"/>
                    </a:lnTo>
                    <a:lnTo>
                      <a:pt x="331" y="316"/>
                    </a:lnTo>
                    <a:lnTo>
                      <a:pt x="325" y="324"/>
                    </a:lnTo>
                    <a:lnTo>
                      <a:pt x="319" y="333"/>
                    </a:lnTo>
                    <a:lnTo>
                      <a:pt x="318" y="361"/>
                    </a:lnTo>
                    <a:lnTo>
                      <a:pt x="314" y="395"/>
                    </a:lnTo>
                    <a:lnTo>
                      <a:pt x="312" y="412"/>
                    </a:lnTo>
                    <a:lnTo>
                      <a:pt x="308" y="428"/>
                    </a:lnTo>
                    <a:lnTo>
                      <a:pt x="306" y="434"/>
                    </a:lnTo>
                    <a:lnTo>
                      <a:pt x="304" y="439"/>
                    </a:lnTo>
                    <a:lnTo>
                      <a:pt x="302" y="442"/>
                    </a:lnTo>
                    <a:lnTo>
                      <a:pt x="300" y="444"/>
                    </a:lnTo>
                    <a:lnTo>
                      <a:pt x="290" y="448"/>
                    </a:lnTo>
                    <a:lnTo>
                      <a:pt x="280" y="451"/>
                    </a:lnTo>
                    <a:lnTo>
                      <a:pt x="274" y="453"/>
                    </a:lnTo>
                    <a:lnTo>
                      <a:pt x="269" y="455"/>
                    </a:lnTo>
                    <a:lnTo>
                      <a:pt x="264" y="458"/>
                    </a:lnTo>
                    <a:lnTo>
                      <a:pt x="259" y="462"/>
                    </a:lnTo>
                    <a:lnTo>
                      <a:pt x="253" y="472"/>
                    </a:lnTo>
                    <a:lnTo>
                      <a:pt x="245" y="487"/>
                    </a:lnTo>
                    <a:lnTo>
                      <a:pt x="239" y="494"/>
                    </a:lnTo>
                    <a:lnTo>
                      <a:pt x="234" y="500"/>
                    </a:lnTo>
                    <a:lnTo>
                      <a:pt x="230" y="502"/>
                    </a:lnTo>
                    <a:lnTo>
                      <a:pt x="227" y="504"/>
                    </a:lnTo>
                    <a:lnTo>
                      <a:pt x="223" y="505"/>
                    </a:lnTo>
                    <a:lnTo>
                      <a:pt x="219" y="506"/>
                    </a:lnTo>
                    <a:lnTo>
                      <a:pt x="210" y="505"/>
                    </a:lnTo>
                    <a:lnTo>
                      <a:pt x="201" y="504"/>
                    </a:lnTo>
                    <a:lnTo>
                      <a:pt x="196" y="503"/>
                    </a:lnTo>
                    <a:lnTo>
                      <a:pt x="192" y="501"/>
                    </a:lnTo>
                    <a:lnTo>
                      <a:pt x="189" y="498"/>
                    </a:lnTo>
                    <a:lnTo>
                      <a:pt x="186" y="494"/>
                    </a:lnTo>
                    <a:lnTo>
                      <a:pt x="166" y="496"/>
                    </a:lnTo>
                    <a:lnTo>
                      <a:pt x="145" y="500"/>
                    </a:lnTo>
                    <a:lnTo>
                      <a:pt x="135" y="502"/>
                    </a:lnTo>
                    <a:lnTo>
                      <a:pt x="126" y="501"/>
                    </a:lnTo>
                    <a:lnTo>
                      <a:pt x="123" y="500"/>
                    </a:lnTo>
                    <a:lnTo>
                      <a:pt x="119" y="499"/>
                    </a:lnTo>
                    <a:lnTo>
                      <a:pt x="116" y="497"/>
                    </a:lnTo>
                    <a:lnTo>
                      <a:pt x="113" y="494"/>
                    </a:lnTo>
                    <a:lnTo>
                      <a:pt x="106" y="493"/>
                    </a:lnTo>
                    <a:lnTo>
                      <a:pt x="100" y="493"/>
                    </a:lnTo>
                    <a:lnTo>
                      <a:pt x="95" y="493"/>
                    </a:lnTo>
                    <a:lnTo>
                      <a:pt x="91" y="494"/>
                    </a:lnTo>
                    <a:lnTo>
                      <a:pt x="83" y="497"/>
                    </a:lnTo>
                    <a:lnTo>
                      <a:pt x="78" y="502"/>
                    </a:lnTo>
                    <a:lnTo>
                      <a:pt x="73" y="507"/>
                    </a:lnTo>
                    <a:lnTo>
                      <a:pt x="68" y="513"/>
                    </a:lnTo>
                    <a:lnTo>
                      <a:pt x="62" y="519"/>
                    </a:lnTo>
                    <a:lnTo>
                      <a:pt x="54" y="524"/>
                    </a:lnTo>
                    <a:lnTo>
                      <a:pt x="39" y="507"/>
                    </a:lnTo>
                    <a:lnTo>
                      <a:pt x="27" y="491"/>
                    </a:lnTo>
                    <a:lnTo>
                      <a:pt x="14" y="474"/>
                    </a:lnTo>
                    <a:lnTo>
                      <a:pt x="0" y="456"/>
                    </a:lnTo>
                    <a:lnTo>
                      <a:pt x="6" y="447"/>
                    </a:lnTo>
                    <a:lnTo>
                      <a:pt x="13" y="440"/>
                    </a:lnTo>
                    <a:lnTo>
                      <a:pt x="18" y="434"/>
                    </a:lnTo>
                    <a:lnTo>
                      <a:pt x="25" y="430"/>
                    </a:lnTo>
                    <a:lnTo>
                      <a:pt x="31" y="427"/>
                    </a:lnTo>
                    <a:lnTo>
                      <a:pt x="36" y="425"/>
                    </a:lnTo>
                    <a:lnTo>
                      <a:pt x="42" y="424"/>
                    </a:lnTo>
                    <a:lnTo>
                      <a:pt x="46" y="424"/>
                    </a:lnTo>
                    <a:lnTo>
                      <a:pt x="55" y="425"/>
                    </a:lnTo>
                    <a:lnTo>
                      <a:pt x="61" y="428"/>
                    </a:lnTo>
                    <a:lnTo>
                      <a:pt x="65" y="431"/>
                    </a:lnTo>
                    <a:lnTo>
                      <a:pt x="67" y="432"/>
                    </a:lnTo>
                    <a:lnTo>
                      <a:pt x="58" y="418"/>
                    </a:lnTo>
                    <a:lnTo>
                      <a:pt x="51" y="405"/>
                    </a:lnTo>
                    <a:lnTo>
                      <a:pt x="47" y="395"/>
                    </a:lnTo>
                    <a:lnTo>
                      <a:pt x="45" y="386"/>
                    </a:lnTo>
                    <a:lnTo>
                      <a:pt x="45" y="378"/>
                    </a:lnTo>
                    <a:lnTo>
                      <a:pt x="45" y="372"/>
                    </a:lnTo>
                    <a:lnTo>
                      <a:pt x="47" y="366"/>
                    </a:lnTo>
                    <a:lnTo>
                      <a:pt x="50" y="362"/>
                    </a:lnTo>
                    <a:lnTo>
                      <a:pt x="54" y="359"/>
                    </a:lnTo>
                    <a:lnTo>
                      <a:pt x="57" y="356"/>
                    </a:lnTo>
                    <a:lnTo>
                      <a:pt x="61" y="354"/>
                    </a:lnTo>
                    <a:lnTo>
                      <a:pt x="65" y="353"/>
                    </a:lnTo>
                    <a:lnTo>
                      <a:pt x="71" y="352"/>
                    </a:lnTo>
                    <a:lnTo>
                      <a:pt x="73" y="351"/>
                    </a:lnTo>
                    <a:lnTo>
                      <a:pt x="81" y="343"/>
                    </a:lnTo>
                    <a:lnTo>
                      <a:pt x="89" y="337"/>
                    </a:lnTo>
                    <a:lnTo>
                      <a:pt x="94" y="334"/>
                    </a:lnTo>
                    <a:lnTo>
                      <a:pt x="100" y="333"/>
                    </a:lnTo>
                    <a:lnTo>
                      <a:pt x="104" y="333"/>
                    </a:lnTo>
                    <a:lnTo>
                      <a:pt x="109" y="335"/>
                    </a:lnTo>
                    <a:lnTo>
                      <a:pt x="112" y="339"/>
                    </a:lnTo>
                    <a:lnTo>
                      <a:pt x="115" y="342"/>
                    </a:lnTo>
                    <a:lnTo>
                      <a:pt x="123" y="350"/>
                    </a:lnTo>
                    <a:lnTo>
                      <a:pt x="130" y="356"/>
                    </a:lnTo>
                    <a:lnTo>
                      <a:pt x="135" y="359"/>
                    </a:lnTo>
                    <a:lnTo>
                      <a:pt x="140" y="359"/>
                    </a:lnTo>
                    <a:lnTo>
                      <a:pt x="146" y="356"/>
                    </a:lnTo>
                    <a:lnTo>
                      <a:pt x="154" y="351"/>
                    </a:lnTo>
                    <a:lnTo>
                      <a:pt x="163" y="354"/>
                    </a:lnTo>
                    <a:lnTo>
                      <a:pt x="172" y="354"/>
                    </a:lnTo>
                    <a:lnTo>
                      <a:pt x="181" y="353"/>
                    </a:lnTo>
                    <a:lnTo>
                      <a:pt x="188" y="350"/>
                    </a:lnTo>
                    <a:lnTo>
                      <a:pt x="193" y="345"/>
                    </a:lnTo>
                    <a:lnTo>
                      <a:pt x="199" y="340"/>
                    </a:lnTo>
                    <a:lnTo>
                      <a:pt x="202" y="334"/>
                    </a:lnTo>
                    <a:lnTo>
                      <a:pt x="205" y="328"/>
                    </a:lnTo>
                    <a:lnTo>
                      <a:pt x="210" y="315"/>
                    </a:lnTo>
                    <a:lnTo>
                      <a:pt x="212" y="302"/>
                    </a:lnTo>
                    <a:lnTo>
                      <a:pt x="213" y="293"/>
                    </a:lnTo>
                    <a:lnTo>
                      <a:pt x="213" y="290"/>
                    </a:lnTo>
                    <a:lnTo>
                      <a:pt x="215" y="283"/>
                    </a:lnTo>
                    <a:lnTo>
                      <a:pt x="215" y="276"/>
                    </a:lnTo>
                    <a:lnTo>
                      <a:pt x="215" y="269"/>
                    </a:lnTo>
                    <a:lnTo>
                      <a:pt x="213" y="262"/>
                    </a:lnTo>
                    <a:lnTo>
                      <a:pt x="208" y="249"/>
                    </a:lnTo>
                    <a:lnTo>
                      <a:pt x="201" y="236"/>
                    </a:lnTo>
                    <a:lnTo>
                      <a:pt x="186" y="217"/>
                    </a:lnTo>
                    <a:lnTo>
                      <a:pt x="180" y="210"/>
                    </a:lnTo>
                    <a:lnTo>
                      <a:pt x="188" y="203"/>
                    </a:lnTo>
                    <a:lnTo>
                      <a:pt x="202" y="187"/>
                    </a:lnTo>
                    <a:lnTo>
                      <a:pt x="205" y="182"/>
                    </a:lnTo>
                    <a:lnTo>
                      <a:pt x="207" y="177"/>
                    </a:lnTo>
                    <a:lnTo>
                      <a:pt x="210" y="173"/>
                    </a:lnTo>
                    <a:lnTo>
                      <a:pt x="211" y="168"/>
                    </a:lnTo>
                    <a:lnTo>
                      <a:pt x="210" y="164"/>
                    </a:lnTo>
                    <a:lnTo>
                      <a:pt x="208" y="161"/>
                    </a:lnTo>
                    <a:lnTo>
                      <a:pt x="205" y="157"/>
                    </a:lnTo>
                    <a:lnTo>
                      <a:pt x="200" y="155"/>
                    </a:lnTo>
                    <a:lnTo>
                      <a:pt x="200" y="148"/>
                    </a:lnTo>
                    <a:lnTo>
                      <a:pt x="200" y="142"/>
                    </a:lnTo>
                    <a:lnTo>
                      <a:pt x="197" y="137"/>
                    </a:lnTo>
                    <a:lnTo>
                      <a:pt x="195" y="133"/>
                    </a:lnTo>
                    <a:lnTo>
                      <a:pt x="192" y="131"/>
                    </a:lnTo>
                    <a:lnTo>
                      <a:pt x="188" y="129"/>
                    </a:lnTo>
                    <a:lnTo>
                      <a:pt x="183" y="129"/>
                    </a:lnTo>
                    <a:lnTo>
                      <a:pt x="179" y="129"/>
                    </a:lnTo>
                    <a:lnTo>
                      <a:pt x="161" y="132"/>
                    </a:lnTo>
                    <a:lnTo>
                      <a:pt x="154" y="137"/>
                    </a:lnTo>
                    <a:lnTo>
                      <a:pt x="144" y="134"/>
                    </a:lnTo>
                    <a:lnTo>
                      <a:pt x="137" y="131"/>
                    </a:lnTo>
                    <a:lnTo>
                      <a:pt x="132" y="128"/>
                    </a:lnTo>
                    <a:lnTo>
                      <a:pt x="127" y="124"/>
                    </a:lnTo>
                    <a:lnTo>
                      <a:pt x="125" y="119"/>
                    </a:lnTo>
                    <a:lnTo>
                      <a:pt x="123" y="114"/>
                    </a:lnTo>
                    <a:lnTo>
                      <a:pt x="123" y="109"/>
                    </a:lnTo>
                    <a:lnTo>
                      <a:pt x="123" y="103"/>
                    </a:lnTo>
                    <a:lnTo>
                      <a:pt x="125" y="93"/>
                    </a:lnTo>
                    <a:lnTo>
                      <a:pt x="128" y="84"/>
                    </a:lnTo>
                    <a:lnTo>
                      <a:pt x="132" y="76"/>
                    </a:lnTo>
                    <a:lnTo>
                      <a:pt x="133" y="74"/>
                    </a:lnTo>
                    <a:lnTo>
                      <a:pt x="293" y="105"/>
                    </a:lnTo>
                    <a:lnTo>
                      <a:pt x="306" y="38"/>
                    </a:lnTo>
                    <a:lnTo>
                      <a:pt x="311" y="30"/>
                    </a:lnTo>
                    <a:lnTo>
                      <a:pt x="317" y="22"/>
                    </a:lnTo>
                    <a:lnTo>
                      <a:pt x="323" y="17"/>
                    </a:lnTo>
                    <a:lnTo>
                      <a:pt x="329" y="12"/>
                    </a:lnTo>
                    <a:lnTo>
                      <a:pt x="336" y="9"/>
                    </a:lnTo>
                    <a:lnTo>
                      <a:pt x="343" y="7"/>
                    </a:lnTo>
                    <a:lnTo>
                      <a:pt x="350" y="6"/>
                    </a:lnTo>
                    <a:lnTo>
                      <a:pt x="358" y="5"/>
                    </a:lnTo>
                    <a:lnTo>
                      <a:pt x="374" y="5"/>
                    </a:lnTo>
                    <a:lnTo>
                      <a:pt x="391" y="4"/>
                    </a:lnTo>
                    <a:lnTo>
                      <a:pt x="399" y="4"/>
                    </a:lnTo>
                    <a:lnTo>
                      <a:pt x="408" y="4"/>
                    </a:lnTo>
                    <a:lnTo>
                      <a:pt x="417" y="2"/>
                    </a:lnTo>
                    <a:lnTo>
                      <a:pt x="426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2" name="Freeform 452">
                <a:extLst>
                  <a:ext uri="{FF2B5EF4-FFF2-40B4-BE49-F238E27FC236}">
                    <a16:creationId xmlns:a16="http://schemas.microsoft.com/office/drawing/2014/main" id="{E9C5E2F3-17F2-43D3-B7D5-7FCA7CF32A6D}"/>
                  </a:ext>
                </a:extLst>
              </p:cNvPr>
              <p:cNvSpPr>
                <a:spLocks/>
              </p:cNvSpPr>
              <p:nvPr>
                <p:custDataLst>
                  <p:tags r:id="rId290"/>
                </p:custDataLst>
              </p:nvPr>
            </p:nvSpPr>
            <p:spPr bwMode="auto">
              <a:xfrm>
                <a:off x="4378909" y="2854604"/>
                <a:ext cx="153836" cy="128333"/>
              </a:xfrm>
              <a:custGeom>
                <a:avLst/>
                <a:gdLst>
                  <a:gd name="T0" fmla="*/ 48993729 w 292"/>
                  <a:gd name="T1" fmla="*/ 24432522 h 223"/>
                  <a:gd name="T2" fmla="*/ 31401620 w 292"/>
                  <a:gd name="T3" fmla="*/ 20229050 h 223"/>
                  <a:gd name="T4" fmla="*/ 28753322 w 292"/>
                  <a:gd name="T5" fmla="*/ 20754420 h 223"/>
                  <a:gd name="T6" fmla="*/ 26293784 w 292"/>
                  <a:gd name="T7" fmla="*/ 20754420 h 223"/>
                  <a:gd name="T8" fmla="*/ 23834682 w 292"/>
                  <a:gd name="T9" fmla="*/ 20229050 h 223"/>
                  <a:gd name="T10" fmla="*/ 22510750 w 292"/>
                  <a:gd name="T11" fmla="*/ 24432522 h 223"/>
                  <a:gd name="T12" fmla="*/ 27239760 w 292"/>
                  <a:gd name="T13" fmla="*/ 34415576 h 223"/>
                  <a:gd name="T14" fmla="*/ 31779575 w 292"/>
                  <a:gd name="T15" fmla="*/ 41245898 h 223"/>
                  <a:gd name="T16" fmla="*/ 35752240 w 292"/>
                  <a:gd name="T17" fmla="*/ 48602103 h 223"/>
                  <a:gd name="T18" fmla="*/ 37265801 w 292"/>
                  <a:gd name="T19" fmla="*/ 53068004 h 223"/>
                  <a:gd name="T20" fmla="*/ 38778928 w 292"/>
                  <a:gd name="T21" fmla="*/ 58322216 h 223"/>
                  <a:gd name="T22" fmla="*/ 33103942 w 292"/>
                  <a:gd name="T23" fmla="*/ 58585157 h 223"/>
                  <a:gd name="T24" fmla="*/ 30455644 w 292"/>
                  <a:gd name="T25" fmla="*/ 58322216 h 223"/>
                  <a:gd name="T26" fmla="*/ 27618151 w 292"/>
                  <a:gd name="T27" fmla="*/ 56746106 h 223"/>
                  <a:gd name="T28" fmla="*/ 25348243 w 292"/>
                  <a:gd name="T29" fmla="*/ 54907055 h 223"/>
                  <a:gd name="T30" fmla="*/ 24023877 w 292"/>
                  <a:gd name="T31" fmla="*/ 52017264 h 223"/>
                  <a:gd name="T32" fmla="*/ 22889140 w 292"/>
                  <a:gd name="T33" fmla="*/ 49127473 h 223"/>
                  <a:gd name="T34" fmla="*/ 21375579 w 292"/>
                  <a:gd name="T35" fmla="*/ 47288422 h 223"/>
                  <a:gd name="T36" fmla="*/ 17214154 w 292"/>
                  <a:gd name="T37" fmla="*/ 38093678 h 223"/>
                  <a:gd name="T38" fmla="*/ 12863099 w 292"/>
                  <a:gd name="T39" fmla="*/ 29686734 h 223"/>
                  <a:gd name="T40" fmla="*/ 10403997 w 292"/>
                  <a:gd name="T41" fmla="*/ 26008632 h 223"/>
                  <a:gd name="T42" fmla="*/ 7944894 w 292"/>
                  <a:gd name="T43" fmla="*/ 22855900 h 223"/>
                  <a:gd name="T44" fmla="*/ 5107401 w 292"/>
                  <a:gd name="T45" fmla="*/ 20754420 h 223"/>
                  <a:gd name="T46" fmla="*/ 2459103 w 292"/>
                  <a:gd name="T47" fmla="*/ 19703680 h 223"/>
                  <a:gd name="T48" fmla="*/ 756781 w 292"/>
                  <a:gd name="T49" fmla="*/ 17076317 h 223"/>
                  <a:gd name="T50" fmla="*/ 189195 w 292"/>
                  <a:gd name="T51" fmla="*/ 15237266 h 223"/>
                  <a:gd name="T52" fmla="*/ 0 w 292"/>
                  <a:gd name="T53" fmla="*/ 12872845 h 223"/>
                  <a:gd name="T54" fmla="*/ 7566503 w 292"/>
                  <a:gd name="T55" fmla="*/ 14449468 h 223"/>
                  <a:gd name="T56" fmla="*/ 13241490 w 292"/>
                  <a:gd name="T57" fmla="*/ 14449468 h 223"/>
                  <a:gd name="T58" fmla="*/ 17214154 w 292"/>
                  <a:gd name="T59" fmla="*/ 13135787 h 223"/>
                  <a:gd name="T60" fmla="*/ 20051647 w 292"/>
                  <a:gd name="T61" fmla="*/ 10771365 h 223"/>
                  <a:gd name="T62" fmla="*/ 24023877 w 292"/>
                  <a:gd name="T63" fmla="*/ 5254212 h 223"/>
                  <a:gd name="T64" fmla="*/ 26105024 w 292"/>
                  <a:gd name="T65" fmla="*/ 2364421 h 223"/>
                  <a:gd name="T66" fmla="*/ 28753322 w 292"/>
                  <a:gd name="T67" fmla="*/ 0 h 223"/>
                  <a:gd name="T68" fmla="*/ 32536356 w 292"/>
                  <a:gd name="T69" fmla="*/ 3678102 h 223"/>
                  <a:gd name="T70" fmla="*/ 36698216 w 292"/>
                  <a:gd name="T71" fmla="*/ 6830322 h 223"/>
                  <a:gd name="T72" fmla="*/ 41238031 w 292"/>
                  <a:gd name="T73" fmla="*/ 8932314 h 223"/>
                  <a:gd name="T74" fmla="*/ 46534627 w 292"/>
                  <a:gd name="T75" fmla="*/ 9720626 h 223"/>
                  <a:gd name="T76" fmla="*/ 49561315 w 292"/>
                  <a:gd name="T77" fmla="*/ 8932314 h 223"/>
                  <a:gd name="T78" fmla="*/ 52777199 w 292"/>
                  <a:gd name="T79" fmla="*/ 8144003 h 223"/>
                  <a:gd name="T80" fmla="*/ 53911935 w 292"/>
                  <a:gd name="T81" fmla="*/ 12347475 h 223"/>
                  <a:gd name="T82" fmla="*/ 54290325 w 292"/>
                  <a:gd name="T83" fmla="*/ 12872845 h 223"/>
                  <a:gd name="T84" fmla="*/ 55236301 w 292"/>
                  <a:gd name="T85" fmla="*/ 18127057 h 22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292" h="223">
                    <a:moveTo>
                      <a:pt x="292" y="69"/>
                    </a:moveTo>
                    <a:lnTo>
                      <a:pt x="259" y="93"/>
                    </a:lnTo>
                    <a:lnTo>
                      <a:pt x="172" y="75"/>
                    </a:lnTo>
                    <a:lnTo>
                      <a:pt x="166" y="77"/>
                    </a:lnTo>
                    <a:lnTo>
                      <a:pt x="159" y="78"/>
                    </a:lnTo>
                    <a:lnTo>
                      <a:pt x="152" y="79"/>
                    </a:lnTo>
                    <a:lnTo>
                      <a:pt x="146" y="79"/>
                    </a:lnTo>
                    <a:lnTo>
                      <a:pt x="139" y="79"/>
                    </a:lnTo>
                    <a:lnTo>
                      <a:pt x="133" y="78"/>
                    </a:lnTo>
                    <a:lnTo>
                      <a:pt x="126" y="77"/>
                    </a:lnTo>
                    <a:lnTo>
                      <a:pt x="119" y="75"/>
                    </a:lnTo>
                    <a:lnTo>
                      <a:pt x="119" y="93"/>
                    </a:lnTo>
                    <a:lnTo>
                      <a:pt x="132" y="113"/>
                    </a:lnTo>
                    <a:lnTo>
                      <a:pt x="144" y="131"/>
                    </a:lnTo>
                    <a:lnTo>
                      <a:pt x="156" y="145"/>
                    </a:lnTo>
                    <a:lnTo>
                      <a:pt x="168" y="157"/>
                    </a:lnTo>
                    <a:lnTo>
                      <a:pt x="179" y="170"/>
                    </a:lnTo>
                    <a:lnTo>
                      <a:pt x="189" y="185"/>
                    </a:lnTo>
                    <a:lnTo>
                      <a:pt x="193" y="193"/>
                    </a:lnTo>
                    <a:lnTo>
                      <a:pt x="197" y="202"/>
                    </a:lnTo>
                    <a:lnTo>
                      <a:pt x="202" y="211"/>
                    </a:lnTo>
                    <a:lnTo>
                      <a:pt x="205" y="222"/>
                    </a:lnTo>
                    <a:lnTo>
                      <a:pt x="191" y="223"/>
                    </a:lnTo>
                    <a:lnTo>
                      <a:pt x="175" y="223"/>
                    </a:lnTo>
                    <a:lnTo>
                      <a:pt x="168" y="223"/>
                    </a:lnTo>
                    <a:lnTo>
                      <a:pt x="161" y="222"/>
                    </a:lnTo>
                    <a:lnTo>
                      <a:pt x="154" y="220"/>
                    </a:lnTo>
                    <a:lnTo>
                      <a:pt x="146" y="216"/>
                    </a:lnTo>
                    <a:lnTo>
                      <a:pt x="139" y="213"/>
                    </a:lnTo>
                    <a:lnTo>
                      <a:pt x="134" y="209"/>
                    </a:lnTo>
                    <a:lnTo>
                      <a:pt x="130" y="203"/>
                    </a:lnTo>
                    <a:lnTo>
                      <a:pt x="127" y="198"/>
                    </a:lnTo>
                    <a:lnTo>
                      <a:pt x="124" y="192"/>
                    </a:lnTo>
                    <a:lnTo>
                      <a:pt x="121" y="187"/>
                    </a:lnTo>
                    <a:lnTo>
                      <a:pt x="117" y="183"/>
                    </a:lnTo>
                    <a:lnTo>
                      <a:pt x="113" y="180"/>
                    </a:lnTo>
                    <a:lnTo>
                      <a:pt x="102" y="162"/>
                    </a:lnTo>
                    <a:lnTo>
                      <a:pt x="91" y="145"/>
                    </a:lnTo>
                    <a:lnTo>
                      <a:pt x="80" y="129"/>
                    </a:lnTo>
                    <a:lnTo>
                      <a:pt x="68" y="113"/>
                    </a:lnTo>
                    <a:lnTo>
                      <a:pt x="61" y="105"/>
                    </a:lnTo>
                    <a:lnTo>
                      <a:pt x="55" y="99"/>
                    </a:lnTo>
                    <a:lnTo>
                      <a:pt x="48" y="93"/>
                    </a:lnTo>
                    <a:lnTo>
                      <a:pt x="42" y="87"/>
                    </a:lnTo>
                    <a:lnTo>
                      <a:pt x="35" y="83"/>
                    </a:lnTo>
                    <a:lnTo>
                      <a:pt x="27" y="79"/>
                    </a:lnTo>
                    <a:lnTo>
                      <a:pt x="21" y="76"/>
                    </a:lnTo>
                    <a:lnTo>
                      <a:pt x="13" y="75"/>
                    </a:lnTo>
                    <a:lnTo>
                      <a:pt x="9" y="70"/>
                    </a:lnTo>
                    <a:lnTo>
                      <a:pt x="4" y="65"/>
                    </a:lnTo>
                    <a:lnTo>
                      <a:pt x="2" y="62"/>
                    </a:lnTo>
                    <a:lnTo>
                      <a:pt x="1" y="58"/>
                    </a:lnTo>
                    <a:lnTo>
                      <a:pt x="0" y="54"/>
                    </a:lnTo>
                    <a:lnTo>
                      <a:pt x="0" y="49"/>
                    </a:lnTo>
                    <a:lnTo>
                      <a:pt x="22" y="53"/>
                    </a:lnTo>
                    <a:lnTo>
                      <a:pt x="40" y="55"/>
                    </a:lnTo>
                    <a:lnTo>
                      <a:pt x="57" y="56"/>
                    </a:lnTo>
                    <a:lnTo>
                      <a:pt x="70" y="55"/>
                    </a:lnTo>
                    <a:lnTo>
                      <a:pt x="82" y="53"/>
                    </a:lnTo>
                    <a:lnTo>
                      <a:pt x="91" y="50"/>
                    </a:lnTo>
                    <a:lnTo>
                      <a:pt x="99" y="46"/>
                    </a:lnTo>
                    <a:lnTo>
                      <a:pt x="106" y="41"/>
                    </a:lnTo>
                    <a:lnTo>
                      <a:pt x="117" y="31"/>
                    </a:lnTo>
                    <a:lnTo>
                      <a:pt x="127" y="20"/>
                    </a:lnTo>
                    <a:lnTo>
                      <a:pt x="132" y="14"/>
                    </a:lnTo>
                    <a:lnTo>
                      <a:pt x="138" y="9"/>
                    </a:lnTo>
                    <a:lnTo>
                      <a:pt x="145" y="4"/>
                    </a:lnTo>
                    <a:lnTo>
                      <a:pt x="152" y="0"/>
                    </a:lnTo>
                    <a:lnTo>
                      <a:pt x="162" y="8"/>
                    </a:lnTo>
                    <a:lnTo>
                      <a:pt x="172" y="14"/>
                    </a:lnTo>
                    <a:lnTo>
                      <a:pt x="183" y="21"/>
                    </a:lnTo>
                    <a:lnTo>
                      <a:pt x="194" y="26"/>
                    </a:lnTo>
                    <a:lnTo>
                      <a:pt x="205" y="31"/>
                    </a:lnTo>
                    <a:lnTo>
                      <a:pt x="218" y="34"/>
                    </a:lnTo>
                    <a:lnTo>
                      <a:pt x="231" y="37"/>
                    </a:lnTo>
                    <a:lnTo>
                      <a:pt x="246" y="37"/>
                    </a:lnTo>
                    <a:lnTo>
                      <a:pt x="255" y="36"/>
                    </a:lnTo>
                    <a:lnTo>
                      <a:pt x="262" y="34"/>
                    </a:lnTo>
                    <a:lnTo>
                      <a:pt x="270" y="32"/>
                    </a:lnTo>
                    <a:lnTo>
                      <a:pt x="279" y="31"/>
                    </a:lnTo>
                    <a:lnTo>
                      <a:pt x="283" y="42"/>
                    </a:lnTo>
                    <a:lnTo>
                      <a:pt x="285" y="47"/>
                    </a:lnTo>
                    <a:lnTo>
                      <a:pt x="287" y="49"/>
                    </a:lnTo>
                    <a:lnTo>
                      <a:pt x="289" y="52"/>
                    </a:lnTo>
                    <a:lnTo>
                      <a:pt x="292" y="6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3" name="Freeform 453">
                <a:extLst>
                  <a:ext uri="{FF2B5EF4-FFF2-40B4-BE49-F238E27FC236}">
                    <a16:creationId xmlns:a16="http://schemas.microsoft.com/office/drawing/2014/main" id="{6D2971F5-D283-40E6-A0F5-3AD867BABF02}"/>
                  </a:ext>
                </a:extLst>
              </p:cNvPr>
              <p:cNvSpPr>
                <a:spLocks/>
              </p:cNvSpPr>
              <p:nvPr>
                <p:custDataLst>
                  <p:tags r:id="rId291"/>
                </p:custDataLst>
              </p:nvPr>
            </p:nvSpPr>
            <p:spPr bwMode="auto">
              <a:xfrm>
                <a:off x="4319186" y="2694629"/>
                <a:ext cx="202701" cy="87899"/>
              </a:xfrm>
              <a:custGeom>
                <a:avLst/>
                <a:gdLst>
                  <a:gd name="T0" fmla="*/ 73925117 w 379"/>
                  <a:gd name="T1" fmla="*/ 26321978 h 147"/>
                  <a:gd name="T2" fmla="*/ 70968094 w 379"/>
                  <a:gd name="T3" fmla="*/ 28282023 h 147"/>
                  <a:gd name="T4" fmla="*/ 69785285 w 379"/>
                  <a:gd name="T5" fmla="*/ 30242069 h 147"/>
                  <a:gd name="T6" fmla="*/ 68405341 w 379"/>
                  <a:gd name="T7" fmla="*/ 32762506 h 147"/>
                  <a:gd name="T8" fmla="*/ 65645454 w 379"/>
                  <a:gd name="T9" fmla="*/ 35562874 h 147"/>
                  <a:gd name="T10" fmla="*/ 63082701 w 379"/>
                  <a:gd name="T11" fmla="*/ 36682598 h 147"/>
                  <a:gd name="T12" fmla="*/ 61308488 w 379"/>
                  <a:gd name="T13" fmla="*/ 36962529 h 147"/>
                  <a:gd name="T14" fmla="*/ 59337139 w 379"/>
                  <a:gd name="T15" fmla="*/ 36402667 h 147"/>
                  <a:gd name="T16" fmla="*/ 57365791 w 379"/>
                  <a:gd name="T17" fmla="*/ 35282414 h 147"/>
                  <a:gd name="T18" fmla="*/ 55394443 w 379"/>
                  <a:gd name="T19" fmla="*/ 33322368 h 147"/>
                  <a:gd name="T20" fmla="*/ 54211634 w 379"/>
                  <a:gd name="T21" fmla="*/ 32482575 h 147"/>
                  <a:gd name="T22" fmla="*/ 53028825 w 379"/>
                  <a:gd name="T23" fmla="*/ 33042437 h 147"/>
                  <a:gd name="T24" fmla="*/ 52634555 w 379"/>
                  <a:gd name="T25" fmla="*/ 34442621 h 147"/>
                  <a:gd name="T26" fmla="*/ 52437420 w 379"/>
                  <a:gd name="T27" fmla="*/ 39203035 h 147"/>
                  <a:gd name="T28" fmla="*/ 50663207 w 379"/>
                  <a:gd name="T29" fmla="*/ 40603219 h 147"/>
                  <a:gd name="T30" fmla="*/ 48100454 w 379"/>
                  <a:gd name="T31" fmla="*/ 39203035 h 147"/>
                  <a:gd name="T32" fmla="*/ 45143432 w 379"/>
                  <a:gd name="T33" fmla="*/ 36682598 h 147"/>
                  <a:gd name="T34" fmla="*/ 22276236 w 379"/>
                  <a:gd name="T35" fmla="*/ 39482966 h 147"/>
                  <a:gd name="T36" fmla="*/ 15770786 w 379"/>
                  <a:gd name="T37" fmla="*/ 34722552 h 147"/>
                  <a:gd name="T38" fmla="*/ 11433820 w 379"/>
                  <a:gd name="T39" fmla="*/ 30522530 h 147"/>
                  <a:gd name="T40" fmla="*/ 8871067 w 379"/>
                  <a:gd name="T41" fmla="*/ 26321978 h 147"/>
                  <a:gd name="T42" fmla="*/ 7293989 w 379"/>
                  <a:gd name="T43" fmla="*/ 22961748 h 147"/>
                  <a:gd name="T44" fmla="*/ 5125506 w 379"/>
                  <a:gd name="T45" fmla="*/ 16521219 h 147"/>
                  <a:gd name="T46" fmla="*/ 3154157 w 379"/>
                  <a:gd name="T47" fmla="*/ 13440920 h 147"/>
                  <a:gd name="T48" fmla="*/ 0 w 379"/>
                  <a:gd name="T49" fmla="*/ 10080690 h 147"/>
                  <a:gd name="T50" fmla="*/ 5716910 w 379"/>
                  <a:gd name="T51" fmla="*/ 11200943 h 147"/>
                  <a:gd name="T52" fmla="*/ 10251011 w 379"/>
                  <a:gd name="T53" fmla="*/ 10640552 h 147"/>
                  <a:gd name="T54" fmla="*/ 14193708 w 379"/>
                  <a:gd name="T55" fmla="*/ 9240897 h 147"/>
                  <a:gd name="T56" fmla="*/ 17150730 w 379"/>
                  <a:gd name="T57" fmla="*/ 7000391 h 147"/>
                  <a:gd name="T58" fmla="*/ 23459045 w 379"/>
                  <a:gd name="T59" fmla="*/ 2239977 h 147"/>
                  <a:gd name="T60" fmla="*/ 27204606 w 379"/>
                  <a:gd name="T61" fmla="*/ 559862 h 147"/>
                  <a:gd name="T62" fmla="*/ 31344438 w 379"/>
                  <a:gd name="T63" fmla="*/ 0 h 147"/>
                  <a:gd name="T64" fmla="*/ 39426522 w 379"/>
                  <a:gd name="T65" fmla="*/ 6440529 h 147"/>
                  <a:gd name="T66" fmla="*/ 48100454 w 379"/>
                  <a:gd name="T67" fmla="*/ 12601127 h 147"/>
                  <a:gd name="T68" fmla="*/ 57562926 w 379"/>
                  <a:gd name="T69" fmla="*/ 18761196 h 147"/>
                  <a:gd name="T70" fmla="*/ 65645454 w 379"/>
                  <a:gd name="T71" fmla="*/ 22401886 h 147"/>
                  <a:gd name="T72" fmla="*/ 69785285 w 379"/>
                  <a:gd name="T73" fmla="*/ 24082001 h 147"/>
                  <a:gd name="T74" fmla="*/ 74713656 w 379"/>
                  <a:gd name="T75" fmla="*/ 25762116 h 14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79" h="147">
                    <a:moveTo>
                      <a:pt x="379" y="92"/>
                    </a:moveTo>
                    <a:lnTo>
                      <a:pt x="375" y="94"/>
                    </a:lnTo>
                    <a:lnTo>
                      <a:pt x="366" y="98"/>
                    </a:lnTo>
                    <a:lnTo>
                      <a:pt x="360" y="101"/>
                    </a:lnTo>
                    <a:lnTo>
                      <a:pt x="357" y="105"/>
                    </a:lnTo>
                    <a:lnTo>
                      <a:pt x="354" y="108"/>
                    </a:lnTo>
                    <a:lnTo>
                      <a:pt x="353" y="111"/>
                    </a:lnTo>
                    <a:lnTo>
                      <a:pt x="347" y="117"/>
                    </a:lnTo>
                    <a:lnTo>
                      <a:pt x="341" y="123"/>
                    </a:lnTo>
                    <a:lnTo>
                      <a:pt x="333" y="127"/>
                    </a:lnTo>
                    <a:lnTo>
                      <a:pt x="324" y="130"/>
                    </a:lnTo>
                    <a:lnTo>
                      <a:pt x="320" y="131"/>
                    </a:lnTo>
                    <a:lnTo>
                      <a:pt x="315" y="132"/>
                    </a:lnTo>
                    <a:lnTo>
                      <a:pt x="311" y="132"/>
                    </a:lnTo>
                    <a:lnTo>
                      <a:pt x="306" y="131"/>
                    </a:lnTo>
                    <a:lnTo>
                      <a:pt x="301" y="130"/>
                    </a:lnTo>
                    <a:lnTo>
                      <a:pt x="296" y="128"/>
                    </a:lnTo>
                    <a:lnTo>
                      <a:pt x="291" y="126"/>
                    </a:lnTo>
                    <a:lnTo>
                      <a:pt x="286" y="123"/>
                    </a:lnTo>
                    <a:lnTo>
                      <a:pt x="281" y="119"/>
                    </a:lnTo>
                    <a:lnTo>
                      <a:pt x="277" y="117"/>
                    </a:lnTo>
                    <a:lnTo>
                      <a:pt x="275" y="116"/>
                    </a:lnTo>
                    <a:lnTo>
                      <a:pt x="271" y="116"/>
                    </a:lnTo>
                    <a:lnTo>
                      <a:pt x="269" y="118"/>
                    </a:lnTo>
                    <a:lnTo>
                      <a:pt x="268" y="120"/>
                    </a:lnTo>
                    <a:lnTo>
                      <a:pt x="267" y="123"/>
                    </a:lnTo>
                    <a:lnTo>
                      <a:pt x="266" y="126"/>
                    </a:lnTo>
                    <a:lnTo>
                      <a:pt x="266" y="140"/>
                    </a:lnTo>
                    <a:lnTo>
                      <a:pt x="266" y="147"/>
                    </a:lnTo>
                    <a:lnTo>
                      <a:pt x="257" y="145"/>
                    </a:lnTo>
                    <a:lnTo>
                      <a:pt x="251" y="143"/>
                    </a:lnTo>
                    <a:lnTo>
                      <a:pt x="244" y="140"/>
                    </a:lnTo>
                    <a:lnTo>
                      <a:pt x="240" y="137"/>
                    </a:lnTo>
                    <a:lnTo>
                      <a:pt x="229" y="131"/>
                    </a:lnTo>
                    <a:lnTo>
                      <a:pt x="213" y="123"/>
                    </a:lnTo>
                    <a:lnTo>
                      <a:pt x="113" y="141"/>
                    </a:lnTo>
                    <a:lnTo>
                      <a:pt x="95" y="132"/>
                    </a:lnTo>
                    <a:lnTo>
                      <a:pt x="80" y="124"/>
                    </a:lnTo>
                    <a:lnTo>
                      <a:pt x="68" y="116"/>
                    </a:lnTo>
                    <a:lnTo>
                      <a:pt x="58" y="109"/>
                    </a:lnTo>
                    <a:lnTo>
                      <a:pt x="51" y="101"/>
                    </a:lnTo>
                    <a:lnTo>
                      <a:pt x="45" y="94"/>
                    </a:lnTo>
                    <a:lnTo>
                      <a:pt x="40" y="88"/>
                    </a:lnTo>
                    <a:lnTo>
                      <a:pt x="37" y="82"/>
                    </a:lnTo>
                    <a:lnTo>
                      <a:pt x="31" y="70"/>
                    </a:lnTo>
                    <a:lnTo>
                      <a:pt x="26" y="59"/>
                    </a:lnTo>
                    <a:lnTo>
                      <a:pt x="21" y="54"/>
                    </a:lnTo>
                    <a:lnTo>
                      <a:pt x="16" y="48"/>
                    </a:lnTo>
                    <a:lnTo>
                      <a:pt x="9" y="42"/>
                    </a:lnTo>
                    <a:lnTo>
                      <a:pt x="0" y="36"/>
                    </a:lnTo>
                    <a:lnTo>
                      <a:pt x="16" y="39"/>
                    </a:lnTo>
                    <a:lnTo>
                      <a:pt x="29" y="40"/>
                    </a:lnTo>
                    <a:lnTo>
                      <a:pt x="41" y="40"/>
                    </a:lnTo>
                    <a:lnTo>
                      <a:pt x="52" y="38"/>
                    </a:lnTo>
                    <a:lnTo>
                      <a:pt x="62" y="36"/>
                    </a:lnTo>
                    <a:lnTo>
                      <a:pt x="72" y="33"/>
                    </a:lnTo>
                    <a:lnTo>
                      <a:pt x="79" y="29"/>
                    </a:lnTo>
                    <a:lnTo>
                      <a:pt x="87" y="25"/>
                    </a:lnTo>
                    <a:lnTo>
                      <a:pt x="102" y="16"/>
                    </a:lnTo>
                    <a:lnTo>
                      <a:pt x="119" y="8"/>
                    </a:lnTo>
                    <a:lnTo>
                      <a:pt x="128" y="5"/>
                    </a:lnTo>
                    <a:lnTo>
                      <a:pt x="138" y="2"/>
                    </a:lnTo>
                    <a:lnTo>
                      <a:pt x="149" y="1"/>
                    </a:lnTo>
                    <a:lnTo>
                      <a:pt x="159" y="0"/>
                    </a:lnTo>
                    <a:lnTo>
                      <a:pt x="179" y="11"/>
                    </a:lnTo>
                    <a:lnTo>
                      <a:pt x="200" y="23"/>
                    </a:lnTo>
                    <a:lnTo>
                      <a:pt x="222" y="34"/>
                    </a:lnTo>
                    <a:lnTo>
                      <a:pt x="244" y="45"/>
                    </a:lnTo>
                    <a:lnTo>
                      <a:pt x="278" y="61"/>
                    </a:lnTo>
                    <a:lnTo>
                      <a:pt x="292" y="67"/>
                    </a:lnTo>
                    <a:lnTo>
                      <a:pt x="314" y="73"/>
                    </a:lnTo>
                    <a:lnTo>
                      <a:pt x="333" y="80"/>
                    </a:lnTo>
                    <a:lnTo>
                      <a:pt x="343" y="83"/>
                    </a:lnTo>
                    <a:lnTo>
                      <a:pt x="354" y="86"/>
                    </a:lnTo>
                    <a:lnTo>
                      <a:pt x="365" y="89"/>
                    </a:lnTo>
                    <a:lnTo>
                      <a:pt x="379" y="9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4" name="Freeform 454">
                <a:extLst>
                  <a:ext uri="{FF2B5EF4-FFF2-40B4-BE49-F238E27FC236}">
                    <a16:creationId xmlns:a16="http://schemas.microsoft.com/office/drawing/2014/main" id="{7EADD0B2-4506-4432-B829-A6DD1CB8AEDE}"/>
                  </a:ext>
                </a:extLst>
              </p:cNvPr>
              <p:cNvSpPr>
                <a:spLocks/>
              </p:cNvSpPr>
              <p:nvPr>
                <p:custDataLst>
                  <p:tags r:id="rId292"/>
                </p:custDataLst>
              </p:nvPr>
            </p:nvSpPr>
            <p:spPr bwMode="auto">
              <a:xfrm>
                <a:off x="4275750" y="2532896"/>
                <a:ext cx="36197" cy="66803"/>
              </a:xfrm>
              <a:custGeom>
                <a:avLst/>
                <a:gdLst>
                  <a:gd name="T0" fmla="*/ 0 w 61"/>
                  <a:gd name="T1" fmla="*/ 0 h 67"/>
                  <a:gd name="T2" fmla="*/ 0 w 61"/>
                  <a:gd name="T3" fmla="*/ 7295724 h 67"/>
                  <a:gd name="T4" fmla="*/ 0 w 61"/>
                  <a:gd name="T5" fmla="*/ 14592347 h 67"/>
                  <a:gd name="T6" fmla="*/ 244263 w 61"/>
                  <a:gd name="T7" fmla="*/ 19456163 h 67"/>
                  <a:gd name="T8" fmla="*/ 489020 w 61"/>
                  <a:gd name="T9" fmla="*/ 24319979 h 67"/>
                  <a:gd name="T10" fmla="*/ 733283 w 61"/>
                  <a:gd name="T11" fmla="*/ 29183794 h 67"/>
                  <a:gd name="T12" fmla="*/ 1467060 w 61"/>
                  <a:gd name="T13" fmla="*/ 34048510 h 67"/>
                  <a:gd name="T14" fmla="*/ 2934120 w 61"/>
                  <a:gd name="T15" fmla="*/ 44587378 h 67"/>
                  <a:gd name="T16" fmla="*/ 5134462 w 61"/>
                  <a:gd name="T17" fmla="*/ 54315009 h 67"/>
                  <a:gd name="T18" fmla="*/ 6845785 w 61"/>
                  <a:gd name="T19" fmla="*/ 52693437 h 67"/>
                  <a:gd name="T20" fmla="*/ 8557108 w 61"/>
                  <a:gd name="T21" fmla="*/ 49451194 h 67"/>
                  <a:gd name="T22" fmla="*/ 10268430 w 61"/>
                  <a:gd name="T23" fmla="*/ 47019286 h 67"/>
                  <a:gd name="T24" fmla="*/ 11735490 w 61"/>
                  <a:gd name="T25" fmla="*/ 42965806 h 67"/>
                  <a:gd name="T26" fmla="*/ 12957793 w 61"/>
                  <a:gd name="T27" fmla="*/ 38101990 h 67"/>
                  <a:gd name="T28" fmla="*/ 13935833 w 61"/>
                  <a:gd name="T29" fmla="*/ 32426938 h 67"/>
                  <a:gd name="T30" fmla="*/ 14424853 w 61"/>
                  <a:gd name="T31" fmla="*/ 25941551 h 67"/>
                  <a:gd name="T32" fmla="*/ 14913873 w 61"/>
                  <a:gd name="T33" fmla="*/ 19456163 h 67"/>
                  <a:gd name="T34" fmla="*/ 12957793 w 61"/>
                  <a:gd name="T35" fmla="*/ 11349203 h 67"/>
                  <a:gd name="T36" fmla="*/ 10024168 w 61"/>
                  <a:gd name="T37" fmla="*/ 0 h 67"/>
                  <a:gd name="T38" fmla="*/ 6845785 w 61"/>
                  <a:gd name="T39" fmla="*/ 2431908 h 67"/>
                  <a:gd name="T40" fmla="*/ 4400685 w 61"/>
                  <a:gd name="T41" fmla="*/ 3242244 h 67"/>
                  <a:gd name="T42" fmla="*/ 3178383 w 61"/>
                  <a:gd name="T43" fmla="*/ 3242244 h 67"/>
                  <a:gd name="T44" fmla="*/ 2445100 w 61"/>
                  <a:gd name="T45" fmla="*/ 2431908 h 67"/>
                  <a:gd name="T46" fmla="*/ 1467060 w 61"/>
                  <a:gd name="T47" fmla="*/ 1621572 h 67"/>
                  <a:gd name="T48" fmla="*/ 0 w 61"/>
                  <a:gd name="T49" fmla="*/ 0 h 6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1" h="67">
                    <a:moveTo>
                      <a:pt x="0" y="0"/>
                    </a:moveTo>
                    <a:lnTo>
                      <a:pt x="0" y="9"/>
                    </a:lnTo>
                    <a:lnTo>
                      <a:pt x="0" y="18"/>
                    </a:lnTo>
                    <a:lnTo>
                      <a:pt x="1" y="24"/>
                    </a:lnTo>
                    <a:lnTo>
                      <a:pt x="2" y="30"/>
                    </a:lnTo>
                    <a:lnTo>
                      <a:pt x="3" y="36"/>
                    </a:lnTo>
                    <a:lnTo>
                      <a:pt x="6" y="42"/>
                    </a:lnTo>
                    <a:lnTo>
                      <a:pt x="12" y="55"/>
                    </a:lnTo>
                    <a:lnTo>
                      <a:pt x="21" y="67"/>
                    </a:lnTo>
                    <a:lnTo>
                      <a:pt x="28" y="65"/>
                    </a:lnTo>
                    <a:lnTo>
                      <a:pt x="35" y="61"/>
                    </a:lnTo>
                    <a:lnTo>
                      <a:pt x="42" y="58"/>
                    </a:lnTo>
                    <a:lnTo>
                      <a:pt x="48" y="53"/>
                    </a:lnTo>
                    <a:lnTo>
                      <a:pt x="53" y="47"/>
                    </a:lnTo>
                    <a:lnTo>
                      <a:pt x="57" y="40"/>
                    </a:lnTo>
                    <a:lnTo>
                      <a:pt x="59" y="32"/>
                    </a:lnTo>
                    <a:lnTo>
                      <a:pt x="61" y="24"/>
                    </a:lnTo>
                    <a:lnTo>
                      <a:pt x="53" y="14"/>
                    </a:lnTo>
                    <a:lnTo>
                      <a:pt x="41" y="0"/>
                    </a:lnTo>
                    <a:lnTo>
                      <a:pt x="28" y="3"/>
                    </a:lnTo>
                    <a:lnTo>
                      <a:pt x="18" y="4"/>
                    </a:lnTo>
                    <a:lnTo>
                      <a:pt x="13" y="4"/>
                    </a:lnTo>
                    <a:lnTo>
                      <a:pt x="10" y="3"/>
                    </a:lnTo>
                    <a:lnTo>
                      <a:pt x="6" y="2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5" name="Freeform 455">
                <a:extLst>
                  <a:ext uri="{FF2B5EF4-FFF2-40B4-BE49-F238E27FC236}">
                    <a16:creationId xmlns:a16="http://schemas.microsoft.com/office/drawing/2014/main" id="{BA4C1798-EF43-45F4-9FF6-3FA8A3D2189C}"/>
                  </a:ext>
                </a:extLst>
              </p:cNvPr>
              <p:cNvSpPr>
                <a:spLocks/>
              </p:cNvSpPr>
              <p:nvPr>
                <p:custDataLst>
                  <p:tags r:id="rId293"/>
                </p:custDataLst>
              </p:nvPr>
            </p:nvSpPr>
            <p:spPr bwMode="auto">
              <a:xfrm>
                <a:off x="4241363" y="2538169"/>
                <a:ext cx="30768" cy="65046"/>
              </a:xfrm>
              <a:custGeom>
                <a:avLst/>
                <a:gdLst>
                  <a:gd name="T0" fmla="*/ 0 w 60"/>
                  <a:gd name="T1" fmla="*/ 6843511 h 55"/>
                  <a:gd name="T2" fmla="*/ 0 w 60"/>
                  <a:gd name="T3" fmla="*/ 27372976 h 55"/>
                  <a:gd name="T4" fmla="*/ 896197 w 60"/>
                  <a:gd name="T5" fmla="*/ 36497657 h 55"/>
                  <a:gd name="T6" fmla="*/ 1791970 w 60"/>
                  <a:gd name="T7" fmla="*/ 45622339 h 55"/>
                  <a:gd name="T8" fmla="*/ 2867237 w 60"/>
                  <a:gd name="T9" fmla="*/ 51324196 h 55"/>
                  <a:gd name="T10" fmla="*/ 3763433 w 60"/>
                  <a:gd name="T11" fmla="*/ 55886537 h 55"/>
                  <a:gd name="T12" fmla="*/ 4838700 w 60"/>
                  <a:gd name="T13" fmla="*/ 59308293 h 55"/>
                  <a:gd name="T14" fmla="*/ 5913967 w 60"/>
                  <a:gd name="T15" fmla="*/ 61589463 h 55"/>
                  <a:gd name="T16" fmla="*/ 7168303 w 60"/>
                  <a:gd name="T17" fmla="*/ 62730048 h 55"/>
                  <a:gd name="T18" fmla="*/ 8243570 w 60"/>
                  <a:gd name="T19" fmla="*/ 62730048 h 55"/>
                  <a:gd name="T20" fmla="*/ 9498330 w 60"/>
                  <a:gd name="T21" fmla="*/ 59308293 h 55"/>
                  <a:gd name="T22" fmla="*/ 10752667 w 60"/>
                  <a:gd name="T23" fmla="*/ 55886537 h 55"/>
                  <a:gd name="T24" fmla="*/ 8960697 w 60"/>
                  <a:gd name="T25" fmla="*/ 38778828 h 55"/>
                  <a:gd name="T26" fmla="*/ 7526867 w 60"/>
                  <a:gd name="T27" fmla="*/ 25091806 h 55"/>
                  <a:gd name="T28" fmla="*/ 6989233 w 60"/>
                  <a:gd name="T29" fmla="*/ 19388880 h 55"/>
                  <a:gd name="T30" fmla="*/ 6272530 w 60"/>
                  <a:gd name="T31" fmla="*/ 13687022 h 55"/>
                  <a:gd name="T32" fmla="*/ 6093037 w 60"/>
                  <a:gd name="T33" fmla="*/ 6843511 h 55"/>
                  <a:gd name="T34" fmla="*/ 5913967 w 60"/>
                  <a:gd name="T35" fmla="*/ 0 h 55"/>
                  <a:gd name="T36" fmla="*/ 4121997 w 60"/>
                  <a:gd name="T37" fmla="*/ 1140585 h 55"/>
                  <a:gd name="T38" fmla="*/ 2688167 w 60"/>
                  <a:gd name="T39" fmla="*/ 3421755 h 55"/>
                  <a:gd name="T40" fmla="*/ 1254337 w 60"/>
                  <a:gd name="T41" fmla="*/ 5702926 h 55"/>
                  <a:gd name="T42" fmla="*/ 0 w 60"/>
                  <a:gd name="T43" fmla="*/ 6843511 h 55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60" h="55">
                    <a:moveTo>
                      <a:pt x="0" y="6"/>
                    </a:moveTo>
                    <a:lnTo>
                      <a:pt x="0" y="24"/>
                    </a:lnTo>
                    <a:lnTo>
                      <a:pt x="5" y="32"/>
                    </a:lnTo>
                    <a:lnTo>
                      <a:pt x="10" y="40"/>
                    </a:lnTo>
                    <a:lnTo>
                      <a:pt x="16" y="45"/>
                    </a:lnTo>
                    <a:lnTo>
                      <a:pt x="21" y="49"/>
                    </a:lnTo>
                    <a:lnTo>
                      <a:pt x="27" y="52"/>
                    </a:lnTo>
                    <a:lnTo>
                      <a:pt x="33" y="54"/>
                    </a:lnTo>
                    <a:lnTo>
                      <a:pt x="40" y="55"/>
                    </a:lnTo>
                    <a:lnTo>
                      <a:pt x="46" y="55"/>
                    </a:lnTo>
                    <a:lnTo>
                      <a:pt x="53" y="52"/>
                    </a:lnTo>
                    <a:lnTo>
                      <a:pt x="60" y="49"/>
                    </a:lnTo>
                    <a:lnTo>
                      <a:pt x="50" y="34"/>
                    </a:lnTo>
                    <a:lnTo>
                      <a:pt x="42" y="22"/>
                    </a:lnTo>
                    <a:lnTo>
                      <a:pt x="39" y="17"/>
                    </a:lnTo>
                    <a:lnTo>
                      <a:pt x="35" y="12"/>
                    </a:lnTo>
                    <a:lnTo>
                      <a:pt x="34" y="6"/>
                    </a:lnTo>
                    <a:lnTo>
                      <a:pt x="33" y="0"/>
                    </a:lnTo>
                    <a:lnTo>
                      <a:pt x="23" y="1"/>
                    </a:lnTo>
                    <a:lnTo>
                      <a:pt x="15" y="3"/>
                    </a:lnTo>
                    <a:lnTo>
                      <a:pt x="7" y="5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6" name="Freeform 456">
                <a:extLst>
                  <a:ext uri="{FF2B5EF4-FFF2-40B4-BE49-F238E27FC236}">
                    <a16:creationId xmlns:a16="http://schemas.microsoft.com/office/drawing/2014/main" id="{937B902E-F808-45DB-AA0E-17E74FE9230F}"/>
                  </a:ext>
                </a:extLst>
              </p:cNvPr>
              <p:cNvSpPr>
                <a:spLocks/>
              </p:cNvSpPr>
              <p:nvPr>
                <p:custDataLst>
                  <p:tags r:id="rId294"/>
                </p:custDataLst>
              </p:nvPr>
            </p:nvSpPr>
            <p:spPr bwMode="auto">
              <a:xfrm>
                <a:off x="4205166" y="2476640"/>
                <a:ext cx="63344" cy="87899"/>
              </a:xfrm>
              <a:custGeom>
                <a:avLst/>
                <a:gdLst>
                  <a:gd name="T0" fmla="*/ 14103723 w 120"/>
                  <a:gd name="T1" fmla="*/ 35636365 h 148"/>
                  <a:gd name="T2" fmla="*/ 13341477 w 120"/>
                  <a:gd name="T3" fmla="*/ 36188765 h 148"/>
                  <a:gd name="T4" fmla="*/ 12769575 w 120"/>
                  <a:gd name="T5" fmla="*/ 36464702 h 148"/>
                  <a:gd name="T6" fmla="*/ 12197673 w 120"/>
                  <a:gd name="T7" fmla="*/ 36741165 h 148"/>
                  <a:gd name="T8" fmla="*/ 11435427 w 120"/>
                  <a:gd name="T9" fmla="*/ 36741165 h 148"/>
                  <a:gd name="T10" fmla="*/ 10673182 w 120"/>
                  <a:gd name="T11" fmla="*/ 36741165 h 148"/>
                  <a:gd name="T12" fmla="*/ 10101280 w 120"/>
                  <a:gd name="T13" fmla="*/ 36464702 h 148"/>
                  <a:gd name="T14" fmla="*/ 9529377 w 120"/>
                  <a:gd name="T15" fmla="*/ 36188765 h 148"/>
                  <a:gd name="T16" fmla="*/ 8957911 w 120"/>
                  <a:gd name="T17" fmla="*/ 35636365 h 148"/>
                  <a:gd name="T18" fmla="*/ 7814107 w 120"/>
                  <a:gd name="T19" fmla="*/ 35359902 h 148"/>
                  <a:gd name="T20" fmla="*/ 6479959 w 120"/>
                  <a:gd name="T21" fmla="*/ 34531039 h 148"/>
                  <a:gd name="T22" fmla="*/ 4955468 w 120"/>
                  <a:gd name="T23" fmla="*/ 33149777 h 148"/>
                  <a:gd name="T24" fmla="*/ 3621321 w 120"/>
                  <a:gd name="T25" fmla="*/ 31768514 h 148"/>
                  <a:gd name="T26" fmla="*/ 2096393 w 120"/>
                  <a:gd name="T27" fmla="*/ 29834852 h 148"/>
                  <a:gd name="T28" fmla="*/ 1143368 w 120"/>
                  <a:gd name="T29" fmla="*/ 27901189 h 148"/>
                  <a:gd name="T30" fmla="*/ 571902 w 120"/>
                  <a:gd name="T31" fmla="*/ 26796389 h 148"/>
                  <a:gd name="T32" fmla="*/ 381123 w 120"/>
                  <a:gd name="T33" fmla="*/ 25967527 h 148"/>
                  <a:gd name="T34" fmla="*/ 190780 w 120"/>
                  <a:gd name="T35" fmla="*/ 24862727 h 148"/>
                  <a:gd name="T36" fmla="*/ 0 w 120"/>
                  <a:gd name="T37" fmla="*/ 24033864 h 148"/>
                  <a:gd name="T38" fmla="*/ 381123 w 120"/>
                  <a:gd name="T39" fmla="*/ 20166013 h 148"/>
                  <a:gd name="T40" fmla="*/ 1524927 w 120"/>
                  <a:gd name="T41" fmla="*/ 15193889 h 148"/>
                  <a:gd name="T42" fmla="*/ 2668295 w 120"/>
                  <a:gd name="T43" fmla="*/ 9668838 h 148"/>
                  <a:gd name="T44" fmla="*/ 3811664 w 120"/>
                  <a:gd name="T45" fmla="*/ 4972650 h 148"/>
                  <a:gd name="T46" fmla="*/ 6098836 w 120"/>
                  <a:gd name="T47" fmla="*/ 4696188 h 148"/>
                  <a:gd name="T48" fmla="*/ 8004886 w 120"/>
                  <a:gd name="T49" fmla="*/ 4420251 h 148"/>
                  <a:gd name="T50" fmla="*/ 9720157 w 120"/>
                  <a:gd name="T51" fmla="*/ 3867325 h 148"/>
                  <a:gd name="T52" fmla="*/ 11054305 w 120"/>
                  <a:gd name="T53" fmla="*/ 3038988 h 148"/>
                  <a:gd name="T54" fmla="*/ 13341477 w 120"/>
                  <a:gd name="T55" fmla="*/ 1381263 h 148"/>
                  <a:gd name="T56" fmla="*/ 15247091 w 120"/>
                  <a:gd name="T57" fmla="*/ 0 h 148"/>
                  <a:gd name="T58" fmla="*/ 16200116 w 120"/>
                  <a:gd name="T59" fmla="*/ 552400 h 148"/>
                  <a:gd name="T60" fmla="*/ 17725043 w 120"/>
                  <a:gd name="T61" fmla="*/ 1933663 h 148"/>
                  <a:gd name="T62" fmla="*/ 18678068 w 120"/>
                  <a:gd name="T63" fmla="*/ 2762525 h 148"/>
                  <a:gd name="T64" fmla="*/ 19440314 w 120"/>
                  <a:gd name="T65" fmla="*/ 3591388 h 148"/>
                  <a:gd name="T66" fmla="*/ 20202559 w 120"/>
                  <a:gd name="T67" fmla="*/ 4420251 h 148"/>
                  <a:gd name="T68" fmla="*/ 20393339 w 120"/>
                  <a:gd name="T69" fmla="*/ 4972650 h 148"/>
                  <a:gd name="T70" fmla="*/ 19059191 w 120"/>
                  <a:gd name="T71" fmla="*/ 7735176 h 148"/>
                  <a:gd name="T72" fmla="*/ 17725043 w 120"/>
                  <a:gd name="T73" fmla="*/ 10221238 h 148"/>
                  <a:gd name="T74" fmla="*/ 18106166 w 120"/>
                  <a:gd name="T75" fmla="*/ 11602501 h 148"/>
                  <a:gd name="T76" fmla="*/ 18678068 w 120"/>
                  <a:gd name="T77" fmla="*/ 13536163 h 148"/>
                  <a:gd name="T78" fmla="*/ 19440314 w 120"/>
                  <a:gd name="T79" fmla="*/ 15469826 h 148"/>
                  <a:gd name="T80" fmla="*/ 20393339 w 120"/>
                  <a:gd name="T81" fmla="*/ 17403488 h 148"/>
                  <a:gd name="T82" fmla="*/ 21917830 w 120"/>
                  <a:gd name="T83" fmla="*/ 20718939 h 148"/>
                  <a:gd name="T84" fmla="*/ 22870855 w 120"/>
                  <a:gd name="T85" fmla="*/ 21823739 h 148"/>
                  <a:gd name="T86" fmla="*/ 21536707 w 120"/>
                  <a:gd name="T87" fmla="*/ 22376139 h 148"/>
                  <a:gd name="T88" fmla="*/ 20393339 w 120"/>
                  <a:gd name="T89" fmla="*/ 23205001 h 148"/>
                  <a:gd name="T90" fmla="*/ 19059191 w 120"/>
                  <a:gd name="T91" fmla="*/ 24033864 h 148"/>
                  <a:gd name="T92" fmla="*/ 18296509 w 120"/>
                  <a:gd name="T93" fmla="*/ 25138664 h 148"/>
                  <a:gd name="T94" fmla="*/ 17153141 w 120"/>
                  <a:gd name="T95" fmla="*/ 26243464 h 148"/>
                  <a:gd name="T96" fmla="*/ 16581239 w 120"/>
                  <a:gd name="T97" fmla="*/ 27348789 h 148"/>
                  <a:gd name="T98" fmla="*/ 15628214 w 120"/>
                  <a:gd name="T99" fmla="*/ 28730052 h 148"/>
                  <a:gd name="T100" fmla="*/ 15247091 w 120"/>
                  <a:gd name="T101" fmla="*/ 30111314 h 148"/>
                  <a:gd name="T102" fmla="*/ 14865968 w 120"/>
                  <a:gd name="T103" fmla="*/ 31492577 h 148"/>
                  <a:gd name="T104" fmla="*/ 14675625 w 120"/>
                  <a:gd name="T105" fmla="*/ 33149777 h 148"/>
                  <a:gd name="T106" fmla="*/ 14484845 w 120"/>
                  <a:gd name="T107" fmla="*/ 34531039 h 148"/>
                  <a:gd name="T108" fmla="*/ 14294502 w 120"/>
                  <a:gd name="T109" fmla="*/ 35912302 h 148"/>
                  <a:gd name="T110" fmla="*/ 14484845 w 120"/>
                  <a:gd name="T111" fmla="*/ 37293564 h 148"/>
                  <a:gd name="T112" fmla="*/ 14675625 w 120"/>
                  <a:gd name="T113" fmla="*/ 38674827 h 148"/>
                  <a:gd name="T114" fmla="*/ 14865968 w 120"/>
                  <a:gd name="T115" fmla="*/ 39780152 h 148"/>
                  <a:gd name="T116" fmla="*/ 15247091 w 120"/>
                  <a:gd name="T117" fmla="*/ 40884952 h 148"/>
                  <a:gd name="T118" fmla="*/ 14103723 w 120"/>
                  <a:gd name="T119" fmla="*/ 35636365 h 14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120" h="148">
                    <a:moveTo>
                      <a:pt x="74" y="129"/>
                    </a:moveTo>
                    <a:lnTo>
                      <a:pt x="70" y="131"/>
                    </a:lnTo>
                    <a:lnTo>
                      <a:pt x="67" y="132"/>
                    </a:lnTo>
                    <a:lnTo>
                      <a:pt x="64" y="133"/>
                    </a:lnTo>
                    <a:lnTo>
                      <a:pt x="60" y="133"/>
                    </a:lnTo>
                    <a:lnTo>
                      <a:pt x="56" y="133"/>
                    </a:lnTo>
                    <a:lnTo>
                      <a:pt x="53" y="132"/>
                    </a:lnTo>
                    <a:lnTo>
                      <a:pt x="50" y="131"/>
                    </a:lnTo>
                    <a:lnTo>
                      <a:pt x="47" y="129"/>
                    </a:lnTo>
                    <a:lnTo>
                      <a:pt x="41" y="128"/>
                    </a:lnTo>
                    <a:lnTo>
                      <a:pt x="34" y="125"/>
                    </a:lnTo>
                    <a:lnTo>
                      <a:pt x="26" y="120"/>
                    </a:lnTo>
                    <a:lnTo>
                      <a:pt x="19" y="115"/>
                    </a:lnTo>
                    <a:lnTo>
                      <a:pt x="11" y="108"/>
                    </a:lnTo>
                    <a:lnTo>
                      <a:pt x="6" y="101"/>
                    </a:lnTo>
                    <a:lnTo>
                      <a:pt x="3" y="97"/>
                    </a:lnTo>
                    <a:lnTo>
                      <a:pt x="2" y="94"/>
                    </a:lnTo>
                    <a:lnTo>
                      <a:pt x="1" y="90"/>
                    </a:lnTo>
                    <a:lnTo>
                      <a:pt x="0" y="87"/>
                    </a:lnTo>
                    <a:lnTo>
                      <a:pt x="2" y="73"/>
                    </a:lnTo>
                    <a:lnTo>
                      <a:pt x="8" y="55"/>
                    </a:lnTo>
                    <a:lnTo>
                      <a:pt x="14" y="35"/>
                    </a:lnTo>
                    <a:lnTo>
                      <a:pt x="20" y="18"/>
                    </a:lnTo>
                    <a:lnTo>
                      <a:pt x="32" y="17"/>
                    </a:lnTo>
                    <a:lnTo>
                      <a:pt x="42" y="16"/>
                    </a:lnTo>
                    <a:lnTo>
                      <a:pt x="51" y="14"/>
                    </a:lnTo>
                    <a:lnTo>
                      <a:pt x="58" y="11"/>
                    </a:lnTo>
                    <a:lnTo>
                      <a:pt x="70" y="5"/>
                    </a:lnTo>
                    <a:lnTo>
                      <a:pt x="80" y="0"/>
                    </a:lnTo>
                    <a:lnTo>
                      <a:pt x="85" y="2"/>
                    </a:lnTo>
                    <a:lnTo>
                      <a:pt x="93" y="7"/>
                    </a:lnTo>
                    <a:lnTo>
                      <a:pt x="98" y="10"/>
                    </a:lnTo>
                    <a:lnTo>
                      <a:pt x="102" y="13"/>
                    </a:lnTo>
                    <a:lnTo>
                      <a:pt x="106" y="16"/>
                    </a:lnTo>
                    <a:lnTo>
                      <a:pt x="107" y="18"/>
                    </a:lnTo>
                    <a:lnTo>
                      <a:pt x="100" y="28"/>
                    </a:lnTo>
                    <a:lnTo>
                      <a:pt x="93" y="37"/>
                    </a:lnTo>
                    <a:lnTo>
                      <a:pt x="95" y="42"/>
                    </a:lnTo>
                    <a:lnTo>
                      <a:pt x="98" y="49"/>
                    </a:lnTo>
                    <a:lnTo>
                      <a:pt x="102" y="56"/>
                    </a:lnTo>
                    <a:lnTo>
                      <a:pt x="107" y="63"/>
                    </a:lnTo>
                    <a:lnTo>
                      <a:pt x="115" y="75"/>
                    </a:lnTo>
                    <a:lnTo>
                      <a:pt x="120" y="79"/>
                    </a:lnTo>
                    <a:lnTo>
                      <a:pt x="113" y="81"/>
                    </a:lnTo>
                    <a:lnTo>
                      <a:pt x="107" y="84"/>
                    </a:lnTo>
                    <a:lnTo>
                      <a:pt x="100" y="87"/>
                    </a:lnTo>
                    <a:lnTo>
                      <a:pt x="96" y="91"/>
                    </a:lnTo>
                    <a:lnTo>
                      <a:pt x="90" y="95"/>
                    </a:lnTo>
                    <a:lnTo>
                      <a:pt x="87" y="99"/>
                    </a:lnTo>
                    <a:lnTo>
                      <a:pt x="82" y="104"/>
                    </a:lnTo>
                    <a:lnTo>
                      <a:pt x="80" y="109"/>
                    </a:lnTo>
                    <a:lnTo>
                      <a:pt x="78" y="114"/>
                    </a:lnTo>
                    <a:lnTo>
                      <a:pt x="77" y="120"/>
                    </a:lnTo>
                    <a:lnTo>
                      <a:pt x="76" y="125"/>
                    </a:lnTo>
                    <a:lnTo>
                      <a:pt x="75" y="130"/>
                    </a:lnTo>
                    <a:lnTo>
                      <a:pt x="76" y="135"/>
                    </a:lnTo>
                    <a:lnTo>
                      <a:pt x="77" y="140"/>
                    </a:lnTo>
                    <a:lnTo>
                      <a:pt x="78" y="144"/>
                    </a:lnTo>
                    <a:lnTo>
                      <a:pt x="80" y="148"/>
                    </a:lnTo>
                    <a:lnTo>
                      <a:pt x="74" y="12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7" name="Freeform 457">
                <a:extLst>
                  <a:ext uri="{FF2B5EF4-FFF2-40B4-BE49-F238E27FC236}">
                    <a16:creationId xmlns:a16="http://schemas.microsoft.com/office/drawing/2014/main" id="{267C42E0-6711-4D75-9805-08A09989FCE3}"/>
                  </a:ext>
                </a:extLst>
              </p:cNvPr>
              <p:cNvSpPr>
                <a:spLocks/>
              </p:cNvSpPr>
              <p:nvPr>
                <p:custDataLst>
                  <p:tags r:id="rId295"/>
                </p:custDataLst>
              </p:nvPr>
            </p:nvSpPr>
            <p:spPr bwMode="auto">
              <a:xfrm>
                <a:off x="4726396" y="3381996"/>
                <a:ext cx="327579" cy="346321"/>
              </a:xfrm>
              <a:custGeom>
                <a:avLst/>
                <a:gdLst>
                  <a:gd name="T0" fmla="*/ 3932180 w 631"/>
                  <a:gd name="T1" fmla="*/ 541037 h 592"/>
                  <a:gd name="T2" fmla="*/ 5991955 w 631"/>
                  <a:gd name="T3" fmla="*/ 1082595 h 592"/>
                  <a:gd name="T4" fmla="*/ 10111505 w 631"/>
                  <a:gd name="T5" fmla="*/ 2165189 h 592"/>
                  <a:gd name="T6" fmla="*/ 14605795 w 631"/>
                  <a:gd name="T7" fmla="*/ 2977265 h 592"/>
                  <a:gd name="T8" fmla="*/ 19473961 w 631"/>
                  <a:gd name="T9" fmla="*/ 5141934 h 592"/>
                  <a:gd name="T10" fmla="*/ 24342559 w 631"/>
                  <a:gd name="T11" fmla="*/ 8660236 h 592"/>
                  <a:gd name="T12" fmla="*/ 27338753 w 631"/>
                  <a:gd name="T13" fmla="*/ 10825425 h 592"/>
                  <a:gd name="T14" fmla="*/ 29772835 w 631"/>
                  <a:gd name="T15" fmla="*/ 11637501 h 592"/>
                  <a:gd name="T16" fmla="*/ 35390482 w 631"/>
                  <a:gd name="T17" fmla="*/ 11637501 h 592"/>
                  <a:gd name="T18" fmla="*/ 42506226 w 631"/>
                  <a:gd name="T19" fmla="*/ 10013349 h 592"/>
                  <a:gd name="T20" fmla="*/ 51868682 w 631"/>
                  <a:gd name="T21" fmla="*/ 6224529 h 592"/>
                  <a:gd name="T22" fmla="*/ 74713577 w 631"/>
                  <a:gd name="T23" fmla="*/ 10284388 h 592"/>
                  <a:gd name="T24" fmla="*/ 75462625 w 631"/>
                  <a:gd name="T25" fmla="*/ 18674106 h 592"/>
                  <a:gd name="T26" fmla="*/ 76773352 w 631"/>
                  <a:gd name="T27" fmla="*/ 25710710 h 592"/>
                  <a:gd name="T28" fmla="*/ 78084078 w 631"/>
                  <a:gd name="T29" fmla="*/ 32205757 h 592"/>
                  <a:gd name="T30" fmla="*/ 79956483 w 631"/>
                  <a:gd name="T31" fmla="*/ 37889249 h 592"/>
                  <a:gd name="T32" fmla="*/ 84263403 w 631"/>
                  <a:gd name="T33" fmla="*/ 47361561 h 592"/>
                  <a:gd name="T34" fmla="*/ 88382953 w 631"/>
                  <a:gd name="T35" fmla="*/ 55210241 h 592"/>
                  <a:gd name="T36" fmla="*/ 90255358 w 631"/>
                  <a:gd name="T37" fmla="*/ 60081657 h 592"/>
                  <a:gd name="T38" fmla="*/ 90817036 w 631"/>
                  <a:gd name="T39" fmla="*/ 64953072 h 592"/>
                  <a:gd name="T40" fmla="*/ 91940392 w 631"/>
                  <a:gd name="T41" fmla="*/ 69012411 h 592"/>
                  <a:gd name="T42" fmla="*/ 92876811 w 631"/>
                  <a:gd name="T43" fmla="*/ 70636563 h 592"/>
                  <a:gd name="T44" fmla="*/ 94562278 w 631"/>
                  <a:gd name="T45" fmla="*/ 71989676 h 592"/>
                  <a:gd name="T46" fmla="*/ 96059942 w 631"/>
                  <a:gd name="T47" fmla="*/ 73072271 h 592"/>
                  <a:gd name="T48" fmla="*/ 97183731 w 631"/>
                  <a:gd name="T49" fmla="*/ 75236940 h 592"/>
                  <a:gd name="T50" fmla="*/ 99805184 w 631"/>
                  <a:gd name="T51" fmla="*/ 82003026 h 592"/>
                  <a:gd name="T52" fmla="*/ 101303281 w 631"/>
                  <a:gd name="T53" fmla="*/ 89580667 h 592"/>
                  <a:gd name="T54" fmla="*/ 102052329 w 631"/>
                  <a:gd name="T55" fmla="*/ 96888311 h 592"/>
                  <a:gd name="T56" fmla="*/ 102614007 w 631"/>
                  <a:gd name="T57" fmla="*/ 99594537 h 592"/>
                  <a:gd name="T58" fmla="*/ 104299042 w 631"/>
                  <a:gd name="T59" fmla="*/ 103112839 h 592"/>
                  <a:gd name="T60" fmla="*/ 109167640 w 631"/>
                  <a:gd name="T61" fmla="*/ 112314633 h 592"/>
                  <a:gd name="T62" fmla="*/ 114597917 w 631"/>
                  <a:gd name="T63" fmla="*/ 120974869 h 592"/>
                  <a:gd name="T64" fmla="*/ 118155788 w 631"/>
                  <a:gd name="T65" fmla="*/ 125305247 h 592"/>
                  <a:gd name="T66" fmla="*/ 114597917 w 631"/>
                  <a:gd name="T67" fmla="*/ 130176663 h 592"/>
                  <a:gd name="T68" fmla="*/ 116845062 w 631"/>
                  <a:gd name="T69" fmla="*/ 134236002 h 592"/>
                  <a:gd name="T70" fmla="*/ 117219370 w 631"/>
                  <a:gd name="T71" fmla="*/ 137213267 h 592"/>
                  <a:gd name="T72" fmla="*/ 117219370 w 631"/>
                  <a:gd name="T73" fmla="*/ 139648975 h 592"/>
                  <a:gd name="T74" fmla="*/ 118155788 w 631"/>
                  <a:gd name="T75" fmla="*/ 143708314 h 592"/>
                  <a:gd name="T76" fmla="*/ 117219370 w 631"/>
                  <a:gd name="T77" fmla="*/ 145873503 h 592"/>
                  <a:gd name="T78" fmla="*/ 115534335 w 631"/>
                  <a:gd name="T79" fmla="*/ 148309211 h 592"/>
                  <a:gd name="T80" fmla="*/ 110853107 w 631"/>
                  <a:gd name="T81" fmla="*/ 153992702 h 592"/>
                  <a:gd name="T82" fmla="*/ 104486412 w 631"/>
                  <a:gd name="T83" fmla="*/ 160217231 h 592"/>
                  <a:gd name="T84" fmla="*/ 8613408 w 631"/>
                  <a:gd name="T85" fmla="*/ 47091042 h 592"/>
                  <a:gd name="T86" fmla="*/ 4681228 w 631"/>
                  <a:gd name="T87" fmla="*/ 42490145 h 592"/>
                  <a:gd name="T88" fmla="*/ 2059775 w 631"/>
                  <a:gd name="T89" fmla="*/ 37347691 h 592"/>
                  <a:gd name="T90" fmla="*/ 374308 w 631"/>
                  <a:gd name="T91" fmla="*/ 31664720 h 592"/>
                  <a:gd name="T92" fmla="*/ 0 w 631"/>
                  <a:gd name="T93" fmla="*/ 25169153 h 592"/>
                  <a:gd name="T94" fmla="*/ 561678 w 631"/>
                  <a:gd name="T95" fmla="*/ 24086558 h 592"/>
                  <a:gd name="T96" fmla="*/ 1872405 w 631"/>
                  <a:gd name="T97" fmla="*/ 22462927 h 592"/>
                  <a:gd name="T98" fmla="*/ 3183131 w 631"/>
                  <a:gd name="T99" fmla="*/ 20839295 h 592"/>
                  <a:gd name="T100" fmla="*/ 3745242 w 631"/>
                  <a:gd name="T101" fmla="*/ 18674106 h 592"/>
                  <a:gd name="T102" fmla="*/ 3370502 w 631"/>
                  <a:gd name="T103" fmla="*/ 14343728 h 592"/>
                  <a:gd name="T104" fmla="*/ 2434083 w 631"/>
                  <a:gd name="T105" fmla="*/ 11366983 h 592"/>
                  <a:gd name="T106" fmla="*/ 1685467 w 631"/>
                  <a:gd name="T107" fmla="*/ 9201794 h 592"/>
                  <a:gd name="T108" fmla="*/ 1310727 w 631"/>
                  <a:gd name="T109" fmla="*/ 7036604 h 592"/>
                  <a:gd name="T110" fmla="*/ 2434083 w 631"/>
                  <a:gd name="T111" fmla="*/ 0 h 592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631" h="592">
                    <a:moveTo>
                      <a:pt x="13" y="0"/>
                    </a:moveTo>
                    <a:lnTo>
                      <a:pt x="21" y="2"/>
                    </a:lnTo>
                    <a:lnTo>
                      <a:pt x="26" y="2"/>
                    </a:lnTo>
                    <a:lnTo>
                      <a:pt x="32" y="4"/>
                    </a:lnTo>
                    <a:lnTo>
                      <a:pt x="40" y="7"/>
                    </a:lnTo>
                    <a:lnTo>
                      <a:pt x="54" y="8"/>
                    </a:lnTo>
                    <a:lnTo>
                      <a:pt x="67" y="9"/>
                    </a:lnTo>
                    <a:lnTo>
                      <a:pt x="78" y="11"/>
                    </a:lnTo>
                    <a:lnTo>
                      <a:pt x="88" y="13"/>
                    </a:lnTo>
                    <a:lnTo>
                      <a:pt x="104" y="19"/>
                    </a:lnTo>
                    <a:lnTo>
                      <a:pt x="118" y="26"/>
                    </a:lnTo>
                    <a:lnTo>
                      <a:pt x="130" y="32"/>
                    </a:lnTo>
                    <a:lnTo>
                      <a:pt x="141" y="38"/>
                    </a:lnTo>
                    <a:lnTo>
                      <a:pt x="146" y="40"/>
                    </a:lnTo>
                    <a:lnTo>
                      <a:pt x="153" y="42"/>
                    </a:lnTo>
                    <a:lnTo>
                      <a:pt x="159" y="43"/>
                    </a:lnTo>
                    <a:lnTo>
                      <a:pt x="166" y="44"/>
                    </a:lnTo>
                    <a:lnTo>
                      <a:pt x="189" y="43"/>
                    </a:lnTo>
                    <a:lnTo>
                      <a:pt x="210" y="41"/>
                    </a:lnTo>
                    <a:lnTo>
                      <a:pt x="227" y="37"/>
                    </a:lnTo>
                    <a:lnTo>
                      <a:pt x="244" y="33"/>
                    </a:lnTo>
                    <a:lnTo>
                      <a:pt x="277" y="23"/>
                    </a:lnTo>
                    <a:lnTo>
                      <a:pt x="312" y="14"/>
                    </a:lnTo>
                    <a:lnTo>
                      <a:pt x="399" y="38"/>
                    </a:lnTo>
                    <a:lnTo>
                      <a:pt x="400" y="53"/>
                    </a:lnTo>
                    <a:lnTo>
                      <a:pt x="403" y="69"/>
                    </a:lnTo>
                    <a:lnTo>
                      <a:pt x="405" y="82"/>
                    </a:lnTo>
                    <a:lnTo>
                      <a:pt x="410" y="95"/>
                    </a:lnTo>
                    <a:lnTo>
                      <a:pt x="413" y="107"/>
                    </a:lnTo>
                    <a:lnTo>
                      <a:pt x="417" y="119"/>
                    </a:lnTo>
                    <a:lnTo>
                      <a:pt x="423" y="130"/>
                    </a:lnTo>
                    <a:lnTo>
                      <a:pt x="427" y="140"/>
                    </a:lnTo>
                    <a:lnTo>
                      <a:pt x="438" y="158"/>
                    </a:lnTo>
                    <a:lnTo>
                      <a:pt x="450" y="175"/>
                    </a:lnTo>
                    <a:lnTo>
                      <a:pt x="461" y="190"/>
                    </a:lnTo>
                    <a:lnTo>
                      <a:pt x="472" y="204"/>
                    </a:lnTo>
                    <a:lnTo>
                      <a:pt x="478" y="213"/>
                    </a:lnTo>
                    <a:lnTo>
                      <a:pt x="482" y="222"/>
                    </a:lnTo>
                    <a:lnTo>
                      <a:pt x="484" y="232"/>
                    </a:lnTo>
                    <a:lnTo>
                      <a:pt x="485" y="240"/>
                    </a:lnTo>
                    <a:lnTo>
                      <a:pt x="488" y="248"/>
                    </a:lnTo>
                    <a:lnTo>
                      <a:pt x="491" y="255"/>
                    </a:lnTo>
                    <a:lnTo>
                      <a:pt x="494" y="258"/>
                    </a:lnTo>
                    <a:lnTo>
                      <a:pt x="496" y="261"/>
                    </a:lnTo>
                    <a:lnTo>
                      <a:pt x="501" y="263"/>
                    </a:lnTo>
                    <a:lnTo>
                      <a:pt x="505" y="266"/>
                    </a:lnTo>
                    <a:lnTo>
                      <a:pt x="508" y="267"/>
                    </a:lnTo>
                    <a:lnTo>
                      <a:pt x="513" y="270"/>
                    </a:lnTo>
                    <a:lnTo>
                      <a:pt x="516" y="274"/>
                    </a:lnTo>
                    <a:lnTo>
                      <a:pt x="519" y="278"/>
                    </a:lnTo>
                    <a:lnTo>
                      <a:pt x="526" y="290"/>
                    </a:lnTo>
                    <a:lnTo>
                      <a:pt x="533" y="303"/>
                    </a:lnTo>
                    <a:lnTo>
                      <a:pt x="537" y="317"/>
                    </a:lnTo>
                    <a:lnTo>
                      <a:pt x="541" y="331"/>
                    </a:lnTo>
                    <a:lnTo>
                      <a:pt x="544" y="346"/>
                    </a:lnTo>
                    <a:lnTo>
                      <a:pt x="545" y="358"/>
                    </a:lnTo>
                    <a:lnTo>
                      <a:pt x="546" y="363"/>
                    </a:lnTo>
                    <a:lnTo>
                      <a:pt x="548" y="368"/>
                    </a:lnTo>
                    <a:lnTo>
                      <a:pt x="551" y="374"/>
                    </a:lnTo>
                    <a:lnTo>
                      <a:pt x="557" y="381"/>
                    </a:lnTo>
                    <a:lnTo>
                      <a:pt x="569" y="398"/>
                    </a:lnTo>
                    <a:lnTo>
                      <a:pt x="583" y="415"/>
                    </a:lnTo>
                    <a:lnTo>
                      <a:pt x="598" y="432"/>
                    </a:lnTo>
                    <a:lnTo>
                      <a:pt x="612" y="447"/>
                    </a:lnTo>
                    <a:lnTo>
                      <a:pt x="624" y="458"/>
                    </a:lnTo>
                    <a:lnTo>
                      <a:pt x="631" y="463"/>
                    </a:lnTo>
                    <a:lnTo>
                      <a:pt x="622" y="472"/>
                    </a:lnTo>
                    <a:lnTo>
                      <a:pt x="612" y="481"/>
                    </a:lnTo>
                    <a:lnTo>
                      <a:pt x="619" y="489"/>
                    </a:lnTo>
                    <a:lnTo>
                      <a:pt x="624" y="496"/>
                    </a:lnTo>
                    <a:lnTo>
                      <a:pt x="626" y="501"/>
                    </a:lnTo>
                    <a:lnTo>
                      <a:pt x="626" y="507"/>
                    </a:lnTo>
                    <a:lnTo>
                      <a:pt x="626" y="511"/>
                    </a:lnTo>
                    <a:lnTo>
                      <a:pt x="626" y="516"/>
                    </a:lnTo>
                    <a:lnTo>
                      <a:pt x="627" y="523"/>
                    </a:lnTo>
                    <a:lnTo>
                      <a:pt x="631" y="531"/>
                    </a:lnTo>
                    <a:lnTo>
                      <a:pt x="629" y="535"/>
                    </a:lnTo>
                    <a:lnTo>
                      <a:pt x="626" y="539"/>
                    </a:lnTo>
                    <a:lnTo>
                      <a:pt x="622" y="543"/>
                    </a:lnTo>
                    <a:lnTo>
                      <a:pt x="617" y="548"/>
                    </a:lnTo>
                    <a:lnTo>
                      <a:pt x="605" y="559"/>
                    </a:lnTo>
                    <a:lnTo>
                      <a:pt x="592" y="569"/>
                    </a:lnTo>
                    <a:lnTo>
                      <a:pt x="569" y="585"/>
                    </a:lnTo>
                    <a:lnTo>
                      <a:pt x="558" y="592"/>
                    </a:lnTo>
                    <a:lnTo>
                      <a:pt x="53" y="592"/>
                    </a:lnTo>
                    <a:lnTo>
                      <a:pt x="46" y="174"/>
                    </a:lnTo>
                    <a:lnTo>
                      <a:pt x="35" y="166"/>
                    </a:lnTo>
                    <a:lnTo>
                      <a:pt x="25" y="157"/>
                    </a:lnTo>
                    <a:lnTo>
                      <a:pt x="18" y="148"/>
                    </a:lnTo>
                    <a:lnTo>
                      <a:pt x="11" y="138"/>
                    </a:lnTo>
                    <a:lnTo>
                      <a:pt x="6" y="128"/>
                    </a:lnTo>
                    <a:lnTo>
                      <a:pt x="2" y="117"/>
                    </a:lnTo>
                    <a:lnTo>
                      <a:pt x="1" y="105"/>
                    </a:lnTo>
                    <a:lnTo>
                      <a:pt x="0" y="93"/>
                    </a:lnTo>
                    <a:lnTo>
                      <a:pt x="1" y="91"/>
                    </a:lnTo>
                    <a:lnTo>
                      <a:pt x="3" y="89"/>
                    </a:lnTo>
                    <a:lnTo>
                      <a:pt x="7" y="86"/>
                    </a:lnTo>
                    <a:lnTo>
                      <a:pt x="10" y="83"/>
                    </a:lnTo>
                    <a:lnTo>
                      <a:pt x="13" y="80"/>
                    </a:lnTo>
                    <a:lnTo>
                      <a:pt x="17" y="77"/>
                    </a:lnTo>
                    <a:lnTo>
                      <a:pt x="19" y="73"/>
                    </a:lnTo>
                    <a:lnTo>
                      <a:pt x="20" y="69"/>
                    </a:lnTo>
                    <a:lnTo>
                      <a:pt x="20" y="61"/>
                    </a:lnTo>
                    <a:lnTo>
                      <a:pt x="18" y="53"/>
                    </a:lnTo>
                    <a:lnTo>
                      <a:pt x="15" y="47"/>
                    </a:lnTo>
                    <a:lnTo>
                      <a:pt x="13" y="42"/>
                    </a:lnTo>
                    <a:lnTo>
                      <a:pt x="11" y="38"/>
                    </a:lnTo>
                    <a:lnTo>
                      <a:pt x="9" y="34"/>
                    </a:lnTo>
                    <a:lnTo>
                      <a:pt x="7" y="30"/>
                    </a:lnTo>
                    <a:lnTo>
                      <a:pt x="7" y="26"/>
                    </a:lnTo>
                    <a:lnTo>
                      <a:pt x="10" y="11"/>
                    </a:lnTo>
                    <a:lnTo>
                      <a:pt x="13" y="0"/>
                    </a:lnTo>
                  </a:path>
                </a:pathLst>
              </a:custGeom>
              <a:solidFill>
                <a:srgbClr val="0872A6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8" name="Freeform 458">
                <a:extLst>
                  <a:ext uri="{FF2B5EF4-FFF2-40B4-BE49-F238E27FC236}">
                    <a16:creationId xmlns:a16="http://schemas.microsoft.com/office/drawing/2014/main" id="{428A6236-FB5B-4BD3-A8A8-B1DB04F52E4F}"/>
                  </a:ext>
                </a:extLst>
              </p:cNvPr>
              <p:cNvSpPr>
                <a:spLocks/>
              </p:cNvSpPr>
              <p:nvPr>
                <p:custDataLst>
                  <p:tags r:id="rId296"/>
                </p:custDataLst>
              </p:nvPr>
            </p:nvSpPr>
            <p:spPr bwMode="auto">
              <a:xfrm>
                <a:off x="4237743" y="2972389"/>
                <a:ext cx="19909" cy="63287"/>
              </a:xfrm>
              <a:custGeom>
                <a:avLst/>
                <a:gdLst>
                  <a:gd name="T0" fmla="*/ 1334097 w 40"/>
                  <a:gd name="T1" fmla="*/ 11706532 h 93"/>
                  <a:gd name="T2" fmla="*/ 1905977 w 40"/>
                  <a:gd name="T3" fmla="*/ 11328605 h 93"/>
                  <a:gd name="T4" fmla="*/ 2668194 w 40"/>
                  <a:gd name="T5" fmla="*/ 9818124 h 93"/>
                  <a:gd name="T6" fmla="*/ 3811518 w 40"/>
                  <a:gd name="T7" fmla="*/ 7552403 h 93"/>
                  <a:gd name="T8" fmla="*/ 4764507 w 40"/>
                  <a:gd name="T9" fmla="*/ 5664610 h 93"/>
                  <a:gd name="T10" fmla="*/ 6670047 w 40"/>
                  <a:gd name="T11" fmla="*/ 1510481 h 93"/>
                  <a:gd name="T12" fmla="*/ 7623036 w 40"/>
                  <a:gd name="T13" fmla="*/ 0 h 93"/>
                  <a:gd name="T14" fmla="*/ 7051156 w 40"/>
                  <a:gd name="T15" fmla="*/ 9818124 h 93"/>
                  <a:gd name="T16" fmla="*/ 6670047 w 40"/>
                  <a:gd name="T17" fmla="*/ 20014176 h 93"/>
                  <a:gd name="T18" fmla="*/ 6479712 w 40"/>
                  <a:gd name="T19" fmla="*/ 24546232 h 93"/>
                  <a:gd name="T20" fmla="*/ 6479712 w 40"/>
                  <a:gd name="T21" fmla="*/ 29077674 h 93"/>
                  <a:gd name="T22" fmla="*/ 6670047 w 40"/>
                  <a:gd name="T23" fmla="*/ 30965468 h 93"/>
                  <a:gd name="T24" fmla="*/ 6860820 w 40"/>
                  <a:gd name="T25" fmla="*/ 32475948 h 93"/>
                  <a:gd name="T26" fmla="*/ 7051156 w 40"/>
                  <a:gd name="T27" fmla="*/ 33986429 h 93"/>
                  <a:gd name="T28" fmla="*/ 7623036 w 40"/>
                  <a:gd name="T29" fmla="*/ 35119597 h 93"/>
                  <a:gd name="T30" fmla="*/ 4954843 w 40"/>
                  <a:gd name="T31" fmla="*/ 35119597 h 93"/>
                  <a:gd name="T32" fmla="*/ 2477421 w 40"/>
                  <a:gd name="T33" fmla="*/ 35119597 h 93"/>
                  <a:gd name="T34" fmla="*/ 2096313 w 40"/>
                  <a:gd name="T35" fmla="*/ 34741669 h 93"/>
                  <a:gd name="T36" fmla="*/ 1524433 w 40"/>
                  <a:gd name="T37" fmla="*/ 34364356 h 93"/>
                  <a:gd name="T38" fmla="*/ 1143324 w 40"/>
                  <a:gd name="T39" fmla="*/ 33231189 h 93"/>
                  <a:gd name="T40" fmla="*/ 762216 w 40"/>
                  <a:gd name="T41" fmla="*/ 32475948 h 93"/>
                  <a:gd name="T42" fmla="*/ 190772 w 40"/>
                  <a:gd name="T43" fmla="*/ 30210227 h 93"/>
                  <a:gd name="T44" fmla="*/ 0 w 40"/>
                  <a:gd name="T45" fmla="*/ 27567194 h 93"/>
                  <a:gd name="T46" fmla="*/ 190772 w 40"/>
                  <a:gd name="T47" fmla="*/ 24168305 h 93"/>
                  <a:gd name="T48" fmla="*/ 571881 w 40"/>
                  <a:gd name="T49" fmla="*/ 18881623 h 93"/>
                  <a:gd name="T50" fmla="*/ 1143324 w 40"/>
                  <a:gd name="T51" fmla="*/ 13972253 h 93"/>
                  <a:gd name="T52" fmla="*/ 1334097 w 40"/>
                  <a:gd name="T53" fmla="*/ 11706532 h 93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40" h="93">
                    <a:moveTo>
                      <a:pt x="7" y="31"/>
                    </a:moveTo>
                    <a:lnTo>
                      <a:pt x="10" y="30"/>
                    </a:lnTo>
                    <a:lnTo>
                      <a:pt x="14" y="26"/>
                    </a:lnTo>
                    <a:lnTo>
                      <a:pt x="20" y="20"/>
                    </a:lnTo>
                    <a:lnTo>
                      <a:pt x="25" y="15"/>
                    </a:lnTo>
                    <a:lnTo>
                      <a:pt x="35" y="4"/>
                    </a:lnTo>
                    <a:lnTo>
                      <a:pt x="40" y="0"/>
                    </a:lnTo>
                    <a:lnTo>
                      <a:pt x="37" y="26"/>
                    </a:lnTo>
                    <a:lnTo>
                      <a:pt x="35" y="53"/>
                    </a:lnTo>
                    <a:lnTo>
                      <a:pt x="34" y="65"/>
                    </a:lnTo>
                    <a:lnTo>
                      <a:pt x="34" y="77"/>
                    </a:lnTo>
                    <a:lnTo>
                      <a:pt x="35" y="82"/>
                    </a:lnTo>
                    <a:lnTo>
                      <a:pt x="36" y="86"/>
                    </a:lnTo>
                    <a:lnTo>
                      <a:pt x="37" y="90"/>
                    </a:lnTo>
                    <a:lnTo>
                      <a:pt x="40" y="93"/>
                    </a:lnTo>
                    <a:lnTo>
                      <a:pt x="26" y="93"/>
                    </a:lnTo>
                    <a:lnTo>
                      <a:pt x="13" y="93"/>
                    </a:lnTo>
                    <a:lnTo>
                      <a:pt x="11" y="92"/>
                    </a:lnTo>
                    <a:lnTo>
                      <a:pt x="8" y="91"/>
                    </a:lnTo>
                    <a:lnTo>
                      <a:pt x="6" y="88"/>
                    </a:lnTo>
                    <a:lnTo>
                      <a:pt x="4" y="86"/>
                    </a:lnTo>
                    <a:lnTo>
                      <a:pt x="1" y="80"/>
                    </a:lnTo>
                    <a:lnTo>
                      <a:pt x="0" y="73"/>
                    </a:lnTo>
                    <a:lnTo>
                      <a:pt x="1" y="64"/>
                    </a:lnTo>
                    <a:lnTo>
                      <a:pt x="3" y="50"/>
                    </a:lnTo>
                    <a:lnTo>
                      <a:pt x="6" y="37"/>
                    </a:lnTo>
                    <a:lnTo>
                      <a:pt x="7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59" name="Freeform 459">
                <a:extLst>
                  <a:ext uri="{FF2B5EF4-FFF2-40B4-BE49-F238E27FC236}">
                    <a16:creationId xmlns:a16="http://schemas.microsoft.com/office/drawing/2014/main" id="{A5842E03-62D9-43C2-9E19-12DB9DFC028D}"/>
                  </a:ext>
                </a:extLst>
              </p:cNvPr>
              <p:cNvSpPr>
                <a:spLocks/>
              </p:cNvSpPr>
              <p:nvPr>
                <p:custDataLst>
                  <p:tags r:id="rId297"/>
                </p:custDataLst>
              </p:nvPr>
            </p:nvSpPr>
            <p:spPr bwMode="auto">
              <a:xfrm>
                <a:off x="3868538" y="2691113"/>
                <a:ext cx="354726" cy="307645"/>
              </a:xfrm>
              <a:custGeom>
                <a:avLst/>
                <a:gdLst>
                  <a:gd name="T0" fmla="*/ 29464799 w 664"/>
                  <a:gd name="T1" fmla="*/ 123647372 h 518"/>
                  <a:gd name="T2" fmla="*/ 29860129 w 664"/>
                  <a:gd name="T3" fmla="*/ 119757200 h 518"/>
                  <a:gd name="T4" fmla="*/ 28871580 w 664"/>
                  <a:gd name="T5" fmla="*/ 111143474 h 518"/>
                  <a:gd name="T6" fmla="*/ 29860129 w 664"/>
                  <a:gd name="T7" fmla="*/ 98084515 h 518"/>
                  <a:gd name="T8" fmla="*/ 28871580 w 664"/>
                  <a:gd name="T9" fmla="*/ 82802149 h 518"/>
                  <a:gd name="T10" fmla="*/ 26498708 w 664"/>
                  <a:gd name="T11" fmla="*/ 69742663 h 518"/>
                  <a:gd name="T12" fmla="*/ 21554630 w 664"/>
                  <a:gd name="T13" fmla="*/ 66964195 h 518"/>
                  <a:gd name="T14" fmla="*/ 3955084 w 664"/>
                  <a:gd name="T15" fmla="*/ 53349120 h 518"/>
                  <a:gd name="T16" fmla="*/ 4746190 w 664"/>
                  <a:gd name="T17" fmla="*/ 47513863 h 518"/>
                  <a:gd name="T18" fmla="*/ 7119062 w 664"/>
                  <a:gd name="T19" fmla="*/ 44179806 h 518"/>
                  <a:gd name="T20" fmla="*/ 9491935 w 664"/>
                  <a:gd name="T21" fmla="*/ 41123017 h 518"/>
                  <a:gd name="T22" fmla="*/ 19774976 w 664"/>
                  <a:gd name="T23" fmla="*/ 43068103 h 518"/>
                  <a:gd name="T24" fmla="*/ 24718609 w 664"/>
                  <a:gd name="T25" fmla="*/ 42234720 h 518"/>
                  <a:gd name="T26" fmla="*/ 29069468 w 664"/>
                  <a:gd name="T27" fmla="*/ 43623691 h 518"/>
                  <a:gd name="T28" fmla="*/ 32628777 w 664"/>
                  <a:gd name="T29" fmla="*/ 26118972 h 518"/>
                  <a:gd name="T30" fmla="*/ 36583861 w 664"/>
                  <a:gd name="T31" fmla="*/ 30286411 h 518"/>
                  <a:gd name="T32" fmla="*/ 40934276 w 664"/>
                  <a:gd name="T33" fmla="*/ 30564732 h 518"/>
                  <a:gd name="T34" fmla="*/ 46669014 w 664"/>
                  <a:gd name="T35" fmla="*/ 27507943 h 518"/>
                  <a:gd name="T36" fmla="*/ 52205865 w 664"/>
                  <a:gd name="T37" fmla="*/ 22228800 h 518"/>
                  <a:gd name="T38" fmla="*/ 57149943 w 664"/>
                  <a:gd name="T39" fmla="*/ 15837954 h 518"/>
                  <a:gd name="T40" fmla="*/ 60907139 w 664"/>
                  <a:gd name="T41" fmla="*/ 8891520 h 518"/>
                  <a:gd name="T42" fmla="*/ 62884681 w 664"/>
                  <a:gd name="T43" fmla="*/ 3334056 h 518"/>
                  <a:gd name="T44" fmla="*/ 73167722 w 664"/>
                  <a:gd name="T45" fmla="*/ 1111176 h 518"/>
                  <a:gd name="T46" fmla="*/ 79891009 w 664"/>
                  <a:gd name="T47" fmla="*/ 8891520 h 518"/>
                  <a:gd name="T48" fmla="*/ 90371938 w 664"/>
                  <a:gd name="T49" fmla="*/ 16949658 h 518"/>
                  <a:gd name="T50" fmla="*/ 101050309 w 664"/>
                  <a:gd name="T51" fmla="*/ 25007268 h 518"/>
                  <a:gd name="T52" fmla="*/ 109158365 w 664"/>
                  <a:gd name="T53" fmla="*/ 29730823 h 518"/>
                  <a:gd name="T54" fmla="*/ 114299885 w 664"/>
                  <a:gd name="T55" fmla="*/ 32231497 h 518"/>
                  <a:gd name="T56" fmla="*/ 123198602 w 664"/>
                  <a:gd name="T57" fmla="*/ 33620994 h 518"/>
                  <a:gd name="T58" fmla="*/ 130119777 w 664"/>
                  <a:gd name="T59" fmla="*/ 37788960 h 518"/>
                  <a:gd name="T60" fmla="*/ 127549017 w 664"/>
                  <a:gd name="T61" fmla="*/ 46124892 h 518"/>
                  <a:gd name="T62" fmla="*/ 122605384 w 664"/>
                  <a:gd name="T63" fmla="*/ 65574697 h 518"/>
                  <a:gd name="T64" fmla="*/ 118254525 w 664"/>
                  <a:gd name="T65" fmla="*/ 75577921 h 518"/>
                  <a:gd name="T66" fmla="*/ 115683764 w 664"/>
                  <a:gd name="T67" fmla="*/ 79467565 h 518"/>
                  <a:gd name="T68" fmla="*/ 118452412 w 664"/>
                  <a:gd name="T69" fmla="*/ 82802149 h 518"/>
                  <a:gd name="T70" fmla="*/ 122209609 w 664"/>
                  <a:gd name="T71" fmla="*/ 85302823 h 518"/>
                  <a:gd name="T72" fmla="*/ 123198602 w 664"/>
                  <a:gd name="T73" fmla="*/ 92804845 h 518"/>
                  <a:gd name="T74" fmla="*/ 122605384 w 664"/>
                  <a:gd name="T75" fmla="*/ 96417223 h 518"/>
                  <a:gd name="T76" fmla="*/ 122209609 w 664"/>
                  <a:gd name="T77" fmla="*/ 103363657 h 518"/>
                  <a:gd name="T78" fmla="*/ 123000715 w 664"/>
                  <a:gd name="T79" fmla="*/ 110865680 h 518"/>
                  <a:gd name="T80" fmla="*/ 124978257 w 664"/>
                  <a:gd name="T81" fmla="*/ 117534320 h 518"/>
                  <a:gd name="T82" fmla="*/ 120232067 w 664"/>
                  <a:gd name="T83" fmla="*/ 126981428 h 518"/>
                  <a:gd name="T84" fmla="*/ 112519786 w 664"/>
                  <a:gd name="T85" fmla="*/ 134483978 h 518"/>
                  <a:gd name="T86" fmla="*/ 107180823 w 664"/>
                  <a:gd name="T87" fmla="*/ 135872948 h 518"/>
                  <a:gd name="T88" fmla="*/ 100654978 w 664"/>
                  <a:gd name="T89" fmla="*/ 133650068 h 518"/>
                  <a:gd name="T90" fmla="*/ 94327022 w 664"/>
                  <a:gd name="T91" fmla="*/ 127815338 h 518"/>
                  <a:gd name="T92" fmla="*/ 91558374 w 664"/>
                  <a:gd name="T93" fmla="*/ 126703634 h 518"/>
                  <a:gd name="T94" fmla="*/ 87603290 w 664"/>
                  <a:gd name="T95" fmla="*/ 126981428 h 518"/>
                  <a:gd name="T96" fmla="*/ 83648206 w 664"/>
                  <a:gd name="T97" fmla="*/ 129204308 h 518"/>
                  <a:gd name="T98" fmla="*/ 80286784 w 664"/>
                  <a:gd name="T99" fmla="*/ 132538892 h 518"/>
                  <a:gd name="T100" fmla="*/ 76727031 w 664"/>
                  <a:gd name="T101" fmla="*/ 139763120 h 518"/>
                  <a:gd name="T102" fmla="*/ 76133813 w 664"/>
                  <a:gd name="T103" fmla="*/ 143653292 h 518"/>
                  <a:gd name="T104" fmla="*/ 65850772 w 664"/>
                  <a:gd name="T105" fmla="*/ 143097704 h 518"/>
                  <a:gd name="T106" fmla="*/ 62686794 w 664"/>
                  <a:gd name="T107" fmla="*/ 140874824 h 518"/>
                  <a:gd name="T108" fmla="*/ 60709252 w 664"/>
                  <a:gd name="T109" fmla="*/ 138929738 h 518"/>
                  <a:gd name="T110" fmla="*/ 58534267 w 664"/>
                  <a:gd name="T111" fmla="*/ 141152618 h 518"/>
                  <a:gd name="T112" fmla="*/ 56754167 w 664"/>
                  <a:gd name="T113" fmla="*/ 143375498 h 518"/>
                  <a:gd name="T114" fmla="*/ 52996971 w 664"/>
                  <a:gd name="T115" fmla="*/ 143375498 h 518"/>
                  <a:gd name="T116" fmla="*/ 44889360 w 664"/>
                  <a:gd name="T117" fmla="*/ 140597029 h 518"/>
                  <a:gd name="T118" fmla="*/ 36583861 w 664"/>
                  <a:gd name="T119" fmla="*/ 135317360 h 518"/>
                  <a:gd name="T120" fmla="*/ 31640228 w 664"/>
                  <a:gd name="T121" fmla="*/ 130316012 h 518"/>
                  <a:gd name="T122" fmla="*/ 28871580 w 664"/>
                  <a:gd name="T123" fmla="*/ 125036869 h 518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664" h="518">
                    <a:moveTo>
                      <a:pt x="146" y="450"/>
                    </a:moveTo>
                    <a:lnTo>
                      <a:pt x="148" y="447"/>
                    </a:lnTo>
                    <a:lnTo>
                      <a:pt x="149" y="445"/>
                    </a:lnTo>
                    <a:lnTo>
                      <a:pt x="150" y="441"/>
                    </a:lnTo>
                    <a:lnTo>
                      <a:pt x="151" y="438"/>
                    </a:lnTo>
                    <a:lnTo>
                      <a:pt x="151" y="431"/>
                    </a:lnTo>
                    <a:lnTo>
                      <a:pt x="150" y="424"/>
                    </a:lnTo>
                    <a:lnTo>
                      <a:pt x="147" y="411"/>
                    </a:lnTo>
                    <a:lnTo>
                      <a:pt x="146" y="400"/>
                    </a:lnTo>
                    <a:lnTo>
                      <a:pt x="147" y="378"/>
                    </a:lnTo>
                    <a:lnTo>
                      <a:pt x="149" y="364"/>
                    </a:lnTo>
                    <a:lnTo>
                      <a:pt x="151" y="353"/>
                    </a:lnTo>
                    <a:lnTo>
                      <a:pt x="152" y="339"/>
                    </a:lnTo>
                    <a:lnTo>
                      <a:pt x="150" y="320"/>
                    </a:lnTo>
                    <a:lnTo>
                      <a:pt x="146" y="298"/>
                    </a:lnTo>
                    <a:lnTo>
                      <a:pt x="141" y="273"/>
                    </a:lnTo>
                    <a:lnTo>
                      <a:pt x="139" y="252"/>
                    </a:lnTo>
                    <a:lnTo>
                      <a:pt x="134" y="251"/>
                    </a:lnTo>
                    <a:lnTo>
                      <a:pt x="127" y="249"/>
                    </a:lnTo>
                    <a:lnTo>
                      <a:pt x="119" y="246"/>
                    </a:lnTo>
                    <a:lnTo>
                      <a:pt x="109" y="241"/>
                    </a:lnTo>
                    <a:lnTo>
                      <a:pt x="87" y="231"/>
                    </a:lnTo>
                    <a:lnTo>
                      <a:pt x="64" y="217"/>
                    </a:lnTo>
                    <a:lnTo>
                      <a:pt x="20" y="192"/>
                    </a:lnTo>
                    <a:lnTo>
                      <a:pt x="0" y="178"/>
                    </a:lnTo>
                    <a:lnTo>
                      <a:pt x="19" y="172"/>
                    </a:lnTo>
                    <a:lnTo>
                      <a:pt x="24" y="171"/>
                    </a:lnTo>
                    <a:lnTo>
                      <a:pt x="28" y="168"/>
                    </a:lnTo>
                    <a:lnTo>
                      <a:pt x="31" y="165"/>
                    </a:lnTo>
                    <a:lnTo>
                      <a:pt x="36" y="159"/>
                    </a:lnTo>
                    <a:lnTo>
                      <a:pt x="39" y="155"/>
                    </a:lnTo>
                    <a:lnTo>
                      <a:pt x="44" y="151"/>
                    </a:lnTo>
                    <a:lnTo>
                      <a:pt x="48" y="148"/>
                    </a:lnTo>
                    <a:lnTo>
                      <a:pt x="52" y="147"/>
                    </a:lnTo>
                    <a:lnTo>
                      <a:pt x="92" y="159"/>
                    </a:lnTo>
                    <a:lnTo>
                      <a:pt x="100" y="155"/>
                    </a:lnTo>
                    <a:lnTo>
                      <a:pt x="108" y="153"/>
                    </a:lnTo>
                    <a:lnTo>
                      <a:pt x="116" y="152"/>
                    </a:lnTo>
                    <a:lnTo>
                      <a:pt x="125" y="152"/>
                    </a:lnTo>
                    <a:lnTo>
                      <a:pt x="132" y="153"/>
                    </a:lnTo>
                    <a:lnTo>
                      <a:pt x="140" y="155"/>
                    </a:lnTo>
                    <a:lnTo>
                      <a:pt x="147" y="157"/>
                    </a:lnTo>
                    <a:lnTo>
                      <a:pt x="152" y="159"/>
                    </a:lnTo>
                    <a:lnTo>
                      <a:pt x="152" y="86"/>
                    </a:lnTo>
                    <a:lnTo>
                      <a:pt x="165" y="94"/>
                    </a:lnTo>
                    <a:lnTo>
                      <a:pt x="175" y="102"/>
                    </a:lnTo>
                    <a:lnTo>
                      <a:pt x="181" y="105"/>
                    </a:lnTo>
                    <a:lnTo>
                      <a:pt x="185" y="109"/>
                    </a:lnTo>
                    <a:lnTo>
                      <a:pt x="192" y="110"/>
                    </a:lnTo>
                    <a:lnTo>
                      <a:pt x="198" y="111"/>
                    </a:lnTo>
                    <a:lnTo>
                      <a:pt x="207" y="110"/>
                    </a:lnTo>
                    <a:lnTo>
                      <a:pt x="217" y="107"/>
                    </a:lnTo>
                    <a:lnTo>
                      <a:pt x="226" y="103"/>
                    </a:lnTo>
                    <a:lnTo>
                      <a:pt x="236" y="99"/>
                    </a:lnTo>
                    <a:lnTo>
                      <a:pt x="246" y="93"/>
                    </a:lnTo>
                    <a:lnTo>
                      <a:pt x="255" y="87"/>
                    </a:lnTo>
                    <a:lnTo>
                      <a:pt x="264" y="80"/>
                    </a:lnTo>
                    <a:lnTo>
                      <a:pt x="273" y="73"/>
                    </a:lnTo>
                    <a:lnTo>
                      <a:pt x="282" y="65"/>
                    </a:lnTo>
                    <a:lnTo>
                      <a:pt x="289" y="57"/>
                    </a:lnTo>
                    <a:lnTo>
                      <a:pt x="297" y="48"/>
                    </a:lnTo>
                    <a:lnTo>
                      <a:pt x="303" y="40"/>
                    </a:lnTo>
                    <a:lnTo>
                      <a:pt x="308" y="32"/>
                    </a:lnTo>
                    <a:lnTo>
                      <a:pt x="313" y="25"/>
                    </a:lnTo>
                    <a:lnTo>
                      <a:pt x="316" y="18"/>
                    </a:lnTo>
                    <a:lnTo>
                      <a:pt x="318" y="12"/>
                    </a:lnTo>
                    <a:lnTo>
                      <a:pt x="337" y="11"/>
                    </a:lnTo>
                    <a:lnTo>
                      <a:pt x="354" y="8"/>
                    </a:lnTo>
                    <a:lnTo>
                      <a:pt x="370" y="4"/>
                    </a:lnTo>
                    <a:lnTo>
                      <a:pt x="385" y="0"/>
                    </a:lnTo>
                    <a:lnTo>
                      <a:pt x="385" y="24"/>
                    </a:lnTo>
                    <a:lnTo>
                      <a:pt x="404" y="32"/>
                    </a:lnTo>
                    <a:lnTo>
                      <a:pt x="422" y="40"/>
                    </a:lnTo>
                    <a:lnTo>
                      <a:pt x="440" y="50"/>
                    </a:lnTo>
                    <a:lnTo>
                      <a:pt x="457" y="61"/>
                    </a:lnTo>
                    <a:lnTo>
                      <a:pt x="475" y="72"/>
                    </a:lnTo>
                    <a:lnTo>
                      <a:pt x="493" y="81"/>
                    </a:lnTo>
                    <a:lnTo>
                      <a:pt x="511" y="90"/>
                    </a:lnTo>
                    <a:lnTo>
                      <a:pt x="531" y="98"/>
                    </a:lnTo>
                    <a:lnTo>
                      <a:pt x="538" y="101"/>
                    </a:lnTo>
                    <a:lnTo>
                      <a:pt x="552" y="107"/>
                    </a:lnTo>
                    <a:lnTo>
                      <a:pt x="561" y="111"/>
                    </a:lnTo>
                    <a:lnTo>
                      <a:pt x="569" y="114"/>
                    </a:lnTo>
                    <a:lnTo>
                      <a:pt x="578" y="116"/>
                    </a:lnTo>
                    <a:lnTo>
                      <a:pt x="584" y="117"/>
                    </a:lnTo>
                    <a:lnTo>
                      <a:pt x="604" y="118"/>
                    </a:lnTo>
                    <a:lnTo>
                      <a:pt x="623" y="121"/>
                    </a:lnTo>
                    <a:lnTo>
                      <a:pt x="644" y="124"/>
                    </a:lnTo>
                    <a:lnTo>
                      <a:pt x="664" y="129"/>
                    </a:lnTo>
                    <a:lnTo>
                      <a:pt x="658" y="136"/>
                    </a:lnTo>
                    <a:lnTo>
                      <a:pt x="654" y="145"/>
                    </a:lnTo>
                    <a:lnTo>
                      <a:pt x="650" y="155"/>
                    </a:lnTo>
                    <a:lnTo>
                      <a:pt x="645" y="166"/>
                    </a:lnTo>
                    <a:lnTo>
                      <a:pt x="638" y="189"/>
                    </a:lnTo>
                    <a:lnTo>
                      <a:pt x="629" y="212"/>
                    </a:lnTo>
                    <a:lnTo>
                      <a:pt x="620" y="236"/>
                    </a:lnTo>
                    <a:lnTo>
                      <a:pt x="609" y="256"/>
                    </a:lnTo>
                    <a:lnTo>
                      <a:pt x="604" y="265"/>
                    </a:lnTo>
                    <a:lnTo>
                      <a:pt x="598" y="272"/>
                    </a:lnTo>
                    <a:lnTo>
                      <a:pt x="591" y="279"/>
                    </a:lnTo>
                    <a:lnTo>
                      <a:pt x="584" y="283"/>
                    </a:lnTo>
                    <a:lnTo>
                      <a:pt x="585" y="286"/>
                    </a:lnTo>
                    <a:lnTo>
                      <a:pt x="588" y="290"/>
                    </a:lnTo>
                    <a:lnTo>
                      <a:pt x="593" y="294"/>
                    </a:lnTo>
                    <a:lnTo>
                      <a:pt x="599" y="298"/>
                    </a:lnTo>
                    <a:lnTo>
                      <a:pt x="606" y="301"/>
                    </a:lnTo>
                    <a:lnTo>
                      <a:pt x="612" y="304"/>
                    </a:lnTo>
                    <a:lnTo>
                      <a:pt x="618" y="307"/>
                    </a:lnTo>
                    <a:lnTo>
                      <a:pt x="623" y="307"/>
                    </a:lnTo>
                    <a:lnTo>
                      <a:pt x="623" y="326"/>
                    </a:lnTo>
                    <a:lnTo>
                      <a:pt x="623" y="334"/>
                    </a:lnTo>
                    <a:lnTo>
                      <a:pt x="622" y="340"/>
                    </a:lnTo>
                    <a:lnTo>
                      <a:pt x="622" y="344"/>
                    </a:lnTo>
                    <a:lnTo>
                      <a:pt x="620" y="347"/>
                    </a:lnTo>
                    <a:lnTo>
                      <a:pt x="618" y="353"/>
                    </a:lnTo>
                    <a:lnTo>
                      <a:pt x="617" y="363"/>
                    </a:lnTo>
                    <a:lnTo>
                      <a:pt x="618" y="372"/>
                    </a:lnTo>
                    <a:lnTo>
                      <a:pt x="618" y="381"/>
                    </a:lnTo>
                    <a:lnTo>
                      <a:pt x="620" y="391"/>
                    </a:lnTo>
                    <a:lnTo>
                      <a:pt x="622" y="399"/>
                    </a:lnTo>
                    <a:lnTo>
                      <a:pt x="624" y="408"/>
                    </a:lnTo>
                    <a:lnTo>
                      <a:pt x="629" y="416"/>
                    </a:lnTo>
                    <a:lnTo>
                      <a:pt x="632" y="423"/>
                    </a:lnTo>
                    <a:lnTo>
                      <a:pt x="638" y="430"/>
                    </a:lnTo>
                    <a:lnTo>
                      <a:pt x="622" y="444"/>
                    </a:lnTo>
                    <a:lnTo>
                      <a:pt x="608" y="457"/>
                    </a:lnTo>
                    <a:lnTo>
                      <a:pt x="593" y="469"/>
                    </a:lnTo>
                    <a:lnTo>
                      <a:pt x="577" y="480"/>
                    </a:lnTo>
                    <a:lnTo>
                      <a:pt x="569" y="484"/>
                    </a:lnTo>
                    <a:lnTo>
                      <a:pt x="561" y="487"/>
                    </a:lnTo>
                    <a:lnTo>
                      <a:pt x="551" y="489"/>
                    </a:lnTo>
                    <a:lnTo>
                      <a:pt x="542" y="489"/>
                    </a:lnTo>
                    <a:lnTo>
                      <a:pt x="532" y="488"/>
                    </a:lnTo>
                    <a:lnTo>
                      <a:pt x="521" y="485"/>
                    </a:lnTo>
                    <a:lnTo>
                      <a:pt x="509" y="481"/>
                    </a:lnTo>
                    <a:lnTo>
                      <a:pt x="497" y="474"/>
                    </a:lnTo>
                    <a:lnTo>
                      <a:pt x="487" y="466"/>
                    </a:lnTo>
                    <a:lnTo>
                      <a:pt x="477" y="460"/>
                    </a:lnTo>
                    <a:lnTo>
                      <a:pt x="473" y="458"/>
                    </a:lnTo>
                    <a:lnTo>
                      <a:pt x="467" y="457"/>
                    </a:lnTo>
                    <a:lnTo>
                      <a:pt x="463" y="456"/>
                    </a:lnTo>
                    <a:lnTo>
                      <a:pt x="457" y="456"/>
                    </a:lnTo>
                    <a:lnTo>
                      <a:pt x="450" y="456"/>
                    </a:lnTo>
                    <a:lnTo>
                      <a:pt x="443" y="457"/>
                    </a:lnTo>
                    <a:lnTo>
                      <a:pt x="436" y="459"/>
                    </a:lnTo>
                    <a:lnTo>
                      <a:pt x="429" y="462"/>
                    </a:lnTo>
                    <a:lnTo>
                      <a:pt x="423" y="465"/>
                    </a:lnTo>
                    <a:lnTo>
                      <a:pt x="417" y="468"/>
                    </a:lnTo>
                    <a:lnTo>
                      <a:pt x="411" y="472"/>
                    </a:lnTo>
                    <a:lnTo>
                      <a:pt x="406" y="477"/>
                    </a:lnTo>
                    <a:lnTo>
                      <a:pt x="397" y="486"/>
                    </a:lnTo>
                    <a:lnTo>
                      <a:pt x="390" y="496"/>
                    </a:lnTo>
                    <a:lnTo>
                      <a:pt x="388" y="503"/>
                    </a:lnTo>
                    <a:lnTo>
                      <a:pt x="386" y="508"/>
                    </a:lnTo>
                    <a:lnTo>
                      <a:pt x="385" y="512"/>
                    </a:lnTo>
                    <a:lnTo>
                      <a:pt x="385" y="517"/>
                    </a:lnTo>
                    <a:lnTo>
                      <a:pt x="364" y="518"/>
                    </a:lnTo>
                    <a:lnTo>
                      <a:pt x="343" y="517"/>
                    </a:lnTo>
                    <a:lnTo>
                      <a:pt x="333" y="515"/>
                    </a:lnTo>
                    <a:lnTo>
                      <a:pt x="325" y="512"/>
                    </a:lnTo>
                    <a:lnTo>
                      <a:pt x="321" y="510"/>
                    </a:lnTo>
                    <a:lnTo>
                      <a:pt x="317" y="507"/>
                    </a:lnTo>
                    <a:lnTo>
                      <a:pt x="314" y="503"/>
                    </a:lnTo>
                    <a:lnTo>
                      <a:pt x="311" y="499"/>
                    </a:lnTo>
                    <a:lnTo>
                      <a:pt x="307" y="500"/>
                    </a:lnTo>
                    <a:lnTo>
                      <a:pt x="303" y="502"/>
                    </a:lnTo>
                    <a:lnTo>
                      <a:pt x="299" y="505"/>
                    </a:lnTo>
                    <a:lnTo>
                      <a:pt x="296" y="508"/>
                    </a:lnTo>
                    <a:lnTo>
                      <a:pt x="293" y="511"/>
                    </a:lnTo>
                    <a:lnTo>
                      <a:pt x="289" y="514"/>
                    </a:lnTo>
                    <a:lnTo>
                      <a:pt x="287" y="516"/>
                    </a:lnTo>
                    <a:lnTo>
                      <a:pt x="285" y="517"/>
                    </a:lnTo>
                    <a:lnTo>
                      <a:pt x="277" y="517"/>
                    </a:lnTo>
                    <a:lnTo>
                      <a:pt x="268" y="516"/>
                    </a:lnTo>
                    <a:lnTo>
                      <a:pt x="259" y="514"/>
                    </a:lnTo>
                    <a:lnTo>
                      <a:pt x="248" y="512"/>
                    </a:lnTo>
                    <a:lnTo>
                      <a:pt x="227" y="506"/>
                    </a:lnTo>
                    <a:lnTo>
                      <a:pt x="205" y="496"/>
                    </a:lnTo>
                    <a:lnTo>
                      <a:pt x="195" y="492"/>
                    </a:lnTo>
                    <a:lnTo>
                      <a:pt x="185" y="487"/>
                    </a:lnTo>
                    <a:lnTo>
                      <a:pt x="175" y="481"/>
                    </a:lnTo>
                    <a:lnTo>
                      <a:pt x="168" y="475"/>
                    </a:lnTo>
                    <a:lnTo>
                      <a:pt x="160" y="469"/>
                    </a:lnTo>
                    <a:lnTo>
                      <a:pt x="153" y="463"/>
                    </a:lnTo>
                    <a:lnTo>
                      <a:pt x="149" y="456"/>
                    </a:lnTo>
                    <a:lnTo>
                      <a:pt x="146" y="4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0" name="Freeform 460">
                <a:extLst>
                  <a:ext uri="{FF2B5EF4-FFF2-40B4-BE49-F238E27FC236}">
                    <a16:creationId xmlns:a16="http://schemas.microsoft.com/office/drawing/2014/main" id="{FDFEBE7A-EC42-4F68-93BB-AFB0F36A47A0}"/>
                  </a:ext>
                </a:extLst>
              </p:cNvPr>
              <p:cNvSpPr>
                <a:spLocks/>
              </p:cNvSpPr>
              <p:nvPr>
                <p:custDataLst>
                  <p:tags r:id="rId298"/>
                </p:custDataLst>
              </p:nvPr>
            </p:nvSpPr>
            <p:spPr bwMode="auto">
              <a:xfrm>
                <a:off x="5106459" y="2954809"/>
                <a:ext cx="182793" cy="93172"/>
              </a:xfrm>
              <a:custGeom>
                <a:avLst/>
                <a:gdLst>
                  <a:gd name="T0" fmla="*/ 60943044 w 352"/>
                  <a:gd name="T1" fmla="*/ 26490457 h 153"/>
                  <a:gd name="T2" fmla="*/ 64614373 w 352"/>
                  <a:gd name="T3" fmla="*/ 44539232 h 153"/>
                  <a:gd name="T4" fmla="*/ 59841516 w 352"/>
                  <a:gd name="T5" fmla="*/ 41045694 h 153"/>
                  <a:gd name="T6" fmla="*/ 54885714 w 352"/>
                  <a:gd name="T7" fmla="*/ 37552696 h 153"/>
                  <a:gd name="T8" fmla="*/ 48827956 w 352"/>
                  <a:gd name="T9" fmla="*/ 41045694 h 153"/>
                  <a:gd name="T10" fmla="*/ 42586824 w 352"/>
                  <a:gd name="T11" fmla="*/ 41045694 h 153"/>
                  <a:gd name="T12" fmla="*/ 41669099 w 352"/>
                  <a:gd name="T13" fmla="*/ 39299195 h 153"/>
                  <a:gd name="T14" fmla="*/ 41485296 w 352"/>
                  <a:gd name="T15" fmla="*/ 39299195 h 153"/>
                  <a:gd name="T16" fmla="*/ 40200395 w 352"/>
                  <a:gd name="T17" fmla="*/ 37552696 h 153"/>
                  <a:gd name="T18" fmla="*/ 39098868 w 352"/>
                  <a:gd name="T19" fmla="*/ 36388364 h 153"/>
                  <a:gd name="T20" fmla="*/ 37630593 w 352"/>
                  <a:gd name="T21" fmla="*/ 35224031 h 153"/>
                  <a:gd name="T22" fmla="*/ 36161890 w 352"/>
                  <a:gd name="T23" fmla="*/ 34350512 h 153"/>
                  <a:gd name="T24" fmla="*/ 33224912 w 352"/>
                  <a:gd name="T25" fmla="*/ 32894826 h 153"/>
                  <a:gd name="T26" fmla="*/ 29920758 w 352"/>
                  <a:gd name="T27" fmla="*/ 32021846 h 153"/>
                  <a:gd name="T28" fmla="*/ 23129077 w 352"/>
                  <a:gd name="T29" fmla="*/ 31148327 h 153"/>
                  <a:gd name="T30" fmla="*/ 15786417 w 352"/>
                  <a:gd name="T31" fmla="*/ 30274808 h 153"/>
                  <a:gd name="T32" fmla="*/ 15603044 w 352"/>
                  <a:gd name="T33" fmla="*/ 27363976 h 153"/>
                  <a:gd name="T34" fmla="*/ 15052066 w 352"/>
                  <a:gd name="T35" fmla="*/ 24453144 h 153"/>
                  <a:gd name="T36" fmla="*/ 14684890 w 352"/>
                  <a:gd name="T37" fmla="*/ 21833126 h 153"/>
                  <a:gd name="T38" fmla="*/ 13767165 w 352"/>
                  <a:gd name="T39" fmla="*/ 19503921 h 153"/>
                  <a:gd name="T40" fmla="*/ 13032813 w 352"/>
                  <a:gd name="T41" fmla="*/ 17175256 h 153"/>
                  <a:gd name="T42" fmla="*/ 12298890 w 352"/>
                  <a:gd name="T43" fmla="*/ 15137404 h 153"/>
                  <a:gd name="T44" fmla="*/ 11197363 w 352"/>
                  <a:gd name="T45" fmla="*/ 12808739 h 153"/>
                  <a:gd name="T46" fmla="*/ 10279637 w 352"/>
                  <a:gd name="T47" fmla="*/ 10770887 h 153"/>
                  <a:gd name="T48" fmla="*/ 8077011 w 352"/>
                  <a:gd name="T49" fmla="*/ 7568702 h 153"/>
                  <a:gd name="T50" fmla="*/ 5323407 w 352"/>
                  <a:gd name="T51" fmla="*/ 4657870 h 153"/>
                  <a:gd name="T52" fmla="*/ 2753604 w 352"/>
                  <a:gd name="T53" fmla="*/ 2037852 h 153"/>
                  <a:gd name="T54" fmla="*/ 0 w 352"/>
                  <a:gd name="T55" fmla="*/ 0 h 153"/>
                  <a:gd name="T56" fmla="*/ 1284901 w 352"/>
                  <a:gd name="T57" fmla="*/ 0 h 153"/>
                  <a:gd name="T58" fmla="*/ 11013989 w 352"/>
                  <a:gd name="T59" fmla="*/ 5240037 h 153"/>
                  <a:gd name="T60" fmla="*/ 19457747 w 352"/>
                  <a:gd name="T61" fmla="*/ 8733035 h 153"/>
                  <a:gd name="T62" fmla="*/ 24597352 w 352"/>
                  <a:gd name="T63" fmla="*/ 5240037 h 153"/>
                  <a:gd name="T64" fmla="*/ 33041538 w 352"/>
                  <a:gd name="T65" fmla="*/ 10480073 h 153"/>
                  <a:gd name="T66" fmla="*/ 37813967 w 352"/>
                  <a:gd name="T67" fmla="*/ 16010923 h 153"/>
                  <a:gd name="T68" fmla="*/ 45156626 w 352"/>
                  <a:gd name="T69" fmla="*/ 14264424 h 153"/>
                  <a:gd name="T70" fmla="*/ 52499285 w 352"/>
                  <a:gd name="T71" fmla="*/ 17757422 h 153"/>
                  <a:gd name="T72" fmla="*/ 57455516 w 352"/>
                  <a:gd name="T73" fmla="*/ 22997459 h 153"/>
                  <a:gd name="T74" fmla="*/ 60943044 w 352"/>
                  <a:gd name="T75" fmla="*/ 26490457 h 153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0" t="0" r="r" b="b"/>
                <a:pathLst>
                  <a:path w="352" h="153">
                    <a:moveTo>
                      <a:pt x="332" y="91"/>
                    </a:moveTo>
                    <a:lnTo>
                      <a:pt x="352" y="153"/>
                    </a:lnTo>
                    <a:lnTo>
                      <a:pt x="326" y="141"/>
                    </a:lnTo>
                    <a:lnTo>
                      <a:pt x="299" y="129"/>
                    </a:lnTo>
                    <a:lnTo>
                      <a:pt x="266" y="141"/>
                    </a:lnTo>
                    <a:lnTo>
                      <a:pt x="232" y="141"/>
                    </a:lnTo>
                    <a:lnTo>
                      <a:pt x="227" y="135"/>
                    </a:lnTo>
                    <a:lnTo>
                      <a:pt x="226" y="135"/>
                    </a:lnTo>
                    <a:lnTo>
                      <a:pt x="219" y="129"/>
                    </a:lnTo>
                    <a:lnTo>
                      <a:pt x="213" y="125"/>
                    </a:lnTo>
                    <a:lnTo>
                      <a:pt x="205" y="121"/>
                    </a:lnTo>
                    <a:lnTo>
                      <a:pt x="197" y="118"/>
                    </a:lnTo>
                    <a:lnTo>
                      <a:pt x="181" y="113"/>
                    </a:lnTo>
                    <a:lnTo>
                      <a:pt x="163" y="110"/>
                    </a:lnTo>
                    <a:lnTo>
                      <a:pt x="126" y="107"/>
                    </a:lnTo>
                    <a:lnTo>
                      <a:pt x="86" y="104"/>
                    </a:lnTo>
                    <a:lnTo>
                      <a:pt x="85" y="94"/>
                    </a:lnTo>
                    <a:lnTo>
                      <a:pt x="82" y="84"/>
                    </a:lnTo>
                    <a:lnTo>
                      <a:pt x="80" y="75"/>
                    </a:lnTo>
                    <a:lnTo>
                      <a:pt x="75" y="67"/>
                    </a:lnTo>
                    <a:lnTo>
                      <a:pt x="71" y="59"/>
                    </a:lnTo>
                    <a:lnTo>
                      <a:pt x="67" y="52"/>
                    </a:lnTo>
                    <a:lnTo>
                      <a:pt x="61" y="44"/>
                    </a:lnTo>
                    <a:lnTo>
                      <a:pt x="56" y="37"/>
                    </a:lnTo>
                    <a:lnTo>
                      <a:pt x="44" y="26"/>
                    </a:lnTo>
                    <a:lnTo>
                      <a:pt x="29" y="16"/>
                    </a:lnTo>
                    <a:lnTo>
                      <a:pt x="15" y="7"/>
                    </a:lnTo>
                    <a:lnTo>
                      <a:pt x="0" y="0"/>
                    </a:lnTo>
                    <a:lnTo>
                      <a:pt x="7" y="0"/>
                    </a:lnTo>
                    <a:lnTo>
                      <a:pt x="60" y="18"/>
                    </a:lnTo>
                    <a:lnTo>
                      <a:pt x="106" y="30"/>
                    </a:lnTo>
                    <a:lnTo>
                      <a:pt x="134" y="18"/>
                    </a:lnTo>
                    <a:lnTo>
                      <a:pt x="180" y="36"/>
                    </a:lnTo>
                    <a:lnTo>
                      <a:pt x="206" y="55"/>
                    </a:lnTo>
                    <a:lnTo>
                      <a:pt x="246" y="49"/>
                    </a:lnTo>
                    <a:lnTo>
                      <a:pt x="286" y="61"/>
                    </a:lnTo>
                    <a:lnTo>
                      <a:pt x="313" y="79"/>
                    </a:lnTo>
                    <a:lnTo>
                      <a:pt x="332" y="91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1" name="Freeform 461">
                <a:extLst>
                  <a:ext uri="{FF2B5EF4-FFF2-40B4-BE49-F238E27FC236}">
                    <a16:creationId xmlns:a16="http://schemas.microsoft.com/office/drawing/2014/main" id="{7E8851EA-5BC7-4400-8423-813165D533C5}"/>
                  </a:ext>
                </a:extLst>
              </p:cNvPr>
              <p:cNvSpPr>
                <a:spLocks/>
              </p:cNvSpPr>
              <p:nvPr>
                <p:custDataLst>
                  <p:tags r:id="rId299"/>
                </p:custDataLst>
              </p:nvPr>
            </p:nvSpPr>
            <p:spPr bwMode="auto">
              <a:xfrm>
                <a:off x="4563512" y="3023369"/>
                <a:ext cx="177363" cy="195136"/>
              </a:xfrm>
              <a:custGeom>
                <a:avLst/>
                <a:gdLst>
                  <a:gd name="T0" fmla="*/ 45757657 w 331"/>
                  <a:gd name="T1" fmla="*/ 11200903 h 327"/>
                  <a:gd name="T2" fmla="*/ 38396325 w 331"/>
                  <a:gd name="T3" fmla="*/ 15680841 h 327"/>
                  <a:gd name="T4" fmla="*/ 36208086 w 331"/>
                  <a:gd name="T5" fmla="*/ 18761129 h 327"/>
                  <a:gd name="T6" fmla="*/ 36009155 w 331"/>
                  <a:gd name="T7" fmla="*/ 22681736 h 327"/>
                  <a:gd name="T8" fmla="*/ 36605947 w 331"/>
                  <a:gd name="T9" fmla="*/ 26321884 h 327"/>
                  <a:gd name="T10" fmla="*/ 35213432 w 331"/>
                  <a:gd name="T11" fmla="*/ 28561853 h 327"/>
                  <a:gd name="T12" fmla="*/ 33423054 w 331"/>
                  <a:gd name="T13" fmla="*/ 29402172 h 327"/>
                  <a:gd name="T14" fmla="*/ 31831162 w 331"/>
                  <a:gd name="T15" fmla="*/ 27441604 h 327"/>
                  <a:gd name="T16" fmla="*/ 29642923 w 331"/>
                  <a:gd name="T17" fmla="*/ 23801456 h 327"/>
                  <a:gd name="T18" fmla="*/ 25067068 w 331"/>
                  <a:gd name="T19" fmla="*/ 20721168 h 327"/>
                  <a:gd name="T20" fmla="*/ 25265998 w 331"/>
                  <a:gd name="T21" fmla="*/ 26881744 h 327"/>
                  <a:gd name="T22" fmla="*/ 27653614 w 331"/>
                  <a:gd name="T23" fmla="*/ 32482461 h 327"/>
                  <a:gd name="T24" fmla="*/ 30637577 w 331"/>
                  <a:gd name="T25" fmla="*/ 36122609 h 327"/>
                  <a:gd name="T26" fmla="*/ 31632231 w 331"/>
                  <a:gd name="T27" fmla="*/ 36402539 h 327"/>
                  <a:gd name="T28" fmla="*/ 31632231 w 331"/>
                  <a:gd name="T29" fmla="*/ 49563481 h 327"/>
                  <a:gd name="T30" fmla="*/ 31632231 w 331"/>
                  <a:gd name="T31" fmla="*/ 66364571 h 327"/>
                  <a:gd name="T32" fmla="*/ 31035438 w 331"/>
                  <a:gd name="T33" fmla="*/ 70284649 h 327"/>
                  <a:gd name="T34" fmla="*/ 29245061 w 331"/>
                  <a:gd name="T35" fmla="*/ 72525147 h 327"/>
                  <a:gd name="T36" fmla="*/ 28847199 w 331"/>
                  <a:gd name="T37" fmla="*/ 73924797 h 327"/>
                  <a:gd name="T38" fmla="*/ 32229023 w 331"/>
                  <a:gd name="T39" fmla="*/ 77285015 h 327"/>
                  <a:gd name="T40" fmla="*/ 33224123 w 331"/>
                  <a:gd name="T41" fmla="*/ 80085373 h 327"/>
                  <a:gd name="T42" fmla="*/ 30836508 w 331"/>
                  <a:gd name="T43" fmla="*/ 82605801 h 327"/>
                  <a:gd name="T44" fmla="*/ 27852545 w 331"/>
                  <a:gd name="T45" fmla="*/ 83165661 h 327"/>
                  <a:gd name="T46" fmla="*/ 25862791 w 331"/>
                  <a:gd name="T47" fmla="*/ 85966019 h 327"/>
                  <a:gd name="T48" fmla="*/ 25067068 w 331"/>
                  <a:gd name="T49" fmla="*/ 89886097 h 327"/>
                  <a:gd name="T50" fmla="*/ 24072414 w 331"/>
                  <a:gd name="T51" fmla="*/ 84005451 h 327"/>
                  <a:gd name="T52" fmla="*/ 24669206 w 331"/>
                  <a:gd name="T53" fmla="*/ 80645233 h 327"/>
                  <a:gd name="T54" fmla="*/ 21685244 w 331"/>
                  <a:gd name="T55" fmla="*/ 80085373 h 327"/>
                  <a:gd name="T56" fmla="*/ 18501905 w 331"/>
                  <a:gd name="T57" fmla="*/ 81765482 h 327"/>
                  <a:gd name="T58" fmla="*/ 15716873 w 331"/>
                  <a:gd name="T59" fmla="*/ 82885731 h 327"/>
                  <a:gd name="T60" fmla="*/ 14522842 w 331"/>
                  <a:gd name="T61" fmla="*/ 67764750 h 327"/>
                  <a:gd name="T62" fmla="*/ 15716873 w 331"/>
                  <a:gd name="T63" fmla="*/ 60483925 h 327"/>
                  <a:gd name="T64" fmla="*/ 9549572 w 331"/>
                  <a:gd name="T65" fmla="*/ 59083746 h 327"/>
                  <a:gd name="T66" fmla="*/ 5570509 w 331"/>
                  <a:gd name="T67" fmla="*/ 55443598 h 327"/>
                  <a:gd name="T68" fmla="*/ 2586101 w 331"/>
                  <a:gd name="T69" fmla="*/ 48443232 h 327"/>
                  <a:gd name="T70" fmla="*/ 0 w 331"/>
                  <a:gd name="T71" fmla="*/ 36402539 h 327"/>
                  <a:gd name="T72" fmla="*/ 5570509 w 331"/>
                  <a:gd name="T73" fmla="*/ 31082281 h 327"/>
                  <a:gd name="T74" fmla="*/ 9947433 w 331"/>
                  <a:gd name="T75" fmla="*/ 22681736 h 327"/>
                  <a:gd name="T76" fmla="*/ 14522842 w 331"/>
                  <a:gd name="T77" fmla="*/ 15400911 h 327"/>
                  <a:gd name="T78" fmla="*/ 22878829 w 331"/>
                  <a:gd name="T79" fmla="*/ 11480833 h 327"/>
                  <a:gd name="T80" fmla="*/ 35810224 w 331"/>
                  <a:gd name="T81" fmla="*/ 3920078 h 327"/>
                  <a:gd name="T82" fmla="*/ 43370041 w 331"/>
                  <a:gd name="T83" fmla="*/ 1960039 h 327"/>
                  <a:gd name="T84" fmla="*/ 49537343 w 331"/>
                  <a:gd name="T85" fmla="*/ 3920078 h 327"/>
                  <a:gd name="T86" fmla="*/ 53914267 w 331"/>
                  <a:gd name="T87" fmla="*/ 7560755 h 327"/>
                  <a:gd name="T88" fmla="*/ 58092260 w 331"/>
                  <a:gd name="T89" fmla="*/ 8400545 h 327"/>
                  <a:gd name="T90" fmla="*/ 61076223 w 331"/>
                  <a:gd name="T91" fmla="*/ 5600187 h 327"/>
                  <a:gd name="T92" fmla="*/ 65055285 w 331"/>
                  <a:gd name="T93" fmla="*/ 1680109 h 327"/>
                  <a:gd name="T94" fmla="*/ 65652078 w 331"/>
                  <a:gd name="T95" fmla="*/ 8960405 h 32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331" h="327">
                    <a:moveTo>
                      <a:pt x="331" y="56"/>
                    </a:moveTo>
                    <a:lnTo>
                      <a:pt x="245" y="37"/>
                    </a:lnTo>
                    <a:lnTo>
                      <a:pt x="230" y="40"/>
                    </a:lnTo>
                    <a:lnTo>
                      <a:pt x="216" y="44"/>
                    </a:lnTo>
                    <a:lnTo>
                      <a:pt x="204" y="50"/>
                    </a:lnTo>
                    <a:lnTo>
                      <a:pt x="193" y="56"/>
                    </a:lnTo>
                    <a:lnTo>
                      <a:pt x="189" y="59"/>
                    </a:lnTo>
                    <a:lnTo>
                      <a:pt x="185" y="63"/>
                    </a:lnTo>
                    <a:lnTo>
                      <a:pt x="182" y="67"/>
                    </a:lnTo>
                    <a:lnTo>
                      <a:pt x="181" y="72"/>
                    </a:lnTo>
                    <a:lnTo>
                      <a:pt x="180" y="77"/>
                    </a:lnTo>
                    <a:lnTo>
                      <a:pt x="181" y="81"/>
                    </a:lnTo>
                    <a:lnTo>
                      <a:pt x="182" y="87"/>
                    </a:lnTo>
                    <a:lnTo>
                      <a:pt x="185" y="92"/>
                    </a:lnTo>
                    <a:lnTo>
                      <a:pt x="184" y="94"/>
                    </a:lnTo>
                    <a:lnTo>
                      <a:pt x="181" y="98"/>
                    </a:lnTo>
                    <a:lnTo>
                      <a:pt x="179" y="101"/>
                    </a:lnTo>
                    <a:lnTo>
                      <a:pt x="177" y="102"/>
                    </a:lnTo>
                    <a:lnTo>
                      <a:pt x="174" y="105"/>
                    </a:lnTo>
                    <a:lnTo>
                      <a:pt x="172" y="105"/>
                    </a:lnTo>
                    <a:lnTo>
                      <a:pt x="168" y="105"/>
                    </a:lnTo>
                    <a:lnTo>
                      <a:pt x="165" y="102"/>
                    </a:lnTo>
                    <a:lnTo>
                      <a:pt x="162" y="100"/>
                    </a:lnTo>
                    <a:lnTo>
                      <a:pt x="160" y="98"/>
                    </a:lnTo>
                    <a:lnTo>
                      <a:pt x="159" y="92"/>
                    </a:lnTo>
                    <a:lnTo>
                      <a:pt x="159" y="86"/>
                    </a:lnTo>
                    <a:lnTo>
                      <a:pt x="149" y="85"/>
                    </a:lnTo>
                    <a:lnTo>
                      <a:pt x="139" y="82"/>
                    </a:lnTo>
                    <a:lnTo>
                      <a:pt x="132" y="79"/>
                    </a:lnTo>
                    <a:lnTo>
                      <a:pt x="126" y="74"/>
                    </a:lnTo>
                    <a:lnTo>
                      <a:pt x="126" y="83"/>
                    </a:lnTo>
                    <a:lnTo>
                      <a:pt x="126" y="92"/>
                    </a:lnTo>
                    <a:lnTo>
                      <a:pt x="127" y="96"/>
                    </a:lnTo>
                    <a:lnTo>
                      <a:pt x="129" y="101"/>
                    </a:lnTo>
                    <a:lnTo>
                      <a:pt x="135" y="109"/>
                    </a:lnTo>
                    <a:lnTo>
                      <a:pt x="139" y="116"/>
                    </a:lnTo>
                    <a:lnTo>
                      <a:pt x="146" y="122"/>
                    </a:lnTo>
                    <a:lnTo>
                      <a:pt x="151" y="127"/>
                    </a:lnTo>
                    <a:lnTo>
                      <a:pt x="154" y="129"/>
                    </a:lnTo>
                    <a:lnTo>
                      <a:pt x="156" y="130"/>
                    </a:lnTo>
                    <a:lnTo>
                      <a:pt x="157" y="130"/>
                    </a:lnTo>
                    <a:lnTo>
                      <a:pt x="159" y="130"/>
                    </a:lnTo>
                    <a:lnTo>
                      <a:pt x="159" y="147"/>
                    </a:lnTo>
                    <a:lnTo>
                      <a:pt x="159" y="163"/>
                    </a:lnTo>
                    <a:lnTo>
                      <a:pt x="159" y="177"/>
                    </a:lnTo>
                    <a:lnTo>
                      <a:pt x="159" y="191"/>
                    </a:lnTo>
                    <a:lnTo>
                      <a:pt x="159" y="213"/>
                    </a:lnTo>
                    <a:lnTo>
                      <a:pt x="159" y="237"/>
                    </a:lnTo>
                    <a:lnTo>
                      <a:pt x="158" y="242"/>
                    </a:lnTo>
                    <a:lnTo>
                      <a:pt x="157" y="247"/>
                    </a:lnTo>
                    <a:lnTo>
                      <a:pt x="156" y="251"/>
                    </a:lnTo>
                    <a:lnTo>
                      <a:pt x="154" y="254"/>
                    </a:lnTo>
                    <a:lnTo>
                      <a:pt x="150" y="257"/>
                    </a:lnTo>
                    <a:lnTo>
                      <a:pt x="147" y="259"/>
                    </a:lnTo>
                    <a:lnTo>
                      <a:pt x="144" y="259"/>
                    </a:lnTo>
                    <a:lnTo>
                      <a:pt x="139" y="259"/>
                    </a:lnTo>
                    <a:lnTo>
                      <a:pt x="145" y="264"/>
                    </a:lnTo>
                    <a:lnTo>
                      <a:pt x="154" y="270"/>
                    </a:lnTo>
                    <a:lnTo>
                      <a:pt x="158" y="274"/>
                    </a:lnTo>
                    <a:lnTo>
                      <a:pt x="162" y="276"/>
                    </a:lnTo>
                    <a:lnTo>
                      <a:pt x="167" y="277"/>
                    </a:lnTo>
                    <a:lnTo>
                      <a:pt x="172" y="278"/>
                    </a:lnTo>
                    <a:lnTo>
                      <a:pt x="167" y="286"/>
                    </a:lnTo>
                    <a:lnTo>
                      <a:pt x="161" y="291"/>
                    </a:lnTo>
                    <a:lnTo>
                      <a:pt x="158" y="293"/>
                    </a:lnTo>
                    <a:lnTo>
                      <a:pt x="155" y="295"/>
                    </a:lnTo>
                    <a:lnTo>
                      <a:pt x="150" y="296"/>
                    </a:lnTo>
                    <a:lnTo>
                      <a:pt x="146" y="296"/>
                    </a:lnTo>
                    <a:lnTo>
                      <a:pt x="140" y="297"/>
                    </a:lnTo>
                    <a:lnTo>
                      <a:pt x="137" y="299"/>
                    </a:lnTo>
                    <a:lnTo>
                      <a:pt x="134" y="302"/>
                    </a:lnTo>
                    <a:lnTo>
                      <a:pt x="130" y="307"/>
                    </a:lnTo>
                    <a:lnTo>
                      <a:pt x="128" y="311"/>
                    </a:lnTo>
                    <a:lnTo>
                      <a:pt x="127" y="316"/>
                    </a:lnTo>
                    <a:lnTo>
                      <a:pt x="126" y="321"/>
                    </a:lnTo>
                    <a:lnTo>
                      <a:pt x="126" y="327"/>
                    </a:lnTo>
                    <a:lnTo>
                      <a:pt x="122" y="311"/>
                    </a:lnTo>
                    <a:lnTo>
                      <a:pt x="121" y="300"/>
                    </a:lnTo>
                    <a:lnTo>
                      <a:pt x="121" y="296"/>
                    </a:lnTo>
                    <a:lnTo>
                      <a:pt x="122" y="292"/>
                    </a:lnTo>
                    <a:lnTo>
                      <a:pt x="124" y="288"/>
                    </a:lnTo>
                    <a:lnTo>
                      <a:pt x="126" y="284"/>
                    </a:lnTo>
                    <a:lnTo>
                      <a:pt x="116" y="284"/>
                    </a:lnTo>
                    <a:lnTo>
                      <a:pt x="109" y="286"/>
                    </a:lnTo>
                    <a:lnTo>
                      <a:pt x="103" y="288"/>
                    </a:lnTo>
                    <a:lnTo>
                      <a:pt x="98" y="290"/>
                    </a:lnTo>
                    <a:lnTo>
                      <a:pt x="93" y="292"/>
                    </a:lnTo>
                    <a:lnTo>
                      <a:pt x="89" y="294"/>
                    </a:lnTo>
                    <a:lnTo>
                      <a:pt x="83" y="295"/>
                    </a:lnTo>
                    <a:lnTo>
                      <a:pt x="79" y="296"/>
                    </a:lnTo>
                    <a:lnTo>
                      <a:pt x="78" y="272"/>
                    </a:lnTo>
                    <a:lnTo>
                      <a:pt x="74" y="251"/>
                    </a:lnTo>
                    <a:lnTo>
                      <a:pt x="73" y="242"/>
                    </a:lnTo>
                    <a:lnTo>
                      <a:pt x="73" y="234"/>
                    </a:lnTo>
                    <a:lnTo>
                      <a:pt x="76" y="225"/>
                    </a:lnTo>
                    <a:lnTo>
                      <a:pt x="79" y="216"/>
                    </a:lnTo>
                    <a:lnTo>
                      <a:pt x="68" y="216"/>
                    </a:lnTo>
                    <a:lnTo>
                      <a:pt x="57" y="213"/>
                    </a:lnTo>
                    <a:lnTo>
                      <a:pt x="48" y="211"/>
                    </a:lnTo>
                    <a:lnTo>
                      <a:pt x="40" y="207"/>
                    </a:lnTo>
                    <a:lnTo>
                      <a:pt x="34" y="203"/>
                    </a:lnTo>
                    <a:lnTo>
                      <a:pt x="28" y="198"/>
                    </a:lnTo>
                    <a:lnTo>
                      <a:pt x="23" y="193"/>
                    </a:lnTo>
                    <a:lnTo>
                      <a:pt x="20" y="187"/>
                    </a:lnTo>
                    <a:lnTo>
                      <a:pt x="13" y="173"/>
                    </a:lnTo>
                    <a:lnTo>
                      <a:pt x="9" y="158"/>
                    </a:lnTo>
                    <a:lnTo>
                      <a:pt x="4" y="144"/>
                    </a:lnTo>
                    <a:lnTo>
                      <a:pt x="0" y="130"/>
                    </a:lnTo>
                    <a:lnTo>
                      <a:pt x="10" y="124"/>
                    </a:lnTo>
                    <a:lnTo>
                      <a:pt x="19" y="118"/>
                    </a:lnTo>
                    <a:lnTo>
                      <a:pt x="28" y="111"/>
                    </a:lnTo>
                    <a:lnTo>
                      <a:pt x="37" y="101"/>
                    </a:lnTo>
                    <a:lnTo>
                      <a:pt x="45" y="92"/>
                    </a:lnTo>
                    <a:lnTo>
                      <a:pt x="50" y="81"/>
                    </a:lnTo>
                    <a:lnTo>
                      <a:pt x="56" y="69"/>
                    </a:lnTo>
                    <a:lnTo>
                      <a:pt x="59" y="56"/>
                    </a:lnTo>
                    <a:lnTo>
                      <a:pt x="73" y="55"/>
                    </a:lnTo>
                    <a:lnTo>
                      <a:pt x="88" y="52"/>
                    </a:lnTo>
                    <a:lnTo>
                      <a:pt x="102" y="47"/>
                    </a:lnTo>
                    <a:lnTo>
                      <a:pt x="115" y="41"/>
                    </a:lnTo>
                    <a:lnTo>
                      <a:pt x="140" y="29"/>
                    </a:lnTo>
                    <a:lnTo>
                      <a:pt x="166" y="19"/>
                    </a:lnTo>
                    <a:lnTo>
                      <a:pt x="180" y="14"/>
                    </a:lnTo>
                    <a:lnTo>
                      <a:pt x="192" y="10"/>
                    </a:lnTo>
                    <a:lnTo>
                      <a:pt x="205" y="8"/>
                    </a:lnTo>
                    <a:lnTo>
                      <a:pt x="218" y="7"/>
                    </a:lnTo>
                    <a:lnTo>
                      <a:pt x="230" y="8"/>
                    </a:lnTo>
                    <a:lnTo>
                      <a:pt x="240" y="10"/>
                    </a:lnTo>
                    <a:lnTo>
                      <a:pt x="249" y="14"/>
                    </a:lnTo>
                    <a:lnTo>
                      <a:pt x="257" y="19"/>
                    </a:lnTo>
                    <a:lnTo>
                      <a:pt x="264" y="23"/>
                    </a:lnTo>
                    <a:lnTo>
                      <a:pt x="271" y="27"/>
                    </a:lnTo>
                    <a:lnTo>
                      <a:pt x="278" y="30"/>
                    </a:lnTo>
                    <a:lnTo>
                      <a:pt x="285" y="31"/>
                    </a:lnTo>
                    <a:lnTo>
                      <a:pt x="292" y="30"/>
                    </a:lnTo>
                    <a:lnTo>
                      <a:pt x="297" y="28"/>
                    </a:lnTo>
                    <a:lnTo>
                      <a:pt x="303" y="24"/>
                    </a:lnTo>
                    <a:lnTo>
                      <a:pt x="307" y="20"/>
                    </a:lnTo>
                    <a:lnTo>
                      <a:pt x="316" y="10"/>
                    </a:lnTo>
                    <a:lnTo>
                      <a:pt x="325" y="0"/>
                    </a:lnTo>
                    <a:lnTo>
                      <a:pt x="327" y="6"/>
                    </a:lnTo>
                    <a:lnTo>
                      <a:pt x="329" y="14"/>
                    </a:lnTo>
                    <a:lnTo>
                      <a:pt x="330" y="23"/>
                    </a:lnTo>
                    <a:lnTo>
                      <a:pt x="330" y="32"/>
                    </a:lnTo>
                    <a:lnTo>
                      <a:pt x="331" y="49"/>
                    </a:lnTo>
                    <a:lnTo>
                      <a:pt x="331" y="5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2" name="Freeform 462">
                <a:extLst>
                  <a:ext uri="{FF2B5EF4-FFF2-40B4-BE49-F238E27FC236}">
                    <a16:creationId xmlns:a16="http://schemas.microsoft.com/office/drawing/2014/main" id="{ED632ADB-8843-455B-BB8F-A9059A2266AB}"/>
                  </a:ext>
                </a:extLst>
              </p:cNvPr>
              <p:cNvSpPr>
                <a:spLocks/>
              </p:cNvSpPr>
              <p:nvPr>
                <p:custDataLst>
                  <p:tags r:id="rId300"/>
                </p:custDataLst>
              </p:nvPr>
            </p:nvSpPr>
            <p:spPr bwMode="auto">
              <a:xfrm>
                <a:off x="4664862" y="3239601"/>
                <a:ext cx="83252" cy="63287"/>
              </a:xfrm>
              <a:custGeom>
                <a:avLst/>
                <a:gdLst>
                  <a:gd name="T0" fmla="*/ 0 w 153"/>
                  <a:gd name="T1" fmla="*/ 0 h 49"/>
                  <a:gd name="T2" fmla="*/ 9170894 w 153"/>
                  <a:gd name="T3" fmla="*/ 2721040 h 49"/>
                  <a:gd name="T4" fmla="*/ 17299060 w 153"/>
                  <a:gd name="T5" fmla="*/ 8161953 h 49"/>
                  <a:gd name="T6" fmla="*/ 21467690 w 153"/>
                  <a:gd name="T7" fmla="*/ 10882993 h 49"/>
                  <a:gd name="T8" fmla="*/ 25219502 w 153"/>
                  <a:gd name="T9" fmla="*/ 9521890 h 49"/>
                  <a:gd name="T10" fmla="*/ 27095408 w 153"/>
                  <a:gd name="T11" fmla="*/ 8161953 h 49"/>
                  <a:gd name="T12" fmla="*/ 28554041 w 153"/>
                  <a:gd name="T13" fmla="*/ 6802016 h 49"/>
                  <a:gd name="T14" fmla="*/ 30221767 w 153"/>
                  <a:gd name="T15" fmla="*/ 4080977 h 49"/>
                  <a:gd name="T16" fmla="*/ 31889036 w 153"/>
                  <a:gd name="T17" fmla="*/ 0 h 49"/>
                  <a:gd name="T18" fmla="*/ 31889036 w 153"/>
                  <a:gd name="T19" fmla="*/ 12242930 h 49"/>
                  <a:gd name="T20" fmla="*/ 31889036 w 153"/>
                  <a:gd name="T21" fmla="*/ 34007749 h 49"/>
                  <a:gd name="T22" fmla="*/ 29804949 w 153"/>
                  <a:gd name="T23" fmla="*/ 42169702 h 49"/>
                  <a:gd name="T24" fmla="*/ 27720406 w 153"/>
                  <a:gd name="T25" fmla="*/ 48971718 h 49"/>
                  <a:gd name="T26" fmla="*/ 25844500 w 153"/>
                  <a:gd name="T27" fmla="*/ 54412632 h 49"/>
                  <a:gd name="T28" fmla="*/ 23760413 w 153"/>
                  <a:gd name="T29" fmla="*/ 59853545 h 49"/>
                  <a:gd name="T30" fmla="*/ 22093144 w 153"/>
                  <a:gd name="T31" fmla="*/ 62574585 h 49"/>
                  <a:gd name="T32" fmla="*/ 20634055 w 153"/>
                  <a:gd name="T33" fmla="*/ 65295624 h 49"/>
                  <a:gd name="T34" fmla="*/ 19174966 w 153"/>
                  <a:gd name="T35" fmla="*/ 66655561 h 49"/>
                  <a:gd name="T36" fmla="*/ 18133151 w 153"/>
                  <a:gd name="T37" fmla="*/ 66655561 h 49"/>
                  <a:gd name="T38" fmla="*/ 15006793 w 153"/>
                  <a:gd name="T39" fmla="*/ 65295624 h 49"/>
                  <a:gd name="T40" fmla="*/ 12505433 w 153"/>
                  <a:gd name="T41" fmla="*/ 62574585 h 49"/>
                  <a:gd name="T42" fmla="*/ 10421346 w 153"/>
                  <a:gd name="T43" fmla="*/ 58493608 h 49"/>
                  <a:gd name="T44" fmla="*/ 8545440 w 153"/>
                  <a:gd name="T45" fmla="*/ 51691592 h 49"/>
                  <a:gd name="T46" fmla="*/ 4585447 w 153"/>
                  <a:gd name="T47" fmla="*/ 39448662 h 49"/>
                  <a:gd name="T48" fmla="*/ 0 w 153"/>
                  <a:gd name="T49" fmla="*/ 25845796 h 49"/>
                  <a:gd name="T50" fmla="*/ 0 w 153"/>
                  <a:gd name="T51" fmla="*/ 0 h 49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0" t="0" r="r" b="b"/>
                <a:pathLst>
                  <a:path w="153" h="49">
                    <a:moveTo>
                      <a:pt x="0" y="0"/>
                    </a:moveTo>
                    <a:lnTo>
                      <a:pt x="44" y="2"/>
                    </a:lnTo>
                    <a:lnTo>
                      <a:pt x="83" y="6"/>
                    </a:lnTo>
                    <a:lnTo>
                      <a:pt x="103" y="8"/>
                    </a:lnTo>
                    <a:lnTo>
                      <a:pt x="121" y="7"/>
                    </a:lnTo>
                    <a:lnTo>
                      <a:pt x="130" y="6"/>
                    </a:lnTo>
                    <a:lnTo>
                      <a:pt x="137" y="5"/>
                    </a:lnTo>
                    <a:lnTo>
                      <a:pt x="145" y="3"/>
                    </a:lnTo>
                    <a:lnTo>
                      <a:pt x="153" y="0"/>
                    </a:lnTo>
                    <a:lnTo>
                      <a:pt x="153" y="9"/>
                    </a:lnTo>
                    <a:lnTo>
                      <a:pt x="153" y="25"/>
                    </a:lnTo>
                    <a:lnTo>
                      <a:pt x="143" y="31"/>
                    </a:lnTo>
                    <a:lnTo>
                      <a:pt x="133" y="36"/>
                    </a:lnTo>
                    <a:lnTo>
                      <a:pt x="124" y="40"/>
                    </a:lnTo>
                    <a:lnTo>
                      <a:pt x="114" y="44"/>
                    </a:lnTo>
                    <a:lnTo>
                      <a:pt x="106" y="46"/>
                    </a:lnTo>
                    <a:lnTo>
                      <a:pt x="99" y="48"/>
                    </a:lnTo>
                    <a:lnTo>
                      <a:pt x="92" y="49"/>
                    </a:lnTo>
                    <a:lnTo>
                      <a:pt x="87" y="49"/>
                    </a:lnTo>
                    <a:lnTo>
                      <a:pt x="72" y="48"/>
                    </a:lnTo>
                    <a:lnTo>
                      <a:pt x="60" y="46"/>
                    </a:lnTo>
                    <a:lnTo>
                      <a:pt x="50" y="43"/>
                    </a:lnTo>
                    <a:lnTo>
                      <a:pt x="41" y="38"/>
                    </a:lnTo>
                    <a:lnTo>
                      <a:pt x="22" y="29"/>
                    </a:lnTo>
                    <a:lnTo>
                      <a:pt x="0" y="1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3" name="Freeform 463">
                <a:extLst>
                  <a:ext uri="{FF2B5EF4-FFF2-40B4-BE49-F238E27FC236}">
                    <a16:creationId xmlns:a16="http://schemas.microsoft.com/office/drawing/2014/main" id="{3D156EAF-7283-4CD7-A9E3-48A342D04468}"/>
                  </a:ext>
                </a:extLst>
              </p:cNvPr>
              <p:cNvSpPr>
                <a:spLocks/>
              </p:cNvSpPr>
              <p:nvPr>
                <p:custDataLst>
                  <p:tags r:id="rId301"/>
                </p:custDataLst>
              </p:nvPr>
            </p:nvSpPr>
            <p:spPr bwMode="auto">
              <a:xfrm>
                <a:off x="3553629" y="4062332"/>
                <a:ext cx="226229" cy="177555"/>
              </a:xfrm>
              <a:custGeom>
                <a:avLst/>
                <a:gdLst>
                  <a:gd name="T0" fmla="*/ 37512491 w 426"/>
                  <a:gd name="T1" fmla="*/ 4510305 h 299"/>
                  <a:gd name="T2" fmla="*/ 41766439 w 426"/>
                  <a:gd name="T3" fmla="*/ 6201869 h 299"/>
                  <a:gd name="T4" fmla="*/ 44473417 w 426"/>
                  <a:gd name="T5" fmla="*/ 8174829 h 299"/>
                  <a:gd name="T6" fmla="*/ 48920847 w 426"/>
                  <a:gd name="T7" fmla="*/ 9866392 h 299"/>
                  <a:gd name="T8" fmla="*/ 53948281 w 426"/>
                  <a:gd name="T9" fmla="*/ 10430247 h 299"/>
                  <a:gd name="T10" fmla="*/ 58008748 w 426"/>
                  <a:gd name="T11" fmla="*/ 10430247 h 299"/>
                  <a:gd name="T12" fmla="*/ 61682693 w 426"/>
                  <a:gd name="T13" fmla="*/ 9584465 h 299"/>
                  <a:gd name="T14" fmla="*/ 63616186 w 426"/>
                  <a:gd name="T15" fmla="*/ 8174829 h 299"/>
                  <a:gd name="T16" fmla="*/ 70577112 w 426"/>
                  <a:gd name="T17" fmla="*/ 7047120 h 299"/>
                  <a:gd name="T18" fmla="*/ 71931041 w 426"/>
                  <a:gd name="T19" fmla="*/ 13812843 h 299"/>
                  <a:gd name="T20" fmla="*/ 74058015 w 426"/>
                  <a:gd name="T21" fmla="*/ 20859962 h 299"/>
                  <a:gd name="T22" fmla="*/ 75604546 w 426"/>
                  <a:gd name="T23" fmla="*/ 23679235 h 299"/>
                  <a:gd name="T24" fmla="*/ 77344997 w 426"/>
                  <a:gd name="T25" fmla="*/ 25934122 h 299"/>
                  <a:gd name="T26" fmla="*/ 79665453 w 426"/>
                  <a:gd name="T27" fmla="*/ 27343758 h 299"/>
                  <a:gd name="T28" fmla="*/ 82178950 w 426"/>
                  <a:gd name="T29" fmla="*/ 27907613 h 299"/>
                  <a:gd name="T30" fmla="*/ 82178950 w 426"/>
                  <a:gd name="T31" fmla="*/ 33827023 h 299"/>
                  <a:gd name="T32" fmla="*/ 82178950 w 426"/>
                  <a:gd name="T33" fmla="*/ 40028892 h 299"/>
                  <a:gd name="T34" fmla="*/ 80438938 w 426"/>
                  <a:gd name="T35" fmla="*/ 44539197 h 299"/>
                  <a:gd name="T36" fmla="*/ 79665453 w 426"/>
                  <a:gd name="T37" fmla="*/ 47921793 h 299"/>
                  <a:gd name="T38" fmla="*/ 79665453 w 426"/>
                  <a:gd name="T39" fmla="*/ 51022462 h 299"/>
                  <a:gd name="T40" fmla="*/ 80245457 w 426"/>
                  <a:gd name="T41" fmla="*/ 53559808 h 299"/>
                  <a:gd name="T42" fmla="*/ 81792427 w 426"/>
                  <a:gd name="T43" fmla="*/ 59479749 h 299"/>
                  <a:gd name="T44" fmla="*/ 82372431 w 426"/>
                  <a:gd name="T45" fmla="*/ 63708127 h 299"/>
                  <a:gd name="T46" fmla="*/ 82178950 w 426"/>
                  <a:gd name="T47" fmla="*/ 69627538 h 299"/>
                  <a:gd name="T48" fmla="*/ 82372431 w 426"/>
                  <a:gd name="T49" fmla="*/ 77239043 h 299"/>
                  <a:gd name="T50" fmla="*/ 81792427 w 426"/>
                  <a:gd name="T51" fmla="*/ 80339712 h 299"/>
                  <a:gd name="T52" fmla="*/ 79665453 w 426"/>
                  <a:gd name="T53" fmla="*/ 83440380 h 299"/>
                  <a:gd name="T54" fmla="*/ 73477572 w 426"/>
                  <a:gd name="T55" fmla="*/ 84004235 h 299"/>
                  <a:gd name="T56" fmla="*/ 71544079 w 426"/>
                  <a:gd name="T57" fmla="*/ 84286162 h 299"/>
                  <a:gd name="T58" fmla="*/ 69610586 w 426"/>
                  <a:gd name="T59" fmla="*/ 83440380 h 299"/>
                  <a:gd name="T60" fmla="*/ 67870134 w 426"/>
                  <a:gd name="T61" fmla="*/ 81749348 h 299"/>
                  <a:gd name="T62" fmla="*/ 65356637 w 426"/>
                  <a:gd name="T63" fmla="*/ 78366221 h 299"/>
                  <a:gd name="T64" fmla="*/ 62649659 w 426"/>
                  <a:gd name="T65" fmla="*/ 73573988 h 299"/>
                  <a:gd name="T66" fmla="*/ 60135722 w 426"/>
                  <a:gd name="T67" fmla="*/ 71319101 h 299"/>
                  <a:gd name="T68" fmla="*/ 56848740 w 426"/>
                  <a:gd name="T69" fmla="*/ 70755247 h 299"/>
                  <a:gd name="T70" fmla="*/ 53754800 w 426"/>
                  <a:gd name="T71" fmla="*/ 65399160 h 299"/>
                  <a:gd name="T72" fmla="*/ 52981314 w 426"/>
                  <a:gd name="T73" fmla="*/ 59197822 h 299"/>
                  <a:gd name="T74" fmla="*/ 52014348 w 426"/>
                  <a:gd name="T75" fmla="*/ 55532768 h 299"/>
                  <a:gd name="T76" fmla="*/ 50467817 w 426"/>
                  <a:gd name="T77" fmla="*/ 51868244 h 299"/>
                  <a:gd name="T78" fmla="*/ 48533885 w 426"/>
                  <a:gd name="T79" fmla="*/ 48767575 h 299"/>
                  <a:gd name="T80" fmla="*/ 46020388 w 426"/>
                  <a:gd name="T81" fmla="*/ 46512688 h 299"/>
                  <a:gd name="T82" fmla="*/ 42926447 w 426"/>
                  <a:gd name="T83" fmla="*/ 45384979 h 299"/>
                  <a:gd name="T84" fmla="*/ 39445984 w 426"/>
                  <a:gd name="T85" fmla="*/ 45384979 h 299"/>
                  <a:gd name="T86" fmla="*/ 36352043 w 426"/>
                  <a:gd name="T87" fmla="*/ 45948834 h 299"/>
                  <a:gd name="T88" fmla="*/ 33451584 w 426"/>
                  <a:gd name="T89" fmla="*/ 47357939 h 299"/>
                  <a:gd name="T90" fmla="*/ 30938087 w 426"/>
                  <a:gd name="T91" fmla="*/ 49613357 h 299"/>
                  <a:gd name="T92" fmla="*/ 27264142 w 426"/>
                  <a:gd name="T93" fmla="*/ 53841735 h 299"/>
                  <a:gd name="T94" fmla="*/ 22816713 w 426"/>
                  <a:gd name="T95" fmla="*/ 60606927 h 299"/>
                  <a:gd name="T96" fmla="*/ 20303216 w 426"/>
                  <a:gd name="T97" fmla="*/ 61452709 h 299"/>
                  <a:gd name="T98" fmla="*/ 19336249 w 426"/>
                  <a:gd name="T99" fmla="*/ 56660477 h 299"/>
                  <a:gd name="T100" fmla="*/ 17402756 w 426"/>
                  <a:gd name="T101" fmla="*/ 52432099 h 299"/>
                  <a:gd name="T102" fmla="*/ 14695338 w 426"/>
                  <a:gd name="T103" fmla="*/ 48203721 h 299"/>
                  <a:gd name="T104" fmla="*/ 9668345 w 426"/>
                  <a:gd name="T105" fmla="*/ 43129561 h 299"/>
                  <a:gd name="T106" fmla="*/ 4640911 w 426"/>
                  <a:gd name="T107" fmla="*/ 37773474 h 299"/>
                  <a:gd name="T108" fmla="*/ 1546970 w 426"/>
                  <a:gd name="T109" fmla="*/ 33545096 h 299"/>
                  <a:gd name="T110" fmla="*/ 2900459 w 426"/>
                  <a:gd name="T111" fmla="*/ 28471467 h 299"/>
                  <a:gd name="T112" fmla="*/ 8894859 w 426"/>
                  <a:gd name="T113" fmla="*/ 21705744 h 299"/>
                  <a:gd name="T114" fmla="*/ 14502297 w 426"/>
                  <a:gd name="T115" fmla="*/ 13530916 h 299"/>
                  <a:gd name="T116" fmla="*/ 18949727 w 426"/>
                  <a:gd name="T117" fmla="*/ 4792232 h 299"/>
                  <a:gd name="T118" fmla="*/ 34612031 w 426"/>
                  <a:gd name="T119" fmla="*/ 3664523 h 29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426" h="299">
                    <a:moveTo>
                      <a:pt x="179" y="13"/>
                    </a:moveTo>
                    <a:lnTo>
                      <a:pt x="194" y="16"/>
                    </a:lnTo>
                    <a:lnTo>
                      <a:pt x="207" y="19"/>
                    </a:lnTo>
                    <a:lnTo>
                      <a:pt x="216" y="22"/>
                    </a:lnTo>
                    <a:lnTo>
                      <a:pt x="223" y="24"/>
                    </a:lnTo>
                    <a:lnTo>
                      <a:pt x="230" y="29"/>
                    </a:lnTo>
                    <a:lnTo>
                      <a:pt x="233" y="31"/>
                    </a:lnTo>
                    <a:lnTo>
                      <a:pt x="253" y="35"/>
                    </a:lnTo>
                    <a:lnTo>
                      <a:pt x="269" y="37"/>
                    </a:lnTo>
                    <a:lnTo>
                      <a:pt x="279" y="37"/>
                    </a:lnTo>
                    <a:lnTo>
                      <a:pt x="285" y="37"/>
                    </a:lnTo>
                    <a:lnTo>
                      <a:pt x="300" y="37"/>
                    </a:lnTo>
                    <a:lnTo>
                      <a:pt x="314" y="36"/>
                    </a:lnTo>
                    <a:lnTo>
                      <a:pt x="319" y="34"/>
                    </a:lnTo>
                    <a:lnTo>
                      <a:pt x="325" y="32"/>
                    </a:lnTo>
                    <a:lnTo>
                      <a:pt x="329" y="29"/>
                    </a:lnTo>
                    <a:lnTo>
                      <a:pt x="331" y="25"/>
                    </a:lnTo>
                    <a:lnTo>
                      <a:pt x="365" y="25"/>
                    </a:lnTo>
                    <a:lnTo>
                      <a:pt x="368" y="37"/>
                    </a:lnTo>
                    <a:lnTo>
                      <a:pt x="372" y="49"/>
                    </a:lnTo>
                    <a:lnTo>
                      <a:pt x="376" y="62"/>
                    </a:lnTo>
                    <a:lnTo>
                      <a:pt x="383" y="74"/>
                    </a:lnTo>
                    <a:lnTo>
                      <a:pt x="386" y="79"/>
                    </a:lnTo>
                    <a:lnTo>
                      <a:pt x="391" y="84"/>
                    </a:lnTo>
                    <a:lnTo>
                      <a:pt x="395" y="88"/>
                    </a:lnTo>
                    <a:lnTo>
                      <a:pt x="400" y="92"/>
                    </a:lnTo>
                    <a:lnTo>
                      <a:pt x="405" y="95"/>
                    </a:lnTo>
                    <a:lnTo>
                      <a:pt x="412" y="97"/>
                    </a:lnTo>
                    <a:lnTo>
                      <a:pt x="418" y="98"/>
                    </a:lnTo>
                    <a:lnTo>
                      <a:pt x="425" y="99"/>
                    </a:lnTo>
                    <a:lnTo>
                      <a:pt x="425" y="111"/>
                    </a:lnTo>
                    <a:lnTo>
                      <a:pt x="425" y="120"/>
                    </a:lnTo>
                    <a:lnTo>
                      <a:pt x="425" y="130"/>
                    </a:lnTo>
                    <a:lnTo>
                      <a:pt x="425" y="142"/>
                    </a:lnTo>
                    <a:lnTo>
                      <a:pt x="419" y="151"/>
                    </a:lnTo>
                    <a:lnTo>
                      <a:pt x="416" y="158"/>
                    </a:lnTo>
                    <a:lnTo>
                      <a:pt x="413" y="164"/>
                    </a:lnTo>
                    <a:lnTo>
                      <a:pt x="412" y="170"/>
                    </a:lnTo>
                    <a:lnTo>
                      <a:pt x="412" y="175"/>
                    </a:lnTo>
                    <a:lnTo>
                      <a:pt x="412" y="181"/>
                    </a:lnTo>
                    <a:lnTo>
                      <a:pt x="414" y="186"/>
                    </a:lnTo>
                    <a:lnTo>
                      <a:pt x="415" y="190"/>
                    </a:lnTo>
                    <a:lnTo>
                      <a:pt x="419" y="200"/>
                    </a:lnTo>
                    <a:lnTo>
                      <a:pt x="423" y="211"/>
                    </a:lnTo>
                    <a:lnTo>
                      <a:pt x="425" y="218"/>
                    </a:lnTo>
                    <a:lnTo>
                      <a:pt x="426" y="226"/>
                    </a:lnTo>
                    <a:lnTo>
                      <a:pt x="426" y="236"/>
                    </a:lnTo>
                    <a:lnTo>
                      <a:pt x="425" y="247"/>
                    </a:lnTo>
                    <a:lnTo>
                      <a:pt x="426" y="261"/>
                    </a:lnTo>
                    <a:lnTo>
                      <a:pt x="426" y="274"/>
                    </a:lnTo>
                    <a:lnTo>
                      <a:pt x="425" y="280"/>
                    </a:lnTo>
                    <a:lnTo>
                      <a:pt x="423" y="285"/>
                    </a:lnTo>
                    <a:lnTo>
                      <a:pt x="418" y="292"/>
                    </a:lnTo>
                    <a:lnTo>
                      <a:pt x="412" y="296"/>
                    </a:lnTo>
                    <a:lnTo>
                      <a:pt x="385" y="296"/>
                    </a:lnTo>
                    <a:lnTo>
                      <a:pt x="380" y="298"/>
                    </a:lnTo>
                    <a:lnTo>
                      <a:pt x="375" y="299"/>
                    </a:lnTo>
                    <a:lnTo>
                      <a:pt x="370" y="299"/>
                    </a:lnTo>
                    <a:lnTo>
                      <a:pt x="365" y="297"/>
                    </a:lnTo>
                    <a:lnTo>
                      <a:pt x="360" y="296"/>
                    </a:lnTo>
                    <a:lnTo>
                      <a:pt x="356" y="293"/>
                    </a:lnTo>
                    <a:lnTo>
                      <a:pt x="351" y="290"/>
                    </a:lnTo>
                    <a:lnTo>
                      <a:pt x="347" y="286"/>
                    </a:lnTo>
                    <a:lnTo>
                      <a:pt x="338" y="278"/>
                    </a:lnTo>
                    <a:lnTo>
                      <a:pt x="330" y="269"/>
                    </a:lnTo>
                    <a:lnTo>
                      <a:pt x="324" y="261"/>
                    </a:lnTo>
                    <a:lnTo>
                      <a:pt x="318" y="253"/>
                    </a:lnTo>
                    <a:lnTo>
                      <a:pt x="311" y="253"/>
                    </a:lnTo>
                    <a:lnTo>
                      <a:pt x="304" y="252"/>
                    </a:lnTo>
                    <a:lnTo>
                      <a:pt x="294" y="251"/>
                    </a:lnTo>
                    <a:lnTo>
                      <a:pt x="279" y="247"/>
                    </a:lnTo>
                    <a:lnTo>
                      <a:pt x="278" y="232"/>
                    </a:lnTo>
                    <a:lnTo>
                      <a:pt x="275" y="217"/>
                    </a:lnTo>
                    <a:lnTo>
                      <a:pt x="274" y="210"/>
                    </a:lnTo>
                    <a:lnTo>
                      <a:pt x="272" y="203"/>
                    </a:lnTo>
                    <a:lnTo>
                      <a:pt x="269" y="197"/>
                    </a:lnTo>
                    <a:lnTo>
                      <a:pt x="266" y="190"/>
                    </a:lnTo>
                    <a:lnTo>
                      <a:pt x="261" y="184"/>
                    </a:lnTo>
                    <a:lnTo>
                      <a:pt x="257" y="179"/>
                    </a:lnTo>
                    <a:lnTo>
                      <a:pt x="251" y="173"/>
                    </a:lnTo>
                    <a:lnTo>
                      <a:pt x="245" y="168"/>
                    </a:lnTo>
                    <a:lnTo>
                      <a:pt x="238" y="165"/>
                    </a:lnTo>
                    <a:lnTo>
                      <a:pt x="230" y="162"/>
                    </a:lnTo>
                    <a:lnTo>
                      <a:pt x="222" y="161"/>
                    </a:lnTo>
                    <a:lnTo>
                      <a:pt x="213" y="160"/>
                    </a:lnTo>
                    <a:lnTo>
                      <a:pt x="204" y="161"/>
                    </a:lnTo>
                    <a:lnTo>
                      <a:pt x="195" y="162"/>
                    </a:lnTo>
                    <a:lnTo>
                      <a:pt x="188" y="163"/>
                    </a:lnTo>
                    <a:lnTo>
                      <a:pt x="181" y="166"/>
                    </a:lnTo>
                    <a:lnTo>
                      <a:pt x="173" y="168"/>
                    </a:lnTo>
                    <a:lnTo>
                      <a:pt x="167" y="172"/>
                    </a:lnTo>
                    <a:lnTo>
                      <a:pt x="160" y="176"/>
                    </a:lnTo>
                    <a:lnTo>
                      <a:pt x="155" y="181"/>
                    </a:lnTo>
                    <a:lnTo>
                      <a:pt x="141" y="191"/>
                    </a:lnTo>
                    <a:lnTo>
                      <a:pt x="131" y="202"/>
                    </a:lnTo>
                    <a:lnTo>
                      <a:pt x="118" y="215"/>
                    </a:lnTo>
                    <a:lnTo>
                      <a:pt x="106" y="228"/>
                    </a:lnTo>
                    <a:lnTo>
                      <a:pt x="105" y="218"/>
                    </a:lnTo>
                    <a:lnTo>
                      <a:pt x="103" y="209"/>
                    </a:lnTo>
                    <a:lnTo>
                      <a:pt x="100" y="201"/>
                    </a:lnTo>
                    <a:lnTo>
                      <a:pt x="95" y="193"/>
                    </a:lnTo>
                    <a:lnTo>
                      <a:pt x="90" y="186"/>
                    </a:lnTo>
                    <a:lnTo>
                      <a:pt x="83" y="179"/>
                    </a:lnTo>
                    <a:lnTo>
                      <a:pt x="76" y="171"/>
                    </a:lnTo>
                    <a:lnTo>
                      <a:pt x="68" y="165"/>
                    </a:lnTo>
                    <a:lnTo>
                      <a:pt x="50" y="153"/>
                    </a:lnTo>
                    <a:lnTo>
                      <a:pt x="33" y="140"/>
                    </a:lnTo>
                    <a:lnTo>
                      <a:pt x="24" y="134"/>
                    </a:lnTo>
                    <a:lnTo>
                      <a:pt x="15" y="127"/>
                    </a:lnTo>
                    <a:lnTo>
                      <a:pt x="8" y="119"/>
                    </a:lnTo>
                    <a:lnTo>
                      <a:pt x="0" y="111"/>
                    </a:lnTo>
                    <a:lnTo>
                      <a:pt x="15" y="101"/>
                    </a:lnTo>
                    <a:lnTo>
                      <a:pt x="31" y="90"/>
                    </a:lnTo>
                    <a:lnTo>
                      <a:pt x="46" y="77"/>
                    </a:lnTo>
                    <a:lnTo>
                      <a:pt x="60" y="62"/>
                    </a:lnTo>
                    <a:lnTo>
                      <a:pt x="75" y="48"/>
                    </a:lnTo>
                    <a:lnTo>
                      <a:pt x="87" y="33"/>
                    </a:lnTo>
                    <a:lnTo>
                      <a:pt x="98" y="17"/>
                    </a:lnTo>
                    <a:lnTo>
                      <a:pt x="106" y="0"/>
                    </a:lnTo>
                    <a:lnTo>
                      <a:pt x="179" y="13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4" name="Freeform 464">
                <a:extLst>
                  <a:ext uri="{FF2B5EF4-FFF2-40B4-BE49-F238E27FC236}">
                    <a16:creationId xmlns:a16="http://schemas.microsoft.com/office/drawing/2014/main" id="{FB60DB0A-5C27-4845-8720-2928B2D9126A}"/>
                  </a:ext>
                </a:extLst>
              </p:cNvPr>
              <p:cNvSpPr>
                <a:spLocks/>
              </p:cNvSpPr>
              <p:nvPr>
                <p:custDataLst>
                  <p:tags r:id="rId302"/>
                </p:custDataLst>
              </p:nvPr>
            </p:nvSpPr>
            <p:spPr bwMode="auto">
              <a:xfrm>
                <a:off x="6020422" y="3234326"/>
                <a:ext cx="834329" cy="982707"/>
              </a:xfrm>
              <a:custGeom>
                <a:avLst/>
                <a:gdLst>
                  <a:gd name="T0" fmla="*/ 89937815 w 1594"/>
                  <a:gd name="T1" fmla="*/ 29354740 h 1670"/>
                  <a:gd name="T2" fmla="*/ 91446302 w 1594"/>
                  <a:gd name="T3" fmla="*/ 50753781 h 1670"/>
                  <a:gd name="T4" fmla="*/ 108981058 w 1594"/>
                  <a:gd name="T5" fmla="*/ 78737265 h 1670"/>
                  <a:gd name="T6" fmla="*/ 132172860 w 1594"/>
                  <a:gd name="T7" fmla="*/ 125924626 h 1670"/>
                  <a:gd name="T8" fmla="*/ 149896503 w 1594"/>
                  <a:gd name="T9" fmla="*/ 136898346 h 1670"/>
                  <a:gd name="T10" fmla="*/ 165357414 w 1594"/>
                  <a:gd name="T11" fmla="*/ 135252629 h 1670"/>
                  <a:gd name="T12" fmla="*/ 175350601 w 1594"/>
                  <a:gd name="T13" fmla="*/ 147323668 h 1670"/>
                  <a:gd name="T14" fmla="*/ 207780912 w 1594"/>
                  <a:gd name="T15" fmla="*/ 155553827 h 1670"/>
                  <a:gd name="T16" fmla="*/ 211363244 w 1594"/>
                  <a:gd name="T17" fmla="*/ 126473548 h 1670"/>
                  <a:gd name="T18" fmla="*/ 222299127 w 1594"/>
                  <a:gd name="T19" fmla="*/ 147872590 h 1670"/>
                  <a:gd name="T20" fmla="*/ 234366159 w 1594"/>
                  <a:gd name="T21" fmla="*/ 153908109 h 1670"/>
                  <a:gd name="T22" fmla="*/ 244924703 w 1594"/>
                  <a:gd name="T23" fmla="*/ 136624409 h 1670"/>
                  <a:gd name="T24" fmla="*/ 264722624 w 1594"/>
                  <a:gd name="T25" fmla="*/ 112207346 h 1670"/>
                  <a:gd name="T26" fmla="*/ 292062115 w 1594"/>
                  <a:gd name="T27" fmla="*/ 117420007 h 1670"/>
                  <a:gd name="T28" fmla="*/ 297718726 w 1594"/>
                  <a:gd name="T29" fmla="*/ 136624409 h 1670"/>
                  <a:gd name="T30" fmla="*/ 283577416 w 1594"/>
                  <a:gd name="T31" fmla="*/ 148695448 h 1670"/>
                  <a:gd name="T32" fmla="*/ 279995083 w 1594"/>
                  <a:gd name="T33" fmla="*/ 186280871 h 1670"/>
                  <a:gd name="T34" fmla="*/ 269436105 w 1594"/>
                  <a:gd name="T35" fmla="*/ 193139249 h 1670"/>
                  <a:gd name="T36" fmla="*/ 265476868 w 1594"/>
                  <a:gd name="T37" fmla="*/ 223317372 h 1670"/>
                  <a:gd name="T38" fmla="*/ 249072826 w 1594"/>
                  <a:gd name="T39" fmla="*/ 206856530 h 1670"/>
                  <a:gd name="T40" fmla="*/ 249450165 w 1594"/>
                  <a:gd name="T41" fmla="*/ 191493532 h 1670"/>
                  <a:gd name="T42" fmla="*/ 230972279 w 1594"/>
                  <a:gd name="T43" fmla="*/ 175032690 h 1670"/>
                  <a:gd name="T44" fmla="*/ 223807614 w 1594"/>
                  <a:gd name="T45" fmla="*/ 161315410 h 1670"/>
                  <a:gd name="T46" fmla="*/ 213248636 w 1594"/>
                  <a:gd name="T47" fmla="*/ 157748990 h 1670"/>
                  <a:gd name="T48" fmla="*/ 212494392 w 1594"/>
                  <a:gd name="T49" fmla="*/ 171466271 h 1670"/>
                  <a:gd name="T50" fmla="*/ 210609000 w 1594"/>
                  <a:gd name="T51" fmla="*/ 187378190 h 1670"/>
                  <a:gd name="T52" fmla="*/ 218716795 w 1594"/>
                  <a:gd name="T53" fmla="*/ 201643869 h 1670"/>
                  <a:gd name="T54" fmla="*/ 216642516 w 1594"/>
                  <a:gd name="T55" fmla="*/ 231273593 h 1670"/>
                  <a:gd name="T56" fmla="*/ 202690092 w 1594"/>
                  <a:gd name="T57" fmla="*/ 237034652 h 1670"/>
                  <a:gd name="T58" fmla="*/ 197787724 w 1594"/>
                  <a:gd name="T59" fmla="*/ 257061914 h 1670"/>
                  <a:gd name="T60" fmla="*/ 179875629 w 1594"/>
                  <a:gd name="T61" fmla="*/ 274620075 h 1670"/>
                  <a:gd name="T62" fmla="*/ 171956721 w 1594"/>
                  <a:gd name="T63" fmla="*/ 288062895 h 1670"/>
                  <a:gd name="T64" fmla="*/ 147067980 w 1594"/>
                  <a:gd name="T65" fmla="*/ 325922778 h 1670"/>
                  <a:gd name="T66" fmla="*/ 136320983 w 1594"/>
                  <a:gd name="T67" fmla="*/ 338268278 h 1670"/>
                  <a:gd name="T68" fmla="*/ 140280220 w 1594"/>
                  <a:gd name="T69" fmla="*/ 368720861 h 1670"/>
                  <a:gd name="T70" fmla="*/ 134246704 w 1594"/>
                  <a:gd name="T71" fmla="*/ 396429360 h 1670"/>
                  <a:gd name="T72" fmla="*/ 136132097 w 1594"/>
                  <a:gd name="T73" fmla="*/ 418102862 h 1670"/>
                  <a:gd name="T74" fmla="*/ 130664372 w 1594"/>
                  <a:gd name="T75" fmla="*/ 432369065 h 1670"/>
                  <a:gd name="T76" fmla="*/ 112186486 w 1594"/>
                  <a:gd name="T77" fmla="*/ 456237206 h 1670"/>
                  <a:gd name="T78" fmla="*/ 97291366 w 1594"/>
                  <a:gd name="T79" fmla="*/ 419474643 h 1670"/>
                  <a:gd name="T80" fmla="*/ 79001932 w 1594"/>
                  <a:gd name="T81" fmla="*/ 365977300 h 1670"/>
                  <a:gd name="T82" fmla="*/ 56753260 w 1594"/>
                  <a:gd name="T83" fmla="*/ 305621056 h 1670"/>
                  <a:gd name="T84" fmla="*/ 48834352 w 1594"/>
                  <a:gd name="T85" fmla="*/ 236211794 h 1670"/>
                  <a:gd name="T86" fmla="*/ 43366194 w 1594"/>
                  <a:gd name="T87" fmla="*/ 223317372 h 1670"/>
                  <a:gd name="T88" fmla="*/ 30921823 w 1594"/>
                  <a:gd name="T89" fmla="*/ 246911052 h 1670"/>
                  <a:gd name="T90" fmla="*/ 16969399 w 1594"/>
                  <a:gd name="T91" fmla="*/ 240326611 h 1670"/>
                  <a:gd name="T92" fmla="*/ 9615848 w 1594"/>
                  <a:gd name="T93" fmla="*/ 218928093 h 1670"/>
                  <a:gd name="T94" fmla="*/ 5656611 w 1594"/>
                  <a:gd name="T95" fmla="*/ 211520793 h 1670"/>
                  <a:gd name="T96" fmla="*/ 6033516 w 1594"/>
                  <a:gd name="T97" fmla="*/ 194236569 h 1670"/>
                  <a:gd name="T98" fmla="*/ 29979127 w 1594"/>
                  <a:gd name="T99" fmla="*/ 180793749 h 1670"/>
                  <a:gd name="T100" fmla="*/ 17346304 w 1594"/>
                  <a:gd name="T101" fmla="*/ 156102749 h 1670"/>
                  <a:gd name="T102" fmla="*/ 11124336 w 1594"/>
                  <a:gd name="T103" fmla="*/ 137172807 h 1670"/>
                  <a:gd name="T104" fmla="*/ 30544918 w 1594"/>
                  <a:gd name="T105" fmla="*/ 125924626 h 1670"/>
                  <a:gd name="T106" fmla="*/ 50908197 w 1594"/>
                  <a:gd name="T107" fmla="*/ 80657443 h 1670"/>
                  <a:gd name="T108" fmla="*/ 51662441 w 1594"/>
                  <a:gd name="T109" fmla="*/ 63099282 h 1670"/>
                  <a:gd name="T110" fmla="*/ 42800402 w 1594"/>
                  <a:gd name="T111" fmla="*/ 38957203 h 1670"/>
                  <a:gd name="T112" fmla="*/ 60712932 w 1594"/>
                  <a:gd name="T113" fmla="*/ 14814600 h 167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594" h="1670">
                    <a:moveTo>
                      <a:pt x="385" y="0"/>
                    </a:moveTo>
                    <a:lnTo>
                      <a:pt x="400" y="16"/>
                    </a:lnTo>
                    <a:lnTo>
                      <a:pt x="415" y="33"/>
                    </a:lnTo>
                    <a:lnTo>
                      <a:pt x="427" y="48"/>
                    </a:lnTo>
                    <a:lnTo>
                      <a:pt x="437" y="63"/>
                    </a:lnTo>
                    <a:lnTo>
                      <a:pt x="448" y="76"/>
                    </a:lnTo>
                    <a:lnTo>
                      <a:pt x="459" y="90"/>
                    </a:lnTo>
                    <a:lnTo>
                      <a:pt x="464" y="96"/>
                    </a:lnTo>
                    <a:lnTo>
                      <a:pt x="471" y="101"/>
                    </a:lnTo>
                    <a:lnTo>
                      <a:pt x="477" y="107"/>
                    </a:lnTo>
                    <a:lnTo>
                      <a:pt x="485" y="111"/>
                    </a:lnTo>
                    <a:lnTo>
                      <a:pt x="492" y="118"/>
                    </a:lnTo>
                    <a:lnTo>
                      <a:pt x="499" y="126"/>
                    </a:lnTo>
                    <a:lnTo>
                      <a:pt x="506" y="134"/>
                    </a:lnTo>
                    <a:lnTo>
                      <a:pt x="512" y="144"/>
                    </a:lnTo>
                    <a:lnTo>
                      <a:pt x="519" y="153"/>
                    </a:lnTo>
                    <a:lnTo>
                      <a:pt x="523" y="163"/>
                    </a:lnTo>
                    <a:lnTo>
                      <a:pt x="528" y="174"/>
                    </a:lnTo>
                    <a:lnTo>
                      <a:pt x="531" y="185"/>
                    </a:lnTo>
                    <a:lnTo>
                      <a:pt x="485" y="185"/>
                    </a:lnTo>
                    <a:lnTo>
                      <a:pt x="485" y="216"/>
                    </a:lnTo>
                    <a:lnTo>
                      <a:pt x="490" y="229"/>
                    </a:lnTo>
                    <a:lnTo>
                      <a:pt x="497" y="240"/>
                    </a:lnTo>
                    <a:lnTo>
                      <a:pt x="505" y="250"/>
                    </a:lnTo>
                    <a:lnTo>
                      <a:pt x="514" y="257"/>
                    </a:lnTo>
                    <a:lnTo>
                      <a:pt x="523" y="264"/>
                    </a:lnTo>
                    <a:lnTo>
                      <a:pt x="534" y="269"/>
                    </a:lnTo>
                    <a:lnTo>
                      <a:pt x="544" y="274"/>
                    </a:lnTo>
                    <a:lnTo>
                      <a:pt x="556" y="278"/>
                    </a:lnTo>
                    <a:lnTo>
                      <a:pt x="578" y="287"/>
                    </a:lnTo>
                    <a:lnTo>
                      <a:pt x="600" y="296"/>
                    </a:lnTo>
                    <a:lnTo>
                      <a:pt x="610" y="302"/>
                    </a:lnTo>
                    <a:lnTo>
                      <a:pt x="620" y="310"/>
                    </a:lnTo>
                    <a:lnTo>
                      <a:pt x="629" y="318"/>
                    </a:lnTo>
                    <a:lnTo>
                      <a:pt x="638" y="327"/>
                    </a:lnTo>
                    <a:lnTo>
                      <a:pt x="631" y="420"/>
                    </a:lnTo>
                    <a:lnTo>
                      <a:pt x="643" y="429"/>
                    </a:lnTo>
                    <a:lnTo>
                      <a:pt x="660" y="440"/>
                    </a:lnTo>
                    <a:lnTo>
                      <a:pt x="679" y="450"/>
                    </a:lnTo>
                    <a:lnTo>
                      <a:pt x="701" y="459"/>
                    </a:lnTo>
                    <a:lnTo>
                      <a:pt x="723" y="468"/>
                    </a:lnTo>
                    <a:lnTo>
                      <a:pt x="744" y="475"/>
                    </a:lnTo>
                    <a:lnTo>
                      <a:pt x="753" y="478"/>
                    </a:lnTo>
                    <a:lnTo>
                      <a:pt x="762" y="480"/>
                    </a:lnTo>
                    <a:lnTo>
                      <a:pt x="770" y="481"/>
                    </a:lnTo>
                    <a:lnTo>
                      <a:pt x="777" y="481"/>
                    </a:lnTo>
                    <a:lnTo>
                      <a:pt x="779" y="488"/>
                    </a:lnTo>
                    <a:lnTo>
                      <a:pt x="784" y="494"/>
                    </a:lnTo>
                    <a:lnTo>
                      <a:pt x="789" y="497"/>
                    </a:lnTo>
                    <a:lnTo>
                      <a:pt x="795" y="499"/>
                    </a:lnTo>
                    <a:lnTo>
                      <a:pt x="800" y="501"/>
                    </a:lnTo>
                    <a:lnTo>
                      <a:pt x="807" y="501"/>
                    </a:lnTo>
                    <a:lnTo>
                      <a:pt x="814" y="500"/>
                    </a:lnTo>
                    <a:lnTo>
                      <a:pt x="822" y="499"/>
                    </a:lnTo>
                    <a:lnTo>
                      <a:pt x="836" y="496"/>
                    </a:lnTo>
                    <a:lnTo>
                      <a:pt x="852" y="492"/>
                    </a:lnTo>
                    <a:lnTo>
                      <a:pt x="858" y="492"/>
                    </a:lnTo>
                    <a:lnTo>
                      <a:pt x="865" y="491"/>
                    </a:lnTo>
                    <a:lnTo>
                      <a:pt x="871" y="492"/>
                    </a:lnTo>
                    <a:lnTo>
                      <a:pt x="877" y="493"/>
                    </a:lnTo>
                    <a:lnTo>
                      <a:pt x="886" y="499"/>
                    </a:lnTo>
                    <a:lnTo>
                      <a:pt x="892" y="504"/>
                    </a:lnTo>
                    <a:lnTo>
                      <a:pt x="898" y="511"/>
                    </a:lnTo>
                    <a:lnTo>
                      <a:pt x="903" y="517"/>
                    </a:lnTo>
                    <a:lnTo>
                      <a:pt x="908" y="523"/>
                    </a:lnTo>
                    <a:lnTo>
                      <a:pt x="914" y="529"/>
                    </a:lnTo>
                    <a:lnTo>
                      <a:pt x="918" y="532"/>
                    </a:lnTo>
                    <a:lnTo>
                      <a:pt x="921" y="534"/>
                    </a:lnTo>
                    <a:lnTo>
                      <a:pt x="925" y="536"/>
                    </a:lnTo>
                    <a:lnTo>
                      <a:pt x="930" y="537"/>
                    </a:lnTo>
                    <a:lnTo>
                      <a:pt x="946" y="540"/>
                    </a:lnTo>
                    <a:lnTo>
                      <a:pt x="968" y="546"/>
                    </a:lnTo>
                    <a:lnTo>
                      <a:pt x="993" y="552"/>
                    </a:lnTo>
                    <a:lnTo>
                      <a:pt x="1021" y="559"/>
                    </a:lnTo>
                    <a:lnTo>
                      <a:pt x="1047" y="564"/>
                    </a:lnTo>
                    <a:lnTo>
                      <a:pt x="1071" y="568"/>
                    </a:lnTo>
                    <a:lnTo>
                      <a:pt x="1082" y="569"/>
                    </a:lnTo>
                    <a:lnTo>
                      <a:pt x="1090" y="570"/>
                    </a:lnTo>
                    <a:lnTo>
                      <a:pt x="1098" y="569"/>
                    </a:lnTo>
                    <a:lnTo>
                      <a:pt x="1102" y="567"/>
                    </a:lnTo>
                    <a:lnTo>
                      <a:pt x="1098" y="560"/>
                    </a:lnTo>
                    <a:lnTo>
                      <a:pt x="1093" y="552"/>
                    </a:lnTo>
                    <a:lnTo>
                      <a:pt x="1090" y="544"/>
                    </a:lnTo>
                    <a:lnTo>
                      <a:pt x="1088" y="535"/>
                    </a:lnTo>
                    <a:lnTo>
                      <a:pt x="1083" y="520"/>
                    </a:lnTo>
                    <a:lnTo>
                      <a:pt x="1082" y="512"/>
                    </a:lnTo>
                    <a:lnTo>
                      <a:pt x="1082" y="481"/>
                    </a:lnTo>
                    <a:lnTo>
                      <a:pt x="1082" y="450"/>
                    </a:lnTo>
                    <a:lnTo>
                      <a:pt x="1115" y="450"/>
                    </a:lnTo>
                    <a:lnTo>
                      <a:pt x="1121" y="461"/>
                    </a:lnTo>
                    <a:lnTo>
                      <a:pt x="1125" y="468"/>
                    </a:lnTo>
                    <a:lnTo>
                      <a:pt x="1131" y="474"/>
                    </a:lnTo>
                    <a:lnTo>
                      <a:pt x="1136" y="481"/>
                    </a:lnTo>
                    <a:lnTo>
                      <a:pt x="1135" y="497"/>
                    </a:lnTo>
                    <a:lnTo>
                      <a:pt x="1132" y="507"/>
                    </a:lnTo>
                    <a:lnTo>
                      <a:pt x="1130" y="515"/>
                    </a:lnTo>
                    <a:lnTo>
                      <a:pt x="1128" y="524"/>
                    </a:lnTo>
                    <a:lnTo>
                      <a:pt x="1149" y="530"/>
                    </a:lnTo>
                    <a:lnTo>
                      <a:pt x="1169" y="536"/>
                    </a:lnTo>
                    <a:lnTo>
                      <a:pt x="1179" y="539"/>
                    </a:lnTo>
                    <a:lnTo>
                      <a:pt x="1189" y="541"/>
                    </a:lnTo>
                    <a:lnTo>
                      <a:pt x="1199" y="542"/>
                    </a:lnTo>
                    <a:lnTo>
                      <a:pt x="1209" y="543"/>
                    </a:lnTo>
                    <a:lnTo>
                      <a:pt x="1210" y="547"/>
                    </a:lnTo>
                    <a:lnTo>
                      <a:pt x="1212" y="551"/>
                    </a:lnTo>
                    <a:lnTo>
                      <a:pt x="1215" y="554"/>
                    </a:lnTo>
                    <a:lnTo>
                      <a:pt x="1220" y="557"/>
                    </a:lnTo>
                    <a:lnTo>
                      <a:pt x="1228" y="560"/>
                    </a:lnTo>
                    <a:lnTo>
                      <a:pt x="1235" y="561"/>
                    </a:lnTo>
                    <a:lnTo>
                      <a:pt x="1243" y="561"/>
                    </a:lnTo>
                    <a:lnTo>
                      <a:pt x="1249" y="559"/>
                    </a:lnTo>
                    <a:lnTo>
                      <a:pt x="1256" y="556"/>
                    </a:lnTo>
                    <a:lnTo>
                      <a:pt x="1261" y="553"/>
                    </a:lnTo>
                    <a:lnTo>
                      <a:pt x="1267" y="549"/>
                    </a:lnTo>
                    <a:lnTo>
                      <a:pt x="1272" y="544"/>
                    </a:lnTo>
                    <a:lnTo>
                      <a:pt x="1277" y="539"/>
                    </a:lnTo>
                    <a:lnTo>
                      <a:pt x="1281" y="534"/>
                    </a:lnTo>
                    <a:lnTo>
                      <a:pt x="1289" y="521"/>
                    </a:lnTo>
                    <a:lnTo>
                      <a:pt x="1294" y="509"/>
                    </a:lnTo>
                    <a:lnTo>
                      <a:pt x="1299" y="498"/>
                    </a:lnTo>
                    <a:lnTo>
                      <a:pt x="1302" y="487"/>
                    </a:lnTo>
                    <a:lnTo>
                      <a:pt x="1312" y="476"/>
                    </a:lnTo>
                    <a:lnTo>
                      <a:pt x="1322" y="465"/>
                    </a:lnTo>
                    <a:lnTo>
                      <a:pt x="1333" y="456"/>
                    </a:lnTo>
                    <a:lnTo>
                      <a:pt x="1344" y="446"/>
                    </a:lnTo>
                    <a:lnTo>
                      <a:pt x="1356" y="438"/>
                    </a:lnTo>
                    <a:lnTo>
                      <a:pt x="1367" y="430"/>
                    </a:lnTo>
                    <a:lnTo>
                      <a:pt x="1379" y="423"/>
                    </a:lnTo>
                    <a:lnTo>
                      <a:pt x="1391" y="416"/>
                    </a:lnTo>
                    <a:lnTo>
                      <a:pt x="1404" y="409"/>
                    </a:lnTo>
                    <a:lnTo>
                      <a:pt x="1417" y="403"/>
                    </a:lnTo>
                    <a:lnTo>
                      <a:pt x="1430" y="398"/>
                    </a:lnTo>
                    <a:lnTo>
                      <a:pt x="1444" y="393"/>
                    </a:lnTo>
                    <a:lnTo>
                      <a:pt x="1472" y="384"/>
                    </a:lnTo>
                    <a:lnTo>
                      <a:pt x="1501" y="377"/>
                    </a:lnTo>
                    <a:lnTo>
                      <a:pt x="1507" y="385"/>
                    </a:lnTo>
                    <a:lnTo>
                      <a:pt x="1515" y="395"/>
                    </a:lnTo>
                    <a:lnTo>
                      <a:pt x="1526" y="406"/>
                    </a:lnTo>
                    <a:lnTo>
                      <a:pt x="1537" y="418"/>
                    </a:lnTo>
                    <a:lnTo>
                      <a:pt x="1549" y="428"/>
                    </a:lnTo>
                    <a:lnTo>
                      <a:pt x="1562" y="436"/>
                    </a:lnTo>
                    <a:lnTo>
                      <a:pt x="1568" y="440"/>
                    </a:lnTo>
                    <a:lnTo>
                      <a:pt x="1574" y="442"/>
                    </a:lnTo>
                    <a:lnTo>
                      <a:pt x="1581" y="444"/>
                    </a:lnTo>
                    <a:lnTo>
                      <a:pt x="1587" y="444"/>
                    </a:lnTo>
                    <a:lnTo>
                      <a:pt x="1594" y="432"/>
                    </a:lnTo>
                    <a:lnTo>
                      <a:pt x="1590" y="453"/>
                    </a:lnTo>
                    <a:lnTo>
                      <a:pt x="1585" y="477"/>
                    </a:lnTo>
                    <a:lnTo>
                      <a:pt x="1583" y="488"/>
                    </a:lnTo>
                    <a:lnTo>
                      <a:pt x="1579" y="498"/>
                    </a:lnTo>
                    <a:lnTo>
                      <a:pt x="1576" y="502"/>
                    </a:lnTo>
                    <a:lnTo>
                      <a:pt x="1574" y="506"/>
                    </a:lnTo>
                    <a:lnTo>
                      <a:pt x="1571" y="509"/>
                    </a:lnTo>
                    <a:lnTo>
                      <a:pt x="1568" y="512"/>
                    </a:lnTo>
                    <a:lnTo>
                      <a:pt x="1554" y="515"/>
                    </a:lnTo>
                    <a:lnTo>
                      <a:pt x="1531" y="523"/>
                    </a:lnTo>
                    <a:lnTo>
                      <a:pt x="1520" y="530"/>
                    </a:lnTo>
                    <a:lnTo>
                      <a:pt x="1511" y="536"/>
                    </a:lnTo>
                    <a:lnTo>
                      <a:pt x="1506" y="539"/>
                    </a:lnTo>
                    <a:lnTo>
                      <a:pt x="1504" y="542"/>
                    </a:lnTo>
                    <a:lnTo>
                      <a:pt x="1502" y="546"/>
                    </a:lnTo>
                    <a:lnTo>
                      <a:pt x="1501" y="549"/>
                    </a:lnTo>
                    <a:lnTo>
                      <a:pt x="1502" y="584"/>
                    </a:lnTo>
                    <a:lnTo>
                      <a:pt x="1501" y="624"/>
                    </a:lnTo>
                    <a:lnTo>
                      <a:pt x="1498" y="634"/>
                    </a:lnTo>
                    <a:lnTo>
                      <a:pt x="1497" y="645"/>
                    </a:lnTo>
                    <a:lnTo>
                      <a:pt x="1495" y="654"/>
                    </a:lnTo>
                    <a:lnTo>
                      <a:pt x="1493" y="663"/>
                    </a:lnTo>
                    <a:lnTo>
                      <a:pt x="1490" y="671"/>
                    </a:lnTo>
                    <a:lnTo>
                      <a:pt x="1485" y="679"/>
                    </a:lnTo>
                    <a:lnTo>
                      <a:pt x="1480" y="685"/>
                    </a:lnTo>
                    <a:lnTo>
                      <a:pt x="1474" y="690"/>
                    </a:lnTo>
                    <a:lnTo>
                      <a:pt x="1471" y="693"/>
                    </a:lnTo>
                    <a:lnTo>
                      <a:pt x="1464" y="694"/>
                    </a:lnTo>
                    <a:lnTo>
                      <a:pt x="1457" y="695"/>
                    </a:lnTo>
                    <a:lnTo>
                      <a:pt x="1449" y="696"/>
                    </a:lnTo>
                    <a:lnTo>
                      <a:pt x="1441" y="697"/>
                    </a:lnTo>
                    <a:lnTo>
                      <a:pt x="1434" y="700"/>
                    </a:lnTo>
                    <a:lnTo>
                      <a:pt x="1431" y="701"/>
                    </a:lnTo>
                    <a:lnTo>
                      <a:pt x="1429" y="704"/>
                    </a:lnTo>
                    <a:lnTo>
                      <a:pt x="1428" y="706"/>
                    </a:lnTo>
                    <a:lnTo>
                      <a:pt x="1428" y="709"/>
                    </a:lnTo>
                    <a:lnTo>
                      <a:pt x="1427" y="721"/>
                    </a:lnTo>
                    <a:lnTo>
                      <a:pt x="1427" y="735"/>
                    </a:lnTo>
                    <a:lnTo>
                      <a:pt x="1425" y="750"/>
                    </a:lnTo>
                    <a:lnTo>
                      <a:pt x="1423" y="764"/>
                    </a:lnTo>
                    <a:lnTo>
                      <a:pt x="1420" y="778"/>
                    </a:lnTo>
                    <a:lnTo>
                      <a:pt x="1417" y="791"/>
                    </a:lnTo>
                    <a:lnTo>
                      <a:pt x="1413" y="803"/>
                    </a:lnTo>
                    <a:lnTo>
                      <a:pt x="1408" y="814"/>
                    </a:lnTo>
                    <a:lnTo>
                      <a:pt x="1361" y="733"/>
                    </a:lnTo>
                    <a:lnTo>
                      <a:pt x="1359" y="737"/>
                    </a:lnTo>
                    <a:lnTo>
                      <a:pt x="1354" y="746"/>
                    </a:lnTo>
                    <a:lnTo>
                      <a:pt x="1349" y="751"/>
                    </a:lnTo>
                    <a:lnTo>
                      <a:pt x="1345" y="755"/>
                    </a:lnTo>
                    <a:lnTo>
                      <a:pt x="1340" y="758"/>
                    </a:lnTo>
                    <a:lnTo>
                      <a:pt x="1335" y="759"/>
                    </a:lnTo>
                    <a:lnTo>
                      <a:pt x="1329" y="758"/>
                    </a:lnTo>
                    <a:lnTo>
                      <a:pt x="1325" y="757"/>
                    </a:lnTo>
                    <a:lnTo>
                      <a:pt x="1321" y="754"/>
                    </a:lnTo>
                    <a:lnTo>
                      <a:pt x="1316" y="751"/>
                    </a:lnTo>
                    <a:lnTo>
                      <a:pt x="1313" y="746"/>
                    </a:lnTo>
                    <a:lnTo>
                      <a:pt x="1311" y="742"/>
                    </a:lnTo>
                    <a:lnTo>
                      <a:pt x="1308" y="738"/>
                    </a:lnTo>
                    <a:lnTo>
                      <a:pt x="1308" y="733"/>
                    </a:lnTo>
                    <a:lnTo>
                      <a:pt x="1308" y="727"/>
                    </a:lnTo>
                    <a:lnTo>
                      <a:pt x="1311" y="721"/>
                    </a:lnTo>
                    <a:lnTo>
                      <a:pt x="1313" y="715"/>
                    </a:lnTo>
                    <a:lnTo>
                      <a:pt x="1315" y="709"/>
                    </a:lnTo>
                    <a:lnTo>
                      <a:pt x="1323" y="698"/>
                    </a:lnTo>
                    <a:lnTo>
                      <a:pt x="1332" y="687"/>
                    </a:lnTo>
                    <a:lnTo>
                      <a:pt x="1340" y="677"/>
                    </a:lnTo>
                    <a:lnTo>
                      <a:pt x="1348" y="666"/>
                    </a:lnTo>
                    <a:lnTo>
                      <a:pt x="1350" y="660"/>
                    </a:lnTo>
                    <a:lnTo>
                      <a:pt x="1352" y="655"/>
                    </a:lnTo>
                    <a:lnTo>
                      <a:pt x="1355" y="648"/>
                    </a:lnTo>
                    <a:lnTo>
                      <a:pt x="1355" y="642"/>
                    </a:lnTo>
                    <a:lnTo>
                      <a:pt x="1235" y="642"/>
                    </a:lnTo>
                    <a:lnTo>
                      <a:pt x="1231" y="641"/>
                    </a:lnTo>
                    <a:lnTo>
                      <a:pt x="1225" y="638"/>
                    </a:lnTo>
                    <a:lnTo>
                      <a:pt x="1221" y="632"/>
                    </a:lnTo>
                    <a:lnTo>
                      <a:pt x="1217" y="626"/>
                    </a:lnTo>
                    <a:lnTo>
                      <a:pt x="1214" y="618"/>
                    </a:lnTo>
                    <a:lnTo>
                      <a:pt x="1211" y="610"/>
                    </a:lnTo>
                    <a:lnTo>
                      <a:pt x="1210" y="601"/>
                    </a:lnTo>
                    <a:lnTo>
                      <a:pt x="1209" y="592"/>
                    </a:lnTo>
                    <a:lnTo>
                      <a:pt x="1203" y="592"/>
                    </a:lnTo>
                    <a:lnTo>
                      <a:pt x="1198" y="591"/>
                    </a:lnTo>
                    <a:lnTo>
                      <a:pt x="1192" y="590"/>
                    </a:lnTo>
                    <a:lnTo>
                      <a:pt x="1187" y="588"/>
                    </a:lnTo>
                    <a:lnTo>
                      <a:pt x="1182" y="585"/>
                    </a:lnTo>
                    <a:lnTo>
                      <a:pt x="1179" y="582"/>
                    </a:lnTo>
                    <a:lnTo>
                      <a:pt x="1177" y="577"/>
                    </a:lnTo>
                    <a:lnTo>
                      <a:pt x="1176" y="573"/>
                    </a:lnTo>
                    <a:lnTo>
                      <a:pt x="1167" y="573"/>
                    </a:lnTo>
                    <a:lnTo>
                      <a:pt x="1159" y="573"/>
                    </a:lnTo>
                    <a:lnTo>
                      <a:pt x="1151" y="573"/>
                    </a:lnTo>
                    <a:lnTo>
                      <a:pt x="1143" y="573"/>
                    </a:lnTo>
                    <a:lnTo>
                      <a:pt x="1136" y="574"/>
                    </a:lnTo>
                    <a:lnTo>
                      <a:pt x="1131" y="575"/>
                    </a:lnTo>
                    <a:lnTo>
                      <a:pt x="1124" y="578"/>
                    </a:lnTo>
                    <a:lnTo>
                      <a:pt x="1117" y="582"/>
                    </a:lnTo>
                    <a:lnTo>
                      <a:pt x="1112" y="587"/>
                    </a:lnTo>
                    <a:lnTo>
                      <a:pt x="1106" y="592"/>
                    </a:lnTo>
                    <a:lnTo>
                      <a:pt x="1103" y="598"/>
                    </a:lnTo>
                    <a:lnTo>
                      <a:pt x="1102" y="604"/>
                    </a:lnTo>
                    <a:lnTo>
                      <a:pt x="1104" y="608"/>
                    </a:lnTo>
                    <a:lnTo>
                      <a:pt x="1110" y="613"/>
                    </a:lnTo>
                    <a:lnTo>
                      <a:pt x="1117" y="619"/>
                    </a:lnTo>
                    <a:lnTo>
                      <a:pt x="1127" y="625"/>
                    </a:lnTo>
                    <a:lnTo>
                      <a:pt x="1137" y="631"/>
                    </a:lnTo>
                    <a:lnTo>
                      <a:pt x="1147" y="636"/>
                    </a:lnTo>
                    <a:lnTo>
                      <a:pt x="1156" y="640"/>
                    </a:lnTo>
                    <a:lnTo>
                      <a:pt x="1162" y="642"/>
                    </a:lnTo>
                    <a:lnTo>
                      <a:pt x="1149" y="652"/>
                    </a:lnTo>
                    <a:lnTo>
                      <a:pt x="1134" y="664"/>
                    </a:lnTo>
                    <a:lnTo>
                      <a:pt x="1127" y="670"/>
                    </a:lnTo>
                    <a:lnTo>
                      <a:pt x="1121" y="677"/>
                    </a:lnTo>
                    <a:lnTo>
                      <a:pt x="1119" y="680"/>
                    </a:lnTo>
                    <a:lnTo>
                      <a:pt x="1117" y="683"/>
                    </a:lnTo>
                    <a:lnTo>
                      <a:pt x="1116" y="687"/>
                    </a:lnTo>
                    <a:lnTo>
                      <a:pt x="1115" y="690"/>
                    </a:lnTo>
                    <a:lnTo>
                      <a:pt x="1116" y="695"/>
                    </a:lnTo>
                    <a:lnTo>
                      <a:pt x="1117" y="698"/>
                    </a:lnTo>
                    <a:lnTo>
                      <a:pt x="1120" y="702"/>
                    </a:lnTo>
                    <a:lnTo>
                      <a:pt x="1122" y="706"/>
                    </a:lnTo>
                    <a:lnTo>
                      <a:pt x="1130" y="714"/>
                    </a:lnTo>
                    <a:lnTo>
                      <a:pt x="1139" y="722"/>
                    </a:lnTo>
                    <a:lnTo>
                      <a:pt x="1149" y="729"/>
                    </a:lnTo>
                    <a:lnTo>
                      <a:pt x="1160" y="735"/>
                    </a:lnTo>
                    <a:lnTo>
                      <a:pt x="1166" y="737"/>
                    </a:lnTo>
                    <a:lnTo>
                      <a:pt x="1171" y="738"/>
                    </a:lnTo>
                    <a:lnTo>
                      <a:pt x="1177" y="739"/>
                    </a:lnTo>
                    <a:lnTo>
                      <a:pt x="1182" y="740"/>
                    </a:lnTo>
                    <a:lnTo>
                      <a:pt x="1209" y="844"/>
                    </a:lnTo>
                    <a:lnTo>
                      <a:pt x="1194" y="844"/>
                    </a:lnTo>
                    <a:lnTo>
                      <a:pt x="1180" y="844"/>
                    </a:lnTo>
                    <a:lnTo>
                      <a:pt x="1167" y="844"/>
                    </a:lnTo>
                    <a:lnTo>
                      <a:pt x="1156" y="844"/>
                    </a:lnTo>
                    <a:lnTo>
                      <a:pt x="1149" y="843"/>
                    </a:lnTo>
                    <a:lnTo>
                      <a:pt x="1142" y="838"/>
                    </a:lnTo>
                    <a:lnTo>
                      <a:pt x="1137" y="836"/>
                    </a:lnTo>
                    <a:lnTo>
                      <a:pt x="1132" y="834"/>
                    </a:lnTo>
                    <a:lnTo>
                      <a:pt x="1127" y="833"/>
                    </a:lnTo>
                    <a:lnTo>
                      <a:pt x="1122" y="832"/>
                    </a:lnTo>
                    <a:lnTo>
                      <a:pt x="1117" y="834"/>
                    </a:lnTo>
                    <a:lnTo>
                      <a:pt x="1109" y="839"/>
                    </a:lnTo>
                    <a:lnTo>
                      <a:pt x="1099" y="846"/>
                    </a:lnTo>
                    <a:lnTo>
                      <a:pt x="1087" y="854"/>
                    </a:lnTo>
                    <a:lnTo>
                      <a:pt x="1075" y="864"/>
                    </a:lnTo>
                    <a:lnTo>
                      <a:pt x="1065" y="872"/>
                    </a:lnTo>
                    <a:lnTo>
                      <a:pt x="1058" y="878"/>
                    </a:lnTo>
                    <a:lnTo>
                      <a:pt x="1056" y="882"/>
                    </a:lnTo>
                    <a:lnTo>
                      <a:pt x="1076" y="894"/>
                    </a:lnTo>
                    <a:lnTo>
                      <a:pt x="1075" y="900"/>
                    </a:lnTo>
                    <a:lnTo>
                      <a:pt x="1072" y="907"/>
                    </a:lnTo>
                    <a:lnTo>
                      <a:pt x="1069" y="912"/>
                    </a:lnTo>
                    <a:lnTo>
                      <a:pt x="1066" y="919"/>
                    </a:lnTo>
                    <a:lnTo>
                      <a:pt x="1058" y="928"/>
                    </a:lnTo>
                    <a:lnTo>
                      <a:pt x="1049" y="937"/>
                    </a:lnTo>
                    <a:lnTo>
                      <a:pt x="1039" y="945"/>
                    </a:lnTo>
                    <a:lnTo>
                      <a:pt x="1027" y="952"/>
                    </a:lnTo>
                    <a:lnTo>
                      <a:pt x="1016" y="958"/>
                    </a:lnTo>
                    <a:lnTo>
                      <a:pt x="1004" y="964"/>
                    </a:lnTo>
                    <a:lnTo>
                      <a:pt x="992" y="972"/>
                    </a:lnTo>
                    <a:lnTo>
                      <a:pt x="981" y="978"/>
                    </a:lnTo>
                    <a:lnTo>
                      <a:pt x="971" y="985"/>
                    </a:lnTo>
                    <a:lnTo>
                      <a:pt x="962" y="993"/>
                    </a:lnTo>
                    <a:lnTo>
                      <a:pt x="957" y="997"/>
                    </a:lnTo>
                    <a:lnTo>
                      <a:pt x="954" y="1001"/>
                    </a:lnTo>
                    <a:lnTo>
                      <a:pt x="951" y="1006"/>
                    </a:lnTo>
                    <a:lnTo>
                      <a:pt x="948" y="1011"/>
                    </a:lnTo>
                    <a:lnTo>
                      <a:pt x="946" y="1017"/>
                    </a:lnTo>
                    <a:lnTo>
                      <a:pt x="944" y="1022"/>
                    </a:lnTo>
                    <a:lnTo>
                      <a:pt x="943" y="1029"/>
                    </a:lnTo>
                    <a:lnTo>
                      <a:pt x="943" y="1036"/>
                    </a:lnTo>
                    <a:lnTo>
                      <a:pt x="934" y="1039"/>
                    </a:lnTo>
                    <a:lnTo>
                      <a:pt x="926" y="1042"/>
                    </a:lnTo>
                    <a:lnTo>
                      <a:pt x="919" y="1046"/>
                    </a:lnTo>
                    <a:lnTo>
                      <a:pt x="912" y="1050"/>
                    </a:lnTo>
                    <a:lnTo>
                      <a:pt x="898" y="1060"/>
                    </a:lnTo>
                    <a:lnTo>
                      <a:pt x="886" y="1072"/>
                    </a:lnTo>
                    <a:lnTo>
                      <a:pt x="864" y="1099"/>
                    </a:lnTo>
                    <a:lnTo>
                      <a:pt x="843" y="1128"/>
                    </a:lnTo>
                    <a:lnTo>
                      <a:pt x="832" y="1143"/>
                    </a:lnTo>
                    <a:lnTo>
                      <a:pt x="821" y="1156"/>
                    </a:lnTo>
                    <a:lnTo>
                      <a:pt x="809" y="1168"/>
                    </a:lnTo>
                    <a:lnTo>
                      <a:pt x="796" y="1179"/>
                    </a:lnTo>
                    <a:lnTo>
                      <a:pt x="788" y="1184"/>
                    </a:lnTo>
                    <a:lnTo>
                      <a:pt x="780" y="1188"/>
                    </a:lnTo>
                    <a:lnTo>
                      <a:pt x="773" y="1192"/>
                    </a:lnTo>
                    <a:lnTo>
                      <a:pt x="764" y="1196"/>
                    </a:lnTo>
                    <a:lnTo>
                      <a:pt x="754" y="1199"/>
                    </a:lnTo>
                    <a:lnTo>
                      <a:pt x="745" y="1201"/>
                    </a:lnTo>
                    <a:lnTo>
                      <a:pt x="734" y="1202"/>
                    </a:lnTo>
                    <a:lnTo>
                      <a:pt x="723" y="1202"/>
                    </a:lnTo>
                    <a:lnTo>
                      <a:pt x="723" y="1211"/>
                    </a:lnTo>
                    <a:lnTo>
                      <a:pt x="723" y="1220"/>
                    </a:lnTo>
                    <a:lnTo>
                      <a:pt x="723" y="1227"/>
                    </a:lnTo>
                    <a:lnTo>
                      <a:pt x="723" y="1233"/>
                    </a:lnTo>
                    <a:lnTo>
                      <a:pt x="723" y="1244"/>
                    </a:lnTo>
                    <a:lnTo>
                      <a:pt x="723" y="1261"/>
                    </a:lnTo>
                    <a:lnTo>
                      <a:pt x="723" y="1279"/>
                    </a:lnTo>
                    <a:lnTo>
                      <a:pt x="725" y="1298"/>
                    </a:lnTo>
                    <a:lnTo>
                      <a:pt x="727" y="1308"/>
                    </a:lnTo>
                    <a:lnTo>
                      <a:pt x="729" y="1317"/>
                    </a:lnTo>
                    <a:lnTo>
                      <a:pt x="731" y="1325"/>
                    </a:lnTo>
                    <a:lnTo>
                      <a:pt x="735" y="1332"/>
                    </a:lnTo>
                    <a:lnTo>
                      <a:pt x="739" y="1339"/>
                    </a:lnTo>
                    <a:lnTo>
                      <a:pt x="744" y="1344"/>
                    </a:lnTo>
                    <a:lnTo>
                      <a:pt x="750" y="1348"/>
                    </a:lnTo>
                    <a:lnTo>
                      <a:pt x="757" y="1350"/>
                    </a:lnTo>
                    <a:lnTo>
                      <a:pt x="751" y="1366"/>
                    </a:lnTo>
                    <a:lnTo>
                      <a:pt x="744" y="1380"/>
                    </a:lnTo>
                    <a:lnTo>
                      <a:pt x="736" y="1393"/>
                    </a:lnTo>
                    <a:lnTo>
                      <a:pt x="729" y="1405"/>
                    </a:lnTo>
                    <a:lnTo>
                      <a:pt x="721" y="1419"/>
                    </a:lnTo>
                    <a:lnTo>
                      <a:pt x="716" y="1432"/>
                    </a:lnTo>
                    <a:lnTo>
                      <a:pt x="713" y="1438"/>
                    </a:lnTo>
                    <a:lnTo>
                      <a:pt x="712" y="1445"/>
                    </a:lnTo>
                    <a:lnTo>
                      <a:pt x="711" y="1453"/>
                    </a:lnTo>
                    <a:lnTo>
                      <a:pt x="710" y="1460"/>
                    </a:lnTo>
                    <a:lnTo>
                      <a:pt x="711" y="1463"/>
                    </a:lnTo>
                    <a:lnTo>
                      <a:pt x="712" y="1465"/>
                    </a:lnTo>
                    <a:lnTo>
                      <a:pt x="714" y="1467"/>
                    </a:lnTo>
                    <a:lnTo>
                      <a:pt x="718" y="1469"/>
                    </a:lnTo>
                    <a:lnTo>
                      <a:pt x="724" y="1473"/>
                    </a:lnTo>
                    <a:lnTo>
                      <a:pt x="730" y="1474"/>
                    </a:lnTo>
                    <a:lnTo>
                      <a:pt x="730" y="1510"/>
                    </a:lnTo>
                    <a:lnTo>
                      <a:pt x="722" y="1524"/>
                    </a:lnTo>
                    <a:lnTo>
                      <a:pt x="716" y="1539"/>
                    </a:lnTo>
                    <a:lnTo>
                      <a:pt x="711" y="1545"/>
                    </a:lnTo>
                    <a:lnTo>
                      <a:pt x="706" y="1549"/>
                    </a:lnTo>
                    <a:lnTo>
                      <a:pt x="702" y="1551"/>
                    </a:lnTo>
                    <a:lnTo>
                      <a:pt x="699" y="1552"/>
                    </a:lnTo>
                    <a:lnTo>
                      <a:pt x="695" y="1553"/>
                    </a:lnTo>
                    <a:lnTo>
                      <a:pt x="690" y="1553"/>
                    </a:lnTo>
                    <a:lnTo>
                      <a:pt x="690" y="1561"/>
                    </a:lnTo>
                    <a:lnTo>
                      <a:pt x="691" y="1571"/>
                    </a:lnTo>
                    <a:lnTo>
                      <a:pt x="693" y="1576"/>
                    </a:lnTo>
                    <a:lnTo>
                      <a:pt x="694" y="1580"/>
                    </a:lnTo>
                    <a:lnTo>
                      <a:pt x="695" y="1583"/>
                    </a:lnTo>
                    <a:lnTo>
                      <a:pt x="697" y="1584"/>
                    </a:lnTo>
                    <a:lnTo>
                      <a:pt x="671" y="1605"/>
                    </a:lnTo>
                    <a:lnTo>
                      <a:pt x="649" y="1622"/>
                    </a:lnTo>
                    <a:lnTo>
                      <a:pt x="639" y="1632"/>
                    </a:lnTo>
                    <a:lnTo>
                      <a:pt x="630" y="1643"/>
                    </a:lnTo>
                    <a:lnTo>
                      <a:pt x="620" y="1656"/>
                    </a:lnTo>
                    <a:lnTo>
                      <a:pt x="611" y="1670"/>
                    </a:lnTo>
                    <a:lnTo>
                      <a:pt x="595" y="1663"/>
                    </a:lnTo>
                    <a:lnTo>
                      <a:pt x="584" y="1656"/>
                    </a:lnTo>
                    <a:lnTo>
                      <a:pt x="575" y="1649"/>
                    </a:lnTo>
                    <a:lnTo>
                      <a:pt x="568" y="1641"/>
                    </a:lnTo>
                    <a:lnTo>
                      <a:pt x="563" y="1631"/>
                    </a:lnTo>
                    <a:lnTo>
                      <a:pt x="560" y="1621"/>
                    </a:lnTo>
                    <a:lnTo>
                      <a:pt x="555" y="1609"/>
                    </a:lnTo>
                    <a:lnTo>
                      <a:pt x="551" y="1597"/>
                    </a:lnTo>
                    <a:lnTo>
                      <a:pt x="542" y="1574"/>
                    </a:lnTo>
                    <a:lnTo>
                      <a:pt x="530" y="1552"/>
                    </a:lnTo>
                    <a:lnTo>
                      <a:pt x="516" y="1529"/>
                    </a:lnTo>
                    <a:lnTo>
                      <a:pt x="501" y="1505"/>
                    </a:lnTo>
                    <a:lnTo>
                      <a:pt x="486" y="1483"/>
                    </a:lnTo>
                    <a:lnTo>
                      <a:pt x="473" y="1461"/>
                    </a:lnTo>
                    <a:lnTo>
                      <a:pt x="461" y="1441"/>
                    </a:lnTo>
                    <a:lnTo>
                      <a:pt x="451" y="1424"/>
                    </a:lnTo>
                    <a:lnTo>
                      <a:pt x="442" y="1405"/>
                    </a:lnTo>
                    <a:lnTo>
                      <a:pt x="436" y="1388"/>
                    </a:lnTo>
                    <a:lnTo>
                      <a:pt x="430" y="1370"/>
                    </a:lnTo>
                    <a:lnTo>
                      <a:pt x="425" y="1352"/>
                    </a:lnTo>
                    <a:lnTo>
                      <a:pt x="419" y="1334"/>
                    </a:lnTo>
                    <a:lnTo>
                      <a:pt x="414" y="1316"/>
                    </a:lnTo>
                    <a:lnTo>
                      <a:pt x="407" y="1296"/>
                    </a:lnTo>
                    <a:lnTo>
                      <a:pt x="398" y="1276"/>
                    </a:lnTo>
                    <a:lnTo>
                      <a:pt x="376" y="1244"/>
                    </a:lnTo>
                    <a:lnTo>
                      <a:pt x="352" y="1214"/>
                    </a:lnTo>
                    <a:lnTo>
                      <a:pt x="341" y="1200"/>
                    </a:lnTo>
                    <a:lnTo>
                      <a:pt x="330" y="1184"/>
                    </a:lnTo>
                    <a:lnTo>
                      <a:pt x="320" y="1169"/>
                    </a:lnTo>
                    <a:lnTo>
                      <a:pt x="312" y="1153"/>
                    </a:lnTo>
                    <a:lnTo>
                      <a:pt x="301" y="1114"/>
                    </a:lnTo>
                    <a:lnTo>
                      <a:pt x="292" y="1078"/>
                    </a:lnTo>
                    <a:lnTo>
                      <a:pt x="284" y="1043"/>
                    </a:lnTo>
                    <a:lnTo>
                      <a:pt x="280" y="1008"/>
                    </a:lnTo>
                    <a:lnTo>
                      <a:pt x="275" y="974"/>
                    </a:lnTo>
                    <a:lnTo>
                      <a:pt x="273" y="938"/>
                    </a:lnTo>
                    <a:lnTo>
                      <a:pt x="272" y="901"/>
                    </a:lnTo>
                    <a:lnTo>
                      <a:pt x="272" y="864"/>
                    </a:lnTo>
                    <a:lnTo>
                      <a:pt x="268" y="863"/>
                    </a:lnTo>
                    <a:lnTo>
                      <a:pt x="263" y="862"/>
                    </a:lnTo>
                    <a:lnTo>
                      <a:pt x="259" y="861"/>
                    </a:lnTo>
                    <a:lnTo>
                      <a:pt x="256" y="857"/>
                    </a:lnTo>
                    <a:lnTo>
                      <a:pt x="252" y="855"/>
                    </a:lnTo>
                    <a:lnTo>
                      <a:pt x="250" y="852"/>
                    </a:lnTo>
                    <a:lnTo>
                      <a:pt x="247" y="848"/>
                    </a:lnTo>
                    <a:lnTo>
                      <a:pt x="246" y="844"/>
                    </a:lnTo>
                    <a:lnTo>
                      <a:pt x="242" y="836"/>
                    </a:lnTo>
                    <a:lnTo>
                      <a:pt x="240" y="827"/>
                    </a:lnTo>
                    <a:lnTo>
                      <a:pt x="239" y="817"/>
                    </a:lnTo>
                    <a:lnTo>
                      <a:pt x="239" y="808"/>
                    </a:lnTo>
                    <a:lnTo>
                      <a:pt x="230" y="814"/>
                    </a:lnTo>
                    <a:lnTo>
                      <a:pt x="224" y="821"/>
                    </a:lnTo>
                    <a:lnTo>
                      <a:pt x="217" y="828"/>
                    </a:lnTo>
                    <a:lnTo>
                      <a:pt x="210" y="836"/>
                    </a:lnTo>
                    <a:lnTo>
                      <a:pt x="201" y="852"/>
                    </a:lnTo>
                    <a:lnTo>
                      <a:pt x="192" y="869"/>
                    </a:lnTo>
                    <a:lnTo>
                      <a:pt x="186" y="876"/>
                    </a:lnTo>
                    <a:lnTo>
                      <a:pt x="182" y="883"/>
                    </a:lnTo>
                    <a:lnTo>
                      <a:pt x="176" y="890"/>
                    </a:lnTo>
                    <a:lnTo>
                      <a:pt x="171" y="895"/>
                    </a:lnTo>
                    <a:lnTo>
                      <a:pt x="164" y="900"/>
                    </a:lnTo>
                    <a:lnTo>
                      <a:pt x="157" y="903"/>
                    </a:lnTo>
                    <a:lnTo>
                      <a:pt x="148" y="905"/>
                    </a:lnTo>
                    <a:lnTo>
                      <a:pt x="139" y="906"/>
                    </a:lnTo>
                    <a:lnTo>
                      <a:pt x="134" y="905"/>
                    </a:lnTo>
                    <a:lnTo>
                      <a:pt x="127" y="903"/>
                    </a:lnTo>
                    <a:lnTo>
                      <a:pt x="120" y="900"/>
                    </a:lnTo>
                    <a:lnTo>
                      <a:pt x="113" y="895"/>
                    </a:lnTo>
                    <a:lnTo>
                      <a:pt x="105" y="889"/>
                    </a:lnTo>
                    <a:lnTo>
                      <a:pt x="97" y="883"/>
                    </a:lnTo>
                    <a:lnTo>
                      <a:pt x="90" y="876"/>
                    </a:lnTo>
                    <a:lnTo>
                      <a:pt x="82" y="868"/>
                    </a:lnTo>
                    <a:lnTo>
                      <a:pt x="75" y="860"/>
                    </a:lnTo>
                    <a:lnTo>
                      <a:pt x="69" y="851"/>
                    </a:lnTo>
                    <a:lnTo>
                      <a:pt x="62" y="842"/>
                    </a:lnTo>
                    <a:lnTo>
                      <a:pt x="57" y="833"/>
                    </a:lnTo>
                    <a:lnTo>
                      <a:pt x="52" y="825"/>
                    </a:lnTo>
                    <a:lnTo>
                      <a:pt x="49" y="817"/>
                    </a:lnTo>
                    <a:lnTo>
                      <a:pt x="47" y="809"/>
                    </a:lnTo>
                    <a:lnTo>
                      <a:pt x="46" y="801"/>
                    </a:lnTo>
                    <a:lnTo>
                      <a:pt x="51" y="798"/>
                    </a:lnTo>
                    <a:lnTo>
                      <a:pt x="63" y="792"/>
                    </a:lnTo>
                    <a:lnTo>
                      <a:pt x="77" y="786"/>
                    </a:lnTo>
                    <a:lnTo>
                      <a:pt x="85" y="783"/>
                    </a:lnTo>
                    <a:lnTo>
                      <a:pt x="77" y="783"/>
                    </a:lnTo>
                    <a:lnTo>
                      <a:pt x="67" y="782"/>
                    </a:lnTo>
                    <a:lnTo>
                      <a:pt x="59" y="780"/>
                    </a:lnTo>
                    <a:lnTo>
                      <a:pt x="51" y="779"/>
                    </a:lnTo>
                    <a:lnTo>
                      <a:pt x="44" y="776"/>
                    </a:lnTo>
                    <a:lnTo>
                      <a:pt x="37" y="774"/>
                    </a:lnTo>
                    <a:lnTo>
                      <a:pt x="30" y="771"/>
                    </a:lnTo>
                    <a:lnTo>
                      <a:pt x="25" y="767"/>
                    </a:lnTo>
                    <a:lnTo>
                      <a:pt x="21" y="763"/>
                    </a:lnTo>
                    <a:lnTo>
                      <a:pt x="16" y="759"/>
                    </a:lnTo>
                    <a:lnTo>
                      <a:pt x="12" y="754"/>
                    </a:lnTo>
                    <a:lnTo>
                      <a:pt x="8" y="750"/>
                    </a:lnTo>
                    <a:lnTo>
                      <a:pt x="3" y="738"/>
                    </a:lnTo>
                    <a:lnTo>
                      <a:pt x="0" y="727"/>
                    </a:lnTo>
                    <a:lnTo>
                      <a:pt x="10" y="719"/>
                    </a:lnTo>
                    <a:lnTo>
                      <a:pt x="21" y="713"/>
                    </a:lnTo>
                    <a:lnTo>
                      <a:pt x="32" y="708"/>
                    </a:lnTo>
                    <a:lnTo>
                      <a:pt x="44" y="704"/>
                    </a:lnTo>
                    <a:lnTo>
                      <a:pt x="67" y="699"/>
                    </a:lnTo>
                    <a:lnTo>
                      <a:pt x="90" y="695"/>
                    </a:lnTo>
                    <a:lnTo>
                      <a:pt x="102" y="693"/>
                    </a:lnTo>
                    <a:lnTo>
                      <a:pt x="113" y="689"/>
                    </a:lnTo>
                    <a:lnTo>
                      <a:pt x="123" y="686"/>
                    </a:lnTo>
                    <a:lnTo>
                      <a:pt x="133" y="681"/>
                    </a:lnTo>
                    <a:lnTo>
                      <a:pt x="142" y="676"/>
                    </a:lnTo>
                    <a:lnTo>
                      <a:pt x="151" y="668"/>
                    </a:lnTo>
                    <a:lnTo>
                      <a:pt x="159" y="659"/>
                    </a:lnTo>
                    <a:lnTo>
                      <a:pt x="165" y="648"/>
                    </a:lnTo>
                    <a:lnTo>
                      <a:pt x="161" y="646"/>
                    </a:lnTo>
                    <a:lnTo>
                      <a:pt x="157" y="643"/>
                    </a:lnTo>
                    <a:lnTo>
                      <a:pt x="151" y="639"/>
                    </a:lnTo>
                    <a:lnTo>
                      <a:pt x="145" y="633"/>
                    </a:lnTo>
                    <a:lnTo>
                      <a:pt x="131" y="621"/>
                    </a:lnTo>
                    <a:lnTo>
                      <a:pt x="118" y="607"/>
                    </a:lnTo>
                    <a:lnTo>
                      <a:pt x="106" y="592"/>
                    </a:lnTo>
                    <a:lnTo>
                      <a:pt x="95" y="576"/>
                    </a:lnTo>
                    <a:lnTo>
                      <a:pt x="92" y="569"/>
                    </a:lnTo>
                    <a:lnTo>
                      <a:pt x="89" y="562"/>
                    </a:lnTo>
                    <a:lnTo>
                      <a:pt x="86" y="555"/>
                    </a:lnTo>
                    <a:lnTo>
                      <a:pt x="85" y="549"/>
                    </a:lnTo>
                    <a:lnTo>
                      <a:pt x="81" y="548"/>
                    </a:lnTo>
                    <a:lnTo>
                      <a:pt x="77" y="547"/>
                    </a:lnTo>
                    <a:lnTo>
                      <a:pt x="73" y="545"/>
                    </a:lnTo>
                    <a:lnTo>
                      <a:pt x="70" y="541"/>
                    </a:lnTo>
                    <a:lnTo>
                      <a:pt x="64" y="534"/>
                    </a:lnTo>
                    <a:lnTo>
                      <a:pt x="59" y="524"/>
                    </a:lnTo>
                    <a:lnTo>
                      <a:pt x="59" y="500"/>
                    </a:lnTo>
                    <a:lnTo>
                      <a:pt x="73" y="499"/>
                    </a:lnTo>
                    <a:lnTo>
                      <a:pt x="86" y="498"/>
                    </a:lnTo>
                    <a:lnTo>
                      <a:pt x="98" y="496"/>
                    </a:lnTo>
                    <a:lnTo>
                      <a:pt x="109" y="492"/>
                    </a:lnTo>
                    <a:lnTo>
                      <a:pt x="119" y="489"/>
                    </a:lnTo>
                    <a:lnTo>
                      <a:pt x="129" y="484"/>
                    </a:lnTo>
                    <a:lnTo>
                      <a:pt x="138" y="479"/>
                    </a:lnTo>
                    <a:lnTo>
                      <a:pt x="147" y="473"/>
                    </a:lnTo>
                    <a:lnTo>
                      <a:pt x="154" y="466"/>
                    </a:lnTo>
                    <a:lnTo>
                      <a:pt x="162" y="459"/>
                    </a:lnTo>
                    <a:lnTo>
                      <a:pt x="169" y="452"/>
                    </a:lnTo>
                    <a:lnTo>
                      <a:pt x="175" y="444"/>
                    </a:lnTo>
                    <a:lnTo>
                      <a:pt x="186" y="428"/>
                    </a:lnTo>
                    <a:lnTo>
                      <a:pt x="197" y="410"/>
                    </a:lnTo>
                    <a:lnTo>
                      <a:pt x="216" y="374"/>
                    </a:lnTo>
                    <a:lnTo>
                      <a:pt x="235" y="338"/>
                    </a:lnTo>
                    <a:lnTo>
                      <a:pt x="246" y="322"/>
                    </a:lnTo>
                    <a:lnTo>
                      <a:pt x="257" y="308"/>
                    </a:lnTo>
                    <a:lnTo>
                      <a:pt x="263" y="300"/>
                    </a:lnTo>
                    <a:lnTo>
                      <a:pt x="270" y="294"/>
                    </a:lnTo>
                    <a:lnTo>
                      <a:pt x="277" y="289"/>
                    </a:lnTo>
                    <a:lnTo>
                      <a:pt x="285" y="284"/>
                    </a:lnTo>
                    <a:lnTo>
                      <a:pt x="279" y="272"/>
                    </a:lnTo>
                    <a:lnTo>
                      <a:pt x="274" y="261"/>
                    </a:lnTo>
                    <a:lnTo>
                      <a:pt x="273" y="256"/>
                    </a:lnTo>
                    <a:lnTo>
                      <a:pt x="272" y="251"/>
                    </a:lnTo>
                    <a:lnTo>
                      <a:pt x="272" y="245"/>
                    </a:lnTo>
                    <a:lnTo>
                      <a:pt x="272" y="240"/>
                    </a:lnTo>
                    <a:lnTo>
                      <a:pt x="273" y="235"/>
                    </a:lnTo>
                    <a:lnTo>
                      <a:pt x="274" y="230"/>
                    </a:lnTo>
                    <a:lnTo>
                      <a:pt x="276" y="226"/>
                    </a:lnTo>
                    <a:lnTo>
                      <a:pt x="280" y="222"/>
                    </a:lnTo>
                    <a:lnTo>
                      <a:pt x="283" y="219"/>
                    </a:lnTo>
                    <a:lnTo>
                      <a:pt x="287" y="216"/>
                    </a:lnTo>
                    <a:lnTo>
                      <a:pt x="293" y="213"/>
                    </a:lnTo>
                    <a:lnTo>
                      <a:pt x="298" y="210"/>
                    </a:lnTo>
                    <a:lnTo>
                      <a:pt x="269" y="183"/>
                    </a:lnTo>
                    <a:lnTo>
                      <a:pt x="247" y="163"/>
                    </a:lnTo>
                    <a:lnTo>
                      <a:pt x="237" y="153"/>
                    </a:lnTo>
                    <a:lnTo>
                      <a:pt x="227" y="142"/>
                    </a:lnTo>
                    <a:lnTo>
                      <a:pt x="217" y="128"/>
                    </a:lnTo>
                    <a:lnTo>
                      <a:pt x="205" y="111"/>
                    </a:lnTo>
                    <a:lnTo>
                      <a:pt x="205" y="68"/>
                    </a:lnTo>
                    <a:lnTo>
                      <a:pt x="229" y="68"/>
                    </a:lnTo>
                    <a:lnTo>
                      <a:pt x="256" y="66"/>
                    </a:lnTo>
                    <a:lnTo>
                      <a:pt x="270" y="65"/>
                    </a:lnTo>
                    <a:lnTo>
                      <a:pt x="283" y="63"/>
                    </a:lnTo>
                    <a:lnTo>
                      <a:pt x="297" y="60"/>
                    </a:lnTo>
                    <a:lnTo>
                      <a:pt x="310" y="57"/>
                    </a:lnTo>
                    <a:lnTo>
                      <a:pt x="322" y="54"/>
                    </a:lnTo>
                    <a:lnTo>
                      <a:pt x="335" y="49"/>
                    </a:lnTo>
                    <a:lnTo>
                      <a:pt x="347" y="44"/>
                    </a:lnTo>
                    <a:lnTo>
                      <a:pt x="357" y="37"/>
                    </a:lnTo>
                    <a:lnTo>
                      <a:pt x="366" y="30"/>
                    </a:lnTo>
                    <a:lnTo>
                      <a:pt x="374" y="21"/>
                    </a:lnTo>
                    <a:lnTo>
                      <a:pt x="381" y="11"/>
                    </a:lnTo>
                    <a:lnTo>
                      <a:pt x="385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5" name="Freeform 465">
                <a:extLst>
                  <a:ext uri="{FF2B5EF4-FFF2-40B4-BE49-F238E27FC236}">
                    <a16:creationId xmlns:a16="http://schemas.microsoft.com/office/drawing/2014/main" id="{E4AB4866-E333-4EF6-9431-ED4DC0E9E876}"/>
                  </a:ext>
                </a:extLst>
              </p:cNvPr>
              <p:cNvSpPr>
                <a:spLocks/>
              </p:cNvSpPr>
              <p:nvPr>
                <p:custDataLst>
                  <p:tags r:id="rId303"/>
                </p:custDataLst>
              </p:nvPr>
            </p:nvSpPr>
            <p:spPr bwMode="auto">
              <a:xfrm>
                <a:off x="3754520" y="4129135"/>
                <a:ext cx="191842" cy="230294"/>
              </a:xfrm>
              <a:custGeom>
                <a:avLst/>
                <a:gdLst>
                  <a:gd name="T0" fmla="*/ 10363854 w 359"/>
                  <a:gd name="T1" fmla="*/ 104805501 h 394"/>
                  <a:gd name="T2" fmla="*/ 10363854 w 359"/>
                  <a:gd name="T3" fmla="*/ 98220881 h 394"/>
                  <a:gd name="T4" fmla="*/ 10363854 w 359"/>
                  <a:gd name="T5" fmla="*/ 91362317 h 394"/>
                  <a:gd name="T6" fmla="*/ 9777054 w 359"/>
                  <a:gd name="T7" fmla="*/ 85600579 h 394"/>
                  <a:gd name="T8" fmla="*/ 8408444 w 359"/>
                  <a:gd name="T9" fmla="*/ 80387777 h 394"/>
                  <a:gd name="T10" fmla="*/ 6843938 w 359"/>
                  <a:gd name="T11" fmla="*/ 75997856 h 394"/>
                  <a:gd name="T12" fmla="*/ 2542211 w 359"/>
                  <a:gd name="T13" fmla="*/ 67218537 h 394"/>
                  <a:gd name="T14" fmla="*/ 0 w 359"/>
                  <a:gd name="T15" fmla="*/ 50756727 h 394"/>
                  <a:gd name="T16" fmla="*/ 6453033 w 359"/>
                  <a:gd name="T17" fmla="*/ 49659377 h 394"/>
                  <a:gd name="T18" fmla="*/ 7821643 w 359"/>
                  <a:gd name="T19" fmla="*/ 46366806 h 394"/>
                  <a:gd name="T20" fmla="*/ 8017096 w 359"/>
                  <a:gd name="T21" fmla="*/ 41154003 h 394"/>
                  <a:gd name="T22" fmla="*/ 7430738 w 359"/>
                  <a:gd name="T23" fmla="*/ 29356582 h 394"/>
                  <a:gd name="T24" fmla="*/ 6061685 w 359"/>
                  <a:gd name="T25" fmla="*/ 17833628 h 394"/>
                  <a:gd name="T26" fmla="*/ 6257138 w 359"/>
                  <a:gd name="T27" fmla="*/ 12894771 h 394"/>
                  <a:gd name="T28" fmla="*/ 7039391 w 359"/>
                  <a:gd name="T29" fmla="*/ 9877191 h 394"/>
                  <a:gd name="T30" fmla="*/ 23464930 w 359"/>
                  <a:gd name="T31" fmla="*/ 8505374 h 394"/>
                  <a:gd name="T32" fmla="*/ 23855836 w 359"/>
                  <a:gd name="T33" fmla="*/ 6035683 h 394"/>
                  <a:gd name="T34" fmla="*/ 25029436 w 359"/>
                  <a:gd name="T35" fmla="*/ 3840984 h 394"/>
                  <a:gd name="T36" fmla="*/ 27375752 w 359"/>
                  <a:gd name="T37" fmla="*/ 0 h 394"/>
                  <a:gd name="T38" fmla="*/ 27766657 w 359"/>
                  <a:gd name="T39" fmla="*/ 4938334 h 394"/>
                  <a:gd name="T40" fmla="*/ 27766657 w 359"/>
                  <a:gd name="T41" fmla="*/ 7133556 h 394"/>
                  <a:gd name="T42" fmla="*/ 27375752 w 359"/>
                  <a:gd name="T43" fmla="*/ 8505374 h 394"/>
                  <a:gd name="T44" fmla="*/ 32851079 w 359"/>
                  <a:gd name="T45" fmla="*/ 8505374 h 394"/>
                  <a:gd name="T46" fmla="*/ 36370554 w 359"/>
                  <a:gd name="T47" fmla="*/ 8505374 h 394"/>
                  <a:gd name="T48" fmla="*/ 41845881 w 359"/>
                  <a:gd name="T49" fmla="*/ 10425604 h 394"/>
                  <a:gd name="T50" fmla="*/ 45561250 w 359"/>
                  <a:gd name="T51" fmla="*/ 13443707 h 394"/>
                  <a:gd name="T52" fmla="*/ 48103019 w 359"/>
                  <a:gd name="T53" fmla="*/ 15912874 h 394"/>
                  <a:gd name="T54" fmla="*/ 50645230 w 359"/>
                  <a:gd name="T55" fmla="*/ 16735755 h 394"/>
                  <a:gd name="T56" fmla="*/ 52405188 w 359"/>
                  <a:gd name="T57" fmla="*/ 16187343 h 394"/>
                  <a:gd name="T58" fmla="*/ 53773799 w 359"/>
                  <a:gd name="T59" fmla="*/ 14815525 h 394"/>
                  <a:gd name="T60" fmla="*/ 55924662 w 359"/>
                  <a:gd name="T61" fmla="*/ 10151136 h 394"/>
                  <a:gd name="T62" fmla="*/ 61009084 w 359"/>
                  <a:gd name="T63" fmla="*/ 14266589 h 394"/>
                  <a:gd name="T64" fmla="*/ 63550853 w 359"/>
                  <a:gd name="T65" fmla="*/ 16187343 h 394"/>
                  <a:gd name="T66" fmla="*/ 66093064 w 359"/>
                  <a:gd name="T67" fmla="*/ 16735755 h 394"/>
                  <a:gd name="T68" fmla="*/ 69026180 w 359"/>
                  <a:gd name="T69" fmla="*/ 44172107 h 394"/>
                  <a:gd name="T70" fmla="*/ 66093064 w 359"/>
                  <a:gd name="T71" fmla="*/ 50756727 h 394"/>
                  <a:gd name="T72" fmla="*/ 63159948 w 359"/>
                  <a:gd name="T73" fmla="*/ 56518465 h 394"/>
                  <a:gd name="T74" fmla="*/ 61595442 w 359"/>
                  <a:gd name="T75" fmla="*/ 61456799 h 394"/>
                  <a:gd name="T76" fmla="*/ 61204537 w 359"/>
                  <a:gd name="T77" fmla="*/ 65572252 h 394"/>
                  <a:gd name="T78" fmla="*/ 61204537 w 359"/>
                  <a:gd name="T79" fmla="*/ 69962173 h 394"/>
                  <a:gd name="T80" fmla="*/ 62768600 w 359"/>
                  <a:gd name="T81" fmla="*/ 74900506 h 394"/>
                  <a:gd name="T82" fmla="*/ 64724011 w 359"/>
                  <a:gd name="T83" fmla="*/ 80387777 h 394"/>
                  <a:gd name="T84" fmla="*/ 65897611 w 359"/>
                  <a:gd name="T85" fmla="*/ 84777174 h 394"/>
                  <a:gd name="T86" fmla="*/ 65897611 w 359"/>
                  <a:gd name="T87" fmla="*/ 88069746 h 394"/>
                  <a:gd name="T88" fmla="*/ 64528558 w 359"/>
                  <a:gd name="T89" fmla="*/ 92459667 h 394"/>
                  <a:gd name="T90" fmla="*/ 63746306 w 359"/>
                  <a:gd name="T91" fmla="*/ 96300651 h 394"/>
                  <a:gd name="T92" fmla="*/ 62377695 w 359"/>
                  <a:gd name="T93" fmla="*/ 98220881 h 394"/>
                  <a:gd name="T94" fmla="*/ 60226831 w 359"/>
                  <a:gd name="T95" fmla="*/ 97672469 h 394"/>
                  <a:gd name="T96" fmla="*/ 58271421 w 359"/>
                  <a:gd name="T97" fmla="*/ 96026183 h 394"/>
                  <a:gd name="T98" fmla="*/ 56120557 w 359"/>
                  <a:gd name="T99" fmla="*/ 93282548 h 394"/>
                  <a:gd name="T100" fmla="*/ 54165146 w 359"/>
                  <a:gd name="T101" fmla="*/ 91910730 h 394"/>
                  <a:gd name="T102" fmla="*/ 52013841 w 359"/>
                  <a:gd name="T103" fmla="*/ 91362317 h 394"/>
                  <a:gd name="T104" fmla="*/ 48103019 w 359"/>
                  <a:gd name="T105" fmla="*/ 91362317 h 394"/>
                  <a:gd name="T106" fmla="*/ 43214492 w 359"/>
                  <a:gd name="T107" fmla="*/ 92185198 h 394"/>
                  <a:gd name="T108" fmla="*/ 35392848 w 359"/>
                  <a:gd name="T109" fmla="*/ 94105429 h 394"/>
                  <a:gd name="T110" fmla="*/ 25615794 w 359"/>
                  <a:gd name="T111" fmla="*/ 98495350 h 394"/>
                  <a:gd name="T112" fmla="*/ 16816445 w 359"/>
                  <a:gd name="T113" fmla="*/ 102885271 h 394"/>
                  <a:gd name="T114" fmla="*/ 10363854 w 359"/>
                  <a:gd name="T115" fmla="*/ 108098073 h 39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359" h="394">
                    <a:moveTo>
                      <a:pt x="53" y="394"/>
                    </a:moveTo>
                    <a:lnTo>
                      <a:pt x="53" y="382"/>
                    </a:lnTo>
                    <a:lnTo>
                      <a:pt x="53" y="370"/>
                    </a:lnTo>
                    <a:lnTo>
                      <a:pt x="53" y="358"/>
                    </a:lnTo>
                    <a:lnTo>
                      <a:pt x="53" y="346"/>
                    </a:lnTo>
                    <a:lnTo>
                      <a:pt x="53" y="333"/>
                    </a:lnTo>
                    <a:lnTo>
                      <a:pt x="52" y="322"/>
                    </a:lnTo>
                    <a:lnTo>
                      <a:pt x="50" y="312"/>
                    </a:lnTo>
                    <a:lnTo>
                      <a:pt x="46" y="302"/>
                    </a:lnTo>
                    <a:lnTo>
                      <a:pt x="43" y="293"/>
                    </a:lnTo>
                    <a:lnTo>
                      <a:pt x="40" y="284"/>
                    </a:lnTo>
                    <a:lnTo>
                      <a:pt x="35" y="277"/>
                    </a:lnTo>
                    <a:lnTo>
                      <a:pt x="32" y="270"/>
                    </a:lnTo>
                    <a:lnTo>
                      <a:pt x="13" y="245"/>
                    </a:lnTo>
                    <a:lnTo>
                      <a:pt x="0" y="222"/>
                    </a:lnTo>
                    <a:lnTo>
                      <a:pt x="0" y="185"/>
                    </a:lnTo>
                    <a:lnTo>
                      <a:pt x="27" y="185"/>
                    </a:lnTo>
                    <a:lnTo>
                      <a:pt x="33" y="181"/>
                    </a:lnTo>
                    <a:lnTo>
                      <a:pt x="38" y="174"/>
                    </a:lnTo>
                    <a:lnTo>
                      <a:pt x="40" y="169"/>
                    </a:lnTo>
                    <a:lnTo>
                      <a:pt x="41" y="163"/>
                    </a:lnTo>
                    <a:lnTo>
                      <a:pt x="41" y="150"/>
                    </a:lnTo>
                    <a:lnTo>
                      <a:pt x="40" y="136"/>
                    </a:lnTo>
                    <a:lnTo>
                      <a:pt x="38" y="107"/>
                    </a:lnTo>
                    <a:lnTo>
                      <a:pt x="32" y="79"/>
                    </a:lnTo>
                    <a:lnTo>
                      <a:pt x="31" y="65"/>
                    </a:lnTo>
                    <a:lnTo>
                      <a:pt x="31" y="52"/>
                    </a:lnTo>
                    <a:lnTo>
                      <a:pt x="32" y="47"/>
                    </a:lnTo>
                    <a:lnTo>
                      <a:pt x="34" y="41"/>
                    </a:lnTo>
                    <a:lnTo>
                      <a:pt x="36" y="36"/>
                    </a:lnTo>
                    <a:lnTo>
                      <a:pt x="40" y="31"/>
                    </a:lnTo>
                    <a:lnTo>
                      <a:pt x="120" y="31"/>
                    </a:lnTo>
                    <a:lnTo>
                      <a:pt x="120" y="27"/>
                    </a:lnTo>
                    <a:lnTo>
                      <a:pt x="122" y="22"/>
                    </a:lnTo>
                    <a:lnTo>
                      <a:pt x="124" y="18"/>
                    </a:lnTo>
                    <a:lnTo>
                      <a:pt x="128" y="14"/>
                    </a:lnTo>
                    <a:lnTo>
                      <a:pt x="133" y="6"/>
                    </a:lnTo>
                    <a:lnTo>
                      <a:pt x="140" y="0"/>
                    </a:lnTo>
                    <a:lnTo>
                      <a:pt x="141" y="9"/>
                    </a:lnTo>
                    <a:lnTo>
                      <a:pt x="142" y="18"/>
                    </a:lnTo>
                    <a:lnTo>
                      <a:pt x="143" y="22"/>
                    </a:lnTo>
                    <a:lnTo>
                      <a:pt x="142" y="26"/>
                    </a:lnTo>
                    <a:lnTo>
                      <a:pt x="142" y="29"/>
                    </a:lnTo>
                    <a:lnTo>
                      <a:pt x="140" y="31"/>
                    </a:lnTo>
                    <a:lnTo>
                      <a:pt x="153" y="31"/>
                    </a:lnTo>
                    <a:lnTo>
                      <a:pt x="168" y="31"/>
                    </a:lnTo>
                    <a:lnTo>
                      <a:pt x="180" y="31"/>
                    </a:lnTo>
                    <a:lnTo>
                      <a:pt x="186" y="31"/>
                    </a:lnTo>
                    <a:lnTo>
                      <a:pt x="202" y="34"/>
                    </a:lnTo>
                    <a:lnTo>
                      <a:pt x="214" y="38"/>
                    </a:lnTo>
                    <a:lnTo>
                      <a:pt x="224" y="43"/>
                    </a:lnTo>
                    <a:lnTo>
                      <a:pt x="233" y="49"/>
                    </a:lnTo>
                    <a:lnTo>
                      <a:pt x="240" y="53"/>
                    </a:lnTo>
                    <a:lnTo>
                      <a:pt x="246" y="58"/>
                    </a:lnTo>
                    <a:lnTo>
                      <a:pt x="252" y="60"/>
                    </a:lnTo>
                    <a:lnTo>
                      <a:pt x="259" y="61"/>
                    </a:lnTo>
                    <a:lnTo>
                      <a:pt x="264" y="61"/>
                    </a:lnTo>
                    <a:lnTo>
                      <a:pt x="268" y="59"/>
                    </a:lnTo>
                    <a:lnTo>
                      <a:pt x="271" y="57"/>
                    </a:lnTo>
                    <a:lnTo>
                      <a:pt x="275" y="54"/>
                    </a:lnTo>
                    <a:lnTo>
                      <a:pt x="280" y="46"/>
                    </a:lnTo>
                    <a:lnTo>
                      <a:pt x="286" y="37"/>
                    </a:lnTo>
                    <a:lnTo>
                      <a:pt x="300" y="44"/>
                    </a:lnTo>
                    <a:lnTo>
                      <a:pt x="312" y="52"/>
                    </a:lnTo>
                    <a:lnTo>
                      <a:pt x="319" y="55"/>
                    </a:lnTo>
                    <a:lnTo>
                      <a:pt x="325" y="59"/>
                    </a:lnTo>
                    <a:lnTo>
                      <a:pt x="332" y="61"/>
                    </a:lnTo>
                    <a:lnTo>
                      <a:pt x="338" y="61"/>
                    </a:lnTo>
                    <a:lnTo>
                      <a:pt x="359" y="148"/>
                    </a:lnTo>
                    <a:lnTo>
                      <a:pt x="353" y="161"/>
                    </a:lnTo>
                    <a:lnTo>
                      <a:pt x="346" y="173"/>
                    </a:lnTo>
                    <a:lnTo>
                      <a:pt x="338" y="185"/>
                    </a:lnTo>
                    <a:lnTo>
                      <a:pt x="331" y="195"/>
                    </a:lnTo>
                    <a:lnTo>
                      <a:pt x="323" y="206"/>
                    </a:lnTo>
                    <a:lnTo>
                      <a:pt x="318" y="218"/>
                    </a:lnTo>
                    <a:lnTo>
                      <a:pt x="315" y="224"/>
                    </a:lnTo>
                    <a:lnTo>
                      <a:pt x="314" y="231"/>
                    </a:lnTo>
                    <a:lnTo>
                      <a:pt x="313" y="239"/>
                    </a:lnTo>
                    <a:lnTo>
                      <a:pt x="312" y="247"/>
                    </a:lnTo>
                    <a:lnTo>
                      <a:pt x="313" y="255"/>
                    </a:lnTo>
                    <a:lnTo>
                      <a:pt x="316" y="263"/>
                    </a:lnTo>
                    <a:lnTo>
                      <a:pt x="321" y="273"/>
                    </a:lnTo>
                    <a:lnTo>
                      <a:pt x="325" y="283"/>
                    </a:lnTo>
                    <a:lnTo>
                      <a:pt x="331" y="293"/>
                    </a:lnTo>
                    <a:lnTo>
                      <a:pt x="335" y="302"/>
                    </a:lnTo>
                    <a:lnTo>
                      <a:pt x="337" y="309"/>
                    </a:lnTo>
                    <a:lnTo>
                      <a:pt x="338" y="315"/>
                    </a:lnTo>
                    <a:lnTo>
                      <a:pt x="337" y="321"/>
                    </a:lnTo>
                    <a:lnTo>
                      <a:pt x="332" y="331"/>
                    </a:lnTo>
                    <a:lnTo>
                      <a:pt x="330" y="337"/>
                    </a:lnTo>
                    <a:lnTo>
                      <a:pt x="327" y="343"/>
                    </a:lnTo>
                    <a:lnTo>
                      <a:pt x="326" y="351"/>
                    </a:lnTo>
                    <a:lnTo>
                      <a:pt x="325" y="358"/>
                    </a:lnTo>
                    <a:lnTo>
                      <a:pt x="319" y="358"/>
                    </a:lnTo>
                    <a:lnTo>
                      <a:pt x="313" y="357"/>
                    </a:lnTo>
                    <a:lnTo>
                      <a:pt x="308" y="356"/>
                    </a:lnTo>
                    <a:lnTo>
                      <a:pt x="304" y="354"/>
                    </a:lnTo>
                    <a:lnTo>
                      <a:pt x="298" y="350"/>
                    </a:lnTo>
                    <a:lnTo>
                      <a:pt x="292" y="346"/>
                    </a:lnTo>
                    <a:lnTo>
                      <a:pt x="287" y="340"/>
                    </a:lnTo>
                    <a:lnTo>
                      <a:pt x="280" y="336"/>
                    </a:lnTo>
                    <a:lnTo>
                      <a:pt x="277" y="335"/>
                    </a:lnTo>
                    <a:lnTo>
                      <a:pt x="271" y="334"/>
                    </a:lnTo>
                    <a:lnTo>
                      <a:pt x="266" y="333"/>
                    </a:lnTo>
                    <a:lnTo>
                      <a:pt x="259" y="333"/>
                    </a:lnTo>
                    <a:lnTo>
                      <a:pt x="246" y="333"/>
                    </a:lnTo>
                    <a:lnTo>
                      <a:pt x="234" y="334"/>
                    </a:lnTo>
                    <a:lnTo>
                      <a:pt x="221" y="336"/>
                    </a:lnTo>
                    <a:lnTo>
                      <a:pt x="208" y="338"/>
                    </a:lnTo>
                    <a:lnTo>
                      <a:pt x="181" y="343"/>
                    </a:lnTo>
                    <a:lnTo>
                      <a:pt x="155" y="351"/>
                    </a:lnTo>
                    <a:lnTo>
                      <a:pt x="131" y="359"/>
                    </a:lnTo>
                    <a:lnTo>
                      <a:pt x="107" y="367"/>
                    </a:lnTo>
                    <a:lnTo>
                      <a:pt x="86" y="375"/>
                    </a:lnTo>
                    <a:lnTo>
                      <a:pt x="66" y="382"/>
                    </a:lnTo>
                    <a:lnTo>
                      <a:pt x="53" y="39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6" name="Freeform 466">
                <a:extLst>
                  <a:ext uri="{FF2B5EF4-FFF2-40B4-BE49-F238E27FC236}">
                    <a16:creationId xmlns:a16="http://schemas.microsoft.com/office/drawing/2014/main" id="{EE5AA49E-5B3C-4112-9DA2-7D51115A9F27}"/>
                  </a:ext>
                </a:extLst>
              </p:cNvPr>
              <p:cNvSpPr>
                <a:spLocks/>
              </p:cNvSpPr>
              <p:nvPr>
                <p:custDataLst>
                  <p:tags r:id="rId304"/>
                </p:custDataLst>
              </p:nvPr>
            </p:nvSpPr>
            <p:spPr bwMode="auto">
              <a:xfrm>
                <a:off x="5043116" y="4347123"/>
                <a:ext cx="231658" cy="305887"/>
              </a:xfrm>
              <a:custGeom>
                <a:avLst/>
                <a:gdLst>
                  <a:gd name="T0" fmla="*/ 75039669 w 449"/>
                  <a:gd name="T1" fmla="*/ 28288209 h 523"/>
                  <a:gd name="T2" fmla="*/ 74124577 w 449"/>
                  <a:gd name="T3" fmla="*/ 26402502 h 523"/>
                  <a:gd name="T4" fmla="*/ 74673889 w 449"/>
                  <a:gd name="T5" fmla="*/ 24786181 h 523"/>
                  <a:gd name="T6" fmla="*/ 77236061 w 449"/>
                  <a:gd name="T7" fmla="*/ 20744860 h 523"/>
                  <a:gd name="T8" fmla="*/ 80713324 w 449"/>
                  <a:gd name="T9" fmla="*/ 16164765 h 523"/>
                  <a:gd name="T10" fmla="*/ 81811520 w 449"/>
                  <a:gd name="T11" fmla="*/ 13470378 h 523"/>
                  <a:gd name="T12" fmla="*/ 82177728 w 449"/>
                  <a:gd name="T13" fmla="*/ 9968350 h 523"/>
                  <a:gd name="T14" fmla="*/ 79066244 w 449"/>
                  <a:gd name="T15" fmla="*/ 9160189 h 523"/>
                  <a:gd name="T16" fmla="*/ 77236061 w 449"/>
                  <a:gd name="T17" fmla="*/ 7273963 h 523"/>
                  <a:gd name="T18" fmla="*/ 75222773 w 449"/>
                  <a:gd name="T19" fmla="*/ 5657642 h 523"/>
                  <a:gd name="T20" fmla="*/ 71379302 w 449"/>
                  <a:gd name="T21" fmla="*/ 4849481 h 523"/>
                  <a:gd name="T22" fmla="*/ 68999806 w 449"/>
                  <a:gd name="T23" fmla="*/ 5388255 h 523"/>
                  <a:gd name="T24" fmla="*/ 67352727 w 449"/>
                  <a:gd name="T25" fmla="*/ 6465802 h 523"/>
                  <a:gd name="T26" fmla="*/ 64973659 w 449"/>
                  <a:gd name="T27" fmla="*/ 9968350 h 523"/>
                  <a:gd name="T28" fmla="*/ 62227956 w 449"/>
                  <a:gd name="T29" fmla="*/ 13470378 h 523"/>
                  <a:gd name="T30" fmla="*/ 59665784 w 449"/>
                  <a:gd name="T31" fmla="*/ 14548444 h 523"/>
                  <a:gd name="T32" fmla="*/ 56737405 w 449"/>
                  <a:gd name="T33" fmla="*/ 14817831 h 523"/>
                  <a:gd name="T34" fmla="*/ 52527726 w 449"/>
                  <a:gd name="T35" fmla="*/ 14548444 h 523"/>
                  <a:gd name="T36" fmla="*/ 48867358 w 449"/>
                  <a:gd name="T37" fmla="*/ 13470378 h 523"/>
                  <a:gd name="T38" fmla="*/ 43010599 w 449"/>
                  <a:gd name="T39" fmla="*/ 9698963 h 523"/>
                  <a:gd name="T40" fmla="*/ 37702725 w 449"/>
                  <a:gd name="T41" fmla="*/ 5118868 h 523"/>
                  <a:gd name="T42" fmla="*/ 34591669 w 449"/>
                  <a:gd name="T43" fmla="*/ 3233161 h 523"/>
                  <a:gd name="T44" fmla="*/ 31113978 w 449"/>
                  <a:gd name="T45" fmla="*/ 1616321 h 523"/>
                  <a:gd name="T46" fmla="*/ 24525231 w 449"/>
                  <a:gd name="T47" fmla="*/ 2155094 h 523"/>
                  <a:gd name="T48" fmla="*/ 21779956 w 449"/>
                  <a:gd name="T49" fmla="*/ 1616321 h 523"/>
                  <a:gd name="T50" fmla="*/ 18851576 w 449"/>
                  <a:gd name="T51" fmla="*/ 0 h 523"/>
                  <a:gd name="T52" fmla="*/ 9517126 w 449"/>
                  <a:gd name="T53" fmla="*/ 0 h 523"/>
                  <a:gd name="T54" fmla="*/ 915092 w 449"/>
                  <a:gd name="T55" fmla="*/ 0 h 523"/>
                  <a:gd name="T56" fmla="*/ 915092 w 449"/>
                  <a:gd name="T57" fmla="*/ 4849481 h 523"/>
                  <a:gd name="T58" fmla="*/ 915092 w 449"/>
                  <a:gd name="T59" fmla="*/ 9968350 h 523"/>
                  <a:gd name="T60" fmla="*/ 2745275 w 449"/>
                  <a:gd name="T61" fmla="*/ 16164765 h 523"/>
                  <a:gd name="T62" fmla="*/ 4209679 w 449"/>
                  <a:gd name="T63" fmla="*/ 24516794 h 523"/>
                  <a:gd name="T64" fmla="*/ 5673655 w 449"/>
                  <a:gd name="T65" fmla="*/ 34484625 h 523"/>
                  <a:gd name="T66" fmla="*/ 6954955 w 449"/>
                  <a:gd name="T67" fmla="*/ 46339201 h 523"/>
                  <a:gd name="T68" fmla="*/ 6771851 w 449"/>
                  <a:gd name="T69" fmla="*/ 55498872 h 523"/>
                  <a:gd name="T70" fmla="*/ 5307875 w 449"/>
                  <a:gd name="T71" fmla="*/ 61964674 h 523"/>
                  <a:gd name="T72" fmla="*/ 1281300 w 449"/>
                  <a:gd name="T73" fmla="*/ 72471797 h 523"/>
                  <a:gd name="T74" fmla="*/ 1830184 w 449"/>
                  <a:gd name="T75" fmla="*/ 86481468 h 523"/>
                  <a:gd name="T76" fmla="*/ 5124771 w 449"/>
                  <a:gd name="T77" fmla="*/ 91330949 h 523"/>
                  <a:gd name="T78" fmla="*/ 15373885 w 449"/>
                  <a:gd name="T79" fmla="*/ 98874299 h 523"/>
                  <a:gd name="T80" fmla="*/ 24891439 w 449"/>
                  <a:gd name="T81" fmla="*/ 106687554 h 523"/>
                  <a:gd name="T82" fmla="*/ 31113978 w 449"/>
                  <a:gd name="T83" fmla="*/ 113153357 h 523"/>
                  <a:gd name="T84" fmla="*/ 34591669 w 449"/>
                  <a:gd name="T85" fmla="*/ 117464064 h 523"/>
                  <a:gd name="T86" fmla="*/ 36238749 w 449"/>
                  <a:gd name="T87" fmla="*/ 121504866 h 523"/>
                  <a:gd name="T88" fmla="*/ 36787633 w 449"/>
                  <a:gd name="T89" fmla="*/ 125007414 h 523"/>
                  <a:gd name="T90" fmla="*/ 38252036 w 449"/>
                  <a:gd name="T91" fmla="*/ 129048735 h 523"/>
                  <a:gd name="T92" fmla="*/ 40265324 w 449"/>
                  <a:gd name="T93" fmla="*/ 132550763 h 523"/>
                  <a:gd name="T94" fmla="*/ 42644392 w 449"/>
                  <a:gd name="T95" fmla="*/ 135514537 h 523"/>
                  <a:gd name="T96" fmla="*/ 45206991 w 449"/>
                  <a:gd name="T97" fmla="*/ 137939018 h 523"/>
                  <a:gd name="T98" fmla="*/ 48318474 w 449"/>
                  <a:gd name="T99" fmla="*/ 139825245 h 523"/>
                  <a:gd name="T100" fmla="*/ 51429530 w 449"/>
                  <a:gd name="T101" fmla="*/ 140902792 h 523"/>
                  <a:gd name="T102" fmla="*/ 55639209 w 449"/>
                  <a:gd name="T103" fmla="*/ 135245150 h 523"/>
                  <a:gd name="T104" fmla="*/ 61312864 w 449"/>
                  <a:gd name="T105" fmla="*/ 124468640 h 523"/>
                  <a:gd name="T106" fmla="*/ 66803843 w 449"/>
                  <a:gd name="T107" fmla="*/ 115039064 h 523"/>
                  <a:gd name="T108" fmla="*/ 72111290 w 449"/>
                  <a:gd name="T109" fmla="*/ 105070714 h 52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449" h="523">
                    <a:moveTo>
                      <a:pt x="410" y="370"/>
                    </a:moveTo>
                    <a:lnTo>
                      <a:pt x="410" y="105"/>
                    </a:lnTo>
                    <a:lnTo>
                      <a:pt x="407" y="102"/>
                    </a:lnTo>
                    <a:lnTo>
                      <a:pt x="405" y="98"/>
                    </a:lnTo>
                    <a:lnTo>
                      <a:pt x="405" y="95"/>
                    </a:lnTo>
                    <a:lnTo>
                      <a:pt x="408" y="92"/>
                    </a:lnTo>
                    <a:lnTo>
                      <a:pt x="413" y="84"/>
                    </a:lnTo>
                    <a:lnTo>
                      <a:pt x="422" y="77"/>
                    </a:lnTo>
                    <a:lnTo>
                      <a:pt x="432" y="70"/>
                    </a:lnTo>
                    <a:lnTo>
                      <a:pt x="441" y="60"/>
                    </a:lnTo>
                    <a:lnTo>
                      <a:pt x="444" y="55"/>
                    </a:lnTo>
                    <a:lnTo>
                      <a:pt x="447" y="50"/>
                    </a:lnTo>
                    <a:lnTo>
                      <a:pt x="448" y="44"/>
                    </a:lnTo>
                    <a:lnTo>
                      <a:pt x="449" y="37"/>
                    </a:lnTo>
                    <a:lnTo>
                      <a:pt x="438" y="37"/>
                    </a:lnTo>
                    <a:lnTo>
                      <a:pt x="432" y="34"/>
                    </a:lnTo>
                    <a:lnTo>
                      <a:pt x="426" y="32"/>
                    </a:lnTo>
                    <a:lnTo>
                      <a:pt x="422" y="27"/>
                    </a:lnTo>
                    <a:lnTo>
                      <a:pt x="418" y="24"/>
                    </a:lnTo>
                    <a:lnTo>
                      <a:pt x="411" y="21"/>
                    </a:lnTo>
                    <a:lnTo>
                      <a:pt x="402" y="19"/>
                    </a:lnTo>
                    <a:lnTo>
                      <a:pt x="390" y="18"/>
                    </a:lnTo>
                    <a:lnTo>
                      <a:pt x="382" y="19"/>
                    </a:lnTo>
                    <a:lnTo>
                      <a:pt x="377" y="20"/>
                    </a:lnTo>
                    <a:lnTo>
                      <a:pt x="371" y="22"/>
                    </a:lnTo>
                    <a:lnTo>
                      <a:pt x="368" y="24"/>
                    </a:lnTo>
                    <a:lnTo>
                      <a:pt x="360" y="31"/>
                    </a:lnTo>
                    <a:lnTo>
                      <a:pt x="355" y="37"/>
                    </a:lnTo>
                    <a:lnTo>
                      <a:pt x="348" y="44"/>
                    </a:lnTo>
                    <a:lnTo>
                      <a:pt x="340" y="50"/>
                    </a:lnTo>
                    <a:lnTo>
                      <a:pt x="333" y="52"/>
                    </a:lnTo>
                    <a:lnTo>
                      <a:pt x="326" y="54"/>
                    </a:lnTo>
                    <a:lnTo>
                      <a:pt x="319" y="55"/>
                    </a:lnTo>
                    <a:lnTo>
                      <a:pt x="310" y="55"/>
                    </a:lnTo>
                    <a:lnTo>
                      <a:pt x="298" y="55"/>
                    </a:lnTo>
                    <a:lnTo>
                      <a:pt x="287" y="54"/>
                    </a:lnTo>
                    <a:lnTo>
                      <a:pt x="277" y="52"/>
                    </a:lnTo>
                    <a:lnTo>
                      <a:pt x="267" y="50"/>
                    </a:lnTo>
                    <a:lnTo>
                      <a:pt x="251" y="43"/>
                    </a:lnTo>
                    <a:lnTo>
                      <a:pt x="235" y="36"/>
                    </a:lnTo>
                    <a:lnTo>
                      <a:pt x="220" y="27"/>
                    </a:lnTo>
                    <a:lnTo>
                      <a:pt x="206" y="19"/>
                    </a:lnTo>
                    <a:lnTo>
                      <a:pt x="197" y="15"/>
                    </a:lnTo>
                    <a:lnTo>
                      <a:pt x="189" y="12"/>
                    </a:lnTo>
                    <a:lnTo>
                      <a:pt x="180" y="9"/>
                    </a:lnTo>
                    <a:lnTo>
                      <a:pt x="170" y="6"/>
                    </a:lnTo>
                    <a:lnTo>
                      <a:pt x="152" y="7"/>
                    </a:lnTo>
                    <a:lnTo>
                      <a:pt x="134" y="8"/>
                    </a:lnTo>
                    <a:lnTo>
                      <a:pt x="127" y="7"/>
                    </a:lnTo>
                    <a:lnTo>
                      <a:pt x="119" y="6"/>
                    </a:lnTo>
                    <a:lnTo>
                      <a:pt x="111" y="4"/>
                    </a:lnTo>
                    <a:lnTo>
                      <a:pt x="103" y="0"/>
                    </a:lnTo>
                    <a:lnTo>
                      <a:pt x="80" y="0"/>
                    </a:lnTo>
                    <a:lnTo>
                      <a:pt x="52" y="0"/>
                    </a:lnTo>
                    <a:lnTo>
                      <a:pt x="24" y="0"/>
                    </a:lnTo>
                    <a:lnTo>
                      <a:pt x="5" y="0"/>
                    </a:lnTo>
                    <a:lnTo>
                      <a:pt x="5" y="7"/>
                    </a:lnTo>
                    <a:lnTo>
                      <a:pt x="5" y="18"/>
                    </a:lnTo>
                    <a:lnTo>
                      <a:pt x="5" y="29"/>
                    </a:lnTo>
                    <a:lnTo>
                      <a:pt x="5" y="37"/>
                    </a:lnTo>
                    <a:lnTo>
                      <a:pt x="9" y="47"/>
                    </a:lnTo>
                    <a:lnTo>
                      <a:pt x="15" y="60"/>
                    </a:lnTo>
                    <a:lnTo>
                      <a:pt x="19" y="74"/>
                    </a:lnTo>
                    <a:lnTo>
                      <a:pt x="23" y="91"/>
                    </a:lnTo>
                    <a:lnTo>
                      <a:pt x="28" y="109"/>
                    </a:lnTo>
                    <a:lnTo>
                      <a:pt x="31" y="128"/>
                    </a:lnTo>
                    <a:lnTo>
                      <a:pt x="34" y="150"/>
                    </a:lnTo>
                    <a:lnTo>
                      <a:pt x="38" y="172"/>
                    </a:lnTo>
                    <a:lnTo>
                      <a:pt x="38" y="190"/>
                    </a:lnTo>
                    <a:lnTo>
                      <a:pt x="37" y="206"/>
                    </a:lnTo>
                    <a:lnTo>
                      <a:pt x="33" y="219"/>
                    </a:lnTo>
                    <a:lnTo>
                      <a:pt x="29" y="230"/>
                    </a:lnTo>
                    <a:lnTo>
                      <a:pt x="18" y="249"/>
                    </a:lnTo>
                    <a:lnTo>
                      <a:pt x="7" y="269"/>
                    </a:lnTo>
                    <a:lnTo>
                      <a:pt x="17" y="284"/>
                    </a:lnTo>
                    <a:lnTo>
                      <a:pt x="10" y="321"/>
                    </a:lnTo>
                    <a:lnTo>
                      <a:pt x="0" y="328"/>
                    </a:lnTo>
                    <a:lnTo>
                      <a:pt x="28" y="339"/>
                    </a:lnTo>
                    <a:lnTo>
                      <a:pt x="55" y="352"/>
                    </a:lnTo>
                    <a:lnTo>
                      <a:pt x="84" y="367"/>
                    </a:lnTo>
                    <a:lnTo>
                      <a:pt x="111" y="381"/>
                    </a:lnTo>
                    <a:lnTo>
                      <a:pt x="136" y="396"/>
                    </a:lnTo>
                    <a:lnTo>
                      <a:pt x="159" y="411"/>
                    </a:lnTo>
                    <a:lnTo>
                      <a:pt x="170" y="420"/>
                    </a:lnTo>
                    <a:lnTo>
                      <a:pt x="180" y="428"/>
                    </a:lnTo>
                    <a:lnTo>
                      <a:pt x="189" y="436"/>
                    </a:lnTo>
                    <a:lnTo>
                      <a:pt x="197" y="444"/>
                    </a:lnTo>
                    <a:lnTo>
                      <a:pt x="198" y="451"/>
                    </a:lnTo>
                    <a:lnTo>
                      <a:pt x="199" y="457"/>
                    </a:lnTo>
                    <a:lnTo>
                      <a:pt x="201" y="464"/>
                    </a:lnTo>
                    <a:lnTo>
                      <a:pt x="205" y="471"/>
                    </a:lnTo>
                    <a:lnTo>
                      <a:pt x="209" y="479"/>
                    </a:lnTo>
                    <a:lnTo>
                      <a:pt x="214" y="486"/>
                    </a:lnTo>
                    <a:lnTo>
                      <a:pt x="220" y="492"/>
                    </a:lnTo>
                    <a:lnTo>
                      <a:pt x="226" y="498"/>
                    </a:lnTo>
                    <a:lnTo>
                      <a:pt x="233" y="503"/>
                    </a:lnTo>
                    <a:lnTo>
                      <a:pt x="240" y="508"/>
                    </a:lnTo>
                    <a:lnTo>
                      <a:pt x="247" y="512"/>
                    </a:lnTo>
                    <a:lnTo>
                      <a:pt x="256" y="516"/>
                    </a:lnTo>
                    <a:lnTo>
                      <a:pt x="264" y="519"/>
                    </a:lnTo>
                    <a:lnTo>
                      <a:pt x="273" y="521"/>
                    </a:lnTo>
                    <a:lnTo>
                      <a:pt x="281" y="523"/>
                    </a:lnTo>
                    <a:lnTo>
                      <a:pt x="290" y="523"/>
                    </a:lnTo>
                    <a:lnTo>
                      <a:pt x="304" y="502"/>
                    </a:lnTo>
                    <a:lnTo>
                      <a:pt x="320" y="482"/>
                    </a:lnTo>
                    <a:lnTo>
                      <a:pt x="335" y="462"/>
                    </a:lnTo>
                    <a:lnTo>
                      <a:pt x="349" y="444"/>
                    </a:lnTo>
                    <a:lnTo>
                      <a:pt x="365" y="427"/>
                    </a:lnTo>
                    <a:lnTo>
                      <a:pt x="379" y="408"/>
                    </a:lnTo>
                    <a:lnTo>
                      <a:pt x="394" y="390"/>
                    </a:lnTo>
                    <a:lnTo>
                      <a:pt x="410" y="37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7" name="Freeform 467">
                <a:extLst>
                  <a:ext uri="{FF2B5EF4-FFF2-40B4-BE49-F238E27FC236}">
                    <a16:creationId xmlns:a16="http://schemas.microsoft.com/office/drawing/2014/main" id="{9BA61882-059C-48FA-96C0-F5BFFED93040}"/>
                  </a:ext>
                </a:extLst>
              </p:cNvPr>
              <p:cNvSpPr>
                <a:spLocks/>
              </p:cNvSpPr>
              <p:nvPr>
                <p:custDataLst>
                  <p:tags r:id="rId305"/>
                </p:custDataLst>
              </p:nvPr>
            </p:nvSpPr>
            <p:spPr bwMode="auto">
              <a:xfrm>
                <a:off x="5023207" y="3320467"/>
                <a:ext cx="121259" cy="145911"/>
              </a:xfrm>
              <a:custGeom>
                <a:avLst/>
                <a:gdLst>
                  <a:gd name="T0" fmla="*/ 2425363 w 226"/>
                  <a:gd name="T1" fmla="*/ 63843958 h 246"/>
                  <a:gd name="T2" fmla="*/ 7275639 w 226"/>
                  <a:gd name="T3" fmla="*/ 67204167 h 246"/>
                  <a:gd name="T4" fmla="*/ 10711607 w 226"/>
                  <a:gd name="T5" fmla="*/ 68604342 h 246"/>
                  <a:gd name="T6" fmla="*/ 13742973 w 226"/>
                  <a:gd name="T7" fmla="*/ 68604342 h 246"/>
                  <a:gd name="T8" fmla="*/ 17178492 w 226"/>
                  <a:gd name="T9" fmla="*/ 67484096 h 246"/>
                  <a:gd name="T10" fmla="*/ 22231069 w 226"/>
                  <a:gd name="T11" fmla="*/ 63843958 h 246"/>
                  <a:gd name="T12" fmla="*/ 28496552 w 226"/>
                  <a:gd name="T13" fmla="*/ 57403471 h 246"/>
                  <a:gd name="T14" fmla="*/ 32538524 w 226"/>
                  <a:gd name="T15" fmla="*/ 51523371 h 246"/>
                  <a:gd name="T16" fmla="*/ 32134372 w 226"/>
                  <a:gd name="T17" fmla="*/ 48443092 h 246"/>
                  <a:gd name="T18" fmla="*/ 30113161 w 226"/>
                  <a:gd name="T19" fmla="*/ 44802954 h 246"/>
                  <a:gd name="T20" fmla="*/ 28900704 w 226"/>
                  <a:gd name="T21" fmla="*/ 40602429 h 246"/>
                  <a:gd name="T22" fmla="*/ 28496552 w 226"/>
                  <a:gd name="T23" fmla="*/ 36402433 h 246"/>
                  <a:gd name="T24" fmla="*/ 28496552 w 226"/>
                  <a:gd name="T25" fmla="*/ 32481837 h 246"/>
                  <a:gd name="T26" fmla="*/ 29506708 w 226"/>
                  <a:gd name="T27" fmla="*/ 29401558 h 246"/>
                  <a:gd name="T28" fmla="*/ 31527919 w 226"/>
                  <a:gd name="T29" fmla="*/ 26321808 h 246"/>
                  <a:gd name="T30" fmla="*/ 33953281 w 226"/>
                  <a:gd name="T31" fmla="*/ 24081317 h 246"/>
                  <a:gd name="T32" fmla="*/ 41228920 w 226"/>
                  <a:gd name="T33" fmla="*/ 19881321 h 246"/>
                  <a:gd name="T34" fmla="*/ 45472743 w 226"/>
                  <a:gd name="T35" fmla="*/ 13720762 h 246"/>
                  <a:gd name="T36" fmla="*/ 44664439 w 226"/>
                  <a:gd name="T37" fmla="*/ 8400521 h 246"/>
                  <a:gd name="T38" fmla="*/ 43249681 w 226"/>
                  <a:gd name="T39" fmla="*/ 4760383 h 246"/>
                  <a:gd name="T40" fmla="*/ 42845529 w 226"/>
                  <a:gd name="T41" fmla="*/ 1680104 h 246"/>
                  <a:gd name="T42" fmla="*/ 40824768 w 226"/>
                  <a:gd name="T43" fmla="*/ 279929 h 246"/>
                  <a:gd name="T44" fmla="*/ 36580496 w 226"/>
                  <a:gd name="T45" fmla="*/ 1960033 h 246"/>
                  <a:gd name="T46" fmla="*/ 31123766 w 226"/>
                  <a:gd name="T47" fmla="*/ 5600171 h 246"/>
                  <a:gd name="T48" fmla="*/ 24454131 w 226"/>
                  <a:gd name="T49" fmla="*/ 10640483 h 246"/>
                  <a:gd name="T50" fmla="*/ 20210308 w 226"/>
                  <a:gd name="T51" fmla="*/ 14280621 h 246"/>
                  <a:gd name="T52" fmla="*/ 17583094 w 226"/>
                  <a:gd name="T53" fmla="*/ 15400867 h 246"/>
                  <a:gd name="T54" fmla="*/ 15157731 w 226"/>
                  <a:gd name="T55" fmla="*/ 15120937 h 246"/>
                  <a:gd name="T56" fmla="*/ 11924064 w 226"/>
                  <a:gd name="T57" fmla="*/ 13160904 h 246"/>
                  <a:gd name="T58" fmla="*/ 7275639 w 226"/>
                  <a:gd name="T59" fmla="*/ 8680450 h 246"/>
                  <a:gd name="T60" fmla="*/ 4850276 w 226"/>
                  <a:gd name="T61" fmla="*/ 10920942 h 246"/>
                  <a:gd name="T62" fmla="*/ 3637819 w 226"/>
                  <a:gd name="T63" fmla="*/ 26601737 h 246"/>
                  <a:gd name="T64" fmla="*/ 2021211 w 226"/>
                  <a:gd name="T65" fmla="*/ 45642742 h 246"/>
                  <a:gd name="T66" fmla="*/ 606453 w 226"/>
                  <a:gd name="T67" fmla="*/ 59363504 h 24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226" h="246">
                    <a:moveTo>
                      <a:pt x="0" y="221"/>
                    </a:moveTo>
                    <a:lnTo>
                      <a:pt x="12" y="228"/>
                    </a:lnTo>
                    <a:lnTo>
                      <a:pt x="27" y="236"/>
                    </a:lnTo>
                    <a:lnTo>
                      <a:pt x="36" y="240"/>
                    </a:lnTo>
                    <a:lnTo>
                      <a:pt x="44" y="243"/>
                    </a:lnTo>
                    <a:lnTo>
                      <a:pt x="53" y="245"/>
                    </a:lnTo>
                    <a:lnTo>
                      <a:pt x="60" y="246"/>
                    </a:lnTo>
                    <a:lnTo>
                      <a:pt x="68" y="245"/>
                    </a:lnTo>
                    <a:lnTo>
                      <a:pt x="76" y="243"/>
                    </a:lnTo>
                    <a:lnTo>
                      <a:pt x="85" y="241"/>
                    </a:lnTo>
                    <a:lnTo>
                      <a:pt x="92" y="237"/>
                    </a:lnTo>
                    <a:lnTo>
                      <a:pt x="110" y="228"/>
                    </a:lnTo>
                    <a:lnTo>
                      <a:pt x="126" y="217"/>
                    </a:lnTo>
                    <a:lnTo>
                      <a:pt x="141" y="205"/>
                    </a:lnTo>
                    <a:lnTo>
                      <a:pt x="153" y="194"/>
                    </a:lnTo>
                    <a:lnTo>
                      <a:pt x="161" y="184"/>
                    </a:lnTo>
                    <a:lnTo>
                      <a:pt x="167" y="178"/>
                    </a:lnTo>
                    <a:lnTo>
                      <a:pt x="159" y="173"/>
                    </a:lnTo>
                    <a:lnTo>
                      <a:pt x="154" y="167"/>
                    </a:lnTo>
                    <a:lnTo>
                      <a:pt x="149" y="160"/>
                    </a:lnTo>
                    <a:lnTo>
                      <a:pt x="146" y="152"/>
                    </a:lnTo>
                    <a:lnTo>
                      <a:pt x="143" y="145"/>
                    </a:lnTo>
                    <a:lnTo>
                      <a:pt x="142" y="137"/>
                    </a:lnTo>
                    <a:lnTo>
                      <a:pt x="141" y="130"/>
                    </a:lnTo>
                    <a:lnTo>
                      <a:pt x="139" y="123"/>
                    </a:lnTo>
                    <a:lnTo>
                      <a:pt x="141" y="116"/>
                    </a:lnTo>
                    <a:lnTo>
                      <a:pt x="143" y="110"/>
                    </a:lnTo>
                    <a:lnTo>
                      <a:pt x="146" y="105"/>
                    </a:lnTo>
                    <a:lnTo>
                      <a:pt x="150" y="100"/>
                    </a:lnTo>
                    <a:lnTo>
                      <a:pt x="156" y="94"/>
                    </a:lnTo>
                    <a:lnTo>
                      <a:pt x="161" y="90"/>
                    </a:lnTo>
                    <a:lnTo>
                      <a:pt x="168" y="86"/>
                    </a:lnTo>
                    <a:lnTo>
                      <a:pt x="176" y="82"/>
                    </a:lnTo>
                    <a:lnTo>
                      <a:pt x="204" y="71"/>
                    </a:lnTo>
                    <a:lnTo>
                      <a:pt x="226" y="61"/>
                    </a:lnTo>
                    <a:lnTo>
                      <a:pt x="225" y="49"/>
                    </a:lnTo>
                    <a:lnTo>
                      <a:pt x="223" y="38"/>
                    </a:lnTo>
                    <a:lnTo>
                      <a:pt x="221" y="30"/>
                    </a:lnTo>
                    <a:lnTo>
                      <a:pt x="217" y="23"/>
                    </a:lnTo>
                    <a:lnTo>
                      <a:pt x="214" y="17"/>
                    </a:lnTo>
                    <a:lnTo>
                      <a:pt x="212" y="12"/>
                    </a:lnTo>
                    <a:lnTo>
                      <a:pt x="212" y="6"/>
                    </a:lnTo>
                    <a:lnTo>
                      <a:pt x="213" y="0"/>
                    </a:lnTo>
                    <a:lnTo>
                      <a:pt x="202" y="1"/>
                    </a:lnTo>
                    <a:lnTo>
                      <a:pt x="191" y="4"/>
                    </a:lnTo>
                    <a:lnTo>
                      <a:pt x="181" y="7"/>
                    </a:lnTo>
                    <a:lnTo>
                      <a:pt x="171" y="11"/>
                    </a:lnTo>
                    <a:lnTo>
                      <a:pt x="154" y="20"/>
                    </a:lnTo>
                    <a:lnTo>
                      <a:pt x="136" y="29"/>
                    </a:lnTo>
                    <a:lnTo>
                      <a:pt x="121" y="38"/>
                    </a:lnTo>
                    <a:lnTo>
                      <a:pt x="107" y="47"/>
                    </a:lnTo>
                    <a:lnTo>
                      <a:pt x="100" y="51"/>
                    </a:lnTo>
                    <a:lnTo>
                      <a:pt x="93" y="53"/>
                    </a:lnTo>
                    <a:lnTo>
                      <a:pt x="87" y="55"/>
                    </a:lnTo>
                    <a:lnTo>
                      <a:pt x="80" y="55"/>
                    </a:lnTo>
                    <a:lnTo>
                      <a:pt x="75" y="54"/>
                    </a:lnTo>
                    <a:lnTo>
                      <a:pt x="67" y="51"/>
                    </a:lnTo>
                    <a:lnTo>
                      <a:pt x="59" y="47"/>
                    </a:lnTo>
                    <a:lnTo>
                      <a:pt x="51" y="41"/>
                    </a:lnTo>
                    <a:lnTo>
                      <a:pt x="36" y="31"/>
                    </a:lnTo>
                    <a:lnTo>
                      <a:pt x="27" y="24"/>
                    </a:lnTo>
                    <a:lnTo>
                      <a:pt x="24" y="39"/>
                    </a:lnTo>
                    <a:lnTo>
                      <a:pt x="21" y="64"/>
                    </a:lnTo>
                    <a:lnTo>
                      <a:pt x="18" y="95"/>
                    </a:lnTo>
                    <a:lnTo>
                      <a:pt x="13" y="129"/>
                    </a:lnTo>
                    <a:lnTo>
                      <a:pt x="10" y="163"/>
                    </a:lnTo>
                    <a:lnTo>
                      <a:pt x="7" y="191"/>
                    </a:lnTo>
                    <a:lnTo>
                      <a:pt x="3" y="212"/>
                    </a:lnTo>
                    <a:lnTo>
                      <a:pt x="0" y="221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8" name="Freeform 468">
                <a:extLst>
                  <a:ext uri="{FF2B5EF4-FFF2-40B4-BE49-F238E27FC236}">
                    <a16:creationId xmlns:a16="http://schemas.microsoft.com/office/drawing/2014/main" id="{8FAB8459-BD89-4285-8A1F-ABE84063C764}"/>
                  </a:ext>
                </a:extLst>
              </p:cNvPr>
              <p:cNvSpPr>
                <a:spLocks/>
              </p:cNvSpPr>
              <p:nvPr>
                <p:custDataLst>
                  <p:tags r:id="rId306"/>
                </p:custDataLst>
              </p:nvPr>
            </p:nvSpPr>
            <p:spPr bwMode="auto">
              <a:xfrm>
                <a:off x="5381553" y="3436494"/>
                <a:ext cx="27148" cy="61528"/>
              </a:xfrm>
              <a:custGeom>
                <a:avLst/>
                <a:gdLst>
                  <a:gd name="T0" fmla="*/ 3704537 w 60"/>
                  <a:gd name="T1" fmla="*/ 0 h 81"/>
                  <a:gd name="T2" fmla="*/ 3979016 w 60"/>
                  <a:gd name="T3" fmla="*/ 941124 h 81"/>
                  <a:gd name="T4" fmla="*/ 4390549 w 60"/>
                  <a:gd name="T5" fmla="*/ 1411686 h 81"/>
                  <a:gd name="T6" fmla="*/ 4939506 w 60"/>
                  <a:gd name="T7" fmla="*/ 1411686 h 81"/>
                  <a:gd name="T8" fmla="*/ 5488464 w 60"/>
                  <a:gd name="T9" fmla="*/ 941124 h 81"/>
                  <a:gd name="T10" fmla="*/ 6448954 w 60"/>
                  <a:gd name="T11" fmla="*/ 470562 h 81"/>
                  <a:gd name="T12" fmla="*/ 7272020 w 60"/>
                  <a:gd name="T13" fmla="*/ 0 h 81"/>
                  <a:gd name="T14" fmla="*/ 7272020 w 60"/>
                  <a:gd name="T15" fmla="*/ 12233929 h 81"/>
                  <a:gd name="T16" fmla="*/ 7409445 w 60"/>
                  <a:gd name="T17" fmla="*/ 22115048 h 81"/>
                  <a:gd name="T18" fmla="*/ 7409445 w 60"/>
                  <a:gd name="T19" fmla="*/ 26819983 h 81"/>
                  <a:gd name="T20" fmla="*/ 7683553 w 60"/>
                  <a:gd name="T21" fmla="*/ 30584480 h 81"/>
                  <a:gd name="T22" fmla="*/ 7958032 w 60"/>
                  <a:gd name="T23" fmla="*/ 34348291 h 81"/>
                  <a:gd name="T24" fmla="*/ 8232510 w 60"/>
                  <a:gd name="T25" fmla="*/ 38112788 h 81"/>
                  <a:gd name="T26" fmla="*/ 2744047 w 60"/>
                  <a:gd name="T27" fmla="*/ 38112788 h 81"/>
                  <a:gd name="T28" fmla="*/ 1920981 w 60"/>
                  <a:gd name="T29" fmla="*/ 37642226 h 81"/>
                  <a:gd name="T30" fmla="*/ 960490 w 60"/>
                  <a:gd name="T31" fmla="*/ 36230540 h 81"/>
                  <a:gd name="T32" fmla="*/ 686012 w 60"/>
                  <a:gd name="T33" fmla="*/ 34818853 h 81"/>
                  <a:gd name="T34" fmla="*/ 274479 w 60"/>
                  <a:gd name="T35" fmla="*/ 33877729 h 81"/>
                  <a:gd name="T36" fmla="*/ 137054 w 60"/>
                  <a:gd name="T37" fmla="*/ 32937291 h 81"/>
                  <a:gd name="T38" fmla="*/ 0 w 60"/>
                  <a:gd name="T39" fmla="*/ 31996167 h 81"/>
                  <a:gd name="T40" fmla="*/ 960490 w 60"/>
                  <a:gd name="T41" fmla="*/ 5646060 h 81"/>
                  <a:gd name="T42" fmla="*/ 2744047 w 60"/>
                  <a:gd name="T43" fmla="*/ 2823373 h 81"/>
                  <a:gd name="T44" fmla="*/ 4665028 w 60"/>
                  <a:gd name="T45" fmla="*/ 0 h 81"/>
                  <a:gd name="T46" fmla="*/ 3704537 w 60"/>
                  <a:gd name="T47" fmla="*/ 0 h 81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60" h="81">
                    <a:moveTo>
                      <a:pt x="27" y="0"/>
                    </a:moveTo>
                    <a:lnTo>
                      <a:pt x="29" y="2"/>
                    </a:lnTo>
                    <a:lnTo>
                      <a:pt x="32" y="3"/>
                    </a:lnTo>
                    <a:lnTo>
                      <a:pt x="36" y="3"/>
                    </a:lnTo>
                    <a:lnTo>
                      <a:pt x="40" y="2"/>
                    </a:lnTo>
                    <a:lnTo>
                      <a:pt x="47" y="1"/>
                    </a:lnTo>
                    <a:lnTo>
                      <a:pt x="53" y="0"/>
                    </a:lnTo>
                    <a:lnTo>
                      <a:pt x="53" y="26"/>
                    </a:lnTo>
                    <a:lnTo>
                      <a:pt x="54" y="47"/>
                    </a:lnTo>
                    <a:lnTo>
                      <a:pt x="54" y="57"/>
                    </a:lnTo>
                    <a:lnTo>
                      <a:pt x="56" y="65"/>
                    </a:lnTo>
                    <a:lnTo>
                      <a:pt x="58" y="73"/>
                    </a:lnTo>
                    <a:lnTo>
                      <a:pt x="60" y="81"/>
                    </a:lnTo>
                    <a:lnTo>
                      <a:pt x="20" y="81"/>
                    </a:lnTo>
                    <a:lnTo>
                      <a:pt x="14" y="80"/>
                    </a:lnTo>
                    <a:lnTo>
                      <a:pt x="7" y="77"/>
                    </a:lnTo>
                    <a:lnTo>
                      <a:pt x="5" y="74"/>
                    </a:lnTo>
                    <a:lnTo>
                      <a:pt x="2" y="72"/>
                    </a:lnTo>
                    <a:lnTo>
                      <a:pt x="1" y="70"/>
                    </a:lnTo>
                    <a:lnTo>
                      <a:pt x="0" y="68"/>
                    </a:lnTo>
                    <a:lnTo>
                      <a:pt x="7" y="12"/>
                    </a:lnTo>
                    <a:lnTo>
                      <a:pt x="20" y="6"/>
                    </a:lnTo>
                    <a:lnTo>
                      <a:pt x="34" y="0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69" name="Freeform 469">
                <a:extLst>
                  <a:ext uri="{FF2B5EF4-FFF2-40B4-BE49-F238E27FC236}">
                    <a16:creationId xmlns:a16="http://schemas.microsoft.com/office/drawing/2014/main" id="{4A5D6342-B260-40CB-B1E7-0D21C2404E59}"/>
                  </a:ext>
                </a:extLst>
              </p:cNvPr>
              <p:cNvSpPr>
                <a:spLocks/>
              </p:cNvSpPr>
              <p:nvPr>
                <p:custDataLst>
                  <p:tags r:id="rId307"/>
                </p:custDataLst>
              </p:nvPr>
            </p:nvSpPr>
            <p:spPr bwMode="auto">
              <a:xfrm>
                <a:off x="4521886" y="2462577"/>
                <a:ext cx="195461" cy="75592"/>
              </a:xfrm>
              <a:custGeom>
                <a:avLst/>
                <a:gdLst>
                  <a:gd name="T0" fmla="*/ 47881223 w 370"/>
                  <a:gd name="T1" fmla="*/ 31256103 h 129"/>
                  <a:gd name="T2" fmla="*/ 49413383 w 370"/>
                  <a:gd name="T3" fmla="*/ 31790020 h 129"/>
                  <a:gd name="T4" fmla="*/ 53052319 w 370"/>
                  <a:gd name="T5" fmla="*/ 32858887 h 129"/>
                  <a:gd name="T6" fmla="*/ 56499571 w 370"/>
                  <a:gd name="T7" fmla="*/ 33927238 h 129"/>
                  <a:gd name="T8" fmla="*/ 58031732 w 370"/>
                  <a:gd name="T9" fmla="*/ 34461672 h 129"/>
                  <a:gd name="T10" fmla="*/ 70864069 w 370"/>
                  <a:gd name="T11" fmla="*/ 25912799 h 129"/>
                  <a:gd name="T12" fmla="*/ 68565610 w 370"/>
                  <a:gd name="T13" fmla="*/ 20036096 h 129"/>
                  <a:gd name="T14" fmla="*/ 66075903 w 370"/>
                  <a:gd name="T15" fmla="*/ 12822791 h 129"/>
                  <a:gd name="T16" fmla="*/ 64160812 w 370"/>
                  <a:gd name="T17" fmla="*/ 7212788 h 129"/>
                  <a:gd name="T18" fmla="*/ 63203266 w 370"/>
                  <a:gd name="T19" fmla="*/ 4808353 h 129"/>
                  <a:gd name="T20" fmla="*/ 57457555 w 370"/>
                  <a:gd name="T21" fmla="*/ 4007219 h 129"/>
                  <a:gd name="T22" fmla="*/ 49221699 w 370"/>
                  <a:gd name="T23" fmla="*/ 2404435 h 129"/>
                  <a:gd name="T24" fmla="*/ 40986281 w 370"/>
                  <a:gd name="T25" fmla="*/ 534434 h 129"/>
                  <a:gd name="T26" fmla="*/ 35048885 w 370"/>
                  <a:gd name="T27" fmla="*/ 0 h 129"/>
                  <a:gd name="T28" fmla="*/ 34283024 w 370"/>
                  <a:gd name="T29" fmla="*/ 0 h 129"/>
                  <a:gd name="T30" fmla="*/ 33708409 w 370"/>
                  <a:gd name="T31" fmla="*/ 267217 h 129"/>
                  <a:gd name="T32" fmla="*/ 32942110 w 370"/>
                  <a:gd name="T33" fmla="*/ 534434 h 129"/>
                  <a:gd name="T34" fmla="*/ 32559179 w 370"/>
                  <a:gd name="T35" fmla="*/ 801651 h 129"/>
                  <a:gd name="T36" fmla="*/ 31027018 w 370"/>
                  <a:gd name="T37" fmla="*/ 1870001 h 129"/>
                  <a:gd name="T38" fmla="*/ 28728558 w 370"/>
                  <a:gd name="T39" fmla="*/ 3205569 h 129"/>
                  <a:gd name="T40" fmla="*/ 28153944 w 370"/>
                  <a:gd name="T41" fmla="*/ 5610003 h 129"/>
                  <a:gd name="T42" fmla="*/ 26813467 w 370"/>
                  <a:gd name="T43" fmla="*/ 9350006 h 129"/>
                  <a:gd name="T44" fmla="*/ 25664237 w 370"/>
                  <a:gd name="T45" fmla="*/ 12822791 h 129"/>
                  <a:gd name="T46" fmla="*/ 25089622 w 370"/>
                  <a:gd name="T47" fmla="*/ 14692792 h 129"/>
                  <a:gd name="T48" fmla="*/ 23365778 w 370"/>
                  <a:gd name="T49" fmla="*/ 14425576 h 129"/>
                  <a:gd name="T50" fmla="*/ 21259440 w 370"/>
                  <a:gd name="T51" fmla="*/ 13090008 h 129"/>
                  <a:gd name="T52" fmla="*/ 18769296 w 370"/>
                  <a:gd name="T53" fmla="*/ 11754441 h 129"/>
                  <a:gd name="T54" fmla="*/ 16087905 w 370"/>
                  <a:gd name="T55" fmla="*/ 10151656 h 129"/>
                  <a:gd name="T56" fmla="*/ 11491423 w 370"/>
                  <a:gd name="T57" fmla="*/ 6945571 h 129"/>
                  <a:gd name="T58" fmla="*/ 8427102 w 370"/>
                  <a:gd name="T59" fmla="*/ 4808353 h 129"/>
                  <a:gd name="T60" fmla="*/ 6128642 w 370"/>
                  <a:gd name="T61" fmla="*/ 6678871 h 129"/>
                  <a:gd name="T62" fmla="*/ 4021867 w 370"/>
                  <a:gd name="T63" fmla="*/ 8815572 h 129"/>
                  <a:gd name="T64" fmla="*/ 3064321 w 370"/>
                  <a:gd name="T65" fmla="*/ 9884440 h 129"/>
                  <a:gd name="T66" fmla="*/ 2298460 w 370"/>
                  <a:gd name="T67" fmla="*/ 10952790 h 129"/>
                  <a:gd name="T68" fmla="*/ 1723845 w 370"/>
                  <a:gd name="T69" fmla="*/ 12288874 h 129"/>
                  <a:gd name="T70" fmla="*/ 957546 w 370"/>
                  <a:gd name="T71" fmla="*/ 13891659 h 129"/>
                  <a:gd name="T72" fmla="*/ 574615 w 370"/>
                  <a:gd name="T73" fmla="*/ 15227226 h 129"/>
                  <a:gd name="T74" fmla="*/ 191684 w 370"/>
                  <a:gd name="T75" fmla="*/ 16830010 h 129"/>
                  <a:gd name="T76" fmla="*/ 0 w 370"/>
                  <a:gd name="T77" fmla="*/ 18432795 h 129"/>
                  <a:gd name="T78" fmla="*/ 0 w 370"/>
                  <a:gd name="T79" fmla="*/ 20036096 h 129"/>
                  <a:gd name="T80" fmla="*/ 191684 w 370"/>
                  <a:gd name="T81" fmla="*/ 21906097 h 129"/>
                  <a:gd name="T82" fmla="*/ 574615 w 370"/>
                  <a:gd name="T83" fmla="*/ 23508881 h 129"/>
                  <a:gd name="T84" fmla="*/ 1149230 w 370"/>
                  <a:gd name="T85" fmla="*/ 25646099 h 129"/>
                  <a:gd name="T86" fmla="*/ 2106776 w 370"/>
                  <a:gd name="T87" fmla="*/ 27516101 h 129"/>
                  <a:gd name="T88" fmla="*/ 3830620 w 370"/>
                  <a:gd name="T89" fmla="*/ 26981667 h 129"/>
                  <a:gd name="T90" fmla="*/ 6320327 w 370"/>
                  <a:gd name="T91" fmla="*/ 26447233 h 129"/>
                  <a:gd name="T92" fmla="*/ 9576332 w 370"/>
                  <a:gd name="T93" fmla="*/ 25912799 h 129"/>
                  <a:gd name="T94" fmla="*/ 13215268 w 370"/>
                  <a:gd name="T95" fmla="*/ 25378883 h 129"/>
                  <a:gd name="T96" fmla="*/ 19535595 w 370"/>
                  <a:gd name="T97" fmla="*/ 24577232 h 129"/>
                  <a:gd name="T98" fmla="*/ 22408232 w 370"/>
                  <a:gd name="T99" fmla="*/ 24310015 h 129"/>
                  <a:gd name="T100" fmla="*/ 26238852 w 370"/>
                  <a:gd name="T101" fmla="*/ 24577232 h 129"/>
                  <a:gd name="T102" fmla="*/ 29111927 w 370"/>
                  <a:gd name="T103" fmla="*/ 25111666 h 129"/>
                  <a:gd name="T104" fmla="*/ 31792880 w 370"/>
                  <a:gd name="T105" fmla="*/ 25912799 h 129"/>
                  <a:gd name="T106" fmla="*/ 33899655 w 370"/>
                  <a:gd name="T107" fmla="*/ 26714450 h 129"/>
                  <a:gd name="T108" fmla="*/ 36198115 w 370"/>
                  <a:gd name="T109" fmla="*/ 27782801 h 129"/>
                  <a:gd name="T110" fmla="*/ 38496575 w 370"/>
                  <a:gd name="T111" fmla="*/ 28851668 h 129"/>
                  <a:gd name="T112" fmla="*/ 41560896 w 370"/>
                  <a:gd name="T113" fmla="*/ 29386102 h 129"/>
                  <a:gd name="T114" fmla="*/ 45391516 w 370"/>
                  <a:gd name="T115" fmla="*/ 29653319 h 129"/>
                  <a:gd name="T116" fmla="*/ 45391516 w 370"/>
                  <a:gd name="T117" fmla="*/ 31256103 h 129"/>
                  <a:gd name="T118" fmla="*/ 47881223 w 370"/>
                  <a:gd name="T119" fmla="*/ 31256103 h 129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0" t="0" r="r" b="b"/>
                <a:pathLst>
                  <a:path w="370" h="129">
                    <a:moveTo>
                      <a:pt x="250" y="117"/>
                    </a:moveTo>
                    <a:lnTo>
                      <a:pt x="258" y="119"/>
                    </a:lnTo>
                    <a:lnTo>
                      <a:pt x="277" y="123"/>
                    </a:lnTo>
                    <a:lnTo>
                      <a:pt x="295" y="127"/>
                    </a:lnTo>
                    <a:lnTo>
                      <a:pt x="303" y="129"/>
                    </a:lnTo>
                    <a:lnTo>
                      <a:pt x="370" y="97"/>
                    </a:lnTo>
                    <a:lnTo>
                      <a:pt x="358" y="75"/>
                    </a:lnTo>
                    <a:lnTo>
                      <a:pt x="345" y="48"/>
                    </a:lnTo>
                    <a:lnTo>
                      <a:pt x="335" y="27"/>
                    </a:lnTo>
                    <a:lnTo>
                      <a:pt x="330" y="18"/>
                    </a:lnTo>
                    <a:lnTo>
                      <a:pt x="300" y="15"/>
                    </a:lnTo>
                    <a:lnTo>
                      <a:pt x="257" y="9"/>
                    </a:lnTo>
                    <a:lnTo>
                      <a:pt x="214" y="2"/>
                    </a:lnTo>
                    <a:lnTo>
                      <a:pt x="183" y="0"/>
                    </a:lnTo>
                    <a:lnTo>
                      <a:pt x="179" y="0"/>
                    </a:lnTo>
                    <a:lnTo>
                      <a:pt x="176" y="1"/>
                    </a:lnTo>
                    <a:lnTo>
                      <a:pt x="172" y="2"/>
                    </a:lnTo>
                    <a:lnTo>
                      <a:pt x="170" y="3"/>
                    </a:lnTo>
                    <a:lnTo>
                      <a:pt x="162" y="7"/>
                    </a:lnTo>
                    <a:lnTo>
                      <a:pt x="150" y="12"/>
                    </a:lnTo>
                    <a:lnTo>
                      <a:pt x="147" y="21"/>
                    </a:lnTo>
                    <a:lnTo>
                      <a:pt x="140" y="35"/>
                    </a:lnTo>
                    <a:lnTo>
                      <a:pt x="134" y="48"/>
                    </a:lnTo>
                    <a:lnTo>
                      <a:pt x="131" y="55"/>
                    </a:lnTo>
                    <a:lnTo>
                      <a:pt x="122" y="54"/>
                    </a:lnTo>
                    <a:lnTo>
                      <a:pt x="111" y="49"/>
                    </a:lnTo>
                    <a:lnTo>
                      <a:pt x="98" y="44"/>
                    </a:lnTo>
                    <a:lnTo>
                      <a:pt x="84" y="38"/>
                    </a:lnTo>
                    <a:lnTo>
                      <a:pt x="60" y="26"/>
                    </a:lnTo>
                    <a:lnTo>
                      <a:pt x="44" y="18"/>
                    </a:lnTo>
                    <a:lnTo>
                      <a:pt x="32" y="25"/>
                    </a:lnTo>
                    <a:lnTo>
                      <a:pt x="21" y="33"/>
                    </a:lnTo>
                    <a:lnTo>
                      <a:pt x="16" y="37"/>
                    </a:lnTo>
                    <a:lnTo>
                      <a:pt x="12" y="41"/>
                    </a:lnTo>
                    <a:lnTo>
                      <a:pt x="9" y="46"/>
                    </a:lnTo>
                    <a:lnTo>
                      <a:pt x="5" y="52"/>
                    </a:lnTo>
                    <a:lnTo>
                      <a:pt x="3" y="57"/>
                    </a:lnTo>
                    <a:lnTo>
                      <a:pt x="1" y="63"/>
                    </a:lnTo>
                    <a:lnTo>
                      <a:pt x="0" y="69"/>
                    </a:lnTo>
                    <a:lnTo>
                      <a:pt x="0" y="75"/>
                    </a:lnTo>
                    <a:lnTo>
                      <a:pt x="1" y="82"/>
                    </a:lnTo>
                    <a:lnTo>
                      <a:pt x="3" y="88"/>
                    </a:lnTo>
                    <a:lnTo>
                      <a:pt x="6" y="96"/>
                    </a:lnTo>
                    <a:lnTo>
                      <a:pt x="11" y="103"/>
                    </a:lnTo>
                    <a:lnTo>
                      <a:pt x="20" y="101"/>
                    </a:lnTo>
                    <a:lnTo>
                      <a:pt x="33" y="99"/>
                    </a:lnTo>
                    <a:lnTo>
                      <a:pt x="50" y="97"/>
                    </a:lnTo>
                    <a:lnTo>
                      <a:pt x="69" y="95"/>
                    </a:lnTo>
                    <a:lnTo>
                      <a:pt x="102" y="92"/>
                    </a:lnTo>
                    <a:lnTo>
                      <a:pt x="117" y="91"/>
                    </a:lnTo>
                    <a:lnTo>
                      <a:pt x="137" y="92"/>
                    </a:lnTo>
                    <a:lnTo>
                      <a:pt x="152" y="94"/>
                    </a:lnTo>
                    <a:lnTo>
                      <a:pt x="166" y="97"/>
                    </a:lnTo>
                    <a:lnTo>
                      <a:pt x="177" y="100"/>
                    </a:lnTo>
                    <a:lnTo>
                      <a:pt x="189" y="104"/>
                    </a:lnTo>
                    <a:lnTo>
                      <a:pt x="201" y="108"/>
                    </a:lnTo>
                    <a:lnTo>
                      <a:pt x="217" y="110"/>
                    </a:lnTo>
                    <a:lnTo>
                      <a:pt x="237" y="111"/>
                    </a:lnTo>
                    <a:lnTo>
                      <a:pt x="237" y="117"/>
                    </a:lnTo>
                    <a:lnTo>
                      <a:pt x="250" y="11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0" name="Freeform 470">
                <a:extLst>
                  <a:ext uri="{FF2B5EF4-FFF2-40B4-BE49-F238E27FC236}">
                    <a16:creationId xmlns:a16="http://schemas.microsoft.com/office/drawing/2014/main" id="{7A6D0095-111E-4C36-BADD-B103598A484C}"/>
                  </a:ext>
                </a:extLst>
              </p:cNvPr>
              <p:cNvSpPr>
                <a:spLocks/>
              </p:cNvSpPr>
              <p:nvPr>
                <p:custDataLst>
                  <p:tags r:id="rId308"/>
                </p:custDataLst>
              </p:nvPr>
            </p:nvSpPr>
            <p:spPr bwMode="auto">
              <a:xfrm>
                <a:off x="5017778" y="3273002"/>
                <a:ext cx="36197" cy="65046"/>
              </a:xfrm>
              <a:custGeom>
                <a:avLst/>
                <a:gdLst>
                  <a:gd name="T0" fmla="*/ 3838115 w 80"/>
                  <a:gd name="T1" fmla="*/ 369651 h 94"/>
                  <a:gd name="T2" fmla="*/ 4833083 w 80"/>
                  <a:gd name="T3" fmla="*/ 0 h 94"/>
                  <a:gd name="T4" fmla="*/ 5828052 w 80"/>
                  <a:gd name="T5" fmla="*/ 0 h 94"/>
                  <a:gd name="T6" fmla="*/ 6680883 w 80"/>
                  <a:gd name="T7" fmla="*/ 739302 h 94"/>
                  <a:gd name="T8" fmla="*/ 7675852 w 80"/>
                  <a:gd name="T9" fmla="*/ 1478604 h 94"/>
                  <a:gd name="T10" fmla="*/ 8529060 w 80"/>
                  <a:gd name="T11" fmla="*/ 2217906 h 94"/>
                  <a:gd name="T12" fmla="*/ 9381890 w 80"/>
                  <a:gd name="T13" fmla="*/ 2957209 h 94"/>
                  <a:gd name="T14" fmla="*/ 10376859 w 80"/>
                  <a:gd name="T15" fmla="*/ 2957209 h 94"/>
                  <a:gd name="T16" fmla="*/ 11371828 w 80"/>
                  <a:gd name="T17" fmla="*/ 2587557 h 94"/>
                  <a:gd name="T18" fmla="*/ 11371828 w 80"/>
                  <a:gd name="T19" fmla="*/ 14046132 h 94"/>
                  <a:gd name="T20" fmla="*/ 10661136 w 80"/>
                  <a:gd name="T21" fmla="*/ 16264039 h 94"/>
                  <a:gd name="T22" fmla="*/ 9808305 w 80"/>
                  <a:gd name="T23" fmla="*/ 18851596 h 94"/>
                  <a:gd name="T24" fmla="*/ 9097613 w 80"/>
                  <a:gd name="T25" fmla="*/ 21808805 h 94"/>
                  <a:gd name="T26" fmla="*/ 8244406 w 80"/>
                  <a:gd name="T27" fmla="*/ 25135664 h 94"/>
                  <a:gd name="T28" fmla="*/ 7249437 w 80"/>
                  <a:gd name="T29" fmla="*/ 31049473 h 94"/>
                  <a:gd name="T30" fmla="*/ 6680883 w 80"/>
                  <a:gd name="T31" fmla="*/ 34745984 h 94"/>
                  <a:gd name="T32" fmla="*/ 6112329 w 80"/>
                  <a:gd name="T33" fmla="*/ 34376333 h 94"/>
                  <a:gd name="T34" fmla="*/ 5685914 w 80"/>
                  <a:gd name="T35" fmla="*/ 34006682 h 94"/>
                  <a:gd name="T36" fmla="*/ 5259499 w 80"/>
                  <a:gd name="T37" fmla="*/ 33637031 h 94"/>
                  <a:gd name="T38" fmla="*/ 4833083 w 80"/>
                  <a:gd name="T39" fmla="*/ 32897729 h 94"/>
                  <a:gd name="T40" fmla="*/ 4122391 w 80"/>
                  <a:gd name="T41" fmla="*/ 31049473 h 94"/>
                  <a:gd name="T42" fmla="*/ 3269561 w 80"/>
                  <a:gd name="T43" fmla="*/ 28831567 h 94"/>
                  <a:gd name="T44" fmla="*/ 2700630 w 80"/>
                  <a:gd name="T45" fmla="*/ 26613661 h 94"/>
                  <a:gd name="T46" fmla="*/ 1847800 w 80"/>
                  <a:gd name="T47" fmla="*/ 24026711 h 94"/>
                  <a:gd name="T48" fmla="*/ 994969 w 80"/>
                  <a:gd name="T49" fmla="*/ 22178456 h 94"/>
                  <a:gd name="T50" fmla="*/ 0 w 80"/>
                  <a:gd name="T51" fmla="*/ 20699852 h 94"/>
                  <a:gd name="T52" fmla="*/ 1137107 w 80"/>
                  <a:gd name="T53" fmla="*/ 15155086 h 94"/>
                  <a:gd name="T54" fmla="*/ 1847800 w 80"/>
                  <a:gd name="T55" fmla="*/ 10719273 h 94"/>
                  <a:gd name="T56" fmla="*/ 2700630 w 80"/>
                  <a:gd name="T57" fmla="*/ 6284068 h 94"/>
                  <a:gd name="T58" fmla="*/ 3838115 w 80"/>
                  <a:gd name="T59" fmla="*/ 369651 h 94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0" t="0" r="r" b="b"/>
                <a:pathLst>
                  <a:path w="80" h="94">
                    <a:moveTo>
                      <a:pt x="27" y="1"/>
                    </a:moveTo>
                    <a:lnTo>
                      <a:pt x="34" y="0"/>
                    </a:lnTo>
                    <a:lnTo>
                      <a:pt x="41" y="0"/>
                    </a:lnTo>
                    <a:lnTo>
                      <a:pt x="47" y="2"/>
                    </a:lnTo>
                    <a:lnTo>
                      <a:pt x="54" y="4"/>
                    </a:lnTo>
                    <a:lnTo>
                      <a:pt x="60" y="6"/>
                    </a:lnTo>
                    <a:lnTo>
                      <a:pt x="66" y="8"/>
                    </a:lnTo>
                    <a:lnTo>
                      <a:pt x="73" y="8"/>
                    </a:lnTo>
                    <a:lnTo>
                      <a:pt x="80" y="7"/>
                    </a:lnTo>
                    <a:lnTo>
                      <a:pt x="80" y="38"/>
                    </a:lnTo>
                    <a:lnTo>
                      <a:pt x="75" y="44"/>
                    </a:lnTo>
                    <a:lnTo>
                      <a:pt x="69" y="51"/>
                    </a:lnTo>
                    <a:lnTo>
                      <a:pt x="64" y="59"/>
                    </a:lnTo>
                    <a:lnTo>
                      <a:pt x="58" y="68"/>
                    </a:lnTo>
                    <a:lnTo>
                      <a:pt x="51" y="84"/>
                    </a:lnTo>
                    <a:lnTo>
                      <a:pt x="47" y="94"/>
                    </a:lnTo>
                    <a:lnTo>
                      <a:pt x="43" y="93"/>
                    </a:lnTo>
                    <a:lnTo>
                      <a:pt x="40" y="92"/>
                    </a:lnTo>
                    <a:lnTo>
                      <a:pt x="37" y="91"/>
                    </a:lnTo>
                    <a:lnTo>
                      <a:pt x="34" y="89"/>
                    </a:lnTo>
                    <a:lnTo>
                      <a:pt x="29" y="84"/>
                    </a:lnTo>
                    <a:lnTo>
                      <a:pt x="23" y="78"/>
                    </a:lnTo>
                    <a:lnTo>
                      <a:pt x="19" y="72"/>
                    </a:lnTo>
                    <a:lnTo>
                      <a:pt x="13" y="65"/>
                    </a:lnTo>
                    <a:lnTo>
                      <a:pt x="7" y="60"/>
                    </a:lnTo>
                    <a:lnTo>
                      <a:pt x="0" y="56"/>
                    </a:lnTo>
                    <a:lnTo>
                      <a:pt x="8" y="41"/>
                    </a:lnTo>
                    <a:lnTo>
                      <a:pt x="13" y="29"/>
                    </a:lnTo>
                    <a:lnTo>
                      <a:pt x="19" y="17"/>
                    </a:lnTo>
                    <a:lnTo>
                      <a:pt x="27" y="1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1" name="Freeform 471">
                <a:extLst>
                  <a:ext uri="{FF2B5EF4-FFF2-40B4-BE49-F238E27FC236}">
                    <a16:creationId xmlns:a16="http://schemas.microsoft.com/office/drawing/2014/main" id="{801D6623-8BAB-412A-B474-F78A9774B70C}"/>
                  </a:ext>
                </a:extLst>
              </p:cNvPr>
              <p:cNvSpPr>
                <a:spLocks/>
              </p:cNvSpPr>
              <p:nvPr>
                <p:custDataLst>
                  <p:tags r:id="rId309"/>
                </p:custDataLst>
              </p:nvPr>
            </p:nvSpPr>
            <p:spPr bwMode="auto">
              <a:xfrm>
                <a:off x="4796980" y="5535513"/>
                <a:ext cx="74202" cy="63287"/>
              </a:xfrm>
              <a:custGeom>
                <a:avLst/>
                <a:gdLst>
                  <a:gd name="T0" fmla="*/ 631044 w 135"/>
                  <a:gd name="T1" fmla="*/ 18704379 h 98"/>
                  <a:gd name="T2" fmla="*/ 2313674 w 135"/>
                  <a:gd name="T3" fmla="*/ 18364394 h 98"/>
                  <a:gd name="T4" fmla="*/ 3785804 w 135"/>
                  <a:gd name="T5" fmla="*/ 18024410 h 98"/>
                  <a:gd name="T6" fmla="*/ 5047892 w 135"/>
                  <a:gd name="T7" fmla="*/ 17003874 h 98"/>
                  <a:gd name="T8" fmla="*/ 6520022 w 135"/>
                  <a:gd name="T9" fmla="*/ 15983922 h 98"/>
                  <a:gd name="T10" fmla="*/ 8833696 w 135"/>
                  <a:gd name="T11" fmla="*/ 12922898 h 98"/>
                  <a:gd name="T12" fmla="*/ 10936869 w 135"/>
                  <a:gd name="T13" fmla="*/ 9522473 h 98"/>
                  <a:gd name="T14" fmla="*/ 12829542 w 135"/>
                  <a:gd name="T15" fmla="*/ 6121465 h 98"/>
                  <a:gd name="T16" fmla="*/ 14932716 w 135"/>
                  <a:gd name="T17" fmla="*/ 2720457 h 98"/>
                  <a:gd name="T18" fmla="*/ 15984303 w 135"/>
                  <a:gd name="T19" fmla="*/ 1700504 h 98"/>
                  <a:gd name="T20" fmla="*/ 17246390 w 135"/>
                  <a:gd name="T21" fmla="*/ 679968 h 98"/>
                  <a:gd name="T22" fmla="*/ 18508019 w 135"/>
                  <a:gd name="T23" fmla="*/ 0 h 98"/>
                  <a:gd name="T24" fmla="*/ 20190650 w 135"/>
                  <a:gd name="T25" fmla="*/ 0 h 98"/>
                  <a:gd name="T26" fmla="*/ 21452737 w 135"/>
                  <a:gd name="T27" fmla="*/ 0 h 98"/>
                  <a:gd name="T28" fmla="*/ 23135368 w 135"/>
                  <a:gd name="T29" fmla="*/ 1019953 h 98"/>
                  <a:gd name="T30" fmla="*/ 24607498 w 135"/>
                  <a:gd name="T31" fmla="*/ 2040488 h 98"/>
                  <a:gd name="T32" fmla="*/ 25869585 w 135"/>
                  <a:gd name="T33" fmla="*/ 3740992 h 98"/>
                  <a:gd name="T34" fmla="*/ 26921172 w 135"/>
                  <a:gd name="T35" fmla="*/ 5441496 h 98"/>
                  <a:gd name="T36" fmla="*/ 27762258 w 135"/>
                  <a:gd name="T37" fmla="*/ 8161953 h 98"/>
                  <a:gd name="T38" fmla="*/ 28182801 w 135"/>
                  <a:gd name="T39" fmla="*/ 10202441 h 98"/>
                  <a:gd name="T40" fmla="*/ 28393302 w 135"/>
                  <a:gd name="T41" fmla="*/ 12582914 h 98"/>
                  <a:gd name="T42" fmla="*/ 28182801 w 135"/>
                  <a:gd name="T43" fmla="*/ 13603449 h 98"/>
                  <a:gd name="T44" fmla="*/ 27762258 w 135"/>
                  <a:gd name="T45" fmla="*/ 14623402 h 98"/>
                  <a:gd name="T46" fmla="*/ 27131214 w 135"/>
                  <a:gd name="T47" fmla="*/ 15983922 h 98"/>
                  <a:gd name="T48" fmla="*/ 26079627 w 135"/>
                  <a:gd name="T49" fmla="*/ 17343859 h 98"/>
                  <a:gd name="T50" fmla="*/ 23766412 w 135"/>
                  <a:gd name="T51" fmla="*/ 20744867 h 98"/>
                  <a:gd name="T52" fmla="*/ 21032194 w 135"/>
                  <a:gd name="T53" fmla="*/ 24485859 h 98"/>
                  <a:gd name="T54" fmla="*/ 18297977 w 135"/>
                  <a:gd name="T55" fmla="*/ 27886284 h 98"/>
                  <a:gd name="T56" fmla="*/ 15563760 w 135"/>
                  <a:gd name="T57" fmla="*/ 30947308 h 98"/>
                  <a:gd name="T58" fmla="*/ 13250085 w 135"/>
                  <a:gd name="T59" fmla="*/ 32647812 h 98"/>
                  <a:gd name="T60" fmla="*/ 11567455 w 135"/>
                  <a:gd name="T61" fmla="*/ 33327781 h 98"/>
                  <a:gd name="T62" fmla="*/ 10726369 w 135"/>
                  <a:gd name="T63" fmla="*/ 32987796 h 98"/>
                  <a:gd name="T64" fmla="*/ 9043738 w 135"/>
                  <a:gd name="T65" fmla="*/ 31287292 h 98"/>
                  <a:gd name="T66" fmla="*/ 6730064 w 135"/>
                  <a:gd name="T67" fmla="*/ 28906820 h 98"/>
                  <a:gd name="T68" fmla="*/ 4416848 w 135"/>
                  <a:gd name="T69" fmla="*/ 26186363 h 98"/>
                  <a:gd name="T70" fmla="*/ 2313674 w 135"/>
                  <a:gd name="T71" fmla="*/ 23125339 h 98"/>
                  <a:gd name="T72" fmla="*/ 1051587 w 135"/>
                  <a:gd name="T73" fmla="*/ 21084851 h 98"/>
                  <a:gd name="T74" fmla="*/ 210501 w 135"/>
                  <a:gd name="T75" fmla="*/ 20064898 h 98"/>
                  <a:gd name="T76" fmla="*/ 0 w 135"/>
                  <a:gd name="T77" fmla="*/ 19384347 h 98"/>
                  <a:gd name="T78" fmla="*/ 0 w 135"/>
                  <a:gd name="T79" fmla="*/ 19044363 h 98"/>
                  <a:gd name="T80" fmla="*/ 631044 w 135"/>
                  <a:gd name="T81" fmla="*/ 18704379 h 9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0" t="0" r="r" b="b"/>
                <a:pathLst>
                  <a:path w="135" h="98">
                    <a:moveTo>
                      <a:pt x="3" y="55"/>
                    </a:moveTo>
                    <a:lnTo>
                      <a:pt x="11" y="54"/>
                    </a:lnTo>
                    <a:lnTo>
                      <a:pt x="18" y="53"/>
                    </a:lnTo>
                    <a:lnTo>
                      <a:pt x="24" y="50"/>
                    </a:lnTo>
                    <a:lnTo>
                      <a:pt x="31" y="47"/>
                    </a:lnTo>
                    <a:lnTo>
                      <a:pt x="42" y="38"/>
                    </a:lnTo>
                    <a:lnTo>
                      <a:pt x="52" y="28"/>
                    </a:lnTo>
                    <a:lnTo>
                      <a:pt x="61" y="18"/>
                    </a:lnTo>
                    <a:lnTo>
                      <a:pt x="71" y="8"/>
                    </a:lnTo>
                    <a:lnTo>
                      <a:pt x="76" y="5"/>
                    </a:lnTo>
                    <a:lnTo>
                      <a:pt x="82" y="2"/>
                    </a:lnTo>
                    <a:lnTo>
                      <a:pt x="88" y="0"/>
                    </a:lnTo>
                    <a:lnTo>
                      <a:pt x="96" y="0"/>
                    </a:lnTo>
                    <a:lnTo>
                      <a:pt x="102" y="0"/>
                    </a:lnTo>
                    <a:lnTo>
                      <a:pt x="110" y="3"/>
                    </a:lnTo>
                    <a:lnTo>
                      <a:pt x="117" y="6"/>
                    </a:lnTo>
                    <a:lnTo>
                      <a:pt x="123" y="11"/>
                    </a:lnTo>
                    <a:lnTo>
                      <a:pt x="128" y="16"/>
                    </a:lnTo>
                    <a:lnTo>
                      <a:pt x="132" y="24"/>
                    </a:lnTo>
                    <a:lnTo>
                      <a:pt x="134" y="30"/>
                    </a:lnTo>
                    <a:lnTo>
                      <a:pt x="135" y="37"/>
                    </a:lnTo>
                    <a:lnTo>
                      <a:pt x="134" y="40"/>
                    </a:lnTo>
                    <a:lnTo>
                      <a:pt x="132" y="43"/>
                    </a:lnTo>
                    <a:lnTo>
                      <a:pt x="129" y="47"/>
                    </a:lnTo>
                    <a:lnTo>
                      <a:pt x="124" y="51"/>
                    </a:lnTo>
                    <a:lnTo>
                      <a:pt x="113" y="61"/>
                    </a:lnTo>
                    <a:lnTo>
                      <a:pt x="100" y="72"/>
                    </a:lnTo>
                    <a:lnTo>
                      <a:pt x="87" y="82"/>
                    </a:lnTo>
                    <a:lnTo>
                      <a:pt x="74" y="91"/>
                    </a:lnTo>
                    <a:lnTo>
                      <a:pt x="63" y="96"/>
                    </a:lnTo>
                    <a:lnTo>
                      <a:pt x="55" y="98"/>
                    </a:lnTo>
                    <a:lnTo>
                      <a:pt x="51" y="97"/>
                    </a:lnTo>
                    <a:lnTo>
                      <a:pt x="43" y="92"/>
                    </a:lnTo>
                    <a:lnTo>
                      <a:pt x="32" y="85"/>
                    </a:lnTo>
                    <a:lnTo>
                      <a:pt x="21" y="77"/>
                    </a:lnTo>
                    <a:lnTo>
                      <a:pt x="11" y="68"/>
                    </a:lnTo>
                    <a:lnTo>
                      <a:pt x="5" y="62"/>
                    </a:lnTo>
                    <a:lnTo>
                      <a:pt x="1" y="59"/>
                    </a:lnTo>
                    <a:lnTo>
                      <a:pt x="0" y="57"/>
                    </a:lnTo>
                    <a:lnTo>
                      <a:pt x="0" y="56"/>
                    </a:lnTo>
                    <a:lnTo>
                      <a:pt x="3" y="55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2" name="Freeform 472">
                <a:extLst>
                  <a:ext uri="{FF2B5EF4-FFF2-40B4-BE49-F238E27FC236}">
                    <a16:creationId xmlns:a16="http://schemas.microsoft.com/office/drawing/2014/main" id="{A1E8B2AC-5B3A-450B-960F-86AD9D51554E}"/>
                  </a:ext>
                </a:extLst>
              </p:cNvPr>
              <p:cNvSpPr>
                <a:spLocks/>
              </p:cNvSpPr>
              <p:nvPr>
                <p:custDataLst>
                  <p:tags r:id="rId310"/>
                </p:custDataLst>
              </p:nvPr>
            </p:nvSpPr>
            <p:spPr bwMode="auto">
              <a:xfrm>
                <a:off x="4520076" y="2517073"/>
                <a:ext cx="159265" cy="94931"/>
              </a:xfrm>
              <a:custGeom>
                <a:avLst/>
                <a:gdLst>
                  <a:gd name="T0" fmla="*/ 34242917 w 312"/>
                  <a:gd name="T1" fmla="*/ 45672278 h 155"/>
                  <a:gd name="T2" fmla="*/ 34599772 w 312"/>
                  <a:gd name="T3" fmla="*/ 44493803 h 155"/>
                  <a:gd name="T4" fmla="*/ 35134844 w 312"/>
                  <a:gd name="T5" fmla="*/ 43609540 h 155"/>
                  <a:gd name="T6" fmla="*/ 35669916 w 312"/>
                  <a:gd name="T7" fmla="*/ 42725819 h 155"/>
                  <a:gd name="T8" fmla="*/ 36204988 w 312"/>
                  <a:gd name="T9" fmla="*/ 41841556 h 155"/>
                  <a:gd name="T10" fmla="*/ 37631565 w 312"/>
                  <a:gd name="T11" fmla="*/ 40368327 h 155"/>
                  <a:gd name="T12" fmla="*/ 39236781 w 312"/>
                  <a:gd name="T13" fmla="*/ 38895098 h 155"/>
                  <a:gd name="T14" fmla="*/ 42447213 w 312"/>
                  <a:gd name="T15" fmla="*/ 36243393 h 155"/>
                  <a:gd name="T16" fmla="*/ 45122150 w 312"/>
                  <a:gd name="T17" fmla="*/ 34475410 h 155"/>
                  <a:gd name="T18" fmla="*/ 45479006 w 312"/>
                  <a:gd name="T19" fmla="*/ 32117917 h 155"/>
                  <a:gd name="T20" fmla="*/ 46370933 w 312"/>
                  <a:gd name="T21" fmla="*/ 28581950 h 155"/>
                  <a:gd name="T22" fmla="*/ 47084222 w 312"/>
                  <a:gd name="T23" fmla="*/ 26813966 h 155"/>
                  <a:gd name="T24" fmla="*/ 47619294 w 312"/>
                  <a:gd name="T25" fmla="*/ 25340737 h 155"/>
                  <a:gd name="T26" fmla="*/ 47975727 w 312"/>
                  <a:gd name="T27" fmla="*/ 24162262 h 155"/>
                  <a:gd name="T28" fmla="*/ 48510799 w 312"/>
                  <a:gd name="T29" fmla="*/ 23867508 h 155"/>
                  <a:gd name="T30" fmla="*/ 55644951 w 312"/>
                  <a:gd name="T31" fmla="*/ 12964852 h 155"/>
                  <a:gd name="T32" fmla="*/ 55644951 w 312"/>
                  <a:gd name="T33" fmla="*/ 11491622 h 155"/>
                  <a:gd name="T34" fmla="*/ 55288095 w 312"/>
                  <a:gd name="T35" fmla="*/ 10313147 h 155"/>
                  <a:gd name="T36" fmla="*/ 54574807 w 312"/>
                  <a:gd name="T37" fmla="*/ 9428884 h 155"/>
                  <a:gd name="T38" fmla="*/ 53861518 w 312"/>
                  <a:gd name="T39" fmla="*/ 8839918 h 155"/>
                  <a:gd name="T40" fmla="*/ 51899447 w 312"/>
                  <a:gd name="T41" fmla="*/ 8250409 h 155"/>
                  <a:gd name="T42" fmla="*/ 49937798 w 312"/>
                  <a:gd name="T43" fmla="*/ 7955655 h 155"/>
                  <a:gd name="T44" fmla="*/ 47797510 w 312"/>
                  <a:gd name="T45" fmla="*/ 7955655 h 155"/>
                  <a:gd name="T46" fmla="*/ 46192294 w 312"/>
                  <a:gd name="T47" fmla="*/ 7955655 h 155"/>
                  <a:gd name="T48" fmla="*/ 45657222 w 312"/>
                  <a:gd name="T49" fmla="*/ 7660901 h 155"/>
                  <a:gd name="T50" fmla="*/ 45122150 w 312"/>
                  <a:gd name="T51" fmla="*/ 7366689 h 155"/>
                  <a:gd name="T52" fmla="*/ 44943934 w 312"/>
                  <a:gd name="T53" fmla="*/ 6777180 h 155"/>
                  <a:gd name="T54" fmla="*/ 45122150 w 312"/>
                  <a:gd name="T55" fmla="*/ 5893460 h 155"/>
                  <a:gd name="T56" fmla="*/ 41377069 w 312"/>
                  <a:gd name="T57" fmla="*/ 5598705 h 155"/>
                  <a:gd name="T58" fmla="*/ 38523492 w 312"/>
                  <a:gd name="T59" fmla="*/ 5009197 h 155"/>
                  <a:gd name="T60" fmla="*/ 36026349 w 312"/>
                  <a:gd name="T61" fmla="*/ 3830722 h 155"/>
                  <a:gd name="T62" fmla="*/ 33707845 w 312"/>
                  <a:gd name="T63" fmla="*/ 2651704 h 155"/>
                  <a:gd name="T64" fmla="*/ 31567979 w 312"/>
                  <a:gd name="T65" fmla="*/ 1767984 h 155"/>
                  <a:gd name="T66" fmla="*/ 29070836 w 312"/>
                  <a:gd name="T67" fmla="*/ 883720 h 155"/>
                  <a:gd name="T68" fmla="*/ 26039043 w 312"/>
                  <a:gd name="T69" fmla="*/ 294754 h 155"/>
                  <a:gd name="T70" fmla="*/ 22472178 w 312"/>
                  <a:gd name="T71" fmla="*/ 0 h 155"/>
                  <a:gd name="T72" fmla="*/ 19618602 w 312"/>
                  <a:gd name="T73" fmla="*/ 294754 h 155"/>
                  <a:gd name="T74" fmla="*/ 13197738 w 312"/>
                  <a:gd name="T75" fmla="*/ 1178475 h 155"/>
                  <a:gd name="T76" fmla="*/ 9452657 w 312"/>
                  <a:gd name="T77" fmla="*/ 1767984 h 155"/>
                  <a:gd name="T78" fmla="*/ 6064008 w 312"/>
                  <a:gd name="T79" fmla="*/ 2357492 h 155"/>
                  <a:gd name="T80" fmla="*/ 3210432 w 312"/>
                  <a:gd name="T81" fmla="*/ 2946458 h 155"/>
                  <a:gd name="T82" fmla="*/ 1248360 w 312"/>
                  <a:gd name="T83" fmla="*/ 3535967 h 155"/>
                  <a:gd name="T84" fmla="*/ 1605216 w 312"/>
                  <a:gd name="T85" fmla="*/ 5009197 h 155"/>
                  <a:gd name="T86" fmla="*/ 1961649 w 312"/>
                  <a:gd name="T87" fmla="*/ 5598705 h 155"/>
                  <a:gd name="T88" fmla="*/ 2318504 w 312"/>
                  <a:gd name="T89" fmla="*/ 5598705 h 155"/>
                  <a:gd name="T90" fmla="*/ 2675360 w 312"/>
                  <a:gd name="T91" fmla="*/ 5893460 h 155"/>
                  <a:gd name="T92" fmla="*/ 3210432 w 312"/>
                  <a:gd name="T93" fmla="*/ 5893460 h 155"/>
                  <a:gd name="T94" fmla="*/ 3388648 w 312"/>
                  <a:gd name="T95" fmla="*/ 5893460 h 155"/>
                  <a:gd name="T96" fmla="*/ 3566865 w 312"/>
                  <a:gd name="T97" fmla="*/ 6482426 h 155"/>
                  <a:gd name="T98" fmla="*/ 3566865 w 312"/>
                  <a:gd name="T99" fmla="*/ 7660901 h 155"/>
                  <a:gd name="T100" fmla="*/ 3566865 w 312"/>
                  <a:gd name="T101" fmla="*/ 8839918 h 155"/>
                  <a:gd name="T102" fmla="*/ 3388648 w 312"/>
                  <a:gd name="T103" fmla="*/ 10313147 h 155"/>
                  <a:gd name="T104" fmla="*/ 3210432 w 312"/>
                  <a:gd name="T105" fmla="*/ 11491622 h 155"/>
                  <a:gd name="T106" fmla="*/ 2675360 w 312"/>
                  <a:gd name="T107" fmla="*/ 12375886 h 155"/>
                  <a:gd name="T108" fmla="*/ 2140288 w 312"/>
                  <a:gd name="T109" fmla="*/ 13259606 h 155"/>
                  <a:gd name="T110" fmla="*/ 1605216 w 312"/>
                  <a:gd name="T111" fmla="*/ 14143869 h 155"/>
                  <a:gd name="T112" fmla="*/ 713289 w 312"/>
                  <a:gd name="T113" fmla="*/ 14438081 h 155"/>
                  <a:gd name="T114" fmla="*/ 0 w 312"/>
                  <a:gd name="T115" fmla="*/ 14732835 h 155"/>
                  <a:gd name="T116" fmla="*/ 13197738 w 312"/>
                  <a:gd name="T117" fmla="*/ 20036786 h 155"/>
                  <a:gd name="T118" fmla="*/ 15516242 w 312"/>
                  <a:gd name="T119" fmla="*/ 32707426 h 155"/>
                  <a:gd name="T120" fmla="*/ 29605908 w 312"/>
                  <a:gd name="T121" fmla="*/ 36243393 h 155"/>
                  <a:gd name="T122" fmla="*/ 34242917 w 312"/>
                  <a:gd name="T123" fmla="*/ 45672278 h 155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0" t="0" r="r" b="b"/>
                <a:pathLst>
                  <a:path w="312" h="155">
                    <a:moveTo>
                      <a:pt x="192" y="155"/>
                    </a:moveTo>
                    <a:lnTo>
                      <a:pt x="194" y="151"/>
                    </a:lnTo>
                    <a:lnTo>
                      <a:pt x="197" y="148"/>
                    </a:lnTo>
                    <a:lnTo>
                      <a:pt x="200" y="145"/>
                    </a:lnTo>
                    <a:lnTo>
                      <a:pt x="203" y="142"/>
                    </a:lnTo>
                    <a:lnTo>
                      <a:pt x="211" y="137"/>
                    </a:lnTo>
                    <a:lnTo>
                      <a:pt x="220" y="132"/>
                    </a:lnTo>
                    <a:lnTo>
                      <a:pt x="238" y="123"/>
                    </a:lnTo>
                    <a:lnTo>
                      <a:pt x="253" y="117"/>
                    </a:lnTo>
                    <a:lnTo>
                      <a:pt x="255" y="109"/>
                    </a:lnTo>
                    <a:lnTo>
                      <a:pt x="260" y="97"/>
                    </a:lnTo>
                    <a:lnTo>
                      <a:pt x="264" y="91"/>
                    </a:lnTo>
                    <a:lnTo>
                      <a:pt x="267" y="86"/>
                    </a:lnTo>
                    <a:lnTo>
                      <a:pt x="269" y="82"/>
                    </a:lnTo>
                    <a:lnTo>
                      <a:pt x="272" y="81"/>
                    </a:lnTo>
                    <a:lnTo>
                      <a:pt x="312" y="44"/>
                    </a:lnTo>
                    <a:lnTo>
                      <a:pt x="312" y="39"/>
                    </a:lnTo>
                    <a:lnTo>
                      <a:pt x="310" y="35"/>
                    </a:lnTo>
                    <a:lnTo>
                      <a:pt x="306" y="32"/>
                    </a:lnTo>
                    <a:lnTo>
                      <a:pt x="302" y="30"/>
                    </a:lnTo>
                    <a:lnTo>
                      <a:pt x="291" y="28"/>
                    </a:lnTo>
                    <a:lnTo>
                      <a:pt x="280" y="27"/>
                    </a:lnTo>
                    <a:lnTo>
                      <a:pt x="268" y="27"/>
                    </a:lnTo>
                    <a:lnTo>
                      <a:pt x="259" y="27"/>
                    </a:lnTo>
                    <a:lnTo>
                      <a:pt x="256" y="26"/>
                    </a:lnTo>
                    <a:lnTo>
                      <a:pt x="253" y="25"/>
                    </a:lnTo>
                    <a:lnTo>
                      <a:pt x="252" y="23"/>
                    </a:lnTo>
                    <a:lnTo>
                      <a:pt x="253" y="20"/>
                    </a:lnTo>
                    <a:lnTo>
                      <a:pt x="232" y="19"/>
                    </a:lnTo>
                    <a:lnTo>
                      <a:pt x="216" y="17"/>
                    </a:lnTo>
                    <a:lnTo>
                      <a:pt x="202" y="13"/>
                    </a:lnTo>
                    <a:lnTo>
                      <a:pt x="189" y="9"/>
                    </a:lnTo>
                    <a:lnTo>
                      <a:pt x="177" y="6"/>
                    </a:lnTo>
                    <a:lnTo>
                      <a:pt x="163" y="3"/>
                    </a:lnTo>
                    <a:lnTo>
                      <a:pt x="146" y="1"/>
                    </a:lnTo>
                    <a:lnTo>
                      <a:pt x="126" y="0"/>
                    </a:lnTo>
                    <a:lnTo>
                      <a:pt x="110" y="1"/>
                    </a:lnTo>
                    <a:lnTo>
                      <a:pt x="74" y="4"/>
                    </a:lnTo>
                    <a:lnTo>
                      <a:pt x="53" y="6"/>
                    </a:lnTo>
                    <a:lnTo>
                      <a:pt x="34" y="8"/>
                    </a:lnTo>
                    <a:lnTo>
                      <a:pt x="18" y="10"/>
                    </a:lnTo>
                    <a:lnTo>
                      <a:pt x="7" y="12"/>
                    </a:lnTo>
                    <a:lnTo>
                      <a:pt x="9" y="17"/>
                    </a:lnTo>
                    <a:lnTo>
                      <a:pt x="11" y="19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8" y="20"/>
                    </a:lnTo>
                    <a:lnTo>
                      <a:pt x="19" y="20"/>
                    </a:lnTo>
                    <a:lnTo>
                      <a:pt x="20" y="22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9" y="35"/>
                    </a:lnTo>
                    <a:lnTo>
                      <a:pt x="18" y="39"/>
                    </a:lnTo>
                    <a:lnTo>
                      <a:pt x="15" y="42"/>
                    </a:lnTo>
                    <a:lnTo>
                      <a:pt x="12" y="45"/>
                    </a:lnTo>
                    <a:lnTo>
                      <a:pt x="9" y="48"/>
                    </a:lnTo>
                    <a:lnTo>
                      <a:pt x="4" y="49"/>
                    </a:lnTo>
                    <a:lnTo>
                      <a:pt x="0" y="50"/>
                    </a:lnTo>
                    <a:lnTo>
                      <a:pt x="74" y="68"/>
                    </a:lnTo>
                    <a:lnTo>
                      <a:pt x="87" y="111"/>
                    </a:lnTo>
                    <a:lnTo>
                      <a:pt x="166" y="123"/>
                    </a:lnTo>
                    <a:lnTo>
                      <a:pt x="192" y="15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3" name="Freeform 473">
                <a:extLst>
                  <a:ext uri="{FF2B5EF4-FFF2-40B4-BE49-F238E27FC236}">
                    <a16:creationId xmlns:a16="http://schemas.microsoft.com/office/drawing/2014/main" id="{7340233F-821B-4D4E-856B-9D54C7A0E46F}"/>
                  </a:ext>
                </a:extLst>
              </p:cNvPr>
              <p:cNvSpPr>
                <a:spLocks/>
              </p:cNvSpPr>
              <p:nvPr>
                <p:custDataLst>
                  <p:tags r:id="rId311"/>
                </p:custDataLst>
              </p:nvPr>
            </p:nvSpPr>
            <p:spPr bwMode="auto">
              <a:xfrm>
                <a:off x="4167160" y="2724514"/>
                <a:ext cx="21718" cy="68561"/>
              </a:xfrm>
              <a:custGeom>
                <a:avLst/>
                <a:gdLst>
                  <a:gd name="T0" fmla="*/ 0 w 46"/>
                  <a:gd name="T1" fmla="*/ 36391660 h 50"/>
                  <a:gd name="T2" fmla="*/ 342900 w 46"/>
                  <a:gd name="T3" fmla="*/ 26201561 h 50"/>
                  <a:gd name="T4" fmla="*/ 171450 w 46"/>
                  <a:gd name="T5" fmla="*/ 20378992 h 50"/>
                  <a:gd name="T6" fmla="*/ 342900 w 46"/>
                  <a:gd name="T7" fmla="*/ 18923953 h 50"/>
                  <a:gd name="T8" fmla="*/ 514350 w 46"/>
                  <a:gd name="T9" fmla="*/ 18923953 h 50"/>
                  <a:gd name="T10" fmla="*/ 1029114 w 46"/>
                  <a:gd name="T11" fmla="*/ 17467707 h 50"/>
                  <a:gd name="T12" fmla="*/ 2229678 w 46"/>
                  <a:gd name="T13" fmla="*/ 17467707 h 50"/>
                  <a:gd name="T14" fmla="*/ 7889185 w 46"/>
                  <a:gd name="T15" fmla="*/ 0 h 50"/>
                  <a:gd name="T16" fmla="*/ 7889185 w 46"/>
                  <a:gd name="T17" fmla="*/ 72782113 h 50"/>
                  <a:gd name="T18" fmla="*/ 6860071 w 46"/>
                  <a:gd name="T19" fmla="*/ 71327074 h 50"/>
                  <a:gd name="T20" fmla="*/ 5659507 w 46"/>
                  <a:gd name="T21" fmla="*/ 65504505 h 50"/>
                  <a:gd name="T22" fmla="*/ 4287492 w 46"/>
                  <a:gd name="T23" fmla="*/ 59681936 h 50"/>
                  <a:gd name="T24" fmla="*/ 2915478 w 46"/>
                  <a:gd name="T25" fmla="*/ 53859367 h 50"/>
                  <a:gd name="T26" fmla="*/ 857664 w 46"/>
                  <a:gd name="T27" fmla="*/ 40757983 h 50"/>
                  <a:gd name="T28" fmla="*/ 0 w 46"/>
                  <a:gd name="T29" fmla="*/ 36391660 h 50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46" h="50">
                    <a:moveTo>
                      <a:pt x="0" y="25"/>
                    </a:moveTo>
                    <a:lnTo>
                      <a:pt x="2" y="18"/>
                    </a:lnTo>
                    <a:lnTo>
                      <a:pt x="1" y="14"/>
                    </a:lnTo>
                    <a:lnTo>
                      <a:pt x="2" y="13"/>
                    </a:lnTo>
                    <a:lnTo>
                      <a:pt x="3" y="13"/>
                    </a:lnTo>
                    <a:lnTo>
                      <a:pt x="6" y="12"/>
                    </a:lnTo>
                    <a:lnTo>
                      <a:pt x="13" y="12"/>
                    </a:lnTo>
                    <a:lnTo>
                      <a:pt x="46" y="0"/>
                    </a:lnTo>
                    <a:lnTo>
                      <a:pt x="46" y="50"/>
                    </a:lnTo>
                    <a:lnTo>
                      <a:pt x="40" y="49"/>
                    </a:lnTo>
                    <a:lnTo>
                      <a:pt x="33" y="45"/>
                    </a:lnTo>
                    <a:lnTo>
                      <a:pt x="25" y="41"/>
                    </a:lnTo>
                    <a:lnTo>
                      <a:pt x="17" y="37"/>
                    </a:lnTo>
                    <a:lnTo>
                      <a:pt x="5" y="28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4" name="Freeform 474">
                <a:extLst>
                  <a:ext uri="{FF2B5EF4-FFF2-40B4-BE49-F238E27FC236}">
                    <a16:creationId xmlns:a16="http://schemas.microsoft.com/office/drawing/2014/main" id="{428E56F1-A863-4166-BD14-002B464645F0}"/>
                  </a:ext>
                </a:extLst>
              </p:cNvPr>
              <p:cNvSpPr>
                <a:spLocks/>
              </p:cNvSpPr>
              <p:nvPr>
                <p:custDataLst>
                  <p:tags r:id="rId312"/>
                </p:custDataLst>
              </p:nvPr>
            </p:nvSpPr>
            <p:spPr bwMode="auto">
              <a:xfrm>
                <a:off x="5006919" y="4844629"/>
                <a:ext cx="85061" cy="270728"/>
              </a:xfrm>
              <a:custGeom>
                <a:avLst/>
                <a:gdLst>
                  <a:gd name="T0" fmla="*/ 1770655 w 166"/>
                  <a:gd name="T1" fmla="*/ 78964896 h 456"/>
                  <a:gd name="T2" fmla="*/ 3364161 w 166"/>
                  <a:gd name="T3" fmla="*/ 81204858 h 456"/>
                  <a:gd name="T4" fmla="*/ 6551173 w 166"/>
                  <a:gd name="T5" fmla="*/ 84005208 h 456"/>
                  <a:gd name="T6" fmla="*/ 10269212 w 166"/>
                  <a:gd name="T7" fmla="*/ 85685313 h 456"/>
                  <a:gd name="T8" fmla="*/ 12394167 w 166"/>
                  <a:gd name="T9" fmla="*/ 87365417 h 456"/>
                  <a:gd name="T10" fmla="*/ 14164823 w 166"/>
                  <a:gd name="T11" fmla="*/ 89605379 h 456"/>
                  <a:gd name="T12" fmla="*/ 15226879 w 166"/>
                  <a:gd name="T13" fmla="*/ 92685658 h 456"/>
                  <a:gd name="T14" fmla="*/ 15226879 w 166"/>
                  <a:gd name="T15" fmla="*/ 97166113 h 456"/>
                  <a:gd name="T16" fmla="*/ 13810523 w 166"/>
                  <a:gd name="T17" fmla="*/ 101646567 h 456"/>
                  <a:gd name="T18" fmla="*/ 12039868 w 166"/>
                  <a:gd name="T19" fmla="*/ 105006775 h 456"/>
                  <a:gd name="T20" fmla="*/ 10977811 w 166"/>
                  <a:gd name="T21" fmla="*/ 108646912 h 456"/>
                  <a:gd name="T22" fmla="*/ 10623512 w 166"/>
                  <a:gd name="T23" fmla="*/ 112007121 h 456"/>
                  <a:gd name="T24" fmla="*/ 11331690 w 166"/>
                  <a:gd name="T25" fmla="*/ 115086871 h 456"/>
                  <a:gd name="T26" fmla="*/ 13456645 w 166"/>
                  <a:gd name="T27" fmla="*/ 118727537 h 456"/>
                  <a:gd name="T28" fmla="*/ 18413891 w 166"/>
                  <a:gd name="T29" fmla="*/ 124607637 h 456"/>
                  <a:gd name="T30" fmla="*/ 21247023 w 166"/>
                  <a:gd name="T31" fmla="*/ 124047779 h 456"/>
                  <a:gd name="T32" fmla="*/ 21247023 w 166"/>
                  <a:gd name="T33" fmla="*/ 118447079 h 456"/>
                  <a:gd name="T34" fmla="*/ 23194829 w 166"/>
                  <a:gd name="T35" fmla="*/ 115647258 h 456"/>
                  <a:gd name="T36" fmla="*/ 25673662 w 166"/>
                  <a:gd name="T37" fmla="*/ 113967154 h 456"/>
                  <a:gd name="T38" fmla="*/ 27090018 w 166"/>
                  <a:gd name="T39" fmla="*/ 112566979 h 456"/>
                  <a:gd name="T40" fmla="*/ 28329224 w 166"/>
                  <a:gd name="T41" fmla="*/ 110046558 h 456"/>
                  <a:gd name="T42" fmla="*/ 29391702 w 166"/>
                  <a:gd name="T43" fmla="*/ 105006775 h 456"/>
                  <a:gd name="T44" fmla="*/ 29214552 w 166"/>
                  <a:gd name="T45" fmla="*/ 98005900 h 456"/>
                  <a:gd name="T46" fmla="*/ 27975346 w 166"/>
                  <a:gd name="T47" fmla="*/ 91845871 h 456"/>
                  <a:gd name="T48" fmla="*/ 26204690 w 166"/>
                  <a:gd name="T49" fmla="*/ 85965242 h 456"/>
                  <a:gd name="T50" fmla="*/ 24965063 w 166"/>
                  <a:gd name="T51" fmla="*/ 79524754 h 456"/>
                  <a:gd name="T52" fmla="*/ 23903007 w 166"/>
                  <a:gd name="T53" fmla="*/ 75324758 h 456"/>
                  <a:gd name="T54" fmla="*/ 20892724 w 166"/>
                  <a:gd name="T55" fmla="*/ 70284446 h 456"/>
                  <a:gd name="T56" fmla="*/ 17174684 w 166"/>
                  <a:gd name="T57" fmla="*/ 62723712 h 456"/>
                  <a:gd name="T58" fmla="*/ 15050150 w 166"/>
                  <a:gd name="T59" fmla="*/ 57683400 h 456"/>
                  <a:gd name="T60" fmla="*/ 14164823 w 166"/>
                  <a:gd name="T61" fmla="*/ 54603121 h 456"/>
                  <a:gd name="T62" fmla="*/ 14341552 w 166"/>
                  <a:gd name="T63" fmla="*/ 49563338 h 456"/>
                  <a:gd name="T64" fmla="*/ 15581179 w 166"/>
                  <a:gd name="T65" fmla="*/ 41162817 h 456"/>
                  <a:gd name="T66" fmla="*/ 16997535 w 166"/>
                  <a:gd name="T67" fmla="*/ 36122504 h 456"/>
                  <a:gd name="T68" fmla="*/ 17351834 w 166"/>
                  <a:gd name="T69" fmla="*/ 31642050 h 456"/>
                  <a:gd name="T70" fmla="*/ 16820385 w 166"/>
                  <a:gd name="T71" fmla="*/ 22961600 h 456"/>
                  <a:gd name="T72" fmla="*/ 16289357 w 166"/>
                  <a:gd name="T73" fmla="*/ 12601046 h 456"/>
                  <a:gd name="T74" fmla="*/ 15758328 w 166"/>
                  <a:gd name="T75" fmla="*/ 5040313 h 456"/>
                  <a:gd name="T76" fmla="*/ 12571317 w 166"/>
                  <a:gd name="T77" fmla="*/ 2239963 h 456"/>
                  <a:gd name="T78" fmla="*/ 5842995 w 166"/>
                  <a:gd name="T79" fmla="*/ 1120246 h 456"/>
                  <a:gd name="T80" fmla="*/ 2124534 w 166"/>
                  <a:gd name="T81" fmla="*/ 2800350 h 456"/>
                  <a:gd name="T82" fmla="*/ 3895189 w 166"/>
                  <a:gd name="T83" fmla="*/ 7000346 h 456"/>
                  <a:gd name="T84" fmla="*/ 5842995 w 166"/>
                  <a:gd name="T85" fmla="*/ 8400521 h 456"/>
                  <a:gd name="T86" fmla="*/ 7082201 w 166"/>
                  <a:gd name="T87" fmla="*/ 12320588 h 456"/>
                  <a:gd name="T88" fmla="*/ 7082201 w 166"/>
                  <a:gd name="T89" fmla="*/ 17921288 h 456"/>
                  <a:gd name="T90" fmla="*/ 7082201 w 166"/>
                  <a:gd name="T91" fmla="*/ 21841354 h 456"/>
                  <a:gd name="T92" fmla="*/ 6374023 w 166"/>
                  <a:gd name="T93" fmla="*/ 23801388 h 456"/>
                  <a:gd name="T94" fmla="*/ 5134817 w 166"/>
                  <a:gd name="T95" fmla="*/ 26601737 h 456"/>
                  <a:gd name="T96" fmla="*/ 2655983 w 166"/>
                  <a:gd name="T97" fmla="*/ 30521804 h 456"/>
                  <a:gd name="T98" fmla="*/ 531028 w 166"/>
                  <a:gd name="T99" fmla="*/ 34161942 h 456"/>
                  <a:gd name="T100" fmla="*/ 1239206 w 166"/>
                  <a:gd name="T101" fmla="*/ 77564721 h 45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166" h="456">
                    <a:moveTo>
                      <a:pt x="7" y="277"/>
                    </a:moveTo>
                    <a:lnTo>
                      <a:pt x="10" y="282"/>
                    </a:lnTo>
                    <a:lnTo>
                      <a:pt x="14" y="287"/>
                    </a:lnTo>
                    <a:lnTo>
                      <a:pt x="19" y="290"/>
                    </a:lnTo>
                    <a:lnTo>
                      <a:pt x="25" y="294"/>
                    </a:lnTo>
                    <a:lnTo>
                      <a:pt x="37" y="300"/>
                    </a:lnTo>
                    <a:lnTo>
                      <a:pt x="52" y="304"/>
                    </a:lnTo>
                    <a:lnTo>
                      <a:pt x="58" y="306"/>
                    </a:lnTo>
                    <a:lnTo>
                      <a:pt x="65" y="309"/>
                    </a:lnTo>
                    <a:lnTo>
                      <a:pt x="70" y="312"/>
                    </a:lnTo>
                    <a:lnTo>
                      <a:pt x="76" y="316"/>
                    </a:lnTo>
                    <a:lnTo>
                      <a:pt x="80" y="320"/>
                    </a:lnTo>
                    <a:lnTo>
                      <a:pt x="84" y="325"/>
                    </a:lnTo>
                    <a:lnTo>
                      <a:pt x="86" y="331"/>
                    </a:lnTo>
                    <a:lnTo>
                      <a:pt x="87" y="339"/>
                    </a:lnTo>
                    <a:lnTo>
                      <a:pt x="86" y="347"/>
                    </a:lnTo>
                    <a:lnTo>
                      <a:pt x="82" y="356"/>
                    </a:lnTo>
                    <a:lnTo>
                      <a:pt x="78" y="363"/>
                    </a:lnTo>
                    <a:lnTo>
                      <a:pt x="74" y="369"/>
                    </a:lnTo>
                    <a:lnTo>
                      <a:pt x="68" y="375"/>
                    </a:lnTo>
                    <a:lnTo>
                      <a:pt x="64" y="381"/>
                    </a:lnTo>
                    <a:lnTo>
                      <a:pt x="62" y="388"/>
                    </a:lnTo>
                    <a:lnTo>
                      <a:pt x="60" y="394"/>
                    </a:lnTo>
                    <a:lnTo>
                      <a:pt x="60" y="400"/>
                    </a:lnTo>
                    <a:lnTo>
                      <a:pt x="62" y="405"/>
                    </a:lnTo>
                    <a:lnTo>
                      <a:pt x="64" y="411"/>
                    </a:lnTo>
                    <a:lnTo>
                      <a:pt x="67" y="416"/>
                    </a:lnTo>
                    <a:lnTo>
                      <a:pt x="76" y="424"/>
                    </a:lnTo>
                    <a:lnTo>
                      <a:pt x="85" y="432"/>
                    </a:lnTo>
                    <a:lnTo>
                      <a:pt x="104" y="445"/>
                    </a:lnTo>
                    <a:lnTo>
                      <a:pt x="120" y="456"/>
                    </a:lnTo>
                    <a:lnTo>
                      <a:pt x="120" y="443"/>
                    </a:lnTo>
                    <a:lnTo>
                      <a:pt x="120" y="432"/>
                    </a:lnTo>
                    <a:lnTo>
                      <a:pt x="120" y="423"/>
                    </a:lnTo>
                    <a:lnTo>
                      <a:pt x="120" y="413"/>
                    </a:lnTo>
                    <a:lnTo>
                      <a:pt x="131" y="413"/>
                    </a:lnTo>
                    <a:lnTo>
                      <a:pt x="141" y="410"/>
                    </a:lnTo>
                    <a:lnTo>
                      <a:pt x="145" y="407"/>
                    </a:lnTo>
                    <a:lnTo>
                      <a:pt x="149" y="405"/>
                    </a:lnTo>
                    <a:lnTo>
                      <a:pt x="153" y="402"/>
                    </a:lnTo>
                    <a:lnTo>
                      <a:pt x="155" y="399"/>
                    </a:lnTo>
                    <a:lnTo>
                      <a:pt x="160" y="393"/>
                    </a:lnTo>
                    <a:lnTo>
                      <a:pt x="164" y="384"/>
                    </a:lnTo>
                    <a:lnTo>
                      <a:pt x="166" y="375"/>
                    </a:lnTo>
                    <a:lnTo>
                      <a:pt x="166" y="364"/>
                    </a:lnTo>
                    <a:lnTo>
                      <a:pt x="165" y="350"/>
                    </a:lnTo>
                    <a:lnTo>
                      <a:pt x="163" y="339"/>
                    </a:lnTo>
                    <a:lnTo>
                      <a:pt x="158" y="328"/>
                    </a:lnTo>
                    <a:lnTo>
                      <a:pt x="153" y="318"/>
                    </a:lnTo>
                    <a:lnTo>
                      <a:pt x="148" y="307"/>
                    </a:lnTo>
                    <a:lnTo>
                      <a:pt x="144" y="296"/>
                    </a:lnTo>
                    <a:lnTo>
                      <a:pt x="141" y="284"/>
                    </a:lnTo>
                    <a:lnTo>
                      <a:pt x="140" y="271"/>
                    </a:lnTo>
                    <a:lnTo>
                      <a:pt x="135" y="269"/>
                    </a:lnTo>
                    <a:lnTo>
                      <a:pt x="127" y="261"/>
                    </a:lnTo>
                    <a:lnTo>
                      <a:pt x="118" y="251"/>
                    </a:lnTo>
                    <a:lnTo>
                      <a:pt x="108" y="238"/>
                    </a:lnTo>
                    <a:lnTo>
                      <a:pt x="97" y="224"/>
                    </a:lnTo>
                    <a:lnTo>
                      <a:pt x="88" y="211"/>
                    </a:lnTo>
                    <a:lnTo>
                      <a:pt x="85" y="206"/>
                    </a:lnTo>
                    <a:lnTo>
                      <a:pt x="82" y="200"/>
                    </a:lnTo>
                    <a:lnTo>
                      <a:pt x="80" y="195"/>
                    </a:lnTo>
                    <a:lnTo>
                      <a:pt x="80" y="192"/>
                    </a:lnTo>
                    <a:lnTo>
                      <a:pt x="81" y="177"/>
                    </a:lnTo>
                    <a:lnTo>
                      <a:pt x="85" y="157"/>
                    </a:lnTo>
                    <a:lnTo>
                      <a:pt x="88" y="147"/>
                    </a:lnTo>
                    <a:lnTo>
                      <a:pt x="91" y="138"/>
                    </a:lnTo>
                    <a:lnTo>
                      <a:pt x="96" y="129"/>
                    </a:lnTo>
                    <a:lnTo>
                      <a:pt x="100" y="123"/>
                    </a:lnTo>
                    <a:lnTo>
                      <a:pt x="98" y="113"/>
                    </a:lnTo>
                    <a:lnTo>
                      <a:pt x="96" y="99"/>
                    </a:lnTo>
                    <a:lnTo>
                      <a:pt x="95" y="82"/>
                    </a:lnTo>
                    <a:lnTo>
                      <a:pt x="93" y="63"/>
                    </a:lnTo>
                    <a:lnTo>
                      <a:pt x="92" y="45"/>
                    </a:lnTo>
                    <a:lnTo>
                      <a:pt x="90" y="30"/>
                    </a:lnTo>
                    <a:lnTo>
                      <a:pt x="89" y="18"/>
                    </a:lnTo>
                    <a:lnTo>
                      <a:pt x="87" y="12"/>
                    </a:lnTo>
                    <a:lnTo>
                      <a:pt x="71" y="8"/>
                    </a:lnTo>
                    <a:lnTo>
                      <a:pt x="54" y="6"/>
                    </a:lnTo>
                    <a:lnTo>
                      <a:pt x="33" y="4"/>
                    </a:lnTo>
                    <a:lnTo>
                      <a:pt x="7" y="0"/>
                    </a:lnTo>
                    <a:lnTo>
                      <a:pt x="12" y="10"/>
                    </a:lnTo>
                    <a:lnTo>
                      <a:pt x="19" y="21"/>
                    </a:lnTo>
                    <a:lnTo>
                      <a:pt x="22" y="25"/>
                    </a:lnTo>
                    <a:lnTo>
                      <a:pt x="28" y="28"/>
                    </a:lnTo>
                    <a:lnTo>
                      <a:pt x="33" y="30"/>
                    </a:lnTo>
                    <a:lnTo>
                      <a:pt x="40" y="31"/>
                    </a:lnTo>
                    <a:lnTo>
                      <a:pt x="40" y="44"/>
                    </a:lnTo>
                    <a:lnTo>
                      <a:pt x="40" y="55"/>
                    </a:lnTo>
                    <a:lnTo>
                      <a:pt x="40" y="64"/>
                    </a:lnTo>
                    <a:lnTo>
                      <a:pt x="40" y="74"/>
                    </a:lnTo>
                    <a:lnTo>
                      <a:pt x="40" y="78"/>
                    </a:lnTo>
                    <a:lnTo>
                      <a:pt x="39" y="81"/>
                    </a:lnTo>
                    <a:lnTo>
                      <a:pt x="36" y="85"/>
                    </a:lnTo>
                    <a:lnTo>
                      <a:pt x="35" y="88"/>
                    </a:lnTo>
                    <a:lnTo>
                      <a:pt x="29" y="95"/>
                    </a:lnTo>
                    <a:lnTo>
                      <a:pt x="22" y="102"/>
                    </a:lnTo>
                    <a:lnTo>
                      <a:pt x="15" y="109"/>
                    </a:lnTo>
                    <a:lnTo>
                      <a:pt x="9" y="115"/>
                    </a:lnTo>
                    <a:lnTo>
                      <a:pt x="3" y="122"/>
                    </a:lnTo>
                    <a:lnTo>
                      <a:pt x="0" y="129"/>
                    </a:lnTo>
                    <a:lnTo>
                      <a:pt x="7" y="277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5" name="Freeform 475">
                <a:extLst>
                  <a:ext uri="{FF2B5EF4-FFF2-40B4-BE49-F238E27FC236}">
                    <a16:creationId xmlns:a16="http://schemas.microsoft.com/office/drawing/2014/main" id="{1773F286-7888-486B-B33D-C804545FF936}"/>
                  </a:ext>
                </a:extLst>
              </p:cNvPr>
              <p:cNvSpPr>
                <a:spLocks/>
              </p:cNvSpPr>
              <p:nvPr>
                <p:custDataLst>
                  <p:tags r:id="rId313"/>
                </p:custDataLst>
              </p:nvPr>
            </p:nvSpPr>
            <p:spPr bwMode="auto">
              <a:xfrm>
                <a:off x="4395198" y="3237842"/>
                <a:ext cx="16288" cy="63287"/>
              </a:xfrm>
              <a:custGeom>
                <a:avLst/>
                <a:gdLst>
                  <a:gd name="T0" fmla="*/ 7559940 w 27"/>
                  <a:gd name="T1" fmla="*/ 0 h 19"/>
                  <a:gd name="T2" fmla="*/ 7559940 w 27"/>
                  <a:gd name="T3" fmla="*/ 108569961 h 19"/>
                  <a:gd name="T4" fmla="*/ 7559940 w 27"/>
                  <a:gd name="T5" fmla="*/ 171901184 h 19"/>
                  <a:gd name="T6" fmla="*/ 2519803 w 27"/>
                  <a:gd name="T7" fmla="*/ 171901184 h 19"/>
                  <a:gd name="T8" fmla="*/ 0 w 27"/>
                  <a:gd name="T9" fmla="*/ 171901184 h 19"/>
                  <a:gd name="T10" fmla="*/ 2519803 w 27"/>
                  <a:gd name="T11" fmla="*/ 108569961 h 19"/>
                  <a:gd name="T12" fmla="*/ 7559940 w 27"/>
                  <a:gd name="T13" fmla="*/ 0 h 1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27" h="19">
                    <a:moveTo>
                      <a:pt x="27" y="0"/>
                    </a:moveTo>
                    <a:lnTo>
                      <a:pt x="27" y="12"/>
                    </a:lnTo>
                    <a:lnTo>
                      <a:pt x="27" y="19"/>
                    </a:lnTo>
                    <a:lnTo>
                      <a:pt x="9" y="19"/>
                    </a:lnTo>
                    <a:lnTo>
                      <a:pt x="0" y="19"/>
                    </a:lnTo>
                    <a:lnTo>
                      <a:pt x="9" y="12"/>
                    </a:lnTo>
                    <a:lnTo>
                      <a:pt x="27" y="0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6" name="Freeform 476">
                <a:extLst>
                  <a:ext uri="{FF2B5EF4-FFF2-40B4-BE49-F238E27FC236}">
                    <a16:creationId xmlns:a16="http://schemas.microsoft.com/office/drawing/2014/main" id="{F69BABCC-8AB0-42EE-A21D-A073E2A703C7}"/>
                  </a:ext>
                </a:extLst>
              </p:cNvPr>
              <p:cNvSpPr>
                <a:spLocks/>
              </p:cNvSpPr>
              <p:nvPr>
                <p:custDataLst>
                  <p:tags r:id="rId314"/>
                </p:custDataLst>
              </p:nvPr>
            </p:nvSpPr>
            <p:spPr bwMode="auto">
              <a:xfrm>
                <a:off x="4778881" y="5059102"/>
                <a:ext cx="228038" cy="246116"/>
              </a:xfrm>
              <a:custGeom>
                <a:avLst/>
                <a:gdLst>
                  <a:gd name="T0" fmla="*/ 52831806 w 438"/>
                  <a:gd name="T1" fmla="*/ 2295399 h 406"/>
                  <a:gd name="T2" fmla="*/ 59528729 w 438"/>
                  <a:gd name="T3" fmla="*/ 7747573 h 406"/>
                  <a:gd name="T4" fmla="*/ 67527771 w 438"/>
                  <a:gd name="T5" fmla="*/ 13486872 h 406"/>
                  <a:gd name="T6" fmla="*/ 73480687 w 438"/>
                  <a:gd name="T7" fmla="*/ 16643648 h 406"/>
                  <a:gd name="T8" fmla="*/ 77387046 w 438"/>
                  <a:gd name="T9" fmla="*/ 17504489 h 406"/>
                  <a:gd name="T10" fmla="*/ 79061384 w 438"/>
                  <a:gd name="T11" fmla="*/ 23243254 h 406"/>
                  <a:gd name="T12" fmla="*/ 79805391 w 438"/>
                  <a:gd name="T13" fmla="*/ 34434727 h 406"/>
                  <a:gd name="T14" fmla="*/ 80735723 w 438"/>
                  <a:gd name="T15" fmla="*/ 45051950 h 406"/>
                  <a:gd name="T16" fmla="*/ 81479730 w 438"/>
                  <a:gd name="T17" fmla="*/ 55956298 h 406"/>
                  <a:gd name="T18" fmla="*/ 81479730 w 438"/>
                  <a:gd name="T19" fmla="*/ 63990996 h 406"/>
                  <a:gd name="T20" fmla="*/ 80921617 w 438"/>
                  <a:gd name="T21" fmla="*/ 68008613 h 406"/>
                  <a:gd name="T22" fmla="*/ 79061384 w 438"/>
                  <a:gd name="T23" fmla="*/ 74321629 h 406"/>
                  <a:gd name="T24" fmla="*/ 75712707 w 438"/>
                  <a:gd name="T25" fmla="*/ 82356327 h 406"/>
                  <a:gd name="T26" fmla="*/ 72736681 w 438"/>
                  <a:gd name="T27" fmla="*/ 88095091 h 406"/>
                  <a:gd name="T28" fmla="*/ 70876017 w 438"/>
                  <a:gd name="T29" fmla="*/ 91825583 h 406"/>
                  <a:gd name="T30" fmla="*/ 69573898 w 438"/>
                  <a:gd name="T31" fmla="*/ 95269484 h 406"/>
                  <a:gd name="T32" fmla="*/ 69202110 w 438"/>
                  <a:gd name="T33" fmla="*/ 101008248 h 406"/>
                  <a:gd name="T34" fmla="*/ 66783765 w 438"/>
                  <a:gd name="T35" fmla="*/ 106747548 h 406"/>
                  <a:gd name="T36" fmla="*/ 59714623 w 438"/>
                  <a:gd name="T37" fmla="*/ 115069372 h 406"/>
                  <a:gd name="T38" fmla="*/ 38135410 w 438"/>
                  <a:gd name="T39" fmla="*/ 111338881 h 406"/>
                  <a:gd name="T40" fmla="*/ 33856833 w 438"/>
                  <a:gd name="T41" fmla="*/ 108756356 h 406"/>
                  <a:gd name="T42" fmla="*/ 30694481 w 438"/>
                  <a:gd name="T43" fmla="*/ 106173296 h 406"/>
                  <a:gd name="T44" fmla="*/ 27903917 w 438"/>
                  <a:gd name="T45" fmla="*/ 103017057 h 406"/>
                  <a:gd name="T46" fmla="*/ 25857790 w 438"/>
                  <a:gd name="T47" fmla="*/ 99286565 h 406"/>
                  <a:gd name="T48" fmla="*/ 23067226 w 438"/>
                  <a:gd name="T49" fmla="*/ 92399834 h 406"/>
                  <a:gd name="T50" fmla="*/ 20090768 w 438"/>
                  <a:gd name="T51" fmla="*/ 84938851 h 406"/>
                  <a:gd name="T52" fmla="*/ 17486529 w 438"/>
                  <a:gd name="T53" fmla="*/ 80060393 h 406"/>
                  <a:gd name="T54" fmla="*/ 13393845 w 438"/>
                  <a:gd name="T55" fmla="*/ 74321629 h 406"/>
                  <a:gd name="T56" fmla="*/ 8185367 w 438"/>
                  <a:gd name="T57" fmla="*/ 67147772 h 406"/>
                  <a:gd name="T58" fmla="*/ 4464471 w 438"/>
                  <a:gd name="T59" fmla="*/ 61121347 h 406"/>
                  <a:gd name="T60" fmla="*/ 2418345 w 438"/>
                  <a:gd name="T61" fmla="*/ 55956298 h 406"/>
                  <a:gd name="T62" fmla="*/ 744007 w 438"/>
                  <a:gd name="T63" fmla="*/ 50504124 h 406"/>
                  <a:gd name="T64" fmla="*/ 0 w 438"/>
                  <a:gd name="T65" fmla="*/ 44191109 h 406"/>
                  <a:gd name="T66" fmla="*/ 3348677 w 438"/>
                  <a:gd name="T67" fmla="*/ 40460617 h 406"/>
                  <a:gd name="T68" fmla="*/ 7440929 w 438"/>
                  <a:gd name="T69" fmla="*/ 40460617 h 406"/>
                  <a:gd name="T70" fmla="*/ 9859275 w 438"/>
                  <a:gd name="T71" fmla="*/ 40460617 h 406"/>
                  <a:gd name="T72" fmla="*/ 11719507 w 438"/>
                  <a:gd name="T73" fmla="*/ 39599776 h 406"/>
                  <a:gd name="T74" fmla="*/ 14324177 w 438"/>
                  <a:gd name="T75" fmla="*/ 37590967 h 406"/>
                  <a:gd name="T76" fmla="*/ 18416861 w 438"/>
                  <a:gd name="T77" fmla="*/ 30991362 h 406"/>
                  <a:gd name="T78" fmla="*/ 21765107 w 438"/>
                  <a:gd name="T79" fmla="*/ 24964936 h 406"/>
                  <a:gd name="T80" fmla="*/ 24183452 w 438"/>
                  <a:gd name="T81" fmla="*/ 22956664 h 406"/>
                  <a:gd name="T82" fmla="*/ 27903917 w 438"/>
                  <a:gd name="T83" fmla="*/ 20373604 h 406"/>
                  <a:gd name="T84" fmla="*/ 33298720 w 438"/>
                  <a:gd name="T85" fmla="*/ 17217364 h 406"/>
                  <a:gd name="T86" fmla="*/ 37763622 w 438"/>
                  <a:gd name="T87" fmla="*/ 14347714 h 406"/>
                  <a:gd name="T88" fmla="*/ 39251636 w 438"/>
                  <a:gd name="T89" fmla="*/ 12338905 h 406"/>
                  <a:gd name="T90" fmla="*/ 39065742 w 438"/>
                  <a:gd name="T91" fmla="*/ 10904348 h 406"/>
                  <a:gd name="T92" fmla="*/ 39251636 w 438"/>
                  <a:gd name="T93" fmla="*/ 8608414 h 406"/>
                  <a:gd name="T94" fmla="*/ 39623855 w 438"/>
                  <a:gd name="T95" fmla="*/ 4878458 h 406"/>
                  <a:gd name="T96" fmla="*/ 40367861 w 438"/>
                  <a:gd name="T97" fmla="*/ 3443366 h 406"/>
                  <a:gd name="T98" fmla="*/ 41855875 w 438"/>
                  <a:gd name="T99" fmla="*/ 3443366 h 406"/>
                  <a:gd name="T100" fmla="*/ 43158426 w 438"/>
                  <a:gd name="T101" fmla="*/ 2582524 h 406"/>
                  <a:gd name="T102" fmla="*/ 43902432 w 438"/>
                  <a:gd name="T103" fmla="*/ 1147967 h 406"/>
                  <a:gd name="T104" fmla="*/ 45390446 w 438"/>
                  <a:gd name="T105" fmla="*/ 573716 h 406"/>
                  <a:gd name="T106" fmla="*/ 46692565 w 438"/>
                  <a:gd name="T107" fmla="*/ 860841 h 406"/>
                  <a:gd name="T108" fmla="*/ 49110910 w 438"/>
                  <a:gd name="T109" fmla="*/ 287126 h 40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438" h="406">
                    <a:moveTo>
                      <a:pt x="272" y="0"/>
                    </a:moveTo>
                    <a:lnTo>
                      <a:pt x="284" y="8"/>
                    </a:lnTo>
                    <a:lnTo>
                      <a:pt x="301" y="17"/>
                    </a:lnTo>
                    <a:lnTo>
                      <a:pt x="320" y="27"/>
                    </a:lnTo>
                    <a:lnTo>
                      <a:pt x="341" y="37"/>
                    </a:lnTo>
                    <a:lnTo>
                      <a:pt x="363" y="47"/>
                    </a:lnTo>
                    <a:lnTo>
                      <a:pt x="385" y="55"/>
                    </a:lnTo>
                    <a:lnTo>
                      <a:pt x="395" y="58"/>
                    </a:lnTo>
                    <a:lnTo>
                      <a:pt x="406" y="60"/>
                    </a:lnTo>
                    <a:lnTo>
                      <a:pt x="416" y="61"/>
                    </a:lnTo>
                    <a:lnTo>
                      <a:pt x="425" y="61"/>
                    </a:lnTo>
                    <a:lnTo>
                      <a:pt x="425" y="81"/>
                    </a:lnTo>
                    <a:lnTo>
                      <a:pt x="427" y="101"/>
                    </a:lnTo>
                    <a:lnTo>
                      <a:pt x="429" y="120"/>
                    </a:lnTo>
                    <a:lnTo>
                      <a:pt x="432" y="138"/>
                    </a:lnTo>
                    <a:lnTo>
                      <a:pt x="434" y="157"/>
                    </a:lnTo>
                    <a:lnTo>
                      <a:pt x="436" y="176"/>
                    </a:lnTo>
                    <a:lnTo>
                      <a:pt x="438" y="195"/>
                    </a:lnTo>
                    <a:lnTo>
                      <a:pt x="438" y="216"/>
                    </a:lnTo>
                    <a:lnTo>
                      <a:pt x="438" y="223"/>
                    </a:lnTo>
                    <a:lnTo>
                      <a:pt x="436" y="230"/>
                    </a:lnTo>
                    <a:lnTo>
                      <a:pt x="435" y="237"/>
                    </a:lnTo>
                    <a:lnTo>
                      <a:pt x="432" y="245"/>
                    </a:lnTo>
                    <a:lnTo>
                      <a:pt x="425" y="259"/>
                    </a:lnTo>
                    <a:lnTo>
                      <a:pt x="416" y="274"/>
                    </a:lnTo>
                    <a:lnTo>
                      <a:pt x="407" y="287"/>
                    </a:lnTo>
                    <a:lnTo>
                      <a:pt x="399" y="298"/>
                    </a:lnTo>
                    <a:lnTo>
                      <a:pt x="391" y="307"/>
                    </a:lnTo>
                    <a:lnTo>
                      <a:pt x="385" y="314"/>
                    </a:lnTo>
                    <a:lnTo>
                      <a:pt x="381" y="320"/>
                    </a:lnTo>
                    <a:lnTo>
                      <a:pt x="378" y="326"/>
                    </a:lnTo>
                    <a:lnTo>
                      <a:pt x="374" y="332"/>
                    </a:lnTo>
                    <a:lnTo>
                      <a:pt x="373" y="339"/>
                    </a:lnTo>
                    <a:lnTo>
                      <a:pt x="372" y="352"/>
                    </a:lnTo>
                    <a:lnTo>
                      <a:pt x="372" y="363"/>
                    </a:lnTo>
                    <a:lnTo>
                      <a:pt x="359" y="372"/>
                    </a:lnTo>
                    <a:lnTo>
                      <a:pt x="339" y="387"/>
                    </a:lnTo>
                    <a:lnTo>
                      <a:pt x="321" y="401"/>
                    </a:lnTo>
                    <a:lnTo>
                      <a:pt x="312" y="406"/>
                    </a:lnTo>
                    <a:lnTo>
                      <a:pt x="205" y="388"/>
                    </a:lnTo>
                    <a:lnTo>
                      <a:pt x="192" y="382"/>
                    </a:lnTo>
                    <a:lnTo>
                      <a:pt x="182" y="379"/>
                    </a:lnTo>
                    <a:lnTo>
                      <a:pt x="172" y="376"/>
                    </a:lnTo>
                    <a:lnTo>
                      <a:pt x="165" y="370"/>
                    </a:lnTo>
                    <a:lnTo>
                      <a:pt x="157" y="365"/>
                    </a:lnTo>
                    <a:lnTo>
                      <a:pt x="150" y="359"/>
                    </a:lnTo>
                    <a:lnTo>
                      <a:pt x="145" y="353"/>
                    </a:lnTo>
                    <a:lnTo>
                      <a:pt x="139" y="346"/>
                    </a:lnTo>
                    <a:lnTo>
                      <a:pt x="134" y="338"/>
                    </a:lnTo>
                    <a:lnTo>
                      <a:pt x="124" y="322"/>
                    </a:lnTo>
                    <a:lnTo>
                      <a:pt x="114" y="304"/>
                    </a:lnTo>
                    <a:lnTo>
                      <a:pt x="108" y="296"/>
                    </a:lnTo>
                    <a:lnTo>
                      <a:pt x="101" y="288"/>
                    </a:lnTo>
                    <a:lnTo>
                      <a:pt x="94" y="279"/>
                    </a:lnTo>
                    <a:lnTo>
                      <a:pt x="86" y="271"/>
                    </a:lnTo>
                    <a:lnTo>
                      <a:pt x="72" y="259"/>
                    </a:lnTo>
                    <a:lnTo>
                      <a:pt x="58" y="247"/>
                    </a:lnTo>
                    <a:lnTo>
                      <a:pt x="44" y="234"/>
                    </a:lnTo>
                    <a:lnTo>
                      <a:pt x="31" y="220"/>
                    </a:lnTo>
                    <a:lnTo>
                      <a:pt x="24" y="213"/>
                    </a:lnTo>
                    <a:lnTo>
                      <a:pt x="19" y="204"/>
                    </a:lnTo>
                    <a:lnTo>
                      <a:pt x="13" y="195"/>
                    </a:lnTo>
                    <a:lnTo>
                      <a:pt x="9" y="186"/>
                    </a:lnTo>
                    <a:lnTo>
                      <a:pt x="4" y="176"/>
                    </a:lnTo>
                    <a:lnTo>
                      <a:pt x="2" y="166"/>
                    </a:lnTo>
                    <a:lnTo>
                      <a:pt x="0" y="154"/>
                    </a:lnTo>
                    <a:lnTo>
                      <a:pt x="0" y="141"/>
                    </a:lnTo>
                    <a:lnTo>
                      <a:pt x="18" y="141"/>
                    </a:lnTo>
                    <a:lnTo>
                      <a:pt x="31" y="141"/>
                    </a:lnTo>
                    <a:lnTo>
                      <a:pt x="40" y="141"/>
                    </a:lnTo>
                    <a:lnTo>
                      <a:pt x="46" y="141"/>
                    </a:lnTo>
                    <a:lnTo>
                      <a:pt x="53" y="141"/>
                    </a:lnTo>
                    <a:lnTo>
                      <a:pt x="58" y="140"/>
                    </a:lnTo>
                    <a:lnTo>
                      <a:pt x="63" y="138"/>
                    </a:lnTo>
                    <a:lnTo>
                      <a:pt x="68" y="136"/>
                    </a:lnTo>
                    <a:lnTo>
                      <a:pt x="77" y="131"/>
                    </a:lnTo>
                    <a:lnTo>
                      <a:pt x="85" y="124"/>
                    </a:lnTo>
                    <a:lnTo>
                      <a:pt x="99" y="108"/>
                    </a:lnTo>
                    <a:lnTo>
                      <a:pt x="113" y="92"/>
                    </a:lnTo>
                    <a:lnTo>
                      <a:pt x="117" y="87"/>
                    </a:lnTo>
                    <a:lnTo>
                      <a:pt x="124" y="83"/>
                    </a:lnTo>
                    <a:lnTo>
                      <a:pt x="130" y="80"/>
                    </a:lnTo>
                    <a:lnTo>
                      <a:pt x="136" y="77"/>
                    </a:lnTo>
                    <a:lnTo>
                      <a:pt x="150" y="71"/>
                    </a:lnTo>
                    <a:lnTo>
                      <a:pt x="165" y="65"/>
                    </a:lnTo>
                    <a:lnTo>
                      <a:pt x="179" y="60"/>
                    </a:lnTo>
                    <a:lnTo>
                      <a:pt x="192" y="55"/>
                    </a:lnTo>
                    <a:lnTo>
                      <a:pt x="203" y="50"/>
                    </a:lnTo>
                    <a:lnTo>
                      <a:pt x="212" y="43"/>
                    </a:lnTo>
                    <a:lnTo>
                      <a:pt x="211" y="43"/>
                    </a:lnTo>
                    <a:lnTo>
                      <a:pt x="210" y="41"/>
                    </a:lnTo>
                    <a:lnTo>
                      <a:pt x="210" y="38"/>
                    </a:lnTo>
                    <a:lnTo>
                      <a:pt x="210" y="36"/>
                    </a:lnTo>
                    <a:lnTo>
                      <a:pt x="211" y="30"/>
                    </a:lnTo>
                    <a:lnTo>
                      <a:pt x="212" y="24"/>
                    </a:lnTo>
                    <a:lnTo>
                      <a:pt x="213" y="17"/>
                    </a:lnTo>
                    <a:lnTo>
                      <a:pt x="214" y="14"/>
                    </a:lnTo>
                    <a:lnTo>
                      <a:pt x="217" y="12"/>
                    </a:lnTo>
                    <a:lnTo>
                      <a:pt x="221" y="12"/>
                    </a:lnTo>
                    <a:lnTo>
                      <a:pt x="225" y="12"/>
                    </a:lnTo>
                    <a:lnTo>
                      <a:pt x="229" y="11"/>
                    </a:lnTo>
                    <a:lnTo>
                      <a:pt x="232" y="9"/>
                    </a:lnTo>
                    <a:lnTo>
                      <a:pt x="234" y="7"/>
                    </a:lnTo>
                    <a:lnTo>
                      <a:pt x="236" y="4"/>
                    </a:lnTo>
                    <a:lnTo>
                      <a:pt x="239" y="0"/>
                    </a:lnTo>
                    <a:lnTo>
                      <a:pt x="244" y="2"/>
                    </a:lnTo>
                    <a:lnTo>
                      <a:pt x="248" y="3"/>
                    </a:lnTo>
                    <a:lnTo>
                      <a:pt x="251" y="3"/>
                    </a:lnTo>
                    <a:lnTo>
                      <a:pt x="256" y="2"/>
                    </a:lnTo>
                    <a:lnTo>
                      <a:pt x="264" y="1"/>
                    </a:lnTo>
                    <a:lnTo>
                      <a:pt x="272" y="0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7" name="Freeform 477">
                <a:extLst>
                  <a:ext uri="{FF2B5EF4-FFF2-40B4-BE49-F238E27FC236}">
                    <a16:creationId xmlns:a16="http://schemas.microsoft.com/office/drawing/2014/main" id="{D5E454F0-1B0C-43BC-AE9F-049B4FF5DE58}"/>
                  </a:ext>
                </a:extLst>
              </p:cNvPr>
              <p:cNvSpPr>
                <a:spLocks/>
              </p:cNvSpPr>
              <p:nvPr>
                <p:custDataLst>
                  <p:tags r:id="rId315"/>
                </p:custDataLst>
              </p:nvPr>
            </p:nvSpPr>
            <p:spPr bwMode="auto">
              <a:xfrm>
                <a:off x="4673912" y="4807712"/>
                <a:ext cx="354726" cy="337531"/>
              </a:xfrm>
              <a:custGeom>
                <a:avLst/>
                <a:gdLst>
                  <a:gd name="T0" fmla="*/ 96256131 w 678"/>
                  <a:gd name="T1" fmla="*/ 2185991 h 574"/>
                  <a:gd name="T2" fmla="*/ 103573615 w 678"/>
                  <a:gd name="T3" fmla="*/ 7104210 h 574"/>
                  <a:gd name="T4" fmla="*/ 121023735 w 678"/>
                  <a:gd name="T5" fmla="*/ 17213504 h 574"/>
                  <a:gd name="T6" fmla="*/ 123838018 w 678"/>
                  <a:gd name="T7" fmla="*/ 24044334 h 574"/>
                  <a:gd name="T8" fmla="*/ 127215419 w 678"/>
                  <a:gd name="T9" fmla="*/ 25683566 h 574"/>
                  <a:gd name="T10" fmla="*/ 127215419 w 678"/>
                  <a:gd name="T11" fmla="*/ 34700388 h 574"/>
                  <a:gd name="T12" fmla="*/ 127027858 w 678"/>
                  <a:gd name="T13" fmla="*/ 39345227 h 574"/>
                  <a:gd name="T14" fmla="*/ 125151380 w 678"/>
                  <a:gd name="T15" fmla="*/ 43170450 h 574"/>
                  <a:gd name="T16" fmla="*/ 121398857 w 678"/>
                  <a:gd name="T17" fmla="*/ 48634905 h 574"/>
                  <a:gd name="T18" fmla="*/ 119709940 w 678"/>
                  <a:gd name="T19" fmla="*/ 94537583 h 574"/>
                  <a:gd name="T20" fmla="*/ 86499052 w 678"/>
                  <a:gd name="T21" fmla="*/ 106013252 h 574"/>
                  <a:gd name="T22" fmla="*/ 86499052 w 678"/>
                  <a:gd name="T23" fmla="*/ 113390319 h 574"/>
                  <a:gd name="T24" fmla="*/ 85373252 w 678"/>
                  <a:gd name="T25" fmla="*/ 118855297 h 574"/>
                  <a:gd name="T26" fmla="*/ 83309212 w 678"/>
                  <a:gd name="T27" fmla="*/ 118855297 h 574"/>
                  <a:gd name="T28" fmla="*/ 81432734 w 678"/>
                  <a:gd name="T29" fmla="*/ 120221149 h 574"/>
                  <a:gd name="T30" fmla="*/ 79744251 w 678"/>
                  <a:gd name="T31" fmla="*/ 121587525 h 574"/>
                  <a:gd name="T32" fmla="*/ 77680212 w 678"/>
                  <a:gd name="T33" fmla="*/ 122133761 h 574"/>
                  <a:gd name="T34" fmla="*/ 77117528 w 678"/>
                  <a:gd name="T35" fmla="*/ 126505743 h 574"/>
                  <a:gd name="T36" fmla="*/ 76929534 w 678"/>
                  <a:gd name="T37" fmla="*/ 129511350 h 574"/>
                  <a:gd name="T38" fmla="*/ 75616172 w 678"/>
                  <a:gd name="T39" fmla="*/ 131970198 h 574"/>
                  <a:gd name="T40" fmla="*/ 68486249 w 678"/>
                  <a:gd name="T41" fmla="*/ 136068801 h 574"/>
                  <a:gd name="T42" fmla="*/ 61919009 w 678"/>
                  <a:gd name="T43" fmla="*/ 140166881 h 574"/>
                  <a:gd name="T44" fmla="*/ 58729170 w 678"/>
                  <a:gd name="T45" fmla="*/ 143445868 h 574"/>
                  <a:gd name="T46" fmla="*/ 51974369 w 678"/>
                  <a:gd name="T47" fmla="*/ 154101921 h 574"/>
                  <a:gd name="T48" fmla="*/ 48409407 w 678"/>
                  <a:gd name="T49" fmla="*/ 156560769 h 574"/>
                  <a:gd name="T50" fmla="*/ 44656884 w 678"/>
                  <a:gd name="T51" fmla="*/ 156834149 h 574"/>
                  <a:gd name="T52" fmla="*/ 36213167 w 678"/>
                  <a:gd name="T53" fmla="*/ 156834149 h 574"/>
                  <a:gd name="T54" fmla="*/ 34899805 w 678"/>
                  <a:gd name="T55" fmla="*/ 152735546 h 574"/>
                  <a:gd name="T56" fmla="*/ 30959721 w 678"/>
                  <a:gd name="T57" fmla="*/ 149457082 h 574"/>
                  <a:gd name="T58" fmla="*/ 24955165 w 678"/>
                  <a:gd name="T59" fmla="*/ 148910323 h 574"/>
                  <a:gd name="T60" fmla="*/ 17450119 w 678"/>
                  <a:gd name="T61" fmla="*/ 151915930 h 574"/>
                  <a:gd name="T62" fmla="*/ 6192118 w 678"/>
                  <a:gd name="T63" fmla="*/ 143992104 h 574"/>
                  <a:gd name="T64" fmla="*/ 0 w 678"/>
                  <a:gd name="T65" fmla="*/ 77870838 h 574"/>
                  <a:gd name="T66" fmla="*/ 13697163 w 678"/>
                  <a:gd name="T67" fmla="*/ 78143695 h 574"/>
                  <a:gd name="T68" fmla="*/ 19326164 w 678"/>
                  <a:gd name="T69" fmla="*/ 77050699 h 574"/>
                  <a:gd name="T70" fmla="*/ 22328442 w 678"/>
                  <a:gd name="T71" fmla="*/ 75138088 h 574"/>
                  <a:gd name="T72" fmla="*/ 24204920 w 678"/>
                  <a:gd name="T73" fmla="*/ 69947012 h 574"/>
                  <a:gd name="T74" fmla="*/ 24580043 w 678"/>
                  <a:gd name="T75" fmla="*/ 62569945 h 574"/>
                  <a:gd name="T76" fmla="*/ 23641804 w 678"/>
                  <a:gd name="T77" fmla="*/ 50547517 h 574"/>
                  <a:gd name="T78" fmla="*/ 24392481 w 678"/>
                  <a:gd name="T79" fmla="*/ 45083062 h 574"/>
                  <a:gd name="T80" fmla="*/ 26268526 w 678"/>
                  <a:gd name="T81" fmla="*/ 46722294 h 574"/>
                  <a:gd name="T82" fmla="*/ 32648205 w 678"/>
                  <a:gd name="T83" fmla="*/ 47815289 h 574"/>
                  <a:gd name="T84" fmla="*/ 35274928 w 678"/>
                  <a:gd name="T85" fmla="*/ 50820896 h 574"/>
                  <a:gd name="T86" fmla="*/ 36588722 w 678"/>
                  <a:gd name="T87" fmla="*/ 54919499 h 574"/>
                  <a:gd name="T88" fmla="*/ 39027884 w 678"/>
                  <a:gd name="T89" fmla="*/ 57378347 h 574"/>
                  <a:gd name="T90" fmla="*/ 45219568 w 678"/>
                  <a:gd name="T91" fmla="*/ 59290959 h 574"/>
                  <a:gd name="T92" fmla="*/ 50473446 w 678"/>
                  <a:gd name="T93" fmla="*/ 58471343 h 574"/>
                  <a:gd name="T94" fmla="*/ 56477570 w 678"/>
                  <a:gd name="T95" fmla="*/ 54372740 h 574"/>
                  <a:gd name="T96" fmla="*/ 59854970 w 678"/>
                  <a:gd name="T97" fmla="*/ 53553124 h 574"/>
                  <a:gd name="T98" fmla="*/ 62106570 w 678"/>
                  <a:gd name="T99" fmla="*/ 52733508 h 574"/>
                  <a:gd name="T100" fmla="*/ 64358171 w 678"/>
                  <a:gd name="T101" fmla="*/ 51913892 h 574"/>
                  <a:gd name="T102" fmla="*/ 66985327 w 678"/>
                  <a:gd name="T103" fmla="*/ 49727901 h 574"/>
                  <a:gd name="T104" fmla="*/ 69048933 w 678"/>
                  <a:gd name="T105" fmla="*/ 45902678 h 574"/>
                  <a:gd name="T106" fmla="*/ 71863650 w 678"/>
                  <a:gd name="T107" fmla="*/ 34427008 h 574"/>
                  <a:gd name="T108" fmla="*/ 75616172 w 678"/>
                  <a:gd name="T109" fmla="*/ 12842045 h 574"/>
                  <a:gd name="T110" fmla="*/ 77680212 w 678"/>
                  <a:gd name="T111" fmla="*/ 2732228 h 574"/>
                  <a:gd name="T112" fmla="*/ 80870051 w 678"/>
                  <a:gd name="T113" fmla="*/ 1639232 h 574"/>
                  <a:gd name="T114" fmla="*/ 84998129 w 678"/>
                  <a:gd name="T115" fmla="*/ 2185991 h 574"/>
                  <a:gd name="T116" fmla="*/ 90439136 w 678"/>
                  <a:gd name="T117" fmla="*/ 273380 h 57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678" h="574">
                    <a:moveTo>
                      <a:pt x="505" y="1"/>
                    </a:moveTo>
                    <a:lnTo>
                      <a:pt x="507" y="4"/>
                    </a:lnTo>
                    <a:lnTo>
                      <a:pt x="513" y="8"/>
                    </a:lnTo>
                    <a:lnTo>
                      <a:pt x="521" y="12"/>
                    </a:lnTo>
                    <a:lnTo>
                      <a:pt x="529" y="16"/>
                    </a:lnTo>
                    <a:lnTo>
                      <a:pt x="552" y="26"/>
                    </a:lnTo>
                    <a:lnTo>
                      <a:pt x="578" y="37"/>
                    </a:lnTo>
                    <a:lnTo>
                      <a:pt x="624" y="55"/>
                    </a:lnTo>
                    <a:lnTo>
                      <a:pt x="645" y="63"/>
                    </a:lnTo>
                    <a:lnTo>
                      <a:pt x="650" y="73"/>
                    </a:lnTo>
                    <a:lnTo>
                      <a:pt x="657" y="84"/>
                    </a:lnTo>
                    <a:lnTo>
                      <a:pt x="660" y="88"/>
                    </a:lnTo>
                    <a:lnTo>
                      <a:pt x="666" y="91"/>
                    </a:lnTo>
                    <a:lnTo>
                      <a:pt x="671" y="93"/>
                    </a:lnTo>
                    <a:lnTo>
                      <a:pt x="678" y="94"/>
                    </a:lnTo>
                    <a:lnTo>
                      <a:pt x="678" y="107"/>
                    </a:lnTo>
                    <a:lnTo>
                      <a:pt x="678" y="118"/>
                    </a:lnTo>
                    <a:lnTo>
                      <a:pt x="678" y="127"/>
                    </a:lnTo>
                    <a:lnTo>
                      <a:pt x="678" y="137"/>
                    </a:lnTo>
                    <a:lnTo>
                      <a:pt x="678" y="141"/>
                    </a:lnTo>
                    <a:lnTo>
                      <a:pt x="677" y="144"/>
                    </a:lnTo>
                    <a:lnTo>
                      <a:pt x="674" y="148"/>
                    </a:lnTo>
                    <a:lnTo>
                      <a:pt x="673" y="151"/>
                    </a:lnTo>
                    <a:lnTo>
                      <a:pt x="667" y="158"/>
                    </a:lnTo>
                    <a:lnTo>
                      <a:pt x="660" y="165"/>
                    </a:lnTo>
                    <a:lnTo>
                      <a:pt x="653" y="172"/>
                    </a:lnTo>
                    <a:lnTo>
                      <a:pt x="647" y="178"/>
                    </a:lnTo>
                    <a:lnTo>
                      <a:pt x="641" y="185"/>
                    </a:lnTo>
                    <a:lnTo>
                      <a:pt x="638" y="192"/>
                    </a:lnTo>
                    <a:lnTo>
                      <a:pt x="638" y="346"/>
                    </a:lnTo>
                    <a:lnTo>
                      <a:pt x="466" y="378"/>
                    </a:lnTo>
                    <a:lnTo>
                      <a:pt x="464" y="382"/>
                    </a:lnTo>
                    <a:lnTo>
                      <a:pt x="461" y="388"/>
                    </a:lnTo>
                    <a:lnTo>
                      <a:pt x="460" y="394"/>
                    </a:lnTo>
                    <a:lnTo>
                      <a:pt x="460" y="400"/>
                    </a:lnTo>
                    <a:lnTo>
                      <a:pt x="461" y="415"/>
                    </a:lnTo>
                    <a:lnTo>
                      <a:pt x="466" y="433"/>
                    </a:lnTo>
                    <a:lnTo>
                      <a:pt x="460" y="434"/>
                    </a:lnTo>
                    <a:lnTo>
                      <a:pt x="455" y="435"/>
                    </a:lnTo>
                    <a:lnTo>
                      <a:pt x="451" y="436"/>
                    </a:lnTo>
                    <a:lnTo>
                      <a:pt x="448" y="436"/>
                    </a:lnTo>
                    <a:lnTo>
                      <a:pt x="444" y="435"/>
                    </a:lnTo>
                    <a:lnTo>
                      <a:pt x="439" y="433"/>
                    </a:lnTo>
                    <a:lnTo>
                      <a:pt x="436" y="437"/>
                    </a:lnTo>
                    <a:lnTo>
                      <a:pt x="434" y="440"/>
                    </a:lnTo>
                    <a:lnTo>
                      <a:pt x="432" y="442"/>
                    </a:lnTo>
                    <a:lnTo>
                      <a:pt x="429" y="444"/>
                    </a:lnTo>
                    <a:lnTo>
                      <a:pt x="425" y="445"/>
                    </a:lnTo>
                    <a:lnTo>
                      <a:pt x="421" y="445"/>
                    </a:lnTo>
                    <a:lnTo>
                      <a:pt x="417" y="445"/>
                    </a:lnTo>
                    <a:lnTo>
                      <a:pt x="414" y="447"/>
                    </a:lnTo>
                    <a:lnTo>
                      <a:pt x="413" y="450"/>
                    </a:lnTo>
                    <a:lnTo>
                      <a:pt x="412" y="457"/>
                    </a:lnTo>
                    <a:lnTo>
                      <a:pt x="411" y="463"/>
                    </a:lnTo>
                    <a:lnTo>
                      <a:pt x="410" y="469"/>
                    </a:lnTo>
                    <a:lnTo>
                      <a:pt x="410" y="471"/>
                    </a:lnTo>
                    <a:lnTo>
                      <a:pt x="410" y="474"/>
                    </a:lnTo>
                    <a:lnTo>
                      <a:pt x="411" y="476"/>
                    </a:lnTo>
                    <a:lnTo>
                      <a:pt x="412" y="476"/>
                    </a:lnTo>
                    <a:lnTo>
                      <a:pt x="403" y="483"/>
                    </a:lnTo>
                    <a:lnTo>
                      <a:pt x="392" y="488"/>
                    </a:lnTo>
                    <a:lnTo>
                      <a:pt x="379" y="493"/>
                    </a:lnTo>
                    <a:lnTo>
                      <a:pt x="365" y="498"/>
                    </a:lnTo>
                    <a:lnTo>
                      <a:pt x="350" y="504"/>
                    </a:lnTo>
                    <a:lnTo>
                      <a:pt x="336" y="510"/>
                    </a:lnTo>
                    <a:lnTo>
                      <a:pt x="330" y="513"/>
                    </a:lnTo>
                    <a:lnTo>
                      <a:pt x="324" y="516"/>
                    </a:lnTo>
                    <a:lnTo>
                      <a:pt x="317" y="520"/>
                    </a:lnTo>
                    <a:lnTo>
                      <a:pt x="313" y="525"/>
                    </a:lnTo>
                    <a:lnTo>
                      <a:pt x="299" y="541"/>
                    </a:lnTo>
                    <a:lnTo>
                      <a:pt x="285" y="557"/>
                    </a:lnTo>
                    <a:lnTo>
                      <a:pt x="277" y="564"/>
                    </a:lnTo>
                    <a:lnTo>
                      <a:pt x="268" y="569"/>
                    </a:lnTo>
                    <a:lnTo>
                      <a:pt x="263" y="571"/>
                    </a:lnTo>
                    <a:lnTo>
                      <a:pt x="258" y="573"/>
                    </a:lnTo>
                    <a:lnTo>
                      <a:pt x="253" y="574"/>
                    </a:lnTo>
                    <a:lnTo>
                      <a:pt x="246" y="574"/>
                    </a:lnTo>
                    <a:lnTo>
                      <a:pt x="238" y="574"/>
                    </a:lnTo>
                    <a:lnTo>
                      <a:pt x="227" y="574"/>
                    </a:lnTo>
                    <a:lnTo>
                      <a:pt x="212" y="574"/>
                    </a:lnTo>
                    <a:lnTo>
                      <a:pt x="193" y="574"/>
                    </a:lnTo>
                    <a:lnTo>
                      <a:pt x="192" y="569"/>
                    </a:lnTo>
                    <a:lnTo>
                      <a:pt x="189" y="564"/>
                    </a:lnTo>
                    <a:lnTo>
                      <a:pt x="186" y="559"/>
                    </a:lnTo>
                    <a:lnTo>
                      <a:pt x="180" y="554"/>
                    </a:lnTo>
                    <a:lnTo>
                      <a:pt x="173" y="550"/>
                    </a:lnTo>
                    <a:lnTo>
                      <a:pt x="165" y="547"/>
                    </a:lnTo>
                    <a:lnTo>
                      <a:pt x="156" y="545"/>
                    </a:lnTo>
                    <a:lnTo>
                      <a:pt x="146" y="544"/>
                    </a:lnTo>
                    <a:lnTo>
                      <a:pt x="133" y="545"/>
                    </a:lnTo>
                    <a:lnTo>
                      <a:pt x="120" y="548"/>
                    </a:lnTo>
                    <a:lnTo>
                      <a:pt x="108" y="552"/>
                    </a:lnTo>
                    <a:lnTo>
                      <a:pt x="93" y="556"/>
                    </a:lnTo>
                    <a:lnTo>
                      <a:pt x="61" y="556"/>
                    </a:lnTo>
                    <a:lnTo>
                      <a:pt x="48" y="544"/>
                    </a:lnTo>
                    <a:lnTo>
                      <a:pt x="33" y="527"/>
                    </a:lnTo>
                    <a:lnTo>
                      <a:pt x="17" y="510"/>
                    </a:lnTo>
                    <a:lnTo>
                      <a:pt x="0" y="494"/>
                    </a:lnTo>
                    <a:lnTo>
                      <a:pt x="0" y="285"/>
                    </a:lnTo>
                    <a:lnTo>
                      <a:pt x="21" y="286"/>
                    </a:lnTo>
                    <a:lnTo>
                      <a:pt x="54" y="286"/>
                    </a:lnTo>
                    <a:lnTo>
                      <a:pt x="73" y="286"/>
                    </a:lnTo>
                    <a:lnTo>
                      <a:pt x="89" y="285"/>
                    </a:lnTo>
                    <a:lnTo>
                      <a:pt x="97" y="284"/>
                    </a:lnTo>
                    <a:lnTo>
                      <a:pt x="103" y="282"/>
                    </a:lnTo>
                    <a:lnTo>
                      <a:pt x="109" y="281"/>
                    </a:lnTo>
                    <a:lnTo>
                      <a:pt x="113" y="279"/>
                    </a:lnTo>
                    <a:lnTo>
                      <a:pt x="119" y="275"/>
                    </a:lnTo>
                    <a:lnTo>
                      <a:pt x="123" y="269"/>
                    </a:lnTo>
                    <a:lnTo>
                      <a:pt x="126" y="263"/>
                    </a:lnTo>
                    <a:lnTo>
                      <a:pt x="129" y="256"/>
                    </a:lnTo>
                    <a:lnTo>
                      <a:pt x="130" y="247"/>
                    </a:lnTo>
                    <a:lnTo>
                      <a:pt x="131" y="238"/>
                    </a:lnTo>
                    <a:lnTo>
                      <a:pt x="131" y="229"/>
                    </a:lnTo>
                    <a:lnTo>
                      <a:pt x="130" y="220"/>
                    </a:lnTo>
                    <a:lnTo>
                      <a:pt x="129" y="202"/>
                    </a:lnTo>
                    <a:lnTo>
                      <a:pt x="126" y="185"/>
                    </a:lnTo>
                    <a:lnTo>
                      <a:pt x="125" y="171"/>
                    </a:lnTo>
                    <a:lnTo>
                      <a:pt x="126" y="162"/>
                    </a:lnTo>
                    <a:lnTo>
                      <a:pt x="130" y="165"/>
                    </a:lnTo>
                    <a:lnTo>
                      <a:pt x="132" y="168"/>
                    </a:lnTo>
                    <a:lnTo>
                      <a:pt x="136" y="170"/>
                    </a:lnTo>
                    <a:lnTo>
                      <a:pt x="140" y="171"/>
                    </a:lnTo>
                    <a:lnTo>
                      <a:pt x="147" y="174"/>
                    </a:lnTo>
                    <a:lnTo>
                      <a:pt x="156" y="175"/>
                    </a:lnTo>
                    <a:lnTo>
                      <a:pt x="174" y="175"/>
                    </a:lnTo>
                    <a:lnTo>
                      <a:pt x="187" y="174"/>
                    </a:lnTo>
                    <a:lnTo>
                      <a:pt x="187" y="180"/>
                    </a:lnTo>
                    <a:lnTo>
                      <a:pt x="188" y="186"/>
                    </a:lnTo>
                    <a:lnTo>
                      <a:pt x="190" y="191"/>
                    </a:lnTo>
                    <a:lnTo>
                      <a:pt x="192" y="197"/>
                    </a:lnTo>
                    <a:lnTo>
                      <a:pt x="195" y="201"/>
                    </a:lnTo>
                    <a:lnTo>
                      <a:pt x="199" y="204"/>
                    </a:lnTo>
                    <a:lnTo>
                      <a:pt x="202" y="207"/>
                    </a:lnTo>
                    <a:lnTo>
                      <a:pt x="208" y="210"/>
                    </a:lnTo>
                    <a:lnTo>
                      <a:pt x="218" y="213"/>
                    </a:lnTo>
                    <a:lnTo>
                      <a:pt x="229" y="216"/>
                    </a:lnTo>
                    <a:lnTo>
                      <a:pt x="241" y="217"/>
                    </a:lnTo>
                    <a:lnTo>
                      <a:pt x="253" y="217"/>
                    </a:lnTo>
                    <a:lnTo>
                      <a:pt x="260" y="216"/>
                    </a:lnTo>
                    <a:lnTo>
                      <a:pt x="269" y="214"/>
                    </a:lnTo>
                    <a:lnTo>
                      <a:pt x="277" y="211"/>
                    </a:lnTo>
                    <a:lnTo>
                      <a:pt x="286" y="207"/>
                    </a:lnTo>
                    <a:lnTo>
                      <a:pt x="301" y="199"/>
                    </a:lnTo>
                    <a:lnTo>
                      <a:pt x="313" y="192"/>
                    </a:lnTo>
                    <a:lnTo>
                      <a:pt x="315" y="195"/>
                    </a:lnTo>
                    <a:lnTo>
                      <a:pt x="319" y="196"/>
                    </a:lnTo>
                    <a:lnTo>
                      <a:pt x="322" y="196"/>
                    </a:lnTo>
                    <a:lnTo>
                      <a:pt x="325" y="195"/>
                    </a:lnTo>
                    <a:lnTo>
                      <a:pt x="331" y="193"/>
                    </a:lnTo>
                    <a:lnTo>
                      <a:pt x="333" y="192"/>
                    </a:lnTo>
                    <a:lnTo>
                      <a:pt x="338" y="192"/>
                    </a:lnTo>
                    <a:lnTo>
                      <a:pt x="343" y="190"/>
                    </a:lnTo>
                    <a:lnTo>
                      <a:pt x="348" y="188"/>
                    </a:lnTo>
                    <a:lnTo>
                      <a:pt x="353" y="185"/>
                    </a:lnTo>
                    <a:lnTo>
                      <a:pt x="357" y="182"/>
                    </a:lnTo>
                    <a:lnTo>
                      <a:pt x="360" y="178"/>
                    </a:lnTo>
                    <a:lnTo>
                      <a:pt x="364" y="173"/>
                    </a:lnTo>
                    <a:lnTo>
                      <a:pt x="368" y="168"/>
                    </a:lnTo>
                    <a:lnTo>
                      <a:pt x="373" y="156"/>
                    </a:lnTo>
                    <a:lnTo>
                      <a:pt x="379" y="142"/>
                    </a:lnTo>
                    <a:lnTo>
                      <a:pt x="383" y="126"/>
                    </a:lnTo>
                    <a:lnTo>
                      <a:pt x="388" y="111"/>
                    </a:lnTo>
                    <a:lnTo>
                      <a:pt x="395" y="78"/>
                    </a:lnTo>
                    <a:lnTo>
                      <a:pt x="403" y="47"/>
                    </a:lnTo>
                    <a:lnTo>
                      <a:pt x="406" y="33"/>
                    </a:lnTo>
                    <a:lnTo>
                      <a:pt x="410" y="20"/>
                    </a:lnTo>
                    <a:lnTo>
                      <a:pt x="414" y="10"/>
                    </a:lnTo>
                    <a:lnTo>
                      <a:pt x="418" y="1"/>
                    </a:lnTo>
                    <a:lnTo>
                      <a:pt x="425" y="4"/>
                    </a:lnTo>
                    <a:lnTo>
                      <a:pt x="431" y="6"/>
                    </a:lnTo>
                    <a:lnTo>
                      <a:pt x="436" y="8"/>
                    </a:lnTo>
                    <a:lnTo>
                      <a:pt x="442" y="8"/>
                    </a:lnTo>
                    <a:lnTo>
                      <a:pt x="453" y="8"/>
                    </a:lnTo>
                    <a:lnTo>
                      <a:pt x="462" y="6"/>
                    </a:lnTo>
                    <a:lnTo>
                      <a:pt x="472" y="4"/>
                    </a:lnTo>
                    <a:lnTo>
                      <a:pt x="482" y="1"/>
                    </a:lnTo>
                    <a:lnTo>
                      <a:pt x="493" y="0"/>
                    </a:lnTo>
                    <a:lnTo>
                      <a:pt x="505" y="1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8" name="Freeform 478">
                <a:extLst>
                  <a:ext uri="{FF2B5EF4-FFF2-40B4-BE49-F238E27FC236}">
                    <a16:creationId xmlns:a16="http://schemas.microsoft.com/office/drawing/2014/main" id="{0EF2F809-6051-4D97-A5D6-E79D4BF70FF3}"/>
                  </a:ext>
                </a:extLst>
              </p:cNvPr>
              <p:cNvSpPr>
                <a:spLocks/>
              </p:cNvSpPr>
              <p:nvPr>
                <p:custDataLst>
                  <p:tags r:id="rId316"/>
                </p:custDataLst>
              </p:nvPr>
            </p:nvSpPr>
            <p:spPr bwMode="auto">
              <a:xfrm>
                <a:off x="4355382" y="5115357"/>
                <a:ext cx="423499" cy="428945"/>
              </a:xfrm>
              <a:custGeom>
                <a:avLst/>
                <a:gdLst>
                  <a:gd name="T0" fmla="*/ 149519799 w 810"/>
                  <a:gd name="T1" fmla="*/ 11535338 h 727"/>
                  <a:gd name="T2" fmla="*/ 143704135 w 810"/>
                  <a:gd name="T3" fmla="*/ 7140999 h 727"/>
                  <a:gd name="T4" fmla="*/ 134699318 w 810"/>
                  <a:gd name="T5" fmla="*/ 9063293 h 727"/>
                  <a:gd name="T6" fmla="*/ 118940673 w 810"/>
                  <a:gd name="T7" fmla="*/ 12084565 h 727"/>
                  <a:gd name="T8" fmla="*/ 113312555 w 810"/>
                  <a:gd name="T9" fmla="*/ 15105838 h 727"/>
                  <a:gd name="T10" fmla="*/ 52528962 w 810"/>
                  <a:gd name="T11" fmla="*/ 10986111 h 727"/>
                  <a:gd name="T12" fmla="*/ 43524145 w 810"/>
                  <a:gd name="T13" fmla="*/ 10162271 h 727"/>
                  <a:gd name="T14" fmla="*/ 32267908 w 810"/>
                  <a:gd name="T15" fmla="*/ 4668953 h 727"/>
                  <a:gd name="T16" fmla="*/ 21761856 w 810"/>
                  <a:gd name="T17" fmla="*/ 0 h 727"/>
                  <a:gd name="T18" fmla="*/ 15571099 w 810"/>
                  <a:gd name="T19" fmla="*/ 1373067 h 727"/>
                  <a:gd name="T20" fmla="*/ 9942980 w 810"/>
                  <a:gd name="T21" fmla="*/ 6591772 h 727"/>
                  <a:gd name="T22" fmla="*/ 0 w 810"/>
                  <a:gd name="T23" fmla="*/ 15105838 h 727"/>
                  <a:gd name="T24" fmla="*/ 1313257 w 810"/>
                  <a:gd name="T25" fmla="*/ 18676337 h 727"/>
                  <a:gd name="T26" fmla="*/ 4877501 w 810"/>
                  <a:gd name="T27" fmla="*/ 20324018 h 727"/>
                  <a:gd name="T28" fmla="*/ 6753829 w 810"/>
                  <a:gd name="T29" fmla="*/ 35429856 h 727"/>
                  <a:gd name="T30" fmla="*/ 11256237 w 810"/>
                  <a:gd name="T31" fmla="*/ 52733125 h 727"/>
                  <a:gd name="T32" fmla="*/ 20448600 w 810"/>
                  <a:gd name="T33" fmla="*/ 75803802 h 727"/>
                  <a:gd name="T34" fmla="*/ 24951441 w 810"/>
                  <a:gd name="T35" fmla="*/ 82395050 h 727"/>
                  <a:gd name="T36" fmla="*/ 29828941 w 810"/>
                  <a:gd name="T37" fmla="*/ 82944801 h 727"/>
                  <a:gd name="T38" fmla="*/ 29828941 w 810"/>
                  <a:gd name="T39" fmla="*/ 91184253 h 727"/>
                  <a:gd name="T40" fmla="*/ 28515685 w 810"/>
                  <a:gd name="T41" fmla="*/ 98599865 h 727"/>
                  <a:gd name="T42" fmla="*/ 27389975 w 810"/>
                  <a:gd name="T43" fmla="*/ 108212385 h 727"/>
                  <a:gd name="T44" fmla="*/ 28140592 w 810"/>
                  <a:gd name="T45" fmla="*/ 116726451 h 727"/>
                  <a:gd name="T46" fmla="*/ 32455454 w 810"/>
                  <a:gd name="T47" fmla="*/ 132931267 h 727"/>
                  <a:gd name="T48" fmla="*/ 33581165 w 810"/>
                  <a:gd name="T49" fmla="*/ 142269173 h 727"/>
                  <a:gd name="T50" fmla="*/ 35081967 w 810"/>
                  <a:gd name="T51" fmla="*/ 166438304 h 727"/>
                  <a:gd name="T52" fmla="*/ 38271119 w 810"/>
                  <a:gd name="T53" fmla="*/ 177699029 h 727"/>
                  <a:gd name="T54" fmla="*/ 43336599 w 810"/>
                  <a:gd name="T55" fmla="*/ 189508981 h 727"/>
                  <a:gd name="T56" fmla="*/ 45962679 w 810"/>
                  <a:gd name="T57" fmla="*/ 192255640 h 727"/>
                  <a:gd name="T58" fmla="*/ 48589192 w 810"/>
                  <a:gd name="T59" fmla="*/ 196375366 h 727"/>
                  <a:gd name="T60" fmla="*/ 49714902 w 810"/>
                  <a:gd name="T61" fmla="*/ 186213095 h 727"/>
                  <a:gd name="T62" fmla="*/ 57781988 w 810"/>
                  <a:gd name="T63" fmla="*/ 191157186 h 727"/>
                  <a:gd name="T64" fmla="*/ 61533778 w 810"/>
                  <a:gd name="T65" fmla="*/ 195826139 h 727"/>
                  <a:gd name="T66" fmla="*/ 69788409 w 810"/>
                  <a:gd name="T67" fmla="*/ 199396638 h 727"/>
                  <a:gd name="T68" fmla="*/ 76354692 w 810"/>
                  <a:gd name="T69" fmla="*/ 198572798 h 727"/>
                  <a:gd name="T70" fmla="*/ 80482008 w 810"/>
                  <a:gd name="T71" fmla="*/ 195002298 h 727"/>
                  <a:gd name="T72" fmla="*/ 84796870 w 810"/>
                  <a:gd name="T73" fmla="*/ 185389254 h 727"/>
                  <a:gd name="T74" fmla="*/ 86860311 w 810"/>
                  <a:gd name="T75" fmla="*/ 145290446 h 727"/>
                  <a:gd name="T76" fmla="*/ 87235403 w 810"/>
                  <a:gd name="T77" fmla="*/ 131832289 h 727"/>
                  <a:gd name="T78" fmla="*/ 88361114 w 810"/>
                  <a:gd name="T79" fmla="*/ 128811541 h 727"/>
                  <a:gd name="T80" fmla="*/ 86860311 w 810"/>
                  <a:gd name="T81" fmla="*/ 117001065 h 727"/>
                  <a:gd name="T82" fmla="*/ 87986021 w 810"/>
                  <a:gd name="T83" fmla="*/ 101071387 h 727"/>
                  <a:gd name="T84" fmla="*/ 93801686 w 810"/>
                  <a:gd name="T85" fmla="*/ 90635026 h 727"/>
                  <a:gd name="T86" fmla="*/ 98491640 w 810"/>
                  <a:gd name="T87" fmla="*/ 87888367 h 727"/>
                  <a:gd name="T88" fmla="*/ 100930607 w 810"/>
                  <a:gd name="T89" fmla="*/ 63719237 h 727"/>
                  <a:gd name="T90" fmla="*/ 103369574 w 810"/>
                  <a:gd name="T91" fmla="*/ 40648560 h 727"/>
                  <a:gd name="T92" fmla="*/ 101493246 w 810"/>
                  <a:gd name="T93" fmla="*/ 34056788 h 727"/>
                  <a:gd name="T94" fmla="*/ 99617351 w 810"/>
                  <a:gd name="T95" fmla="*/ 27190403 h 727"/>
                  <a:gd name="T96" fmla="*/ 101118154 w 810"/>
                  <a:gd name="T97" fmla="*/ 23619904 h 727"/>
                  <a:gd name="T98" fmla="*/ 115751521 w 810"/>
                  <a:gd name="T99" fmla="*/ 21972223 h 727"/>
                  <a:gd name="T100" fmla="*/ 132823423 w 810"/>
                  <a:gd name="T101" fmla="*/ 17303270 h 727"/>
                  <a:gd name="T102" fmla="*/ 150645510 w 810"/>
                  <a:gd name="T103" fmla="*/ 16753519 h 72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810" h="727">
                    <a:moveTo>
                      <a:pt x="810" y="61"/>
                    </a:moveTo>
                    <a:lnTo>
                      <a:pt x="807" y="54"/>
                    </a:lnTo>
                    <a:lnTo>
                      <a:pt x="802" y="48"/>
                    </a:lnTo>
                    <a:lnTo>
                      <a:pt x="797" y="42"/>
                    </a:lnTo>
                    <a:lnTo>
                      <a:pt x="790" y="36"/>
                    </a:lnTo>
                    <a:lnTo>
                      <a:pt x="784" y="32"/>
                    </a:lnTo>
                    <a:lnTo>
                      <a:pt x="775" y="28"/>
                    </a:lnTo>
                    <a:lnTo>
                      <a:pt x="766" y="26"/>
                    </a:lnTo>
                    <a:lnTo>
                      <a:pt x="756" y="25"/>
                    </a:lnTo>
                    <a:lnTo>
                      <a:pt x="743" y="26"/>
                    </a:lnTo>
                    <a:lnTo>
                      <a:pt x="730" y="29"/>
                    </a:lnTo>
                    <a:lnTo>
                      <a:pt x="718" y="33"/>
                    </a:lnTo>
                    <a:lnTo>
                      <a:pt x="703" y="37"/>
                    </a:lnTo>
                    <a:lnTo>
                      <a:pt x="671" y="37"/>
                    </a:lnTo>
                    <a:lnTo>
                      <a:pt x="651" y="41"/>
                    </a:lnTo>
                    <a:lnTo>
                      <a:pt x="634" y="44"/>
                    </a:lnTo>
                    <a:lnTo>
                      <a:pt x="627" y="46"/>
                    </a:lnTo>
                    <a:lnTo>
                      <a:pt x="619" y="48"/>
                    </a:lnTo>
                    <a:lnTo>
                      <a:pt x="611" y="51"/>
                    </a:lnTo>
                    <a:lnTo>
                      <a:pt x="604" y="55"/>
                    </a:lnTo>
                    <a:lnTo>
                      <a:pt x="411" y="55"/>
                    </a:lnTo>
                    <a:lnTo>
                      <a:pt x="411" y="37"/>
                    </a:lnTo>
                    <a:lnTo>
                      <a:pt x="292" y="37"/>
                    </a:lnTo>
                    <a:lnTo>
                      <a:pt x="280" y="40"/>
                    </a:lnTo>
                    <a:lnTo>
                      <a:pt x="269" y="41"/>
                    </a:lnTo>
                    <a:lnTo>
                      <a:pt x="257" y="40"/>
                    </a:lnTo>
                    <a:lnTo>
                      <a:pt x="245" y="39"/>
                    </a:lnTo>
                    <a:lnTo>
                      <a:pt x="232" y="37"/>
                    </a:lnTo>
                    <a:lnTo>
                      <a:pt x="220" y="34"/>
                    </a:lnTo>
                    <a:lnTo>
                      <a:pt x="208" y="30"/>
                    </a:lnTo>
                    <a:lnTo>
                      <a:pt x="196" y="26"/>
                    </a:lnTo>
                    <a:lnTo>
                      <a:pt x="172" y="17"/>
                    </a:lnTo>
                    <a:lnTo>
                      <a:pt x="149" y="8"/>
                    </a:lnTo>
                    <a:lnTo>
                      <a:pt x="137" y="5"/>
                    </a:lnTo>
                    <a:lnTo>
                      <a:pt x="126" y="2"/>
                    </a:lnTo>
                    <a:lnTo>
                      <a:pt x="116" y="0"/>
                    </a:lnTo>
                    <a:lnTo>
                      <a:pt x="105" y="0"/>
                    </a:lnTo>
                    <a:lnTo>
                      <a:pt x="97" y="0"/>
                    </a:lnTo>
                    <a:lnTo>
                      <a:pt x="91" y="2"/>
                    </a:lnTo>
                    <a:lnTo>
                      <a:pt x="83" y="5"/>
                    </a:lnTo>
                    <a:lnTo>
                      <a:pt x="75" y="8"/>
                    </a:lnTo>
                    <a:lnTo>
                      <a:pt x="68" y="13"/>
                    </a:lnTo>
                    <a:lnTo>
                      <a:pt x="60" y="19"/>
                    </a:lnTo>
                    <a:lnTo>
                      <a:pt x="53" y="24"/>
                    </a:lnTo>
                    <a:lnTo>
                      <a:pt x="46" y="31"/>
                    </a:lnTo>
                    <a:lnTo>
                      <a:pt x="6" y="31"/>
                    </a:lnTo>
                    <a:lnTo>
                      <a:pt x="3" y="45"/>
                    </a:lnTo>
                    <a:lnTo>
                      <a:pt x="0" y="55"/>
                    </a:lnTo>
                    <a:lnTo>
                      <a:pt x="0" y="58"/>
                    </a:lnTo>
                    <a:lnTo>
                      <a:pt x="2" y="61"/>
                    </a:lnTo>
                    <a:lnTo>
                      <a:pt x="4" y="64"/>
                    </a:lnTo>
                    <a:lnTo>
                      <a:pt x="7" y="68"/>
                    </a:lnTo>
                    <a:lnTo>
                      <a:pt x="12" y="70"/>
                    </a:lnTo>
                    <a:lnTo>
                      <a:pt x="16" y="72"/>
                    </a:lnTo>
                    <a:lnTo>
                      <a:pt x="21" y="74"/>
                    </a:lnTo>
                    <a:lnTo>
                      <a:pt x="26" y="74"/>
                    </a:lnTo>
                    <a:lnTo>
                      <a:pt x="26" y="86"/>
                    </a:lnTo>
                    <a:lnTo>
                      <a:pt x="28" y="99"/>
                    </a:lnTo>
                    <a:lnTo>
                      <a:pt x="32" y="113"/>
                    </a:lnTo>
                    <a:lnTo>
                      <a:pt x="36" y="129"/>
                    </a:lnTo>
                    <a:lnTo>
                      <a:pt x="40" y="144"/>
                    </a:lnTo>
                    <a:lnTo>
                      <a:pt x="47" y="160"/>
                    </a:lnTo>
                    <a:lnTo>
                      <a:pt x="53" y="175"/>
                    </a:lnTo>
                    <a:lnTo>
                      <a:pt x="60" y="192"/>
                    </a:lnTo>
                    <a:lnTo>
                      <a:pt x="77" y="223"/>
                    </a:lnTo>
                    <a:lnTo>
                      <a:pt x="93" y="252"/>
                    </a:lnTo>
                    <a:lnTo>
                      <a:pt x="102" y="265"/>
                    </a:lnTo>
                    <a:lnTo>
                      <a:pt x="109" y="276"/>
                    </a:lnTo>
                    <a:lnTo>
                      <a:pt x="117" y="286"/>
                    </a:lnTo>
                    <a:lnTo>
                      <a:pt x="125" y="296"/>
                    </a:lnTo>
                    <a:lnTo>
                      <a:pt x="128" y="298"/>
                    </a:lnTo>
                    <a:lnTo>
                      <a:pt x="133" y="300"/>
                    </a:lnTo>
                    <a:lnTo>
                      <a:pt x="137" y="301"/>
                    </a:lnTo>
                    <a:lnTo>
                      <a:pt x="142" y="301"/>
                    </a:lnTo>
                    <a:lnTo>
                      <a:pt x="151" y="302"/>
                    </a:lnTo>
                    <a:lnTo>
                      <a:pt x="159" y="302"/>
                    </a:lnTo>
                    <a:lnTo>
                      <a:pt x="159" y="309"/>
                    </a:lnTo>
                    <a:lnTo>
                      <a:pt x="159" y="317"/>
                    </a:lnTo>
                    <a:lnTo>
                      <a:pt x="159" y="326"/>
                    </a:lnTo>
                    <a:lnTo>
                      <a:pt x="159" y="332"/>
                    </a:lnTo>
                    <a:lnTo>
                      <a:pt x="158" y="339"/>
                    </a:lnTo>
                    <a:lnTo>
                      <a:pt x="157" y="346"/>
                    </a:lnTo>
                    <a:lnTo>
                      <a:pt x="154" y="353"/>
                    </a:lnTo>
                    <a:lnTo>
                      <a:pt x="152" y="359"/>
                    </a:lnTo>
                    <a:lnTo>
                      <a:pt x="149" y="366"/>
                    </a:lnTo>
                    <a:lnTo>
                      <a:pt x="147" y="374"/>
                    </a:lnTo>
                    <a:lnTo>
                      <a:pt x="146" y="383"/>
                    </a:lnTo>
                    <a:lnTo>
                      <a:pt x="146" y="394"/>
                    </a:lnTo>
                    <a:lnTo>
                      <a:pt x="146" y="403"/>
                    </a:lnTo>
                    <a:lnTo>
                      <a:pt x="147" y="410"/>
                    </a:lnTo>
                    <a:lnTo>
                      <a:pt x="148" y="418"/>
                    </a:lnTo>
                    <a:lnTo>
                      <a:pt x="150" y="425"/>
                    </a:lnTo>
                    <a:lnTo>
                      <a:pt x="156" y="439"/>
                    </a:lnTo>
                    <a:lnTo>
                      <a:pt x="162" y="453"/>
                    </a:lnTo>
                    <a:lnTo>
                      <a:pt x="168" y="469"/>
                    </a:lnTo>
                    <a:lnTo>
                      <a:pt x="173" y="484"/>
                    </a:lnTo>
                    <a:lnTo>
                      <a:pt x="175" y="491"/>
                    </a:lnTo>
                    <a:lnTo>
                      <a:pt x="178" y="500"/>
                    </a:lnTo>
                    <a:lnTo>
                      <a:pt x="179" y="508"/>
                    </a:lnTo>
                    <a:lnTo>
                      <a:pt x="179" y="518"/>
                    </a:lnTo>
                    <a:lnTo>
                      <a:pt x="179" y="542"/>
                    </a:lnTo>
                    <a:lnTo>
                      <a:pt x="180" y="564"/>
                    </a:lnTo>
                    <a:lnTo>
                      <a:pt x="183" y="586"/>
                    </a:lnTo>
                    <a:lnTo>
                      <a:pt x="187" y="606"/>
                    </a:lnTo>
                    <a:lnTo>
                      <a:pt x="191" y="616"/>
                    </a:lnTo>
                    <a:lnTo>
                      <a:pt x="194" y="627"/>
                    </a:lnTo>
                    <a:lnTo>
                      <a:pt x="198" y="637"/>
                    </a:lnTo>
                    <a:lnTo>
                      <a:pt x="204" y="647"/>
                    </a:lnTo>
                    <a:lnTo>
                      <a:pt x="209" y="657"/>
                    </a:lnTo>
                    <a:lnTo>
                      <a:pt x="216" y="667"/>
                    </a:lnTo>
                    <a:lnTo>
                      <a:pt x="224" y="679"/>
                    </a:lnTo>
                    <a:lnTo>
                      <a:pt x="231" y="690"/>
                    </a:lnTo>
                    <a:lnTo>
                      <a:pt x="235" y="696"/>
                    </a:lnTo>
                    <a:lnTo>
                      <a:pt x="238" y="698"/>
                    </a:lnTo>
                    <a:lnTo>
                      <a:pt x="241" y="700"/>
                    </a:lnTo>
                    <a:lnTo>
                      <a:pt x="245" y="700"/>
                    </a:lnTo>
                    <a:lnTo>
                      <a:pt x="249" y="701"/>
                    </a:lnTo>
                    <a:lnTo>
                      <a:pt x="252" y="703"/>
                    </a:lnTo>
                    <a:lnTo>
                      <a:pt x="256" y="707"/>
                    </a:lnTo>
                    <a:lnTo>
                      <a:pt x="259" y="715"/>
                    </a:lnTo>
                    <a:lnTo>
                      <a:pt x="259" y="708"/>
                    </a:lnTo>
                    <a:lnTo>
                      <a:pt x="262" y="699"/>
                    </a:lnTo>
                    <a:lnTo>
                      <a:pt x="264" y="688"/>
                    </a:lnTo>
                    <a:lnTo>
                      <a:pt x="265" y="678"/>
                    </a:lnTo>
                    <a:lnTo>
                      <a:pt x="298" y="678"/>
                    </a:lnTo>
                    <a:lnTo>
                      <a:pt x="301" y="685"/>
                    </a:lnTo>
                    <a:lnTo>
                      <a:pt x="304" y="691"/>
                    </a:lnTo>
                    <a:lnTo>
                      <a:pt x="308" y="696"/>
                    </a:lnTo>
                    <a:lnTo>
                      <a:pt x="313" y="701"/>
                    </a:lnTo>
                    <a:lnTo>
                      <a:pt x="317" y="706"/>
                    </a:lnTo>
                    <a:lnTo>
                      <a:pt x="322" y="710"/>
                    </a:lnTo>
                    <a:lnTo>
                      <a:pt x="328" y="713"/>
                    </a:lnTo>
                    <a:lnTo>
                      <a:pt x="333" y="716"/>
                    </a:lnTo>
                    <a:lnTo>
                      <a:pt x="346" y="721"/>
                    </a:lnTo>
                    <a:lnTo>
                      <a:pt x="359" y="724"/>
                    </a:lnTo>
                    <a:lnTo>
                      <a:pt x="372" y="726"/>
                    </a:lnTo>
                    <a:lnTo>
                      <a:pt x="384" y="727"/>
                    </a:lnTo>
                    <a:lnTo>
                      <a:pt x="393" y="726"/>
                    </a:lnTo>
                    <a:lnTo>
                      <a:pt x="400" y="725"/>
                    </a:lnTo>
                    <a:lnTo>
                      <a:pt x="407" y="723"/>
                    </a:lnTo>
                    <a:lnTo>
                      <a:pt x="414" y="721"/>
                    </a:lnTo>
                    <a:lnTo>
                      <a:pt x="419" y="718"/>
                    </a:lnTo>
                    <a:lnTo>
                      <a:pt x="425" y="714"/>
                    </a:lnTo>
                    <a:lnTo>
                      <a:pt x="429" y="710"/>
                    </a:lnTo>
                    <a:lnTo>
                      <a:pt x="433" y="706"/>
                    </a:lnTo>
                    <a:lnTo>
                      <a:pt x="441" y="696"/>
                    </a:lnTo>
                    <a:lnTo>
                      <a:pt x="447" y="686"/>
                    </a:lnTo>
                    <a:lnTo>
                      <a:pt x="452" y="675"/>
                    </a:lnTo>
                    <a:lnTo>
                      <a:pt x="458" y="665"/>
                    </a:lnTo>
                    <a:lnTo>
                      <a:pt x="458" y="554"/>
                    </a:lnTo>
                    <a:lnTo>
                      <a:pt x="462" y="542"/>
                    </a:lnTo>
                    <a:lnTo>
                      <a:pt x="463" y="529"/>
                    </a:lnTo>
                    <a:lnTo>
                      <a:pt x="464" y="516"/>
                    </a:lnTo>
                    <a:lnTo>
                      <a:pt x="464" y="502"/>
                    </a:lnTo>
                    <a:lnTo>
                      <a:pt x="464" y="490"/>
                    </a:lnTo>
                    <a:lnTo>
                      <a:pt x="465" y="480"/>
                    </a:lnTo>
                    <a:lnTo>
                      <a:pt x="466" y="476"/>
                    </a:lnTo>
                    <a:lnTo>
                      <a:pt x="467" y="473"/>
                    </a:lnTo>
                    <a:lnTo>
                      <a:pt x="469" y="470"/>
                    </a:lnTo>
                    <a:lnTo>
                      <a:pt x="471" y="469"/>
                    </a:lnTo>
                    <a:lnTo>
                      <a:pt x="466" y="456"/>
                    </a:lnTo>
                    <a:lnTo>
                      <a:pt x="464" y="444"/>
                    </a:lnTo>
                    <a:lnTo>
                      <a:pt x="463" y="435"/>
                    </a:lnTo>
                    <a:lnTo>
                      <a:pt x="463" y="426"/>
                    </a:lnTo>
                    <a:lnTo>
                      <a:pt x="463" y="409"/>
                    </a:lnTo>
                    <a:lnTo>
                      <a:pt x="464" y="388"/>
                    </a:lnTo>
                    <a:lnTo>
                      <a:pt x="465" y="378"/>
                    </a:lnTo>
                    <a:lnTo>
                      <a:pt x="469" y="368"/>
                    </a:lnTo>
                    <a:lnTo>
                      <a:pt x="474" y="358"/>
                    </a:lnTo>
                    <a:lnTo>
                      <a:pt x="482" y="348"/>
                    </a:lnTo>
                    <a:lnTo>
                      <a:pt x="490" y="338"/>
                    </a:lnTo>
                    <a:lnTo>
                      <a:pt x="500" y="330"/>
                    </a:lnTo>
                    <a:lnTo>
                      <a:pt x="506" y="327"/>
                    </a:lnTo>
                    <a:lnTo>
                      <a:pt x="511" y="324"/>
                    </a:lnTo>
                    <a:lnTo>
                      <a:pt x="518" y="322"/>
                    </a:lnTo>
                    <a:lnTo>
                      <a:pt x="525" y="320"/>
                    </a:lnTo>
                    <a:lnTo>
                      <a:pt x="526" y="298"/>
                    </a:lnTo>
                    <a:lnTo>
                      <a:pt x="528" y="275"/>
                    </a:lnTo>
                    <a:lnTo>
                      <a:pt x="532" y="254"/>
                    </a:lnTo>
                    <a:lnTo>
                      <a:pt x="538" y="232"/>
                    </a:lnTo>
                    <a:lnTo>
                      <a:pt x="542" y="211"/>
                    </a:lnTo>
                    <a:lnTo>
                      <a:pt x="546" y="190"/>
                    </a:lnTo>
                    <a:lnTo>
                      <a:pt x="550" y="168"/>
                    </a:lnTo>
                    <a:lnTo>
                      <a:pt x="551" y="148"/>
                    </a:lnTo>
                    <a:lnTo>
                      <a:pt x="550" y="141"/>
                    </a:lnTo>
                    <a:lnTo>
                      <a:pt x="548" y="135"/>
                    </a:lnTo>
                    <a:lnTo>
                      <a:pt x="544" y="129"/>
                    </a:lnTo>
                    <a:lnTo>
                      <a:pt x="541" y="124"/>
                    </a:lnTo>
                    <a:lnTo>
                      <a:pt x="537" y="117"/>
                    </a:lnTo>
                    <a:lnTo>
                      <a:pt x="533" y="111"/>
                    </a:lnTo>
                    <a:lnTo>
                      <a:pt x="531" y="105"/>
                    </a:lnTo>
                    <a:lnTo>
                      <a:pt x="531" y="99"/>
                    </a:lnTo>
                    <a:lnTo>
                      <a:pt x="531" y="94"/>
                    </a:lnTo>
                    <a:lnTo>
                      <a:pt x="532" y="91"/>
                    </a:lnTo>
                    <a:lnTo>
                      <a:pt x="535" y="88"/>
                    </a:lnTo>
                    <a:lnTo>
                      <a:pt x="539" y="86"/>
                    </a:lnTo>
                    <a:lnTo>
                      <a:pt x="548" y="84"/>
                    </a:lnTo>
                    <a:lnTo>
                      <a:pt x="559" y="83"/>
                    </a:lnTo>
                    <a:lnTo>
                      <a:pt x="587" y="82"/>
                    </a:lnTo>
                    <a:lnTo>
                      <a:pt x="617" y="80"/>
                    </a:lnTo>
                    <a:lnTo>
                      <a:pt x="640" y="74"/>
                    </a:lnTo>
                    <a:lnTo>
                      <a:pt x="662" y="70"/>
                    </a:lnTo>
                    <a:lnTo>
                      <a:pt x="685" y="67"/>
                    </a:lnTo>
                    <a:lnTo>
                      <a:pt x="708" y="63"/>
                    </a:lnTo>
                    <a:lnTo>
                      <a:pt x="731" y="62"/>
                    </a:lnTo>
                    <a:lnTo>
                      <a:pt x="754" y="61"/>
                    </a:lnTo>
                    <a:lnTo>
                      <a:pt x="778" y="61"/>
                    </a:lnTo>
                    <a:lnTo>
                      <a:pt x="803" y="61"/>
                    </a:lnTo>
                    <a:lnTo>
                      <a:pt x="810" y="6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79" name="Freeform 479">
                <a:extLst>
                  <a:ext uri="{FF2B5EF4-FFF2-40B4-BE49-F238E27FC236}">
                    <a16:creationId xmlns:a16="http://schemas.microsoft.com/office/drawing/2014/main" id="{2946FA6E-38B4-498D-AB3E-C249D3933C9D}"/>
                  </a:ext>
                </a:extLst>
              </p:cNvPr>
              <p:cNvSpPr>
                <a:spLocks/>
              </p:cNvSpPr>
              <p:nvPr>
                <p:custDataLst>
                  <p:tags r:id="rId317"/>
                </p:custDataLst>
              </p:nvPr>
            </p:nvSpPr>
            <p:spPr bwMode="auto">
              <a:xfrm>
                <a:off x="3486666" y="3911146"/>
                <a:ext cx="195461" cy="158218"/>
              </a:xfrm>
              <a:custGeom>
                <a:avLst/>
                <a:gdLst>
                  <a:gd name="T0" fmla="*/ 39951999 w 365"/>
                  <a:gd name="T1" fmla="*/ 67953272 h 271"/>
                  <a:gd name="T2" fmla="*/ 32079782 w 365"/>
                  <a:gd name="T3" fmla="*/ 66866240 h 271"/>
                  <a:gd name="T4" fmla="*/ 23813622 w 365"/>
                  <a:gd name="T5" fmla="*/ 67137868 h 271"/>
                  <a:gd name="T6" fmla="*/ 18106320 w 365"/>
                  <a:gd name="T7" fmla="*/ 67953272 h 271"/>
                  <a:gd name="T8" fmla="*/ 14563934 w 365"/>
                  <a:gd name="T9" fmla="*/ 69312452 h 271"/>
                  <a:gd name="T10" fmla="*/ 5116830 w 365"/>
                  <a:gd name="T11" fmla="*/ 73661620 h 271"/>
                  <a:gd name="T12" fmla="*/ 3936330 w 365"/>
                  <a:gd name="T13" fmla="*/ 73389992 h 271"/>
                  <a:gd name="T14" fmla="*/ 3345858 w 365"/>
                  <a:gd name="T15" fmla="*/ 72302440 h 271"/>
                  <a:gd name="T16" fmla="*/ 3542387 w 365"/>
                  <a:gd name="T17" fmla="*/ 69040824 h 271"/>
                  <a:gd name="T18" fmla="*/ 5116830 w 365"/>
                  <a:gd name="T19" fmla="*/ 61973818 h 271"/>
                  <a:gd name="T20" fmla="*/ 12005075 w 365"/>
                  <a:gd name="T21" fmla="*/ 61430041 h 271"/>
                  <a:gd name="T22" fmla="*/ 17515849 w 365"/>
                  <a:gd name="T23" fmla="*/ 60342489 h 271"/>
                  <a:gd name="T24" fmla="*/ 22632679 w 365"/>
                  <a:gd name="T25" fmla="*/ 59255457 h 271"/>
                  <a:gd name="T26" fmla="*/ 28733924 w 365"/>
                  <a:gd name="T27" fmla="*/ 58711681 h 271"/>
                  <a:gd name="T28" fmla="*/ 35819141 w 365"/>
                  <a:gd name="T29" fmla="*/ 59255457 h 271"/>
                  <a:gd name="T30" fmla="*/ 39164556 w 365"/>
                  <a:gd name="T31" fmla="*/ 59255457 h 271"/>
                  <a:gd name="T32" fmla="*/ 43100886 w 365"/>
                  <a:gd name="T33" fmla="*/ 58711681 h 271"/>
                  <a:gd name="T34" fmla="*/ 42313442 w 365"/>
                  <a:gd name="T35" fmla="*/ 56537097 h 271"/>
                  <a:gd name="T36" fmla="*/ 41329471 w 365"/>
                  <a:gd name="T37" fmla="*/ 54634662 h 271"/>
                  <a:gd name="T38" fmla="*/ 38377556 w 365"/>
                  <a:gd name="T39" fmla="*/ 52731705 h 271"/>
                  <a:gd name="T40" fmla="*/ 34441226 w 365"/>
                  <a:gd name="T41" fmla="*/ 51916302 h 271"/>
                  <a:gd name="T42" fmla="*/ 29914867 w 365"/>
                  <a:gd name="T43" fmla="*/ 51644674 h 271"/>
                  <a:gd name="T44" fmla="*/ 18303292 w 365"/>
                  <a:gd name="T45" fmla="*/ 52188451 h 271"/>
                  <a:gd name="T46" fmla="*/ 12595547 w 365"/>
                  <a:gd name="T47" fmla="*/ 53275482 h 271"/>
                  <a:gd name="T48" fmla="*/ 6494745 w 365"/>
                  <a:gd name="T49" fmla="*/ 55178438 h 271"/>
                  <a:gd name="T50" fmla="*/ 7478717 w 365"/>
                  <a:gd name="T51" fmla="*/ 49742239 h 271"/>
                  <a:gd name="T52" fmla="*/ 7675689 w 365"/>
                  <a:gd name="T53" fmla="*/ 46752251 h 271"/>
                  <a:gd name="T54" fmla="*/ 5116830 w 365"/>
                  <a:gd name="T55" fmla="*/ 44577667 h 271"/>
                  <a:gd name="T56" fmla="*/ 2558415 w 365"/>
                  <a:gd name="T57" fmla="*/ 43490115 h 271"/>
                  <a:gd name="T58" fmla="*/ 2164915 w 365"/>
                  <a:gd name="T59" fmla="*/ 39956872 h 271"/>
                  <a:gd name="T60" fmla="*/ 1180943 w 365"/>
                  <a:gd name="T61" fmla="*/ 38869319 h 271"/>
                  <a:gd name="T62" fmla="*/ 393500 w 365"/>
                  <a:gd name="T63" fmla="*/ 38325543 h 271"/>
                  <a:gd name="T64" fmla="*/ 0 w 365"/>
                  <a:gd name="T65" fmla="*/ 36694735 h 271"/>
                  <a:gd name="T66" fmla="*/ 983972 w 365"/>
                  <a:gd name="T67" fmla="*/ 31258536 h 271"/>
                  <a:gd name="T68" fmla="*/ 3345858 w 365"/>
                  <a:gd name="T69" fmla="*/ 25006933 h 271"/>
                  <a:gd name="T70" fmla="*/ 5904273 w 365"/>
                  <a:gd name="T71" fmla="*/ 18755330 h 271"/>
                  <a:gd name="T72" fmla="*/ 7675689 w 365"/>
                  <a:gd name="T73" fmla="*/ 13319131 h 271"/>
                  <a:gd name="T74" fmla="*/ 9446660 w 365"/>
                  <a:gd name="T75" fmla="*/ 11416175 h 271"/>
                  <a:gd name="T76" fmla="*/ 9643632 w 365"/>
                  <a:gd name="T77" fmla="*/ 13046982 h 271"/>
                  <a:gd name="T78" fmla="*/ 10234104 w 365"/>
                  <a:gd name="T79" fmla="*/ 9785367 h 271"/>
                  <a:gd name="T80" fmla="*/ 14760462 w 365"/>
                  <a:gd name="T81" fmla="*/ 8426187 h 271"/>
                  <a:gd name="T82" fmla="*/ 22436151 w 365"/>
                  <a:gd name="T83" fmla="*/ 4892423 h 271"/>
                  <a:gd name="T84" fmla="*/ 32473282 w 365"/>
                  <a:gd name="T85" fmla="*/ 0 h 271"/>
                  <a:gd name="T86" fmla="*/ 36212641 w 365"/>
                  <a:gd name="T87" fmla="*/ 4077019 h 271"/>
                  <a:gd name="T88" fmla="*/ 39755027 w 365"/>
                  <a:gd name="T89" fmla="*/ 6523752 h 271"/>
                  <a:gd name="T90" fmla="*/ 43297858 w 365"/>
                  <a:gd name="T91" fmla="*/ 7882411 h 271"/>
                  <a:gd name="T92" fmla="*/ 47037216 w 365"/>
                  <a:gd name="T93" fmla="*/ 8154559 h 271"/>
                  <a:gd name="T94" fmla="*/ 47430716 w 365"/>
                  <a:gd name="T95" fmla="*/ 14134535 h 271"/>
                  <a:gd name="T96" fmla="*/ 48611660 w 365"/>
                  <a:gd name="T97" fmla="*/ 18755330 h 271"/>
                  <a:gd name="T98" fmla="*/ 49989131 w 365"/>
                  <a:gd name="T99" fmla="*/ 22832349 h 271"/>
                  <a:gd name="T100" fmla="*/ 51957074 w 365"/>
                  <a:gd name="T101" fmla="*/ 25822337 h 271"/>
                  <a:gd name="T102" fmla="*/ 60026263 w 365"/>
                  <a:gd name="T103" fmla="*/ 35063928 h 271"/>
                  <a:gd name="T104" fmla="*/ 69276395 w 365"/>
                  <a:gd name="T105" fmla="*/ 63604625 h 271"/>
                  <a:gd name="T106" fmla="*/ 70653867 w 365"/>
                  <a:gd name="T107" fmla="*/ 69856228 h 271"/>
                  <a:gd name="T108" fmla="*/ 71834810 w 365"/>
                  <a:gd name="T109" fmla="*/ 73661620 h 271"/>
                  <a:gd name="T110" fmla="*/ 63175150 w 365"/>
                  <a:gd name="T111" fmla="*/ 70400004 h 271"/>
                  <a:gd name="T112" fmla="*/ 54121989 w 365"/>
                  <a:gd name="T113" fmla="*/ 68497048 h 271"/>
                  <a:gd name="T114" fmla="*/ 48808188 w 365"/>
                  <a:gd name="T115" fmla="*/ 68225421 h 271"/>
                  <a:gd name="T116" fmla="*/ 43100886 w 365"/>
                  <a:gd name="T117" fmla="*/ 68497048 h 27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65" h="271">
                    <a:moveTo>
                      <a:pt x="219" y="252"/>
                    </a:moveTo>
                    <a:lnTo>
                      <a:pt x="203" y="250"/>
                    </a:lnTo>
                    <a:lnTo>
                      <a:pt x="184" y="248"/>
                    </a:lnTo>
                    <a:lnTo>
                      <a:pt x="163" y="246"/>
                    </a:lnTo>
                    <a:lnTo>
                      <a:pt x="142" y="246"/>
                    </a:lnTo>
                    <a:lnTo>
                      <a:pt x="121" y="247"/>
                    </a:lnTo>
                    <a:lnTo>
                      <a:pt x="101" y="249"/>
                    </a:lnTo>
                    <a:lnTo>
                      <a:pt x="92" y="250"/>
                    </a:lnTo>
                    <a:lnTo>
                      <a:pt x="82" y="252"/>
                    </a:lnTo>
                    <a:lnTo>
                      <a:pt x="74" y="255"/>
                    </a:lnTo>
                    <a:lnTo>
                      <a:pt x="65" y="258"/>
                    </a:lnTo>
                    <a:lnTo>
                      <a:pt x="26" y="271"/>
                    </a:lnTo>
                    <a:lnTo>
                      <a:pt x="23" y="271"/>
                    </a:lnTo>
                    <a:lnTo>
                      <a:pt x="20" y="270"/>
                    </a:lnTo>
                    <a:lnTo>
                      <a:pt x="18" y="268"/>
                    </a:lnTo>
                    <a:lnTo>
                      <a:pt x="17" y="266"/>
                    </a:lnTo>
                    <a:lnTo>
                      <a:pt x="17" y="260"/>
                    </a:lnTo>
                    <a:lnTo>
                      <a:pt x="18" y="254"/>
                    </a:lnTo>
                    <a:lnTo>
                      <a:pt x="24" y="240"/>
                    </a:lnTo>
                    <a:lnTo>
                      <a:pt x="26" y="228"/>
                    </a:lnTo>
                    <a:lnTo>
                      <a:pt x="45" y="227"/>
                    </a:lnTo>
                    <a:lnTo>
                      <a:pt x="61" y="226"/>
                    </a:lnTo>
                    <a:lnTo>
                      <a:pt x="75" y="224"/>
                    </a:lnTo>
                    <a:lnTo>
                      <a:pt x="89" y="222"/>
                    </a:lnTo>
                    <a:lnTo>
                      <a:pt x="102" y="220"/>
                    </a:lnTo>
                    <a:lnTo>
                      <a:pt x="115" y="218"/>
                    </a:lnTo>
                    <a:lnTo>
                      <a:pt x="129" y="216"/>
                    </a:lnTo>
                    <a:lnTo>
                      <a:pt x="146" y="216"/>
                    </a:lnTo>
                    <a:lnTo>
                      <a:pt x="164" y="217"/>
                    </a:lnTo>
                    <a:lnTo>
                      <a:pt x="182" y="218"/>
                    </a:lnTo>
                    <a:lnTo>
                      <a:pt x="191" y="218"/>
                    </a:lnTo>
                    <a:lnTo>
                      <a:pt x="199" y="218"/>
                    </a:lnTo>
                    <a:lnTo>
                      <a:pt x="209" y="217"/>
                    </a:lnTo>
                    <a:lnTo>
                      <a:pt x="219" y="216"/>
                    </a:lnTo>
                    <a:lnTo>
                      <a:pt x="217" y="211"/>
                    </a:lnTo>
                    <a:lnTo>
                      <a:pt x="215" y="208"/>
                    </a:lnTo>
                    <a:lnTo>
                      <a:pt x="213" y="203"/>
                    </a:lnTo>
                    <a:lnTo>
                      <a:pt x="210" y="201"/>
                    </a:lnTo>
                    <a:lnTo>
                      <a:pt x="204" y="196"/>
                    </a:lnTo>
                    <a:lnTo>
                      <a:pt x="195" y="194"/>
                    </a:lnTo>
                    <a:lnTo>
                      <a:pt x="186" y="192"/>
                    </a:lnTo>
                    <a:lnTo>
                      <a:pt x="175" y="191"/>
                    </a:lnTo>
                    <a:lnTo>
                      <a:pt x="164" y="191"/>
                    </a:lnTo>
                    <a:lnTo>
                      <a:pt x="152" y="190"/>
                    </a:lnTo>
                    <a:lnTo>
                      <a:pt x="120" y="191"/>
                    </a:lnTo>
                    <a:lnTo>
                      <a:pt x="93" y="192"/>
                    </a:lnTo>
                    <a:lnTo>
                      <a:pt x="79" y="193"/>
                    </a:lnTo>
                    <a:lnTo>
                      <a:pt x="64" y="196"/>
                    </a:lnTo>
                    <a:lnTo>
                      <a:pt x="49" y="199"/>
                    </a:lnTo>
                    <a:lnTo>
                      <a:pt x="33" y="203"/>
                    </a:lnTo>
                    <a:lnTo>
                      <a:pt x="37" y="191"/>
                    </a:lnTo>
                    <a:lnTo>
                      <a:pt x="38" y="183"/>
                    </a:lnTo>
                    <a:lnTo>
                      <a:pt x="39" y="177"/>
                    </a:lnTo>
                    <a:lnTo>
                      <a:pt x="39" y="172"/>
                    </a:lnTo>
                    <a:lnTo>
                      <a:pt x="34" y="168"/>
                    </a:lnTo>
                    <a:lnTo>
                      <a:pt x="26" y="164"/>
                    </a:lnTo>
                    <a:lnTo>
                      <a:pt x="18" y="161"/>
                    </a:lnTo>
                    <a:lnTo>
                      <a:pt x="13" y="160"/>
                    </a:lnTo>
                    <a:lnTo>
                      <a:pt x="13" y="153"/>
                    </a:lnTo>
                    <a:lnTo>
                      <a:pt x="11" y="147"/>
                    </a:lnTo>
                    <a:lnTo>
                      <a:pt x="8" y="144"/>
                    </a:lnTo>
                    <a:lnTo>
                      <a:pt x="6" y="143"/>
                    </a:lnTo>
                    <a:lnTo>
                      <a:pt x="4" y="142"/>
                    </a:lnTo>
                    <a:lnTo>
                      <a:pt x="2" y="141"/>
                    </a:lnTo>
                    <a:lnTo>
                      <a:pt x="0" y="139"/>
                    </a:lnTo>
                    <a:lnTo>
                      <a:pt x="0" y="135"/>
                    </a:lnTo>
                    <a:lnTo>
                      <a:pt x="1" y="125"/>
                    </a:lnTo>
                    <a:lnTo>
                      <a:pt x="5" y="115"/>
                    </a:lnTo>
                    <a:lnTo>
                      <a:pt x="11" y="104"/>
                    </a:lnTo>
                    <a:lnTo>
                      <a:pt x="17" y="92"/>
                    </a:lnTo>
                    <a:lnTo>
                      <a:pt x="24" y="80"/>
                    </a:lnTo>
                    <a:lnTo>
                      <a:pt x="30" y="69"/>
                    </a:lnTo>
                    <a:lnTo>
                      <a:pt x="36" y="59"/>
                    </a:lnTo>
                    <a:lnTo>
                      <a:pt x="39" y="49"/>
                    </a:lnTo>
                    <a:lnTo>
                      <a:pt x="45" y="43"/>
                    </a:lnTo>
                    <a:lnTo>
                      <a:pt x="48" y="42"/>
                    </a:lnTo>
                    <a:lnTo>
                      <a:pt x="49" y="44"/>
                    </a:lnTo>
                    <a:lnTo>
                      <a:pt x="49" y="48"/>
                    </a:lnTo>
                    <a:lnTo>
                      <a:pt x="48" y="51"/>
                    </a:lnTo>
                    <a:lnTo>
                      <a:pt x="52" y="36"/>
                    </a:lnTo>
                    <a:lnTo>
                      <a:pt x="61" y="35"/>
                    </a:lnTo>
                    <a:lnTo>
                      <a:pt x="75" y="31"/>
                    </a:lnTo>
                    <a:lnTo>
                      <a:pt x="94" y="25"/>
                    </a:lnTo>
                    <a:lnTo>
                      <a:pt x="114" y="18"/>
                    </a:lnTo>
                    <a:lnTo>
                      <a:pt x="150" y="6"/>
                    </a:lnTo>
                    <a:lnTo>
                      <a:pt x="165" y="0"/>
                    </a:lnTo>
                    <a:lnTo>
                      <a:pt x="175" y="8"/>
                    </a:lnTo>
                    <a:lnTo>
                      <a:pt x="184" y="15"/>
                    </a:lnTo>
                    <a:lnTo>
                      <a:pt x="194" y="20"/>
                    </a:lnTo>
                    <a:lnTo>
                      <a:pt x="202" y="24"/>
                    </a:lnTo>
                    <a:lnTo>
                      <a:pt x="210" y="27"/>
                    </a:lnTo>
                    <a:lnTo>
                      <a:pt x="220" y="29"/>
                    </a:lnTo>
                    <a:lnTo>
                      <a:pt x="229" y="30"/>
                    </a:lnTo>
                    <a:lnTo>
                      <a:pt x="239" y="30"/>
                    </a:lnTo>
                    <a:lnTo>
                      <a:pt x="239" y="42"/>
                    </a:lnTo>
                    <a:lnTo>
                      <a:pt x="241" y="52"/>
                    </a:lnTo>
                    <a:lnTo>
                      <a:pt x="243" y="61"/>
                    </a:lnTo>
                    <a:lnTo>
                      <a:pt x="247" y="69"/>
                    </a:lnTo>
                    <a:lnTo>
                      <a:pt x="250" y="77"/>
                    </a:lnTo>
                    <a:lnTo>
                      <a:pt x="254" y="84"/>
                    </a:lnTo>
                    <a:lnTo>
                      <a:pt x="259" y="90"/>
                    </a:lnTo>
                    <a:lnTo>
                      <a:pt x="264" y="95"/>
                    </a:lnTo>
                    <a:lnTo>
                      <a:pt x="286" y="115"/>
                    </a:lnTo>
                    <a:lnTo>
                      <a:pt x="305" y="129"/>
                    </a:lnTo>
                    <a:lnTo>
                      <a:pt x="305" y="210"/>
                    </a:lnTo>
                    <a:lnTo>
                      <a:pt x="352" y="234"/>
                    </a:lnTo>
                    <a:lnTo>
                      <a:pt x="353" y="245"/>
                    </a:lnTo>
                    <a:lnTo>
                      <a:pt x="359" y="257"/>
                    </a:lnTo>
                    <a:lnTo>
                      <a:pt x="363" y="267"/>
                    </a:lnTo>
                    <a:lnTo>
                      <a:pt x="365" y="271"/>
                    </a:lnTo>
                    <a:lnTo>
                      <a:pt x="353" y="267"/>
                    </a:lnTo>
                    <a:lnTo>
                      <a:pt x="321" y="259"/>
                    </a:lnTo>
                    <a:lnTo>
                      <a:pt x="300" y="255"/>
                    </a:lnTo>
                    <a:lnTo>
                      <a:pt x="275" y="252"/>
                    </a:lnTo>
                    <a:lnTo>
                      <a:pt x="262" y="251"/>
                    </a:lnTo>
                    <a:lnTo>
                      <a:pt x="248" y="251"/>
                    </a:lnTo>
                    <a:lnTo>
                      <a:pt x="233" y="251"/>
                    </a:lnTo>
                    <a:lnTo>
                      <a:pt x="219" y="252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0" name="Freeform 480">
                <a:extLst>
                  <a:ext uri="{FF2B5EF4-FFF2-40B4-BE49-F238E27FC236}">
                    <a16:creationId xmlns:a16="http://schemas.microsoft.com/office/drawing/2014/main" id="{2973CCA0-F82F-424C-8E4C-136C6B3B29D0}"/>
                  </a:ext>
                </a:extLst>
              </p:cNvPr>
              <p:cNvSpPr>
                <a:spLocks/>
              </p:cNvSpPr>
              <p:nvPr>
                <p:custDataLst>
                  <p:tags r:id="rId318"/>
                </p:custDataLst>
              </p:nvPr>
            </p:nvSpPr>
            <p:spPr bwMode="auto">
              <a:xfrm>
                <a:off x="4901950" y="4544016"/>
                <a:ext cx="325769" cy="376206"/>
              </a:xfrm>
              <a:custGeom>
                <a:avLst/>
                <a:gdLst>
                  <a:gd name="T0" fmla="*/ 27309274 w 624"/>
                  <a:gd name="T1" fmla="*/ 3287348 h 640"/>
                  <a:gd name="T2" fmla="*/ 44704967 w 624"/>
                  <a:gd name="T3" fmla="*/ 3287348 h 640"/>
                  <a:gd name="T4" fmla="*/ 53683068 w 624"/>
                  <a:gd name="T5" fmla="*/ 1369685 h 640"/>
                  <a:gd name="T6" fmla="*/ 60977910 w 624"/>
                  <a:gd name="T7" fmla="*/ 6026194 h 640"/>
                  <a:gd name="T8" fmla="*/ 74071605 w 624"/>
                  <a:gd name="T9" fmla="*/ 18079105 h 640"/>
                  <a:gd name="T10" fmla="*/ 86978031 w 624"/>
                  <a:gd name="T11" fmla="*/ 30405743 h 640"/>
                  <a:gd name="T12" fmla="*/ 87726242 w 624"/>
                  <a:gd name="T13" fmla="*/ 35884482 h 640"/>
                  <a:gd name="T14" fmla="*/ 89783607 w 624"/>
                  <a:gd name="T15" fmla="*/ 41910675 h 640"/>
                  <a:gd name="T16" fmla="*/ 92963720 w 624"/>
                  <a:gd name="T17" fmla="*/ 46567708 h 640"/>
                  <a:gd name="T18" fmla="*/ 97078449 w 624"/>
                  <a:gd name="T19" fmla="*/ 50128260 h 640"/>
                  <a:gd name="T20" fmla="*/ 101567716 w 624"/>
                  <a:gd name="T21" fmla="*/ 52045923 h 640"/>
                  <a:gd name="T22" fmla="*/ 103625513 w 624"/>
                  <a:gd name="T23" fmla="*/ 53415608 h 640"/>
                  <a:gd name="T24" fmla="*/ 105682877 w 624"/>
                  <a:gd name="T25" fmla="*/ 56154977 h 640"/>
                  <a:gd name="T26" fmla="*/ 104934666 w 624"/>
                  <a:gd name="T27" fmla="*/ 62181171 h 640"/>
                  <a:gd name="T28" fmla="*/ 100445399 w 624"/>
                  <a:gd name="T29" fmla="*/ 69029594 h 640"/>
                  <a:gd name="T30" fmla="*/ 98200766 w 624"/>
                  <a:gd name="T31" fmla="*/ 74234081 h 640"/>
                  <a:gd name="T32" fmla="*/ 99697188 w 624"/>
                  <a:gd name="T33" fmla="*/ 78616863 h 640"/>
                  <a:gd name="T34" fmla="*/ 102315927 w 624"/>
                  <a:gd name="T35" fmla="*/ 81904211 h 640"/>
                  <a:gd name="T36" fmla="*/ 103251407 w 624"/>
                  <a:gd name="T37" fmla="*/ 116418484 h 640"/>
                  <a:gd name="T38" fmla="*/ 102877301 w 624"/>
                  <a:gd name="T39" fmla="*/ 120253811 h 640"/>
                  <a:gd name="T40" fmla="*/ 104373724 w 624"/>
                  <a:gd name="T41" fmla="*/ 126553732 h 640"/>
                  <a:gd name="T42" fmla="*/ 104373724 w 624"/>
                  <a:gd name="T43" fmla="*/ 133950134 h 640"/>
                  <a:gd name="T44" fmla="*/ 104934666 w 624"/>
                  <a:gd name="T45" fmla="*/ 141072284 h 640"/>
                  <a:gd name="T46" fmla="*/ 111107192 w 624"/>
                  <a:gd name="T47" fmla="*/ 150385303 h 640"/>
                  <a:gd name="T48" fmla="*/ 115222353 w 624"/>
                  <a:gd name="T49" fmla="*/ 158603410 h 640"/>
                  <a:gd name="T50" fmla="*/ 107553405 w 624"/>
                  <a:gd name="T51" fmla="*/ 164355877 h 640"/>
                  <a:gd name="T52" fmla="*/ 91841403 w 624"/>
                  <a:gd name="T53" fmla="*/ 172847712 h 640"/>
                  <a:gd name="T54" fmla="*/ 82862870 w 624"/>
                  <a:gd name="T55" fmla="*/ 174764852 h 640"/>
                  <a:gd name="T56" fmla="*/ 73323394 w 624"/>
                  <a:gd name="T57" fmla="*/ 172025482 h 640"/>
                  <a:gd name="T58" fmla="*/ 63409813 w 624"/>
                  <a:gd name="T59" fmla="*/ 173395167 h 640"/>
                  <a:gd name="T60" fmla="*/ 57237287 w 624"/>
                  <a:gd name="T61" fmla="*/ 172025482 h 640"/>
                  <a:gd name="T62" fmla="*/ 55927701 w 624"/>
                  <a:gd name="T63" fmla="*/ 168190679 h 640"/>
                  <a:gd name="T64" fmla="*/ 54992654 w 624"/>
                  <a:gd name="T65" fmla="*/ 156959998 h 640"/>
                  <a:gd name="T66" fmla="*/ 53870337 w 624"/>
                  <a:gd name="T67" fmla="*/ 144907087 h 640"/>
                  <a:gd name="T68" fmla="*/ 47323273 w 624"/>
                  <a:gd name="T69" fmla="*/ 141619740 h 640"/>
                  <a:gd name="T70" fmla="*/ 34604116 w 624"/>
                  <a:gd name="T71" fmla="*/ 137511209 h 640"/>
                  <a:gd name="T72" fmla="*/ 16834318 w 624"/>
                  <a:gd name="T73" fmla="*/ 125732026 h 640"/>
                  <a:gd name="T74" fmla="*/ 12719157 w 624"/>
                  <a:gd name="T75" fmla="*/ 122170950 h 640"/>
                  <a:gd name="T76" fmla="*/ 12345051 w 624"/>
                  <a:gd name="T77" fmla="*/ 117240714 h 640"/>
                  <a:gd name="T78" fmla="*/ 12158215 w 624"/>
                  <a:gd name="T79" fmla="*/ 110118563 h 640"/>
                  <a:gd name="T80" fmla="*/ 9913581 w 624"/>
                  <a:gd name="T81" fmla="*/ 103270140 h 640"/>
                  <a:gd name="T82" fmla="*/ 7668948 w 624"/>
                  <a:gd name="T83" fmla="*/ 97791924 h 640"/>
                  <a:gd name="T84" fmla="*/ 5050209 w 624"/>
                  <a:gd name="T85" fmla="*/ 95052555 h 640"/>
                  <a:gd name="T86" fmla="*/ 2244633 w 624"/>
                  <a:gd name="T87" fmla="*/ 90943501 h 640"/>
                  <a:gd name="T88" fmla="*/ 935048 w 624"/>
                  <a:gd name="T89" fmla="*/ 84369329 h 640"/>
                  <a:gd name="T90" fmla="*/ 0 w 624"/>
                  <a:gd name="T91" fmla="*/ 71768440 h 640"/>
                  <a:gd name="T92" fmla="*/ 0 w 624"/>
                  <a:gd name="T93" fmla="*/ 64098834 h 640"/>
                  <a:gd name="T94" fmla="*/ 1870528 w 624"/>
                  <a:gd name="T95" fmla="*/ 58072117 h 640"/>
                  <a:gd name="T96" fmla="*/ 7108006 w 624"/>
                  <a:gd name="T97" fmla="*/ 53415608 h 640"/>
                  <a:gd name="T98" fmla="*/ 11410004 w 624"/>
                  <a:gd name="T99" fmla="*/ 47389414 h 640"/>
                  <a:gd name="T100" fmla="*/ 14402848 w 624"/>
                  <a:gd name="T101" fmla="*/ 21092201 h 640"/>
                  <a:gd name="T102" fmla="*/ 15712001 w 624"/>
                  <a:gd name="T103" fmla="*/ 11778660 h 640"/>
                  <a:gd name="T104" fmla="*/ 15337896 w 624"/>
                  <a:gd name="T105" fmla="*/ 2191391 h 6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624" h="640">
                    <a:moveTo>
                      <a:pt x="79" y="0"/>
                    </a:moveTo>
                    <a:lnTo>
                      <a:pt x="146" y="0"/>
                    </a:lnTo>
                    <a:lnTo>
                      <a:pt x="146" y="12"/>
                    </a:lnTo>
                    <a:lnTo>
                      <a:pt x="173" y="43"/>
                    </a:lnTo>
                    <a:lnTo>
                      <a:pt x="232" y="43"/>
                    </a:lnTo>
                    <a:lnTo>
                      <a:pt x="239" y="12"/>
                    </a:lnTo>
                    <a:lnTo>
                      <a:pt x="259" y="0"/>
                    </a:lnTo>
                    <a:lnTo>
                      <a:pt x="273" y="0"/>
                    </a:lnTo>
                    <a:lnTo>
                      <a:pt x="287" y="5"/>
                    </a:lnTo>
                    <a:lnTo>
                      <a:pt x="301" y="10"/>
                    </a:lnTo>
                    <a:lnTo>
                      <a:pt x="314" y="16"/>
                    </a:lnTo>
                    <a:lnTo>
                      <a:pt x="326" y="22"/>
                    </a:lnTo>
                    <a:lnTo>
                      <a:pt x="351" y="36"/>
                    </a:lnTo>
                    <a:lnTo>
                      <a:pt x="374" y="51"/>
                    </a:lnTo>
                    <a:lnTo>
                      <a:pt x="396" y="66"/>
                    </a:lnTo>
                    <a:lnTo>
                      <a:pt x="418" y="81"/>
                    </a:lnTo>
                    <a:lnTo>
                      <a:pt x="441" y="97"/>
                    </a:lnTo>
                    <a:lnTo>
                      <a:pt x="465" y="111"/>
                    </a:lnTo>
                    <a:lnTo>
                      <a:pt x="465" y="118"/>
                    </a:lnTo>
                    <a:lnTo>
                      <a:pt x="467" y="124"/>
                    </a:lnTo>
                    <a:lnTo>
                      <a:pt x="469" y="131"/>
                    </a:lnTo>
                    <a:lnTo>
                      <a:pt x="471" y="138"/>
                    </a:lnTo>
                    <a:lnTo>
                      <a:pt x="476" y="146"/>
                    </a:lnTo>
                    <a:lnTo>
                      <a:pt x="480" y="153"/>
                    </a:lnTo>
                    <a:lnTo>
                      <a:pt x="485" y="159"/>
                    </a:lnTo>
                    <a:lnTo>
                      <a:pt x="491" y="165"/>
                    </a:lnTo>
                    <a:lnTo>
                      <a:pt x="497" y="170"/>
                    </a:lnTo>
                    <a:lnTo>
                      <a:pt x="503" y="175"/>
                    </a:lnTo>
                    <a:lnTo>
                      <a:pt x="511" y="179"/>
                    </a:lnTo>
                    <a:lnTo>
                      <a:pt x="519" y="183"/>
                    </a:lnTo>
                    <a:lnTo>
                      <a:pt x="526" y="186"/>
                    </a:lnTo>
                    <a:lnTo>
                      <a:pt x="534" y="188"/>
                    </a:lnTo>
                    <a:lnTo>
                      <a:pt x="543" y="190"/>
                    </a:lnTo>
                    <a:lnTo>
                      <a:pt x="552" y="190"/>
                    </a:lnTo>
                    <a:lnTo>
                      <a:pt x="552" y="193"/>
                    </a:lnTo>
                    <a:lnTo>
                      <a:pt x="554" y="195"/>
                    </a:lnTo>
                    <a:lnTo>
                      <a:pt x="556" y="198"/>
                    </a:lnTo>
                    <a:lnTo>
                      <a:pt x="559" y="200"/>
                    </a:lnTo>
                    <a:lnTo>
                      <a:pt x="565" y="205"/>
                    </a:lnTo>
                    <a:lnTo>
                      <a:pt x="571" y="209"/>
                    </a:lnTo>
                    <a:lnTo>
                      <a:pt x="567" y="219"/>
                    </a:lnTo>
                    <a:lnTo>
                      <a:pt x="561" y="227"/>
                    </a:lnTo>
                    <a:lnTo>
                      <a:pt x="554" y="236"/>
                    </a:lnTo>
                    <a:lnTo>
                      <a:pt x="545" y="244"/>
                    </a:lnTo>
                    <a:lnTo>
                      <a:pt x="537" y="252"/>
                    </a:lnTo>
                    <a:lnTo>
                      <a:pt x="531" y="260"/>
                    </a:lnTo>
                    <a:lnTo>
                      <a:pt x="526" y="266"/>
                    </a:lnTo>
                    <a:lnTo>
                      <a:pt x="525" y="271"/>
                    </a:lnTo>
                    <a:lnTo>
                      <a:pt x="526" y="277"/>
                    </a:lnTo>
                    <a:lnTo>
                      <a:pt x="528" y="283"/>
                    </a:lnTo>
                    <a:lnTo>
                      <a:pt x="533" y="287"/>
                    </a:lnTo>
                    <a:lnTo>
                      <a:pt x="538" y="291"/>
                    </a:lnTo>
                    <a:lnTo>
                      <a:pt x="543" y="295"/>
                    </a:lnTo>
                    <a:lnTo>
                      <a:pt x="547" y="299"/>
                    </a:lnTo>
                    <a:lnTo>
                      <a:pt x="550" y="303"/>
                    </a:lnTo>
                    <a:lnTo>
                      <a:pt x="552" y="307"/>
                    </a:lnTo>
                    <a:lnTo>
                      <a:pt x="552" y="425"/>
                    </a:lnTo>
                    <a:lnTo>
                      <a:pt x="549" y="430"/>
                    </a:lnTo>
                    <a:lnTo>
                      <a:pt x="549" y="434"/>
                    </a:lnTo>
                    <a:lnTo>
                      <a:pt x="550" y="439"/>
                    </a:lnTo>
                    <a:lnTo>
                      <a:pt x="552" y="443"/>
                    </a:lnTo>
                    <a:lnTo>
                      <a:pt x="556" y="452"/>
                    </a:lnTo>
                    <a:lnTo>
                      <a:pt x="558" y="462"/>
                    </a:lnTo>
                    <a:lnTo>
                      <a:pt x="558" y="475"/>
                    </a:lnTo>
                    <a:lnTo>
                      <a:pt x="558" y="483"/>
                    </a:lnTo>
                    <a:lnTo>
                      <a:pt x="558" y="489"/>
                    </a:lnTo>
                    <a:lnTo>
                      <a:pt x="558" y="499"/>
                    </a:lnTo>
                    <a:lnTo>
                      <a:pt x="559" y="507"/>
                    </a:lnTo>
                    <a:lnTo>
                      <a:pt x="561" y="515"/>
                    </a:lnTo>
                    <a:lnTo>
                      <a:pt x="567" y="523"/>
                    </a:lnTo>
                    <a:lnTo>
                      <a:pt x="574" y="532"/>
                    </a:lnTo>
                    <a:lnTo>
                      <a:pt x="594" y="549"/>
                    </a:lnTo>
                    <a:lnTo>
                      <a:pt x="624" y="572"/>
                    </a:lnTo>
                    <a:lnTo>
                      <a:pt x="622" y="575"/>
                    </a:lnTo>
                    <a:lnTo>
                      <a:pt x="616" y="579"/>
                    </a:lnTo>
                    <a:lnTo>
                      <a:pt x="609" y="583"/>
                    </a:lnTo>
                    <a:lnTo>
                      <a:pt x="599" y="589"/>
                    </a:lnTo>
                    <a:lnTo>
                      <a:pt x="575" y="600"/>
                    </a:lnTo>
                    <a:lnTo>
                      <a:pt x="546" y="611"/>
                    </a:lnTo>
                    <a:lnTo>
                      <a:pt x="518" y="622"/>
                    </a:lnTo>
                    <a:lnTo>
                      <a:pt x="491" y="631"/>
                    </a:lnTo>
                    <a:lnTo>
                      <a:pt x="470" y="638"/>
                    </a:lnTo>
                    <a:lnTo>
                      <a:pt x="458" y="640"/>
                    </a:lnTo>
                    <a:lnTo>
                      <a:pt x="443" y="638"/>
                    </a:lnTo>
                    <a:lnTo>
                      <a:pt x="423" y="634"/>
                    </a:lnTo>
                    <a:lnTo>
                      <a:pt x="403" y="630"/>
                    </a:lnTo>
                    <a:lnTo>
                      <a:pt x="392" y="628"/>
                    </a:lnTo>
                    <a:lnTo>
                      <a:pt x="369" y="630"/>
                    </a:lnTo>
                    <a:lnTo>
                      <a:pt x="348" y="632"/>
                    </a:lnTo>
                    <a:lnTo>
                      <a:pt x="339" y="633"/>
                    </a:lnTo>
                    <a:lnTo>
                      <a:pt x="329" y="633"/>
                    </a:lnTo>
                    <a:lnTo>
                      <a:pt x="318" y="631"/>
                    </a:lnTo>
                    <a:lnTo>
                      <a:pt x="306" y="628"/>
                    </a:lnTo>
                    <a:lnTo>
                      <a:pt x="303" y="625"/>
                    </a:lnTo>
                    <a:lnTo>
                      <a:pt x="301" y="620"/>
                    </a:lnTo>
                    <a:lnTo>
                      <a:pt x="299" y="614"/>
                    </a:lnTo>
                    <a:lnTo>
                      <a:pt x="298" y="608"/>
                    </a:lnTo>
                    <a:lnTo>
                      <a:pt x="295" y="592"/>
                    </a:lnTo>
                    <a:lnTo>
                      <a:pt x="294" y="573"/>
                    </a:lnTo>
                    <a:lnTo>
                      <a:pt x="291" y="556"/>
                    </a:lnTo>
                    <a:lnTo>
                      <a:pt x="289" y="541"/>
                    </a:lnTo>
                    <a:lnTo>
                      <a:pt x="288" y="529"/>
                    </a:lnTo>
                    <a:lnTo>
                      <a:pt x="286" y="523"/>
                    </a:lnTo>
                    <a:lnTo>
                      <a:pt x="270" y="519"/>
                    </a:lnTo>
                    <a:lnTo>
                      <a:pt x="253" y="517"/>
                    </a:lnTo>
                    <a:lnTo>
                      <a:pt x="232" y="515"/>
                    </a:lnTo>
                    <a:lnTo>
                      <a:pt x="206" y="511"/>
                    </a:lnTo>
                    <a:lnTo>
                      <a:pt x="185" y="502"/>
                    </a:lnTo>
                    <a:lnTo>
                      <a:pt x="139" y="482"/>
                    </a:lnTo>
                    <a:lnTo>
                      <a:pt x="113" y="470"/>
                    </a:lnTo>
                    <a:lnTo>
                      <a:pt x="90" y="459"/>
                    </a:lnTo>
                    <a:lnTo>
                      <a:pt x="82" y="454"/>
                    </a:lnTo>
                    <a:lnTo>
                      <a:pt x="74" y="450"/>
                    </a:lnTo>
                    <a:lnTo>
                      <a:pt x="68" y="446"/>
                    </a:lnTo>
                    <a:lnTo>
                      <a:pt x="66" y="443"/>
                    </a:lnTo>
                    <a:lnTo>
                      <a:pt x="66" y="437"/>
                    </a:lnTo>
                    <a:lnTo>
                      <a:pt x="66" y="428"/>
                    </a:lnTo>
                    <a:lnTo>
                      <a:pt x="66" y="419"/>
                    </a:lnTo>
                    <a:lnTo>
                      <a:pt x="66" y="412"/>
                    </a:lnTo>
                    <a:lnTo>
                      <a:pt x="65" y="402"/>
                    </a:lnTo>
                    <a:lnTo>
                      <a:pt x="62" y="392"/>
                    </a:lnTo>
                    <a:lnTo>
                      <a:pt x="57" y="384"/>
                    </a:lnTo>
                    <a:lnTo>
                      <a:pt x="53" y="377"/>
                    </a:lnTo>
                    <a:lnTo>
                      <a:pt x="48" y="371"/>
                    </a:lnTo>
                    <a:lnTo>
                      <a:pt x="44" y="363"/>
                    </a:lnTo>
                    <a:lnTo>
                      <a:pt x="41" y="357"/>
                    </a:lnTo>
                    <a:lnTo>
                      <a:pt x="40" y="351"/>
                    </a:lnTo>
                    <a:lnTo>
                      <a:pt x="32" y="350"/>
                    </a:lnTo>
                    <a:lnTo>
                      <a:pt x="27" y="347"/>
                    </a:lnTo>
                    <a:lnTo>
                      <a:pt x="21" y="343"/>
                    </a:lnTo>
                    <a:lnTo>
                      <a:pt x="17" y="338"/>
                    </a:lnTo>
                    <a:lnTo>
                      <a:pt x="12" y="332"/>
                    </a:lnTo>
                    <a:lnTo>
                      <a:pt x="9" y="325"/>
                    </a:lnTo>
                    <a:lnTo>
                      <a:pt x="7" y="317"/>
                    </a:lnTo>
                    <a:lnTo>
                      <a:pt x="5" y="308"/>
                    </a:lnTo>
                    <a:lnTo>
                      <a:pt x="1" y="291"/>
                    </a:lnTo>
                    <a:lnTo>
                      <a:pt x="0" y="276"/>
                    </a:lnTo>
                    <a:lnTo>
                      <a:pt x="0" y="262"/>
                    </a:lnTo>
                    <a:lnTo>
                      <a:pt x="0" y="252"/>
                    </a:lnTo>
                    <a:lnTo>
                      <a:pt x="0" y="243"/>
                    </a:lnTo>
                    <a:lnTo>
                      <a:pt x="0" y="234"/>
                    </a:lnTo>
                    <a:lnTo>
                      <a:pt x="0" y="225"/>
                    </a:lnTo>
                    <a:lnTo>
                      <a:pt x="0" y="215"/>
                    </a:lnTo>
                    <a:lnTo>
                      <a:pt x="10" y="212"/>
                    </a:lnTo>
                    <a:lnTo>
                      <a:pt x="20" y="208"/>
                    </a:lnTo>
                    <a:lnTo>
                      <a:pt x="29" y="202"/>
                    </a:lnTo>
                    <a:lnTo>
                      <a:pt x="38" y="195"/>
                    </a:lnTo>
                    <a:lnTo>
                      <a:pt x="46" y="188"/>
                    </a:lnTo>
                    <a:lnTo>
                      <a:pt x="54" y="180"/>
                    </a:lnTo>
                    <a:lnTo>
                      <a:pt x="61" y="173"/>
                    </a:lnTo>
                    <a:lnTo>
                      <a:pt x="66" y="166"/>
                    </a:lnTo>
                    <a:lnTo>
                      <a:pt x="73" y="85"/>
                    </a:lnTo>
                    <a:lnTo>
                      <a:pt x="77" y="77"/>
                    </a:lnTo>
                    <a:lnTo>
                      <a:pt x="81" y="67"/>
                    </a:lnTo>
                    <a:lnTo>
                      <a:pt x="83" y="55"/>
                    </a:lnTo>
                    <a:lnTo>
                      <a:pt x="84" y="43"/>
                    </a:lnTo>
                    <a:lnTo>
                      <a:pt x="84" y="30"/>
                    </a:lnTo>
                    <a:lnTo>
                      <a:pt x="83" y="18"/>
                    </a:lnTo>
                    <a:lnTo>
                      <a:pt x="82" y="8"/>
                    </a:lnTo>
                    <a:lnTo>
                      <a:pt x="79" y="0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B05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1" name="Freeform 481">
                <a:extLst>
                  <a:ext uri="{FF2B5EF4-FFF2-40B4-BE49-F238E27FC236}">
                    <a16:creationId xmlns:a16="http://schemas.microsoft.com/office/drawing/2014/main" id="{42F190D5-8094-411C-A4F4-B8142785C0AE}"/>
                  </a:ext>
                </a:extLst>
              </p:cNvPr>
              <p:cNvSpPr>
                <a:spLocks/>
              </p:cNvSpPr>
              <p:nvPr>
                <p:custDataLst>
                  <p:tags r:id="rId319"/>
                </p:custDataLst>
              </p:nvPr>
            </p:nvSpPr>
            <p:spPr bwMode="auto">
              <a:xfrm>
                <a:off x="7993132" y="2873942"/>
                <a:ext cx="23527" cy="63287"/>
              </a:xfrm>
              <a:custGeom>
                <a:avLst/>
                <a:gdLst>
                  <a:gd name="T0" fmla="*/ 1744907 w 52"/>
                  <a:gd name="T1" fmla="*/ 65322450 h 50"/>
                  <a:gd name="T2" fmla="*/ 0 w 52"/>
                  <a:gd name="T3" fmla="*/ 41806368 h 50"/>
                  <a:gd name="T4" fmla="*/ 268532 w 52"/>
                  <a:gd name="T5" fmla="*/ 32661225 h 50"/>
                  <a:gd name="T6" fmla="*/ 805229 w 52"/>
                  <a:gd name="T7" fmla="*/ 23516082 h 50"/>
                  <a:gd name="T8" fmla="*/ 1610458 w 52"/>
                  <a:gd name="T9" fmla="*/ 16983837 h 50"/>
                  <a:gd name="T10" fmla="*/ 2415687 w 52"/>
                  <a:gd name="T11" fmla="*/ 11758041 h 50"/>
                  <a:gd name="T12" fmla="*/ 3489447 w 52"/>
                  <a:gd name="T13" fmla="*/ 6532245 h 50"/>
                  <a:gd name="T14" fmla="*/ 4563208 w 52"/>
                  <a:gd name="T15" fmla="*/ 3919347 h 50"/>
                  <a:gd name="T16" fmla="*/ 5771051 w 52"/>
                  <a:gd name="T17" fmla="*/ 1306449 h 50"/>
                  <a:gd name="T18" fmla="*/ 6978894 w 52"/>
                  <a:gd name="T19" fmla="*/ 0 h 50"/>
                  <a:gd name="T20" fmla="*/ 5368437 w 52"/>
                  <a:gd name="T21" fmla="*/ 14370939 h 50"/>
                  <a:gd name="T22" fmla="*/ 3623530 w 52"/>
                  <a:gd name="T23" fmla="*/ 28741878 h 50"/>
                  <a:gd name="T24" fmla="*/ 2952750 w 52"/>
                  <a:gd name="T25" fmla="*/ 39193470 h 50"/>
                  <a:gd name="T26" fmla="*/ 2281604 w 52"/>
                  <a:gd name="T27" fmla="*/ 47032164 h 50"/>
                  <a:gd name="T28" fmla="*/ 1878989 w 52"/>
                  <a:gd name="T29" fmla="*/ 56177307 h 50"/>
                  <a:gd name="T30" fmla="*/ 1744907 w 52"/>
                  <a:gd name="T31" fmla="*/ 65322450 h 5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52" h="50">
                    <a:moveTo>
                      <a:pt x="13" y="50"/>
                    </a:moveTo>
                    <a:lnTo>
                      <a:pt x="0" y="32"/>
                    </a:lnTo>
                    <a:lnTo>
                      <a:pt x="2" y="25"/>
                    </a:lnTo>
                    <a:lnTo>
                      <a:pt x="6" y="18"/>
                    </a:lnTo>
                    <a:lnTo>
                      <a:pt x="12" y="13"/>
                    </a:lnTo>
                    <a:lnTo>
                      <a:pt x="18" y="9"/>
                    </a:lnTo>
                    <a:lnTo>
                      <a:pt x="26" y="5"/>
                    </a:lnTo>
                    <a:lnTo>
                      <a:pt x="34" y="3"/>
                    </a:lnTo>
                    <a:lnTo>
                      <a:pt x="43" y="1"/>
                    </a:lnTo>
                    <a:lnTo>
                      <a:pt x="52" y="0"/>
                    </a:lnTo>
                    <a:lnTo>
                      <a:pt x="40" y="11"/>
                    </a:lnTo>
                    <a:lnTo>
                      <a:pt x="27" y="22"/>
                    </a:lnTo>
                    <a:lnTo>
                      <a:pt x="22" y="30"/>
                    </a:lnTo>
                    <a:lnTo>
                      <a:pt x="17" y="36"/>
                    </a:lnTo>
                    <a:lnTo>
                      <a:pt x="14" y="43"/>
                    </a:lnTo>
                    <a:lnTo>
                      <a:pt x="13" y="5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2" name="Freeform 482">
                <a:extLst>
                  <a:ext uri="{FF2B5EF4-FFF2-40B4-BE49-F238E27FC236}">
                    <a16:creationId xmlns:a16="http://schemas.microsoft.com/office/drawing/2014/main" id="{40DA5C6C-C56A-4056-8FC6-148A6DB98B88}"/>
                  </a:ext>
                </a:extLst>
              </p:cNvPr>
              <p:cNvSpPr>
                <a:spLocks/>
              </p:cNvSpPr>
              <p:nvPr>
                <p:custDataLst>
                  <p:tags r:id="rId320"/>
                </p:custDataLst>
              </p:nvPr>
            </p:nvSpPr>
            <p:spPr bwMode="auto">
              <a:xfrm>
                <a:off x="7823009" y="2875700"/>
                <a:ext cx="170124" cy="140638"/>
              </a:xfrm>
              <a:custGeom>
                <a:avLst/>
                <a:gdLst>
                  <a:gd name="T0" fmla="*/ 14815813 w 320"/>
                  <a:gd name="T1" fmla="*/ 66352595 h 234"/>
                  <a:gd name="T2" fmla="*/ 11891593 w 320"/>
                  <a:gd name="T3" fmla="*/ 64916253 h 234"/>
                  <a:gd name="T4" fmla="*/ 12866480 w 320"/>
                  <a:gd name="T5" fmla="*/ 63767714 h 234"/>
                  <a:gd name="T6" fmla="*/ 15010525 w 320"/>
                  <a:gd name="T7" fmla="*/ 62331372 h 234"/>
                  <a:gd name="T8" fmla="*/ 12476613 w 320"/>
                  <a:gd name="T9" fmla="*/ 58597417 h 234"/>
                  <a:gd name="T10" fmla="*/ 8382794 w 320"/>
                  <a:gd name="T11" fmla="*/ 54288389 h 234"/>
                  <a:gd name="T12" fmla="*/ 7018040 w 320"/>
                  <a:gd name="T13" fmla="*/ 51416240 h 234"/>
                  <a:gd name="T14" fmla="*/ 6628173 w 320"/>
                  <a:gd name="T15" fmla="*/ 49118092 h 234"/>
                  <a:gd name="T16" fmla="*/ 6628173 w 320"/>
                  <a:gd name="T17" fmla="*/ 47107749 h 234"/>
                  <a:gd name="T18" fmla="*/ 7018040 w 320"/>
                  <a:gd name="T19" fmla="*/ 45096869 h 234"/>
                  <a:gd name="T20" fmla="*/ 8382794 w 320"/>
                  <a:gd name="T21" fmla="*/ 42798721 h 234"/>
                  <a:gd name="T22" fmla="*/ 10916706 w 320"/>
                  <a:gd name="T23" fmla="*/ 40501109 h 234"/>
                  <a:gd name="T24" fmla="*/ 14230792 w 320"/>
                  <a:gd name="T25" fmla="*/ 39352035 h 234"/>
                  <a:gd name="T26" fmla="*/ 15595546 w 320"/>
                  <a:gd name="T27" fmla="*/ 36192617 h 234"/>
                  <a:gd name="T28" fmla="*/ 13061193 w 320"/>
                  <a:gd name="T29" fmla="*/ 31883589 h 234"/>
                  <a:gd name="T30" fmla="*/ 11891593 w 320"/>
                  <a:gd name="T31" fmla="*/ 29298709 h 234"/>
                  <a:gd name="T32" fmla="*/ 11696880 w 320"/>
                  <a:gd name="T33" fmla="*/ 24702948 h 234"/>
                  <a:gd name="T34" fmla="*/ 10721993 w 320"/>
                  <a:gd name="T35" fmla="*/ 20106652 h 234"/>
                  <a:gd name="T36" fmla="*/ 8967373 w 320"/>
                  <a:gd name="T37" fmla="*/ 13213280 h 234"/>
                  <a:gd name="T38" fmla="*/ 6433019 w 320"/>
                  <a:gd name="T39" fmla="*/ 8904252 h 234"/>
                  <a:gd name="T40" fmla="*/ 3899107 w 320"/>
                  <a:gd name="T41" fmla="*/ 7181177 h 234"/>
                  <a:gd name="T42" fmla="*/ 1364754 w 320"/>
                  <a:gd name="T43" fmla="*/ 2872149 h 234"/>
                  <a:gd name="T44" fmla="*/ 1754620 w 320"/>
                  <a:gd name="T45" fmla="*/ 0 h 234"/>
                  <a:gd name="T46" fmla="*/ 4678840 w 320"/>
                  <a:gd name="T47" fmla="*/ 0 h 234"/>
                  <a:gd name="T48" fmla="*/ 7407906 w 320"/>
                  <a:gd name="T49" fmla="*/ 861806 h 234"/>
                  <a:gd name="T50" fmla="*/ 10916706 w 320"/>
                  <a:gd name="T51" fmla="*/ 4595760 h 234"/>
                  <a:gd name="T52" fmla="*/ 15205679 w 320"/>
                  <a:gd name="T53" fmla="*/ 10053326 h 234"/>
                  <a:gd name="T54" fmla="*/ 18714479 w 320"/>
                  <a:gd name="T55" fmla="*/ 13787817 h 234"/>
                  <a:gd name="T56" fmla="*/ 23198165 w 320"/>
                  <a:gd name="T57" fmla="*/ 16659966 h 234"/>
                  <a:gd name="T58" fmla="*/ 29631626 w 320"/>
                  <a:gd name="T59" fmla="*/ 20106652 h 234"/>
                  <a:gd name="T60" fmla="*/ 35284912 w 320"/>
                  <a:gd name="T61" fmla="*/ 22692069 h 234"/>
                  <a:gd name="T62" fmla="*/ 41717931 w 320"/>
                  <a:gd name="T63" fmla="*/ 24415680 h 234"/>
                  <a:gd name="T64" fmla="*/ 46006905 w 320"/>
                  <a:gd name="T65" fmla="*/ 22117532 h 234"/>
                  <a:gd name="T66" fmla="*/ 50100725 w 320"/>
                  <a:gd name="T67" fmla="*/ 23841143 h 234"/>
                  <a:gd name="T68" fmla="*/ 55364144 w 320"/>
                  <a:gd name="T69" fmla="*/ 30735051 h 234"/>
                  <a:gd name="T70" fmla="*/ 59457964 w 320"/>
                  <a:gd name="T71" fmla="*/ 34181737 h 234"/>
                  <a:gd name="T72" fmla="*/ 57898498 w 320"/>
                  <a:gd name="T73" fmla="*/ 38202961 h 234"/>
                  <a:gd name="T74" fmla="*/ 52245212 w 320"/>
                  <a:gd name="T75" fmla="*/ 41362914 h 234"/>
                  <a:gd name="T76" fmla="*/ 48541259 w 320"/>
                  <a:gd name="T77" fmla="*/ 42511452 h 234"/>
                  <a:gd name="T78" fmla="*/ 46201618 w 320"/>
                  <a:gd name="T79" fmla="*/ 45671406 h 234"/>
                  <a:gd name="T80" fmla="*/ 45227172 w 320"/>
                  <a:gd name="T81" fmla="*/ 50554435 h 234"/>
                  <a:gd name="T82" fmla="*/ 45032018 w 320"/>
                  <a:gd name="T83" fmla="*/ 53713852 h 234"/>
                  <a:gd name="T84" fmla="*/ 43277839 w 320"/>
                  <a:gd name="T85" fmla="*/ 55150195 h 234"/>
                  <a:gd name="T86" fmla="*/ 39768598 w 320"/>
                  <a:gd name="T87" fmla="*/ 54288389 h 234"/>
                  <a:gd name="T88" fmla="*/ 36259799 w 320"/>
                  <a:gd name="T89" fmla="*/ 51990777 h 234"/>
                  <a:gd name="T90" fmla="*/ 32750558 w 320"/>
                  <a:gd name="T91" fmla="*/ 48830824 h 234"/>
                  <a:gd name="T92" fmla="*/ 30216205 w 320"/>
                  <a:gd name="T93" fmla="*/ 47107749 h 234"/>
                  <a:gd name="T94" fmla="*/ 28266872 w 320"/>
                  <a:gd name="T95" fmla="*/ 46245943 h 234"/>
                  <a:gd name="T96" fmla="*/ 25537806 w 320"/>
                  <a:gd name="T97" fmla="*/ 46533211 h 234"/>
                  <a:gd name="T98" fmla="*/ 22223719 w 320"/>
                  <a:gd name="T99" fmla="*/ 47969018 h 234"/>
                  <a:gd name="T100" fmla="*/ 19494653 w 320"/>
                  <a:gd name="T101" fmla="*/ 49692629 h 234"/>
                  <a:gd name="T102" fmla="*/ 16960300 w 320"/>
                  <a:gd name="T103" fmla="*/ 51128972 h 234"/>
                  <a:gd name="T104" fmla="*/ 16570433 w 320"/>
                  <a:gd name="T105" fmla="*/ 52565314 h 234"/>
                  <a:gd name="T106" fmla="*/ 18714479 w 320"/>
                  <a:gd name="T107" fmla="*/ 54862926 h 234"/>
                  <a:gd name="T108" fmla="*/ 22613586 w 320"/>
                  <a:gd name="T109" fmla="*/ 57448343 h 234"/>
                  <a:gd name="T110" fmla="*/ 24562919 w 320"/>
                  <a:gd name="T111" fmla="*/ 60895029 h 234"/>
                  <a:gd name="T112" fmla="*/ 22028565 w 320"/>
                  <a:gd name="T113" fmla="*/ 64342251 h 234"/>
                  <a:gd name="T114" fmla="*/ 19884520 w 320"/>
                  <a:gd name="T115" fmla="*/ 66352595 h 234"/>
                  <a:gd name="T116" fmla="*/ 17740033 w 320"/>
                  <a:gd name="T117" fmla="*/ 67214401 h 234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0" t="0" r="r" b="b"/>
                <a:pathLst>
                  <a:path w="320" h="234">
                    <a:moveTo>
                      <a:pt x="87" y="234"/>
                    </a:moveTo>
                    <a:lnTo>
                      <a:pt x="76" y="231"/>
                    </a:lnTo>
                    <a:lnTo>
                      <a:pt x="61" y="228"/>
                    </a:lnTo>
                    <a:lnTo>
                      <a:pt x="61" y="226"/>
                    </a:lnTo>
                    <a:lnTo>
                      <a:pt x="63" y="224"/>
                    </a:lnTo>
                    <a:lnTo>
                      <a:pt x="66" y="222"/>
                    </a:lnTo>
                    <a:lnTo>
                      <a:pt x="70" y="220"/>
                    </a:lnTo>
                    <a:lnTo>
                      <a:pt x="77" y="217"/>
                    </a:lnTo>
                    <a:lnTo>
                      <a:pt x="80" y="216"/>
                    </a:lnTo>
                    <a:lnTo>
                      <a:pt x="64" y="204"/>
                    </a:lnTo>
                    <a:lnTo>
                      <a:pt x="50" y="194"/>
                    </a:lnTo>
                    <a:lnTo>
                      <a:pt x="43" y="189"/>
                    </a:lnTo>
                    <a:lnTo>
                      <a:pt x="38" y="182"/>
                    </a:lnTo>
                    <a:lnTo>
                      <a:pt x="36" y="179"/>
                    </a:lnTo>
                    <a:lnTo>
                      <a:pt x="34" y="175"/>
                    </a:lnTo>
                    <a:lnTo>
                      <a:pt x="34" y="171"/>
                    </a:lnTo>
                    <a:lnTo>
                      <a:pt x="33" y="167"/>
                    </a:lnTo>
                    <a:lnTo>
                      <a:pt x="34" y="164"/>
                    </a:lnTo>
                    <a:lnTo>
                      <a:pt x="34" y="160"/>
                    </a:lnTo>
                    <a:lnTo>
                      <a:pt x="36" y="157"/>
                    </a:lnTo>
                    <a:lnTo>
                      <a:pt x="38" y="154"/>
                    </a:lnTo>
                    <a:lnTo>
                      <a:pt x="43" y="149"/>
                    </a:lnTo>
                    <a:lnTo>
                      <a:pt x="50" y="145"/>
                    </a:lnTo>
                    <a:lnTo>
                      <a:pt x="56" y="141"/>
                    </a:lnTo>
                    <a:lnTo>
                      <a:pt x="64" y="139"/>
                    </a:lnTo>
                    <a:lnTo>
                      <a:pt x="73" y="137"/>
                    </a:lnTo>
                    <a:lnTo>
                      <a:pt x="80" y="137"/>
                    </a:lnTo>
                    <a:lnTo>
                      <a:pt x="80" y="126"/>
                    </a:lnTo>
                    <a:lnTo>
                      <a:pt x="80" y="111"/>
                    </a:lnTo>
                    <a:lnTo>
                      <a:pt x="67" y="111"/>
                    </a:lnTo>
                    <a:lnTo>
                      <a:pt x="61" y="111"/>
                    </a:lnTo>
                    <a:lnTo>
                      <a:pt x="61" y="102"/>
                    </a:lnTo>
                    <a:lnTo>
                      <a:pt x="61" y="93"/>
                    </a:lnTo>
                    <a:lnTo>
                      <a:pt x="60" y="86"/>
                    </a:lnTo>
                    <a:lnTo>
                      <a:pt x="58" y="79"/>
                    </a:lnTo>
                    <a:lnTo>
                      <a:pt x="55" y="70"/>
                    </a:lnTo>
                    <a:lnTo>
                      <a:pt x="53" y="62"/>
                    </a:lnTo>
                    <a:lnTo>
                      <a:pt x="46" y="46"/>
                    </a:lnTo>
                    <a:lnTo>
                      <a:pt x="40" y="32"/>
                    </a:lnTo>
                    <a:lnTo>
                      <a:pt x="33" y="31"/>
                    </a:lnTo>
                    <a:lnTo>
                      <a:pt x="27" y="29"/>
                    </a:lnTo>
                    <a:lnTo>
                      <a:pt x="20" y="25"/>
                    </a:lnTo>
                    <a:lnTo>
                      <a:pt x="16" y="21"/>
                    </a:lnTo>
                    <a:lnTo>
                      <a:pt x="7" y="10"/>
                    </a:lnTo>
                    <a:lnTo>
                      <a:pt x="0" y="0"/>
                    </a:lnTo>
                    <a:lnTo>
                      <a:pt x="9" y="0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8" y="3"/>
                    </a:lnTo>
                    <a:lnTo>
                      <a:pt x="45" y="8"/>
                    </a:lnTo>
                    <a:lnTo>
                      <a:pt x="56" y="16"/>
                    </a:lnTo>
                    <a:lnTo>
                      <a:pt x="67" y="26"/>
                    </a:lnTo>
                    <a:lnTo>
                      <a:pt x="78" y="35"/>
                    </a:lnTo>
                    <a:lnTo>
                      <a:pt x="88" y="42"/>
                    </a:lnTo>
                    <a:lnTo>
                      <a:pt x="96" y="48"/>
                    </a:lnTo>
                    <a:lnTo>
                      <a:pt x="100" y="50"/>
                    </a:lnTo>
                    <a:lnTo>
                      <a:pt x="119" y="58"/>
                    </a:lnTo>
                    <a:lnTo>
                      <a:pt x="135" y="65"/>
                    </a:lnTo>
                    <a:lnTo>
                      <a:pt x="152" y="70"/>
                    </a:lnTo>
                    <a:lnTo>
                      <a:pt x="166" y="76"/>
                    </a:lnTo>
                    <a:lnTo>
                      <a:pt x="181" y="79"/>
                    </a:lnTo>
                    <a:lnTo>
                      <a:pt x="197" y="82"/>
                    </a:lnTo>
                    <a:lnTo>
                      <a:pt x="214" y="85"/>
                    </a:lnTo>
                    <a:lnTo>
                      <a:pt x="233" y="87"/>
                    </a:lnTo>
                    <a:lnTo>
                      <a:pt x="236" y="77"/>
                    </a:lnTo>
                    <a:lnTo>
                      <a:pt x="240" y="62"/>
                    </a:lnTo>
                    <a:lnTo>
                      <a:pt x="257" y="83"/>
                    </a:lnTo>
                    <a:lnTo>
                      <a:pt x="275" y="100"/>
                    </a:lnTo>
                    <a:lnTo>
                      <a:pt x="284" y="107"/>
                    </a:lnTo>
                    <a:lnTo>
                      <a:pt x="293" y="113"/>
                    </a:lnTo>
                    <a:lnTo>
                      <a:pt x="305" y="119"/>
                    </a:lnTo>
                    <a:lnTo>
                      <a:pt x="320" y="123"/>
                    </a:lnTo>
                    <a:lnTo>
                      <a:pt x="297" y="133"/>
                    </a:lnTo>
                    <a:lnTo>
                      <a:pt x="277" y="141"/>
                    </a:lnTo>
                    <a:lnTo>
                      <a:pt x="268" y="144"/>
                    </a:lnTo>
                    <a:lnTo>
                      <a:pt x="258" y="147"/>
                    </a:lnTo>
                    <a:lnTo>
                      <a:pt x="249" y="148"/>
                    </a:lnTo>
                    <a:lnTo>
                      <a:pt x="240" y="149"/>
                    </a:lnTo>
                    <a:lnTo>
                      <a:pt x="237" y="159"/>
                    </a:lnTo>
                    <a:lnTo>
                      <a:pt x="234" y="170"/>
                    </a:lnTo>
                    <a:lnTo>
                      <a:pt x="232" y="176"/>
                    </a:lnTo>
                    <a:lnTo>
                      <a:pt x="231" y="181"/>
                    </a:lnTo>
                    <a:lnTo>
                      <a:pt x="231" y="187"/>
                    </a:lnTo>
                    <a:lnTo>
                      <a:pt x="233" y="192"/>
                    </a:lnTo>
                    <a:lnTo>
                      <a:pt x="222" y="192"/>
                    </a:lnTo>
                    <a:lnTo>
                      <a:pt x="213" y="191"/>
                    </a:lnTo>
                    <a:lnTo>
                      <a:pt x="204" y="189"/>
                    </a:lnTo>
                    <a:lnTo>
                      <a:pt x="198" y="187"/>
                    </a:lnTo>
                    <a:lnTo>
                      <a:pt x="186" y="181"/>
                    </a:lnTo>
                    <a:lnTo>
                      <a:pt x="176" y="176"/>
                    </a:lnTo>
                    <a:lnTo>
                      <a:pt x="168" y="170"/>
                    </a:lnTo>
                    <a:lnTo>
                      <a:pt x="159" y="165"/>
                    </a:lnTo>
                    <a:lnTo>
                      <a:pt x="155" y="164"/>
                    </a:lnTo>
                    <a:lnTo>
                      <a:pt x="151" y="162"/>
                    </a:lnTo>
                    <a:lnTo>
                      <a:pt x="145" y="161"/>
                    </a:lnTo>
                    <a:lnTo>
                      <a:pt x="140" y="161"/>
                    </a:lnTo>
                    <a:lnTo>
                      <a:pt x="131" y="162"/>
                    </a:lnTo>
                    <a:lnTo>
                      <a:pt x="122" y="164"/>
                    </a:lnTo>
                    <a:lnTo>
                      <a:pt x="114" y="167"/>
                    </a:lnTo>
                    <a:lnTo>
                      <a:pt x="108" y="170"/>
                    </a:lnTo>
                    <a:lnTo>
                      <a:pt x="100" y="173"/>
                    </a:lnTo>
                    <a:lnTo>
                      <a:pt x="94" y="176"/>
                    </a:lnTo>
                    <a:lnTo>
                      <a:pt x="87" y="178"/>
                    </a:lnTo>
                    <a:lnTo>
                      <a:pt x="80" y="179"/>
                    </a:lnTo>
                    <a:lnTo>
                      <a:pt x="85" y="183"/>
                    </a:lnTo>
                    <a:lnTo>
                      <a:pt x="90" y="188"/>
                    </a:lnTo>
                    <a:lnTo>
                      <a:pt x="96" y="191"/>
                    </a:lnTo>
                    <a:lnTo>
                      <a:pt x="101" y="194"/>
                    </a:lnTo>
                    <a:lnTo>
                      <a:pt x="116" y="200"/>
                    </a:lnTo>
                    <a:lnTo>
                      <a:pt x="133" y="204"/>
                    </a:lnTo>
                    <a:lnTo>
                      <a:pt x="126" y="212"/>
                    </a:lnTo>
                    <a:lnTo>
                      <a:pt x="119" y="219"/>
                    </a:lnTo>
                    <a:lnTo>
                      <a:pt x="113" y="224"/>
                    </a:lnTo>
                    <a:lnTo>
                      <a:pt x="108" y="228"/>
                    </a:lnTo>
                    <a:lnTo>
                      <a:pt x="102" y="231"/>
                    </a:lnTo>
                    <a:lnTo>
                      <a:pt x="97" y="233"/>
                    </a:lnTo>
                    <a:lnTo>
                      <a:pt x="91" y="234"/>
                    </a:lnTo>
                    <a:lnTo>
                      <a:pt x="87" y="23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3" name="Freeform 483">
                <a:extLst>
                  <a:ext uri="{FF2B5EF4-FFF2-40B4-BE49-F238E27FC236}">
                    <a16:creationId xmlns:a16="http://schemas.microsoft.com/office/drawing/2014/main" id="{F0C963F3-3F35-478C-8525-F7FBE114DED4}"/>
                  </a:ext>
                </a:extLst>
              </p:cNvPr>
              <p:cNvSpPr>
                <a:spLocks/>
              </p:cNvSpPr>
              <p:nvPr>
                <p:custDataLst>
                  <p:tags r:id="rId321"/>
                </p:custDataLst>
              </p:nvPr>
            </p:nvSpPr>
            <p:spPr bwMode="auto">
              <a:xfrm>
                <a:off x="7786812" y="3273002"/>
                <a:ext cx="63343" cy="65046"/>
              </a:xfrm>
              <a:custGeom>
                <a:avLst/>
                <a:gdLst>
                  <a:gd name="T0" fmla="*/ 5796098 w 125"/>
                  <a:gd name="T1" fmla="*/ 7175090 h 93"/>
                  <a:gd name="T2" fmla="*/ 7552529 w 125"/>
                  <a:gd name="T3" fmla="*/ 7175090 h 93"/>
                  <a:gd name="T4" fmla="*/ 9133359 w 125"/>
                  <a:gd name="T5" fmla="*/ 7175090 h 93"/>
                  <a:gd name="T6" fmla="*/ 9660163 w 125"/>
                  <a:gd name="T7" fmla="*/ 7175090 h 93"/>
                  <a:gd name="T8" fmla="*/ 10187386 w 125"/>
                  <a:gd name="T9" fmla="*/ 6419850 h 93"/>
                  <a:gd name="T10" fmla="*/ 10714189 w 125"/>
                  <a:gd name="T11" fmla="*/ 5664610 h 93"/>
                  <a:gd name="T12" fmla="*/ 11416594 w 125"/>
                  <a:gd name="T13" fmla="*/ 4154129 h 93"/>
                  <a:gd name="T14" fmla="*/ 11943817 w 125"/>
                  <a:gd name="T15" fmla="*/ 3020961 h 93"/>
                  <a:gd name="T16" fmla="*/ 12295019 w 125"/>
                  <a:gd name="T17" fmla="*/ 1888408 h 93"/>
                  <a:gd name="T18" fmla="*/ 12646222 w 125"/>
                  <a:gd name="T19" fmla="*/ 1133168 h 93"/>
                  <a:gd name="T20" fmla="*/ 12646222 w 125"/>
                  <a:gd name="T21" fmla="*/ 0 h 93"/>
                  <a:gd name="T22" fmla="*/ 20725554 w 125"/>
                  <a:gd name="T23" fmla="*/ 0 h 93"/>
                  <a:gd name="T24" fmla="*/ 21428378 w 125"/>
                  <a:gd name="T25" fmla="*/ 5664610 h 93"/>
                  <a:gd name="T26" fmla="*/ 21955182 w 125"/>
                  <a:gd name="T27" fmla="*/ 9440811 h 93"/>
                  <a:gd name="T28" fmla="*/ 21779581 w 125"/>
                  <a:gd name="T29" fmla="*/ 10951292 h 93"/>
                  <a:gd name="T30" fmla="*/ 21428378 w 125"/>
                  <a:gd name="T31" fmla="*/ 12461773 h 93"/>
                  <a:gd name="T32" fmla="*/ 20901156 w 125"/>
                  <a:gd name="T33" fmla="*/ 13217013 h 93"/>
                  <a:gd name="T34" fmla="*/ 20549953 w 125"/>
                  <a:gd name="T35" fmla="*/ 13972253 h 93"/>
                  <a:gd name="T36" fmla="*/ 19496346 w 125"/>
                  <a:gd name="T37" fmla="*/ 15105421 h 93"/>
                  <a:gd name="T38" fmla="*/ 18266718 w 125"/>
                  <a:gd name="T39" fmla="*/ 15482734 h 93"/>
                  <a:gd name="T40" fmla="*/ 15456260 w 125"/>
                  <a:gd name="T41" fmla="*/ 15482734 h 93"/>
                  <a:gd name="T42" fmla="*/ 12646222 w 125"/>
                  <a:gd name="T43" fmla="*/ 16237974 h 93"/>
                  <a:gd name="T44" fmla="*/ 12295019 w 125"/>
                  <a:gd name="T45" fmla="*/ 17748455 h 93"/>
                  <a:gd name="T46" fmla="*/ 12119418 w 125"/>
                  <a:gd name="T47" fmla="*/ 20014176 h 93"/>
                  <a:gd name="T48" fmla="*/ 11767797 w 125"/>
                  <a:gd name="T49" fmla="*/ 23035137 h 93"/>
                  <a:gd name="T50" fmla="*/ 11767797 w 125"/>
                  <a:gd name="T51" fmla="*/ 26811953 h 93"/>
                  <a:gd name="T52" fmla="*/ 11592195 w 125"/>
                  <a:gd name="T53" fmla="*/ 32475948 h 93"/>
                  <a:gd name="T54" fmla="*/ 11592195 w 125"/>
                  <a:gd name="T55" fmla="*/ 35119597 h 93"/>
                  <a:gd name="T56" fmla="*/ 8606555 w 125"/>
                  <a:gd name="T57" fmla="*/ 32098635 h 93"/>
                  <a:gd name="T58" fmla="*/ 4742490 w 125"/>
                  <a:gd name="T59" fmla="*/ 27567194 h 93"/>
                  <a:gd name="T60" fmla="*/ 2810458 w 125"/>
                  <a:gd name="T61" fmla="*/ 24546232 h 93"/>
                  <a:gd name="T62" fmla="*/ 1229628 w 125"/>
                  <a:gd name="T63" fmla="*/ 21902584 h 93"/>
                  <a:gd name="T64" fmla="*/ 702405 w 125"/>
                  <a:gd name="T65" fmla="*/ 20392103 h 93"/>
                  <a:gd name="T66" fmla="*/ 351202 w 125"/>
                  <a:gd name="T67" fmla="*/ 18881623 h 93"/>
                  <a:gd name="T68" fmla="*/ 0 w 125"/>
                  <a:gd name="T69" fmla="*/ 17748455 h 93"/>
                  <a:gd name="T70" fmla="*/ 0 w 125"/>
                  <a:gd name="T71" fmla="*/ 16237974 h 93"/>
                  <a:gd name="T72" fmla="*/ 1229628 w 125"/>
                  <a:gd name="T73" fmla="*/ 16237974 h 93"/>
                  <a:gd name="T74" fmla="*/ 2634437 w 125"/>
                  <a:gd name="T75" fmla="*/ 15482734 h 93"/>
                  <a:gd name="T76" fmla="*/ 3512863 w 125"/>
                  <a:gd name="T77" fmla="*/ 14727494 h 93"/>
                  <a:gd name="T78" fmla="*/ 4039666 w 125"/>
                  <a:gd name="T79" fmla="*/ 13594940 h 93"/>
                  <a:gd name="T80" fmla="*/ 4918092 w 125"/>
                  <a:gd name="T81" fmla="*/ 10573365 h 93"/>
                  <a:gd name="T82" fmla="*/ 5796098 w 125"/>
                  <a:gd name="T83" fmla="*/ 7175090 h 93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125" h="93">
                    <a:moveTo>
                      <a:pt x="33" y="19"/>
                    </a:moveTo>
                    <a:lnTo>
                      <a:pt x="43" y="19"/>
                    </a:lnTo>
                    <a:lnTo>
                      <a:pt x="52" y="19"/>
                    </a:lnTo>
                    <a:lnTo>
                      <a:pt x="55" y="19"/>
                    </a:lnTo>
                    <a:lnTo>
                      <a:pt x="58" y="17"/>
                    </a:lnTo>
                    <a:lnTo>
                      <a:pt x="61" y="15"/>
                    </a:lnTo>
                    <a:lnTo>
                      <a:pt x="65" y="11"/>
                    </a:lnTo>
                    <a:lnTo>
                      <a:pt x="68" y="8"/>
                    </a:lnTo>
                    <a:lnTo>
                      <a:pt x="70" y="5"/>
                    </a:lnTo>
                    <a:lnTo>
                      <a:pt x="72" y="3"/>
                    </a:lnTo>
                    <a:lnTo>
                      <a:pt x="72" y="0"/>
                    </a:lnTo>
                    <a:lnTo>
                      <a:pt x="118" y="0"/>
                    </a:lnTo>
                    <a:lnTo>
                      <a:pt x="122" y="15"/>
                    </a:lnTo>
                    <a:lnTo>
                      <a:pt x="125" y="25"/>
                    </a:lnTo>
                    <a:lnTo>
                      <a:pt x="124" y="29"/>
                    </a:lnTo>
                    <a:lnTo>
                      <a:pt x="122" y="33"/>
                    </a:lnTo>
                    <a:lnTo>
                      <a:pt x="119" y="35"/>
                    </a:lnTo>
                    <a:lnTo>
                      <a:pt x="117" y="37"/>
                    </a:lnTo>
                    <a:lnTo>
                      <a:pt x="111" y="40"/>
                    </a:lnTo>
                    <a:lnTo>
                      <a:pt x="104" y="41"/>
                    </a:lnTo>
                    <a:lnTo>
                      <a:pt x="88" y="41"/>
                    </a:lnTo>
                    <a:lnTo>
                      <a:pt x="72" y="43"/>
                    </a:lnTo>
                    <a:lnTo>
                      <a:pt x="70" y="47"/>
                    </a:lnTo>
                    <a:lnTo>
                      <a:pt x="69" y="53"/>
                    </a:lnTo>
                    <a:lnTo>
                      <a:pt x="67" y="61"/>
                    </a:lnTo>
                    <a:lnTo>
                      <a:pt x="67" y="71"/>
                    </a:lnTo>
                    <a:lnTo>
                      <a:pt x="66" y="86"/>
                    </a:lnTo>
                    <a:lnTo>
                      <a:pt x="66" y="93"/>
                    </a:lnTo>
                    <a:lnTo>
                      <a:pt x="49" y="85"/>
                    </a:lnTo>
                    <a:lnTo>
                      <a:pt x="27" y="73"/>
                    </a:lnTo>
                    <a:lnTo>
                      <a:pt x="16" y="65"/>
                    </a:lnTo>
                    <a:lnTo>
                      <a:pt x="7" y="58"/>
                    </a:lnTo>
                    <a:lnTo>
                      <a:pt x="4" y="54"/>
                    </a:lnTo>
                    <a:lnTo>
                      <a:pt x="2" y="50"/>
                    </a:lnTo>
                    <a:lnTo>
                      <a:pt x="0" y="47"/>
                    </a:lnTo>
                    <a:lnTo>
                      <a:pt x="0" y="43"/>
                    </a:lnTo>
                    <a:lnTo>
                      <a:pt x="7" y="43"/>
                    </a:lnTo>
                    <a:lnTo>
                      <a:pt x="15" y="41"/>
                    </a:lnTo>
                    <a:lnTo>
                      <a:pt x="20" y="39"/>
                    </a:lnTo>
                    <a:lnTo>
                      <a:pt x="23" y="36"/>
                    </a:lnTo>
                    <a:lnTo>
                      <a:pt x="28" y="28"/>
                    </a:lnTo>
                    <a:lnTo>
                      <a:pt x="33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4" name="Freeform 484">
                <a:extLst>
                  <a:ext uri="{FF2B5EF4-FFF2-40B4-BE49-F238E27FC236}">
                    <a16:creationId xmlns:a16="http://schemas.microsoft.com/office/drawing/2014/main" id="{095826ED-0831-488B-9FFA-74A7DFDE89A4}"/>
                  </a:ext>
                </a:extLst>
              </p:cNvPr>
              <p:cNvSpPr>
                <a:spLocks/>
              </p:cNvSpPr>
              <p:nvPr>
                <p:custDataLst>
                  <p:tags r:id="rId322"/>
                </p:custDataLst>
              </p:nvPr>
            </p:nvSpPr>
            <p:spPr bwMode="auto">
              <a:xfrm>
                <a:off x="7721658" y="3288824"/>
                <a:ext cx="72393" cy="94931"/>
              </a:xfrm>
              <a:custGeom>
                <a:avLst/>
                <a:gdLst>
                  <a:gd name="T0" fmla="*/ 4114346 w 133"/>
                  <a:gd name="T1" fmla="*/ 3581832 h 154"/>
                  <a:gd name="T2" fmla="*/ 4937579 w 133"/>
                  <a:gd name="T3" fmla="*/ 2984678 h 154"/>
                  <a:gd name="T4" fmla="*/ 6377668 w 133"/>
                  <a:gd name="T5" fmla="*/ 1790916 h 154"/>
                  <a:gd name="T6" fmla="*/ 6994525 w 133"/>
                  <a:gd name="T7" fmla="*/ 1193762 h 154"/>
                  <a:gd name="T8" fmla="*/ 7611836 w 133"/>
                  <a:gd name="T9" fmla="*/ 597154 h 154"/>
                  <a:gd name="T10" fmla="*/ 8640536 w 133"/>
                  <a:gd name="T11" fmla="*/ 298304 h 154"/>
                  <a:gd name="T12" fmla="*/ 9463314 w 133"/>
                  <a:gd name="T13" fmla="*/ 0 h 154"/>
                  <a:gd name="T14" fmla="*/ 12138025 w 133"/>
                  <a:gd name="T15" fmla="*/ 298304 h 154"/>
                  <a:gd name="T16" fmla="*/ 14400893 w 133"/>
                  <a:gd name="T17" fmla="*/ 1193762 h 154"/>
                  <a:gd name="T18" fmla="*/ 16663761 w 133"/>
                  <a:gd name="T19" fmla="*/ 2388070 h 154"/>
                  <a:gd name="T20" fmla="*/ 18515239 w 133"/>
                  <a:gd name="T21" fmla="*/ 4178986 h 154"/>
                  <a:gd name="T22" fmla="*/ 20367171 w 133"/>
                  <a:gd name="T23" fmla="*/ 6268207 h 154"/>
                  <a:gd name="T24" fmla="*/ 21601339 w 133"/>
                  <a:gd name="T25" fmla="*/ 8954581 h 154"/>
                  <a:gd name="T26" fmla="*/ 23041429 w 133"/>
                  <a:gd name="T27" fmla="*/ 11939805 h 154"/>
                  <a:gd name="T28" fmla="*/ 23864207 w 133"/>
                  <a:gd name="T29" fmla="*/ 14924483 h 154"/>
                  <a:gd name="T30" fmla="*/ 24892907 w 133"/>
                  <a:gd name="T31" fmla="*/ 17909708 h 154"/>
                  <a:gd name="T32" fmla="*/ 25510218 w 133"/>
                  <a:gd name="T33" fmla="*/ 21192690 h 154"/>
                  <a:gd name="T34" fmla="*/ 26127529 w 133"/>
                  <a:gd name="T35" fmla="*/ 24476218 h 154"/>
                  <a:gd name="T36" fmla="*/ 26744386 w 133"/>
                  <a:gd name="T37" fmla="*/ 28058050 h 154"/>
                  <a:gd name="T38" fmla="*/ 27155775 w 133"/>
                  <a:gd name="T39" fmla="*/ 34625107 h 154"/>
                  <a:gd name="T40" fmla="*/ 27361696 w 133"/>
                  <a:gd name="T41" fmla="*/ 40296160 h 154"/>
                  <a:gd name="T42" fmla="*/ 27155775 w 133"/>
                  <a:gd name="T43" fmla="*/ 41191618 h 154"/>
                  <a:gd name="T44" fmla="*/ 26744386 w 133"/>
                  <a:gd name="T45" fmla="*/ 42087622 h 154"/>
                  <a:gd name="T46" fmla="*/ 25715686 w 133"/>
                  <a:gd name="T47" fmla="*/ 42983080 h 154"/>
                  <a:gd name="T48" fmla="*/ 24892907 w 133"/>
                  <a:gd name="T49" fmla="*/ 43878538 h 154"/>
                  <a:gd name="T50" fmla="*/ 23658739 w 133"/>
                  <a:gd name="T51" fmla="*/ 44773996 h 154"/>
                  <a:gd name="T52" fmla="*/ 22630039 w 133"/>
                  <a:gd name="T53" fmla="*/ 45669454 h 154"/>
                  <a:gd name="T54" fmla="*/ 21395418 w 133"/>
                  <a:gd name="T55" fmla="*/ 45967758 h 154"/>
                  <a:gd name="T56" fmla="*/ 20367171 w 133"/>
                  <a:gd name="T57" fmla="*/ 45967758 h 154"/>
                  <a:gd name="T58" fmla="*/ 19132550 w 133"/>
                  <a:gd name="T59" fmla="*/ 45669454 h 154"/>
                  <a:gd name="T60" fmla="*/ 17898382 w 133"/>
                  <a:gd name="T61" fmla="*/ 44475146 h 154"/>
                  <a:gd name="T62" fmla="*/ 16252371 w 133"/>
                  <a:gd name="T63" fmla="*/ 42087622 h 154"/>
                  <a:gd name="T64" fmla="*/ 14606814 w 133"/>
                  <a:gd name="T65" fmla="*/ 39997856 h 154"/>
                  <a:gd name="T66" fmla="*/ 13166725 w 133"/>
                  <a:gd name="T67" fmla="*/ 37609785 h 154"/>
                  <a:gd name="T68" fmla="*/ 11932104 w 133"/>
                  <a:gd name="T69" fmla="*/ 35222261 h 154"/>
                  <a:gd name="T70" fmla="*/ 11109325 w 133"/>
                  <a:gd name="T71" fmla="*/ 33132495 h 154"/>
                  <a:gd name="T72" fmla="*/ 10903404 w 133"/>
                  <a:gd name="T73" fmla="*/ 31341579 h 154"/>
                  <a:gd name="T74" fmla="*/ 11109325 w 133"/>
                  <a:gd name="T75" fmla="*/ 29252359 h 154"/>
                  <a:gd name="T76" fmla="*/ 11520714 w 133"/>
                  <a:gd name="T77" fmla="*/ 24775068 h 154"/>
                  <a:gd name="T78" fmla="*/ 11932104 w 133"/>
                  <a:gd name="T79" fmla="*/ 20297232 h 154"/>
                  <a:gd name="T80" fmla="*/ 12138025 w 133"/>
                  <a:gd name="T81" fmla="*/ 18506316 h 154"/>
                  <a:gd name="T82" fmla="*/ 9669236 w 133"/>
                  <a:gd name="T83" fmla="*/ 18208012 h 154"/>
                  <a:gd name="T84" fmla="*/ 7406368 w 133"/>
                  <a:gd name="T85" fmla="*/ 17610858 h 154"/>
                  <a:gd name="T86" fmla="*/ 5143046 w 133"/>
                  <a:gd name="T87" fmla="*/ 16715399 h 154"/>
                  <a:gd name="T88" fmla="*/ 3497489 w 133"/>
                  <a:gd name="T89" fmla="*/ 15521637 h 154"/>
                  <a:gd name="T90" fmla="*/ 2674257 w 133"/>
                  <a:gd name="T91" fmla="*/ 14626179 h 154"/>
                  <a:gd name="T92" fmla="*/ 2057400 w 133"/>
                  <a:gd name="T93" fmla="*/ 13730721 h 154"/>
                  <a:gd name="T94" fmla="*/ 1440089 w 133"/>
                  <a:gd name="T95" fmla="*/ 12835263 h 154"/>
                  <a:gd name="T96" fmla="*/ 822779 w 133"/>
                  <a:gd name="T97" fmla="*/ 11640955 h 154"/>
                  <a:gd name="T98" fmla="*/ 411389 w 133"/>
                  <a:gd name="T99" fmla="*/ 10148889 h 154"/>
                  <a:gd name="T100" fmla="*/ 205921 w 133"/>
                  <a:gd name="T101" fmla="*/ 8656277 h 154"/>
                  <a:gd name="T102" fmla="*/ 0 w 133"/>
                  <a:gd name="T103" fmla="*/ 7163665 h 154"/>
                  <a:gd name="T104" fmla="*/ 0 w 133"/>
                  <a:gd name="T105" fmla="*/ 5372748 h 154"/>
                  <a:gd name="T106" fmla="*/ 1440089 w 133"/>
                  <a:gd name="T107" fmla="*/ 4477290 h 154"/>
                  <a:gd name="T108" fmla="*/ 4114346 w 133"/>
                  <a:gd name="T109" fmla="*/ 3581832 h 154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0" t="0" r="r" b="b"/>
                <a:pathLst>
                  <a:path w="133" h="154">
                    <a:moveTo>
                      <a:pt x="20" y="12"/>
                    </a:moveTo>
                    <a:lnTo>
                      <a:pt x="24" y="10"/>
                    </a:lnTo>
                    <a:lnTo>
                      <a:pt x="31" y="6"/>
                    </a:lnTo>
                    <a:lnTo>
                      <a:pt x="34" y="4"/>
                    </a:lnTo>
                    <a:lnTo>
                      <a:pt x="37" y="2"/>
                    </a:lnTo>
                    <a:lnTo>
                      <a:pt x="42" y="1"/>
                    </a:lnTo>
                    <a:lnTo>
                      <a:pt x="46" y="0"/>
                    </a:lnTo>
                    <a:lnTo>
                      <a:pt x="59" y="1"/>
                    </a:lnTo>
                    <a:lnTo>
                      <a:pt x="70" y="4"/>
                    </a:lnTo>
                    <a:lnTo>
                      <a:pt x="81" y="8"/>
                    </a:lnTo>
                    <a:lnTo>
                      <a:pt x="90" y="14"/>
                    </a:lnTo>
                    <a:lnTo>
                      <a:pt x="99" y="21"/>
                    </a:lnTo>
                    <a:lnTo>
                      <a:pt x="105" y="30"/>
                    </a:lnTo>
                    <a:lnTo>
                      <a:pt x="112" y="40"/>
                    </a:lnTo>
                    <a:lnTo>
                      <a:pt x="116" y="50"/>
                    </a:lnTo>
                    <a:lnTo>
                      <a:pt x="121" y="60"/>
                    </a:lnTo>
                    <a:lnTo>
                      <a:pt x="124" y="71"/>
                    </a:lnTo>
                    <a:lnTo>
                      <a:pt x="127" y="82"/>
                    </a:lnTo>
                    <a:lnTo>
                      <a:pt x="130" y="94"/>
                    </a:lnTo>
                    <a:lnTo>
                      <a:pt x="132" y="116"/>
                    </a:lnTo>
                    <a:lnTo>
                      <a:pt x="133" y="135"/>
                    </a:lnTo>
                    <a:lnTo>
                      <a:pt x="132" y="138"/>
                    </a:lnTo>
                    <a:lnTo>
                      <a:pt x="130" y="141"/>
                    </a:lnTo>
                    <a:lnTo>
                      <a:pt x="125" y="144"/>
                    </a:lnTo>
                    <a:lnTo>
                      <a:pt x="121" y="147"/>
                    </a:lnTo>
                    <a:lnTo>
                      <a:pt x="115" y="150"/>
                    </a:lnTo>
                    <a:lnTo>
                      <a:pt x="110" y="153"/>
                    </a:lnTo>
                    <a:lnTo>
                      <a:pt x="104" y="154"/>
                    </a:lnTo>
                    <a:lnTo>
                      <a:pt x="99" y="154"/>
                    </a:lnTo>
                    <a:lnTo>
                      <a:pt x="93" y="153"/>
                    </a:lnTo>
                    <a:lnTo>
                      <a:pt x="87" y="149"/>
                    </a:lnTo>
                    <a:lnTo>
                      <a:pt x="79" y="141"/>
                    </a:lnTo>
                    <a:lnTo>
                      <a:pt x="71" y="134"/>
                    </a:lnTo>
                    <a:lnTo>
                      <a:pt x="64" y="126"/>
                    </a:lnTo>
                    <a:lnTo>
                      <a:pt x="58" y="118"/>
                    </a:lnTo>
                    <a:lnTo>
                      <a:pt x="54" y="111"/>
                    </a:lnTo>
                    <a:lnTo>
                      <a:pt x="53" y="105"/>
                    </a:lnTo>
                    <a:lnTo>
                      <a:pt x="54" y="98"/>
                    </a:lnTo>
                    <a:lnTo>
                      <a:pt x="56" y="83"/>
                    </a:lnTo>
                    <a:lnTo>
                      <a:pt x="58" y="68"/>
                    </a:lnTo>
                    <a:lnTo>
                      <a:pt x="59" y="62"/>
                    </a:lnTo>
                    <a:lnTo>
                      <a:pt x="47" y="61"/>
                    </a:lnTo>
                    <a:lnTo>
                      <a:pt x="36" y="59"/>
                    </a:lnTo>
                    <a:lnTo>
                      <a:pt x="25" y="56"/>
                    </a:lnTo>
                    <a:lnTo>
                      <a:pt x="17" y="52"/>
                    </a:lnTo>
                    <a:lnTo>
                      <a:pt x="13" y="49"/>
                    </a:lnTo>
                    <a:lnTo>
                      <a:pt x="10" y="46"/>
                    </a:lnTo>
                    <a:lnTo>
                      <a:pt x="7" y="43"/>
                    </a:lnTo>
                    <a:lnTo>
                      <a:pt x="4" y="39"/>
                    </a:lnTo>
                    <a:lnTo>
                      <a:pt x="2" y="34"/>
                    </a:lnTo>
                    <a:lnTo>
                      <a:pt x="1" y="29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5" name="Freeform 485">
                <a:extLst>
                  <a:ext uri="{FF2B5EF4-FFF2-40B4-BE49-F238E27FC236}">
                    <a16:creationId xmlns:a16="http://schemas.microsoft.com/office/drawing/2014/main" id="{13FDA20E-9FCD-4A84-A84F-82436CC7EA1A}"/>
                  </a:ext>
                </a:extLst>
              </p:cNvPr>
              <p:cNvSpPr>
                <a:spLocks/>
              </p:cNvSpPr>
              <p:nvPr>
                <p:custDataLst>
                  <p:tags r:id="rId323"/>
                </p:custDataLst>
              </p:nvPr>
            </p:nvSpPr>
            <p:spPr bwMode="auto">
              <a:xfrm>
                <a:off x="7739757" y="3021612"/>
                <a:ext cx="253376" cy="274244"/>
              </a:xfrm>
              <a:custGeom>
                <a:avLst/>
                <a:gdLst>
                  <a:gd name="T0" fmla="*/ 25014653 w 485"/>
                  <a:gd name="T1" fmla="*/ 95781962 h 468"/>
                  <a:gd name="T2" fmla="*/ 31174991 w 485"/>
                  <a:gd name="T3" fmla="*/ 92507668 h 468"/>
                  <a:gd name="T4" fmla="*/ 37335329 w 485"/>
                  <a:gd name="T5" fmla="*/ 92507668 h 468"/>
                  <a:gd name="T6" fmla="*/ 42189112 w 485"/>
                  <a:gd name="T7" fmla="*/ 94963388 h 468"/>
                  <a:gd name="T8" fmla="*/ 41815811 w 485"/>
                  <a:gd name="T9" fmla="*/ 89232853 h 468"/>
                  <a:gd name="T10" fmla="*/ 41069208 w 485"/>
                  <a:gd name="T11" fmla="*/ 86231243 h 468"/>
                  <a:gd name="T12" fmla="*/ 43495667 w 485"/>
                  <a:gd name="T13" fmla="*/ 82683743 h 468"/>
                  <a:gd name="T14" fmla="*/ 44616003 w 485"/>
                  <a:gd name="T15" fmla="*/ 75316061 h 468"/>
                  <a:gd name="T16" fmla="*/ 45175956 w 485"/>
                  <a:gd name="T17" fmla="*/ 67129283 h 468"/>
                  <a:gd name="T18" fmla="*/ 50029738 w 485"/>
                  <a:gd name="T19" fmla="*/ 69585525 h 468"/>
                  <a:gd name="T20" fmla="*/ 56003426 w 485"/>
                  <a:gd name="T21" fmla="*/ 64946246 h 468"/>
                  <a:gd name="T22" fmla="*/ 58990269 w 485"/>
                  <a:gd name="T23" fmla="*/ 59215711 h 468"/>
                  <a:gd name="T24" fmla="*/ 54696439 w 485"/>
                  <a:gd name="T25" fmla="*/ 52939285 h 468"/>
                  <a:gd name="T26" fmla="*/ 59363571 w 485"/>
                  <a:gd name="T27" fmla="*/ 54303748 h 468"/>
                  <a:gd name="T28" fmla="*/ 64030271 w 485"/>
                  <a:gd name="T29" fmla="*/ 55122322 h 468"/>
                  <a:gd name="T30" fmla="*/ 64590223 w 485"/>
                  <a:gd name="T31" fmla="*/ 50483565 h 468"/>
                  <a:gd name="T32" fmla="*/ 55069740 w 485"/>
                  <a:gd name="T33" fmla="*/ 26196959 h 468"/>
                  <a:gd name="T34" fmla="*/ 53203233 w 485"/>
                  <a:gd name="T35" fmla="*/ 14462681 h 468"/>
                  <a:gd name="T36" fmla="*/ 54323137 w 485"/>
                  <a:gd name="T37" fmla="*/ 5184646 h 468"/>
                  <a:gd name="T38" fmla="*/ 58990269 w 485"/>
                  <a:gd name="T39" fmla="*/ 272684 h 468"/>
                  <a:gd name="T40" fmla="*/ 62723716 w 485"/>
                  <a:gd name="T41" fmla="*/ 4911962 h 468"/>
                  <a:gd name="T42" fmla="*/ 70377259 w 485"/>
                  <a:gd name="T43" fmla="*/ 12279645 h 468"/>
                  <a:gd name="T44" fmla="*/ 77471283 w 485"/>
                  <a:gd name="T45" fmla="*/ 19647850 h 468"/>
                  <a:gd name="T46" fmla="*/ 79524441 w 485"/>
                  <a:gd name="T47" fmla="*/ 26742326 h 468"/>
                  <a:gd name="T48" fmla="*/ 81391380 w 485"/>
                  <a:gd name="T49" fmla="*/ 37384824 h 468"/>
                  <a:gd name="T50" fmla="*/ 83071669 w 485"/>
                  <a:gd name="T51" fmla="*/ 47208749 h 468"/>
                  <a:gd name="T52" fmla="*/ 79897742 w 485"/>
                  <a:gd name="T53" fmla="*/ 48845896 h 468"/>
                  <a:gd name="T54" fmla="*/ 76910899 w 485"/>
                  <a:gd name="T55" fmla="*/ 50483565 h 468"/>
                  <a:gd name="T56" fmla="*/ 79524441 w 485"/>
                  <a:gd name="T57" fmla="*/ 54303748 h 468"/>
                  <a:gd name="T58" fmla="*/ 83071669 w 485"/>
                  <a:gd name="T59" fmla="*/ 55395528 h 468"/>
                  <a:gd name="T60" fmla="*/ 84938176 w 485"/>
                  <a:gd name="T61" fmla="*/ 71495356 h 468"/>
                  <a:gd name="T62" fmla="*/ 88671623 w 485"/>
                  <a:gd name="T63" fmla="*/ 85139464 h 468"/>
                  <a:gd name="T64" fmla="*/ 89605308 w 485"/>
                  <a:gd name="T65" fmla="*/ 103968740 h 468"/>
                  <a:gd name="T66" fmla="*/ 86431814 w 485"/>
                  <a:gd name="T67" fmla="*/ 99329461 h 468"/>
                  <a:gd name="T68" fmla="*/ 84564875 w 485"/>
                  <a:gd name="T69" fmla="*/ 97146425 h 468"/>
                  <a:gd name="T70" fmla="*/ 81391380 w 485"/>
                  <a:gd name="T71" fmla="*/ 99056778 h 468"/>
                  <a:gd name="T72" fmla="*/ 80084825 w 485"/>
                  <a:gd name="T73" fmla="*/ 108880702 h 468"/>
                  <a:gd name="T74" fmla="*/ 76164296 w 485"/>
                  <a:gd name="T75" fmla="*/ 106151776 h 468"/>
                  <a:gd name="T76" fmla="*/ 72617500 w 485"/>
                  <a:gd name="T77" fmla="*/ 104241424 h 468"/>
                  <a:gd name="T78" fmla="*/ 70190609 w 485"/>
                  <a:gd name="T79" fmla="*/ 109699276 h 468"/>
                  <a:gd name="T80" fmla="*/ 64403572 w 485"/>
                  <a:gd name="T81" fmla="*/ 112700885 h 468"/>
                  <a:gd name="T82" fmla="*/ 62350414 w 485"/>
                  <a:gd name="T83" fmla="*/ 109153386 h 468"/>
                  <a:gd name="T84" fmla="*/ 58243234 w 485"/>
                  <a:gd name="T85" fmla="*/ 107788923 h 468"/>
                  <a:gd name="T86" fmla="*/ 56563378 w 485"/>
                  <a:gd name="T87" fmla="*/ 116248385 h 468"/>
                  <a:gd name="T88" fmla="*/ 55816343 w 485"/>
                  <a:gd name="T89" fmla="*/ 122797494 h 468"/>
                  <a:gd name="T90" fmla="*/ 57309981 w 485"/>
                  <a:gd name="T91" fmla="*/ 127163567 h 468"/>
                  <a:gd name="T92" fmla="*/ 50776341 w 485"/>
                  <a:gd name="T93" fmla="*/ 127709456 h 468"/>
                  <a:gd name="T94" fmla="*/ 48162799 w 485"/>
                  <a:gd name="T95" fmla="*/ 126890883 h 468"/>
                  <a:gd name="T96" fmla="*/ 45549257 w 485"/>
                  <a:gd name="T97" fmla="*/ 120068568 h 468"/>
                  <a:gd name="T98" fmla="*/ 42749064 w 485"/>
                  <a:gd name="T99" fmla="*/ 114065349 h 468"/>
                  <a:gd name="T100" fmla="*/ 38082364 w 485"/>
                  <a:gd name="T101" fmla="*/ 110790533 h 468"/>
                  <a:gd name="T102" fmla="*/ 35468822 w 485"/>
                  <a:gd name="T103" fmla="*/ 107516239 h 468"/>
                  <a:gd name="T104" fmla="*/ 25387955 w 485"/>
                  <a:gd name="T105" fmla="*/ 113792142 h 468"/>
                  <a:gd name="T106" fmla="*/ 16801157 w 485"/>
                  <a:gd name="T107" fmla="*/ 118704105 h 468"/>
                  <a:gd name="T108" fmla="*/ 12134025 w 485"/>
                  <a:gd name="T109" fmla="*/ 125253736 h 468"/>
                  <a:gd name="T110" fmla="*/ 5040434 w 485"/>
                  <a:gd name="T111" fmla="*/ 125799104 h 468"/>
                  <a:gd name="T112" fmla="*/ 1306555 w 485"/>
                  <a:gd name="T113" fmla="*/ 119523201 h 468"/>
                  <a:gd name="T114" fmla="*/ 0 w 485"/>
                  <a:gd name="T115" fmla="*/ 113792142 h 468"/>
                  <a:gd name="T116" fmla="*/ 1306555 w 485"/>
                  <a:gd name="T117" fmla="*/ 112700885 h 468"/>
                  <a:gd name="T118" fmla="*/ 5040434 w 485"/>
                  <a:gd name="T119" fmla="*/ 112973569 h 468"/>
                  <a:gd name="T120" fmla="*/ 8960531 w 485"/>
                  <a:gd name="T121" fmla="*/ 110517849 h 468"/>
                  <a:gd name="T122" fmla="*/ 13440580 w 485"/>
                  <a:gd name="T123" fmla="*/ 100693924 h 468"/>
                  <a:gd name="T124" fmla="*/ 17361109 w 485"/>
                  <a:gd name="T125" fmla="*/ 96055168 h 468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485" h="468">
                    <a:moveTo>
                      <a:pt x="100" y="351"/>
                    </a:moveTo>
                    <a:lnTo>
                      <a:pt x="113" y="351"/>
                    </a:lnTo>
                    <a:lnTo>
                      <a:pt x="126" y="351"/>
                    </a:lnTo>
                    <a:lnTo>
                      <a:pt x="134" y="351"/>
                    </a:lnTo>
                    <a:lnTo>
                      <a:pt x="142" y="348"/>
                    </a:lnTo>
                    <a:lnTo>
                      <a:pt x="149" y="346"/>
                    </a:lnTo>
                    <a:lnTo>
                      <a:pt x="158" y="342"/>
                    </a:lnTo>
                    <a:lnTo>
                      <a:pt x="167" y="339"/>
                    </a:lnTo>
                    <a:lnTo>
                      <a:pt x="177" y="336"/>
                    </a:lnTo>
                    <a:lnTo>
                      <a:pt x="188" y="334"/>
                    </a:lnTo>
                    <a:lnTo>
                      <a:pt x="199" y="333"/>
                    </a:lnTo>
                    <a:lnTo>
                      <a:pt x="200" y="339"/>
                    </a:lnTo>
                    <a:lnTo>
                      <a:pt x="203" y="345"/>
                    </a:lnTo>
                    <a:lnTo>
                      <a:pt x="208" y="352"/>
                    </a:lnTo>
                    <a:lnTo>
                      <a:pt x="212" y="357"/>
                    </a:lnTo>
                    <a:lnTo>
                      <a:pt x="226" y="348"/>
                    </a:lnTo>
                    <a:lnTo>
                      <a:pt x="239" y="339"/>
                    </a:lnTo>
                    <a:lnTo>
                      <a:pt x="233" y="335"/>
                    </a:lnTo>
                    <a:lnTo>
                      <a:pt x="226" y="329"/>
                    </a:lnTo>
                    <a:lnTo>
                      <a:pt x="224" y="327"/>
                    </a:lnTo>
                    <a:lnTo>
                      <a:pt x="221" y="325"/>
                    </a:lnTo>
                    <a:lnTo>
                      <a:pt x="220" y="322"/>
                    </a:lnTo>
                    <a:lnTo>
                      <a:pt x="220" y="320"/>
                    </a:lnTo>
                    <a:lnTo>
                      <a:pt x="220" y="316"/>
                    </a:lnTo>
                    <a:lnTo>
                      <a:pt x="222" y="312"/>
                    </a:lnTo>
                    <a:lnTo>
                      <a:pt x="225" y="309"/>
                    </a:lnTo>
                    <a:lnTo>
                      <a:pt x="229" y="306"/>
                    </a:lnTo>
                    <a:lnTo>
                      <a:pt x="233" y="303"/>
                    </a:lnTo>
                    <a:lnTo>
                      <a:pt x="236" y="301"/>
                    </a:lnTo>
                    <a:lnTo>
                      <a:pt x="238" y="298"/>
                    </a:lnTo>
                    <a:lnTo>
                      <a:pt x="239" y="296"/>
                    </a:lnTo>
                    <a:lnTo>
                      <a:pt x="239" y="276"/>
                    </a:lnTo>
                    <a:lnTo>
                      <a:pt x="239" y="268"/>
                    </a:lnTo>
                    <a:lnTo>
                      <a:pt x="239" y="259"/>
                    </a:lnTo>
                    <a:lnTo>
                      <a:pt x="239" y="240"/>
                    </a:lnTo>
                    <a:lnTo>
                      <a:pt x="242" y="246"/>
                    </a:lnTo>
                    <a:lnTo>
                      <a:pt x="246" y="253"/>
                    </a:lnTo>
                    <a:lnTo>
                      <a:pt x="253" y="259"/>
                    </a:lnTo>
                    <a:lnTo>
                      <a:pt x="259" y="265"/>
                    </a:lnTo>
                    <a:lnTo>
                      <a:pt x="268" y="255"/>
                    </a:lnTo>
                    <a:lnTo>
                      <a:pt x="277" y="249"/>
                    </a:lnTo>
                    <a:lnTo>
                      <a:pt x="284" y="244"/>
                    </a:lnTo>
                    <a:lnTo>
                      <a:pt x="292" y="241"/>
                    </a:lnTo>
                    <a:lnTo>
                      <a:pt x="300" y="238"/>
                    </a:lnTo>
                    <a:lnTo>
                      <a:pt x="307" y="235"/>
                    </a:lnTo>
                    <a:lnTo>
                      <a:pt x="316" y="230"/>
                    </a:lnTo>
                    <a:lnTo>
                      <a:pt x="325" y="222"/>
                    </a:lnTo>
                    <a:lnTo>
                      <a:pt x="316" y="217"/>
                    </a:lnTo>
                    <a:lnTo>
                      <a:pt x="310" y="212"/>
                    </a:lnTo>
                    <a:lnTo>
                      <a:pt x="304" y="208"/>
                    </a:lnTo>
                    <a:lnTo>
                      <a:pt x="301" y="203"/>
                    </a:lnTo>
                    <a:lnTo>
                      <a:pt x="293" y="194"/>
                    </a:lnTo>
                    <a:lnTo>
                      <a:pt x="285" y="185"/>
                    </a:lnTo>
                    <a:lnTo>
                      <a:pt x="300" y="190"/>
                    </a:lnTo>
                    <a:lnTo>
                      <a:pt x="312" y="196"/>
                    </a:lnTo>
                    <a:lnTo>
                      <a:pt x="318" y="199"/>
                    </a:lnTo>
                    <a:lnTo>
                      <a:pt x="325" y="201"/>
                    </a:lnTo>
                    <a:lnTo>
                      <a:pt x="332" y="203"/>
                    </a:lnTo>
                    <a:lnTo>
                      <a:pt x="338" y="203"/>
                    </a:lnTo>
                    <a:lnTo>
                      <a:pt x="343" y="202"/>
                    </a:lnTo>
                    <a:lnTo>
                      <a:pt x="345" y="200"/>
                    </a:lnTo>
                    <a:lnTo>
                      <a:pt x="347" y="197"/>
                    </a:lnTo>
                    <a:lnTo>
                      <a:pt x="347" y="193"/>
                    </a:lnTo>
                    <a:lnTo>
                      <a:pt x="346" y="185"/>
                    </a:lnTo>
                    <a:lnTo>
                      <a:pt x="345" y="179"/>
                    </a:lnTo>
                    <a:lnTo>
                      <a:pt x="322" y="142"/>
                    </a:lnTo>
                    <a:lnTo>
                      <a:pt x="303" y="111"/>
                    </a:lnTo>
                    <a:lnTo>
                      <a:pt x="295" y="96"/>
                    </a:lnTo>
                    <a:lnTo>
                      <a:pt x="290" y="80"/>
                    </a:lnTo>
                    <a:lnTo>
                      <a:pt x="288" y="72"/>
                    </a:lnTo>
                    <a:lnTo>
                      <a:pt x="287" y="63"/>
                    </a:lnTo>
                    <a:lnTo>
                      <a:pt x="285" y="53"/>
                    </a:lnTo>
                    <a:lnTo>
                      <a:pt x="285" y="43"/>
                    </a:lnTo>
                    <a:lnTo>
                      <a:pt x="287" y="34"/>
                    </a:lnTo>
                    <a:lnTo>
                      <a:pt x="288" y="26"/>
                    </a:lnTo>
                    <a:lnTo>
                      <a:pt x="291" y="19"/>
                    </a:lnTo>
                    <a:lnTo>
                      <a:pt x="295" y="13"/>
                    </a:lnTo>
                    <a:lnTo>
                      <a:pt x="301" y="7"/>
                    </a:lnTo>
                    <a:lnTo>
                      <a:pt x="307" y="4"/>
                    </a:lnTo>
                    <a:lnTo>
                      <a:pt x="316" y="1"/>
                    </a:lnTo>
                    <a:lnTo>
                      <a:pt x="325" y="0"/>
                    </a:lnTo>
                    <a:lnTo>
                      <a:pt x="328" y="7"/>
                    </a:lnTo>
                    <a:lnTo>
                      <a:pt x="332" y="13"/>
                    </a:lnTo>
                    <a:lnTo>
                      <a:pt x="336" y="18"/>
                    </a:lnTo>
                    <a:lnTo>
                      <a:pt x="340" y="23"/>
                    </a:lnTo>
                    <a:lnTo>
                      <a:pt x="351" y="31"/>
                    </a:lnTo>
                    <a:lnTo>
                      <a:pt x="363" y="38"/>
                    </a:lnTo>
                    <a:lnTo>
                      <a:pt x="377" y="45"/>
                    </a:lnTo>
                    <a:lnTo>
                      <a:pt x="389" y="51"/>
                    </a:lnTo>
                    <a:lnTo>
                      <a:pt x="401" y="60"/>
                    </a:lnTo>
                    <a:lnTo>
                      <a:pt x="412" y="68"/>
                    </a:lnTo>
                    <a:lnTo>
                      <a:pt x="415" y="72"/>
                    </a:lnTo>
                    <a:lnTo>
                      <a:pt x="418" y="76"/>
                    </a:lnTo>
                    <a:lnTo>
                      <a:pt x="421" y="81"/>
                    </a:lnTo>
                    <a:lnTo>
                      <a:pt x="423" y="86"/>
                    </a:lnTo>
                    <a:lnTo>
                      <a:pt x="426" y="98"/>
                    </a:lnTo>
                    <a:lnTo>
                      <a:pt x="428" y="111"/>
                    </a:lnTo>
                    <a:lnTo>
                      <a:pt x="430" y="122"/>
                    </a:lnTo>
                    <a:lnTo>
                      <a:pt x="434" y="133"/>
                    </a:lnTo>
                    <a:lnTo>
                      <a:pt x="436" y="137"/>
                    </a:lnTo>
                    <a:lnTo>
                      <a:pt x="438" y="142"/>
                    </a:lnTo>
                    <a:lnTo>
                      <a:pt x="441" y="145"/>
                    </a:lnTo>
                    <a:lnTo>
                      <a:pt x="445" y="148"/>
                    </a:lnTo>
                    <a:lnTo>
                      <a:pt x="445" y="173"/>
                    </a:lnTo>
                    <a:lnTo>
                      <a:pt x="440" y="173"/>
                    </a:lnTo>
                    <a:lnTo>
                      <a:pt x="436" y="175"/>
                    </a:lnTo>
                    <a:lnTo>
                      <a:pt x="432" y="177"/>
                    </a:lnTo>
                    <a:lnTo>
                      <a:pt x="428" y="179"/>
                    </a:lnTo>
                    <a:lnTo>
                      <a:pt x="425" y="181"/>
                    </a:lnTo>
                    <a:lnTo>
                      <a:pt x="421" y="183"/>
                    </a:lnTo>
                    <a:lnTo>
                      <a:pt x="416" y="184"/>
                    </a:lnTo>
                    <a:lnTo>
                      <a:pt x="412" y="185"/>
                    </a:lnTo>
                    <a:lnTo>
                      <a:pt x="415" y="189"/>
                    </a:lnTo>
                    <a:lnTo>
                      <a:pt x="418" y="193"/>
                    </a:lnTo>
                    <a:lnTo>
                      <a:pt x="422" y="196"/>
                    </a:lnTo>
                    <a:lnTo>
                      <a:pt x="426" y="199"/>
                    </a:lnTo>
                    <a:lnTo>
                      <a:pt x="430" y="201"/>
                    </a:lnTo>
                    <a:lnTo>
                      <a:pt x="435" y="202"/>
                    </a:lnTo>
                    <a:lnTo>
                      <a:pt x="440" y="203"/>
                    </a:lnTo>
                    <a:lnTo>
                      <a:pt x="445" y="203"/>
                    </a:lnTo>
                    <a:lnTo>
                      <a:pt x="446" y="211"/>
                    </a:lnTo>
                    <a:lnTo>
                      <a:pt x="447" y="225"/>
                    </a:lnTo>
                    <a:lnTo>
                      <a:pt x="450" y="243"/>
                    </a:lnTo>
                    <a:lnTo>
                      <a:pt x="455" y="262"/>
                    </a:lnTo>
                    <a:lnTo>
                      <a:pt x="460" y="282"/>
                    </a:lnTo>
                    <a:lnTo>
                      <a:pt x="468" y="299"/>
                    </a:lnTo>
                    <a:lnTo>
                      <a:pt x="471" y="306"/>
                    </a:lnTo>
                    <a:lnTo>
                      <a:pt x="475" y="312"/>
                    </a:lnTo>
                    <a:lnTo>
                      <a:pt x="480" y="317"/>
                    </a:lnTo>
                    <a:lnTo>
                      <a:pt x="485" y="320"/>
                    </a:lnTo>
                    <a:lnTo>
                      <a:pt x="485" y="382"/>
                    </a:lnTo>
                    <a:lnTo>
                      <a:pt x="480" y="381"/>
                    </a:lnTo>
                    <a:lnTo>
                      <a:pt x="475" y="378"/>
                    </a:lnTo>
                    <a:lnTo>
                      <a:pt x="471" y="374"/>
                    </a:lnTo>
                    <a:lnTo>
                      <a:pt x="467" y="369"/>
                    </a:lnTo>
                    <a:lnTo>
                      <a:pt x="463" y="364"/>
                    </a:lnTo>
                    <a:lnTo>
                      <a:pt x="460" y="359"/>
                    </a:lnTo>
                    <a:lnTo>
                      <a:pt x="459" y="354"/>
                    </a:lnTo>
                    <a:lnTo>
                      <a:pt x="458" y="351"/>
                    </a:lnTo>
                    <a:lnTo>
                      <a:pt x="453" y="356"/>
                    </a:lnTo>
                    <a:lnTo>
                      <a:pt x="448" y="360"/>
                    </a:lnTo>
                    <a:lnTo>
                      <a:pt x="444" y="361"/>
                    </a:lnTo>
                    <a:lnTo>
                      <a:pt x="440" y="362"/>
                    </a:lnTo>
                    <a:lnTo>
                      <a:pt x="436" y="363"/>
                    </a:lnTo>
                    <a:lnTo>
                      <a:pt x="432" y="363"/>
                    </a:lnTo>
                    <a:lnTo>
                      <a:pt x="432" y="380"/>
                    </a:lnTo>
                    <a:lnTo>
                      <a:pt x="430" y="391"/>
                    </a:lnTo>
                    <a:lnTo>
                      <a:pt x="429" y="399"/>
                    </a:lnTo>
                    <a:lnTo>
                      <a:pt x="425" y="413"/>
                    </a:lnTo>
                    <a:lnTo>
                      <a:pt x="419" y="403"/>
                    </a:lnTo>
                    <a:lnTo>
                      <a:pt x="412" y="393"/>
                    </a:lnTo>
                    <a:lnTo>
                      <a:pt x="408" y="389"/>
                    </a:lnTo>
                    <a:lnTo>
                      <a:pt x="404" y="385"/>
                    </a:lnTo>
                    <a:lnTo>
                      <a:pt x="401" y="382"/>
                    </a:lnTo>
                    <a:lnTo>
                      <a:pt x="399" y="382"/>
                    </a:lnTo>
                    <a:lnTo>
                      <a:pt x="389" y="382"/>
                    </a:lnTo>
                    <a:lnTo>
                      <a:pt x="379" y="382"/>
                    </a:lnTo>
                    <a:lnTo>
                      <a:pt x="378" y="389"/>
                    </a:lnTo>
                    <a:lnTo>
                      <a:pt x="376" y="398"/>
                    </a:lnTo>
                    <a:lnTo>
                      <a:pt x="376" y="402"/>
                    </a:lnTo>
                    <a:lnTo>
                      <a:pt x="376" y="406"/>
                    </a:lnTo>
                    <a:lnTo>
                      <a:pt x="377" y="410"/>
                    </a:lnTo>
                    <a:lnTo>
                      <a:pt x="379" y="413"/>
                    </a:lnTo>
                    <a:lnTo>
                      <a:pt x="345" y="413"/>
                    </a:lnTo>
                    <a:lnTo>
                      <a:pt x="340" y="410"/>
                    </a:lnTo>
                    <a:lnTo>
                      <a:pt x="337" y="407"/>
                    </a:lnTo>
                    <a:lnTo>
                      <a:pt x="335" y="404"/>
                    </a:lnTo>
                    <a:lnTo>
                      <a:pt x="334" y="400"/>
                    </a:lnTo>
                    <a:lnTo>
                      <a:pt x="333" y="392"/>
                    </a:lnTo>
                    <a:lnTo>
                      <a:pt x="332" y="382"/>
                    </a:lnTo>
                    <a:lnTo>
                      <a:pt x="312" y="382"/>
                    </a:lnTo>
                    <a:lnTo>
                      <a:pt x="312" y="395"/>
                    </a:lnTo>
                    <a:lnTo>
                      <a:pt x="310" y="405"/>
                    </a:lnTo>
                    <a:lnTo>
                      <a:pt x="307" y="413"/>
                    </a:lnTo>
                    <a:lnTo>
                      <a:pt x="305" y="420"/>
                    </a:lnTo>
                    <a:lnTo>
                      <a:pt x="303" y="426"/>
                    </a:lnTo>
                    <a:lnTo>
                      <a:pt x="301" y="431"/>
                    </a:lnTo>
                    <a:lnTo>
                      <a:pt x="300" y="437"/>
                    </a:lnTo>
                    <a:lnTo>
                      <a:pt x="299" y="443"/>
                    </a:lnTo>
                    <a:lnTo>
                      <a:pt x="299" y="450"/>
                    </a:lnTo>
                    <a:lnTo>
                      <a:pt x="301" y="456"/>
                    </a:lnTo>
                    <a:lnTo>
                      <a:pt x="302" y="460"/>
                    </a:lnTo>
                    <a:lnTo>
                      <a:pt x="304" y="463"/>
                    </a:lnTo>
                    <a:lnTo>
                      <a:pt x="307" y="466"/>
                    </a:lnTo>
                    <a:lnTo>
                      <a:pt x="312" y="468"/>
                    </a:lnTo>
                    <a:lnTo>
                      <a:pt x="298" y="468"/>
                    </a:lnTo>
                    <a:lnTo>
                      <a:pt x="284" y="468"/>
                    </a:lnTo>
                    <a:lnTo>
                      <a:pt x="272" y="468"/>
                    </a:lnTo>
                    <a:lnTo>
                      <a:pt x="266" y="468"/>
                    </a:lnTo>
                    <a:lnTo>
                      <a:pt x="264" y="468"/>
                    </a:lnTo>
                    <a:lnTo>
                      <a:pt x="260" y="467"/>
                    </a:lnTo>
                    <a:lnTo>
                      <a:pt x="258" y="465"/>
                    </a:lnTo>
                    <a:lnTo>
                      <a:pt x="256" y="462"/>
                    </a:lnTo>
                    <a:lnTo>
                      <a:pt x="251" y="456"/>
                    </a:lnTo>
                    <a:lnTo>
                      <a:pt x="247" y="449"/>
                    </a:lnTo>
                    <a:lnTo>
                      <a:pt x="244" y="440"/>
                    </a:lnTo>
                    <a:lnTo>
                      <a:pt x="242" y="432"/>
                    </a:lnTo>
                    <a:lnTo>
                      <a:pt x="239" y="424"/>
                    </a:lnTo>
                    <a:lnTo>
                      <a:pt x="239" y="419"/>
                    </a:lnTo>
                    <a:lnTo>
                      <a:pt x="229" y="418"/>
                    </a:lnTo>
                    <a:lnTo>
                      <a:pt x="222" y="417"/>
                    </a:lnTo>
                    <a:lnTo>
                      <a:pt x="215" y="414"/>
                    </a:lnTo>
                    <a:lnTo>
                      <a:pt x="209" y="411"/>
                    </a:lnTo>
                    <a:lnTo>
                      <a:pt x="204" y="406"/>
                    </a:lnTo>
                    <a:lnTo>
                      <a:pt x="202" y="401"/>
                    </a:lnTo>
                    <a:lnTo>
                      <a:pt x="200" y="395"/>
                    </a:lnTo>
                    <a:lnTo>
                      <a:pt x="199" y="389"/>
                    </a:lnTo>
                    <a:lnTo>
                      <a:pt x="190" y="394"/>
                    </a:lnTo>
                    <a:lnTo>
                      <a:pt x="179" y="399"/>
                    </a:lnTo>
                    <a:lnTo>
                      <a:pt x="166" y="405"/>
                    </a:lnTo>
                    <a:lnTo>
                      <a:pt x="150" y="411"/>
                    </a:lnTo>
                    <a:lnTo>
                      <a:pt x="136" y="417"/>
                    </a:lnTo>
                    <a:lnTo>
                      <a:pt x="121" y="421"/>
                    </a:lnTo>
                    <a:lnTo>
                      <a:pt x="107" y="424"/>
                    </a:lnTo>
                    <a:lnTo>
                      <a:pt x="93" y="425"/>
                    </a:lnTo>
                    <a:lnTo>
                      <a:pt x="90" y="435"/>
                    </a:lnTo>
                    <a:lnTo>
                      <a:pt x="86" y="443"/>
                    </a:lnTo>
                    <a:lnTo>
                      <a:pt x="80" y="451"/>
                    </a:lnTo>
                    <a:lnTo>
                      <a:pt x="72" y="455"/>
                    </a:lnTo>
                    <a:lnTo>
                      <a:pt x="65" y="459"/>
                    </a:lnTo>
                    <a:lnTo>
                      <a:pt x="56" y="461"/>
                    </a:lnTo>
                    <a:lnTo>
                      <a:pt x="45" y="462"/>
                    </a:lnTo>
                    <a:lnTo>
                      <a:pt x="33" y="462"/>
                    </a:lnTo>
                    <a:lnTo>
                      <a:pt x="27" y="461"/>
                    </a:lnTo>
                    <a:lnTo>
                      <a:pt x="22" y="457"/>
                    </a:lnTo>
                    <a:lnTo>
                      <a:pt x="16" y="452"/>
                    </a:lnTo>
                    <a:lnTo>
                      <a:pt x="11" y="446"/>
                    </a:lnTo>
                    <a:lnTo>
                      <a:pt x="7" y="438"/>
                    </a:lnTo>
                    <a:lnTo>
                      <a:pt x="3" y="431"/>
                    </a:lnTo>
                    <a:lnTo>
                      <a:pt x="1" y="424"/>
                    </a:lnTo>
                    <a:lnTo>
                      <a:pt x="0" y="419"/>
                    </a:lnTo>
                    <a:lnTo>
                      <a:pt x="0" y="417"/>
                    </a:lnTo>
                    <a:lnTo>
                      <a:pt x="1" y="415"/>
                    </a:lnTo>
                    <a:lnTo>
                      <a:pt x="2" y="414"/>
                    </a:lnTo>
                    <a:lnTo>
                      <a:pt x="3" y="414"/>
                    </a:lnTo>
                    <a:lnTo>
                      <a:pt x="7" y="413"/>
                    </a:lnTo>
                    <a:lnTo>
                      <a:pt x="11" y="414"/>
                    </a:lnTo>
                    <a:lnTo>
                      <a:pt x="16" y="414"/>
                    </a:lnTo>
                    <a:lnTo>
                      <a:pt x="22" y="415"/>
                    </a:lnTo>
                    <a:lnTo>
                      <a:pt x="27" y="414"/>
                    </a:lnTo>
                    <a:lnTo>
                      <a:pt x="33" y="413"/>
                    </a:lnTo>
                    <a:lnTo>
                      <a:pt x="38" y="411"/>
                    </a:lnTo>
                    <a:lnTo>
                      <a:pt x="44" y="409"/>
                    </a:lnTo>
                    <a:lnTo>
                      <a:pt x="48" y="405"/>
                    </a:lnTo>
                    <a:lnTo>
                      <a:pt x="53" y="401"/>
                    </a:lnTo>
                    <a:lnTo>
                      <a:pt x="60" y="391"/>
                    </a:lnTo>
                    <a:lnTo>
                      <a:pt x="66" y="379"/>
                    </a:lnTo>
                    <a:lnTo>
                      <a:pt x="72" y="369"/>
                    </a:lnTo>
                    <a:lnTo>
                      <a:pt x="80" y="360"/>
                    </a:lnTo>
                    <a:lnTo>
                      <a:pt x="83" y="356"/>
                    </a:lnTo>
                    <a:lnTo>
                      <a:pt x="89" y="354"/>
                    </a:lnTo>
                    <a:lnTo>
                      <a:pt x="93" y="352"/>
                    </a:lnTo>
                    <a:lnTo>
                      <a:pt x="100" y="35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6" name="Freeform 486">
                <a:extLst>
                  <a:ext uri="{FF2B5EF4-FFF2-40B4-BE49-F238E27FC236}">
                    <a16:creationId xmlns:a16="http://schemas.microsoft.com/office/drawing/2014/main" id="{5DA17238-2278-4ECA-8252-89F714E7ED97}"/>
                  </a:ext>
                </a:extLst>
              </p:cNvPr>
              <p:cNvSpPr>
                <a:spLocks/>
              </p:cNvSpPr>
              <p:nvPr>
                <p:custDataLst>
                  <p:tags r:id="rId324"/>
                </p:custDataLst>
              </p:nvPr>
            </p:nvSpPr>
            <p:spPr bwMode="auto">
              <a:xfrm>
                <a:off x="4827746" y="1773451"/>
                <a:ext cx="130307" cy="68560"/>
              </a:xfrm>
              <a:custGeom>
                <a:avLst/>
                <a:gdLst>
                  <a:gd name="T0" fmla="*/ 5199153 w 246"/>
                  <a:gd name="T1" fmla="*/ 74267257 h 42"/>
                  <a:gd name="T2" fmla="*/ 6932496 w 246"/>
                  <a:gd name="T3" fmla="*/ 74267257 h 42"/>
                  <a:gd name="T4" fmla="*/ 8665401 w 246"/>
                  <a:gd name="T5" fmla="*/ 72204716 h 42"/>
                  <a:gd name="T6" fmla="*/ 10206102 w 246"/>
                  <a:gd name="T7" fmla="*/ 68078199 h 42"/>
                  <a:gd name="T8" fmla="*/ 11361079 w 246"/>
                  <a:gd name="T9" fmla="*/ 63953118 h 42"/>
                  <a:gd name="T10" fmla="*/ 12709138 w 246"/>
                  <a:gd name="T11" fmla="*/ 61889141 h 42"/>
                  <a:gd name="T12" fmla="*/ 13864554 w 246"/>
                  <a:gd name="T13" fmla="*/ 59826601 h 42"/>
                  <a:gd name="T14" fmla="*/ 15405255 w 246"/>
                  <a:gd name="T15" fmla="*/ 59826601 h 42"/>
                  <a:gd name="T16" fmla="*/ 16752875 w 246"/>
                  <a:gd name="T17" fmla="*/ 61889141 h 42"/>
                  <a:gd name="T18" fmla="*/ 16752875 w 246"/>
                  <a:gd name="T19" fmla="*/ 86645372 h 42"/>
                  <a:gd name="T20" fmla="*/ 29654655 w 246"/>
                  <a:gd name="T21" fmla="*/ 86645372 h 42"/>
                  <a:gd name="T22" fmla="*/ 29654655 w 246"/>
                  <a:gd name="T23" fmla="*/ 80456314 h 42"/>
                  <a:gd name="T24" fmla="*/ 30039940 w 246"/>
                  <a:gd name="T25" fmla="*/ 74267257 h 42"/>
                  <a:gd name="T26" fmla="*/ 30617867 w 246"/>
                  <a:gd name="T27" fmla="*/ 68078199 h 42"/>
                  <a:gd name="T28" fmla="*/ 31387998 w 246"/>
                  <a:gd name="T29" fmla="*/ 63953118 h 42"/>
                  <a:gd name="T30" fmla="*/ 33698830 w 246"/>
                  <a:gd name="T31" fmla="*/ 53637543 h 42"/>
                  <a:gd name="T32" fmla="*/ 36587151 w 246"/>
                  <a:gd name="T33" fmla="*/ 47448485 h 42"/>
                  <a:gd name="T34" fmla="*/ 42556435 w 246"/>
                  <a:gd name="T35" fmla="*/ 35070370 h 42"/>
                  <a:gd name="T36" fmla="*/ 47370742 w 246"/>
                  <a:gd name="T37" fmla="*/ 24756231 h 42"/>
                  <a:gd name="T38" fmla="*/ 40823530 w 246"/>
                  <a:gd name="T39" fmla="*/ 26818771 h 42"/>
                  <a:gd name="T40" fmla="*/ 35817020 w 246"/>
                  <a:gd name="T41" fmla="*/ 28881312 h 42"/>
                  <a:gd name="T42" fmla="*/ 34276319 w 246"/>
                  <a:gd name="T43" fmla="*/ 30945289 h 42"/>
                  <a:gd name="T44" fmla="*/ 32928261 w 246"/>
                  <a:gd name="T45" fmla="*/ 30945289 h 42"/>
                  <a:gd name="T46" fmla="*/ 32350772 w 246"/>
                  <a:gd name="T47" fmla="*/ 28881312 h 42"/>
                  <a:gd name="T48" fmla="*/ 32158129 w 246"/>
                  <a:gd name="T49" fmla="*/ 24756231 h 42"/>
                  <a:gd name="T50" fmla="*/ 30617867 w 246"/>
                  <a:gd name="T51" fmla="*/ 33007829 h 42"/>
                  <a:gd name="T52" fmla="*/ 29269809 w 246"/>
                  <a:gd name="T53" fmla="*/ 35070370 h 42"/>
                  <a:gd name="T54" fmla="*/ 28307035 w 246"/>
                  <a:gd name="T55" fmla="*/ 35070370 h 42"/>
                  <a:gd name="T56" fmla="*/ 27151619 w 246"/>
                  <a:gd name="T57" fmla="*/ 30945289 h 42"/>
                  <a:gd name="T58" fmla="*/ 26381049 w 246"/>
                  <a:gd name="T59" fmla="*/ 24756231 h 42"/>
                  <a:gd name="T60" fmla="*/ 25610918 w 246"/>
                  <a:gd name="T61" fmla="*/ 18567173 h 42"/>
                  <a:gd name="T62" fmla="*/ 24840787 w 246"/>
                  <a:gd name="T63" fmla="*/ 10315575 h 42"/>
                  <a:gd name="T64" fmla="*/ 24262860 w 246"/>
                  <a:gd name="T65" fmla="*/ 0 h 42"/>
                  <a:gd name="T66" fmla="*/ 23300086 w 246"/>
                  <a:gd name="T67" fmla="*/ 4126517 h 42"/>
                  <a:gd name="T68" fmla="*/ 21759824 w 246"/>
                  <a:gd name="T69" fmla="*/ 8251598 h 42"/>
                  <a:gd name="T70" fmla="*/ 19834277 w 246"/>
                  <a:gd name="T71" fmla="*/ 10315575 h 42"/>
                  <a:gd name="T72" fmla="*/ 17908291 w 246"/>
                  <a:gd name="T73" fmla="*/ 10315575 h 42"/>
                  <a:gd name="T74" fmla="*/ 14249839 w 246"/>
                  <a:gd name="T75" fmla="*/ 12378115 h 42"/>
                  <a:gd name="T76" fmla="*/ 11553722 w 246"/>
                  <a:gd name="T77" fmla="*/ 12378115 h 42"/>
                  <a:gd name="T78" fmla="*/ 11168876 w 246"/>
                  <a:gd name="T79" fmla="*/ 18567173 h 42"/>
                  <a:gd name="T80" fmla="*/ 10783591 w 246"/>
                  <a:gd name="T81" fmla="*/ 24756231 h 42"/>
                  <a:gd name="T82" fmla="*/ 10398306 w 246"/>
                  <a:gd name="T83" fmla="*/ 30945289 h 42"/>
                  <a:gd name="T84" fmla="*/ 9628175 w 246"/>
                  <a:gd name="T85" fmla="*/ 35070370 h 42"/>
                  <a:gd name="T86" fmla="*/ 8087474 w 246"/>
                  <a:gd name="T87" fmla="*/ 41259427 h 42"/>
                  <a:gd name="T88" fmla="*/ 6354569 w 246"/>
                  <a:gd name="T89" fmla="*/ 45385945 h 42"/>
                  <a:gd name="T90" fmla="*/ 2695678 w 246"/>
                  <a:gd name="T91" fmla="*/ 49511026 h 42"/>
                  <a:gd name="T92" fmla="*/ 0 w 246"/>
                  <a:gd name="T93" fmla="*/ 49511026 h 42"/>
                  <a:gd name="T94" fmla="*/ 192642 w 246"/>
                  <a:gd name="T95" fmla="*/ 55700083 h 42"/>
                  <a:gd name="T96" fmla="*/ 577489 w 246"/>
                  <a:gd name="T97" fmla="*/ 59826601 h 42"/>
                  <a:gd name="T98" fmla="*/ 962774 w 246"/>
                  <a:gd name="T99" fmla="*/ 63953118 h 42"/>
                  <a:gd name="T100" fmla="*/ 1732905 w 246"/>
                  <a:gd name="T101" fmla="*/ 68078199 h 42"/>
                  <a:gd name="T102" fmla="*/ 3273606 w 246"/>
                  <a:gd name="T103" fmla="*/ 72204716 h 42"/>
                  <a:gd name="T104" fmla="*/ 5199153 w 246"/>
                  <a:gd name="T105" fmla="*/ 74267257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7" name="Freeform 487">
                <a:extLst>
                  <a:ext uri="{FF2B5EF4-FFF2-40B4-BE49-F238E27FC236}">
                    <a16:creationId xmlns:a16="http://schemas.microsoft.com/office/drawing/2014/main" id="{A7D55E8D-013B-4C5E-8AA6-CE151D7C3C56}"/>
                  </a:ext>
                </a:extLst>
              </p:cNvPr>
              <p:cNvSpPr>
                <a:spLocks/>
              </p:cNvSpPr>
              <p:nvPr>
                <p:custDataLst>
                  <p:tags r:id="rId325"/>
                </p:custDataLst>
              </p:nvPr>
            </p:nvSpPr>
            <p:spPr bwMode="auto">
              <a:xfrm>
                <a:off x="4999680" y="1754113"/>
                <a:ext cx="76013" cy="65046"/>
              </a:xfrm>
              <a:custGeom>
                <a:avLst/>
                <a:gdLst>
                  <a:gd name="T0" fmla="*/ 18707356 w 149"/>
                  <a:gd name="T1" fmla="*/ 0 h 61"/>
                  <a:gd name="T2" fmla="*/ 21431889 w 149"/>
                  <a:gd name="T3" fmla="*/ 877861 h 61"/>
                  <a:gd name="T4" fmla="*/ 24337547 w 149"/>
                  <a:gd name="T5" fmla="*/ 2633584 h 61"/>
                  <a:gd name="T6" fmla="*/ 26335453 w 149"/>
                  <a:gd name="T7" fmla="*/ 4388370 h 61"/>
                  <a:gd name="T8" fmla="*/ 27062081 w 149"/>
                  <a:gd name="T9" fmla="*/ 5266232 h 61"/>
                  <a:gd name="T10" fmla="*/ 27062081 w 149"/>
                  <a:gd name="T11" fmla="*/ 7021955 h 61"/>
                  <a:gd name="T12" fmla="*/ 26698980 w 149"/>
                  <a:gd name="T13" fmla="*/ 8777678 h 61"/>
                  <a:gd name="T14" fmla="*/ 26335453 w 149"/>
                  <a:gd name="T15" fmla="*/ 10533401 h 61"/>
                  <a:gd name="T16" fmla="*/ 25609252 w 149"/>
                  <a:gd name="T17" fmla="*/ 11411262 h 61"/>
                  <a:gd name="T18" fmla="*/ 24882624 w 149"/>
                  <a:gd name="T19" fmla="*/ 12288187 h 61"/>
                  <a:gd name="T20" fmla="*/ 23974446 w 149"/>
                  <a:gd name="T21" fmla="*/ 12288187 h 61"/>
                  <a:gd name="T22" fmla="*/ 23066268 w 149"/>
                  <a:gd name="T23" fmla="*/ 12288187 h 61"/>
                  <a:gd name="T24" fmla="*/ 22339641 w 149"/>
                  <a:gd name="T25" fmla="*/ 10533401 h 61"/>
                  <a:gd name="T26" fmla="*/ 22339641 w 149"/>
                  <a:gd name="T27" fmla="*/ 20188003 h 61"/>
                  <a:gd name="T28" fmla="*/ 22339641 w 149"/>
                  <a:gd name="T29" fmla="*/ 28965681 h 61"/>
                  <a:gd name="T30" fmla="*/ 22339641 w 149"/>
                  <a:gd name="T31" fmla="*/ 35987636 h 61"/>
                  <a:gd name="T32" fmla="*/ 22339641 w 149"/>
                  <a:gd name="T33" fmla="*/ 43009591 h 61"/>
                  <a:gd name="T34" fmla="*/ 21068362 w 149"/>
                  <a:gd name="T35" fmla="*/ 43887452 h 61"/>
                  <a:gd name="T36" fmla="*/ 19797084 w 149"/>
                  <a:gd name="T37" fmla="*/ 44765314 h 61"/>
                  <a:gd name="T38" fmla="*/ 18888906 w 149"/>
                  <a:gd name="T39" fmla="*/ 46521037 h 61"/>
                  <a:gd name="T40" fmla="*/ 18162279 w 149"/>
                  <a:gd name="T41" fmla="*/ 48276760 h 61"/>
                  <a:gd name="T42" fmla="*/ 17072550 w 149"/>
                  <a:gd name="T43" fmla="*/ 50031546 h 61"/>
                  <a:gd name="T44" fmla="*/ 16164799 w 149"/>
                  <a:gd name="T45" fmla="*/ 51787269 h 61"/>
                  <a:gd name="T46" fmla="*/ 15074644 w 149"/>
                  <a:gd name="T47" fmla="*/ 53542992 h 61"/>
                  <a:gd name="T48" fmla="*/ 13803366 w 149"/>
                  <a:gd name="T49" fmla="*/ 53542992 h 61"/>
                  <a:gd name="T50" fmla="*/ 12168987 w 149"/>
                  <a:gd name="T51" fmla="*/ 52665130 h 61"/>
                  <a:gd name="T52" fmla="*/ 9626003 w 149"/>
                  <a:gd name="T53" fmla="*/ 50031546 h 61"/>
                  <a:gd name="T54" fmla="*/ 7083446 w 149"/>
                  <a:gd name="T55" fmla="*/ 47398898 h 61"/>
                  <a:gd name="T56" fmla="*/ 4540463 w 149"/>
                  <a:gd name="T57" fmla="*/ 43009591 h 61"/>
                  <a:gd name="T58" fmla="*/ 2179456 w 149"/>
                  <a:gd name="T59" fmla="*/ 39499082 h 61"/>
                  <a:gd name="T60" fmla="*/ 545077 w 149"/>
                  <a:gd name="T61" fmla="*/ 35987636 h 61"/>
                  <a:gd name="T62" fmla="*/ 181550 w 149"/>
                  <a:gd name="T63" fmla="*/ 34232850 h 61"/>
                  <a:gd name="T64" fmla="*/ 0 w 149"/>
                  <a:gd name="T65" fmla="*/ 33354989 h 61"/>
                  <a:gd name="T66" fmla="*/ 0 w 149"/>
                  <a:gd name="T67" fmla="*/ 32477127 h 61"/>
                  <a:gd name="T68" fmla="*/ 545077 w 149"/>
                  <a:gd name="T69" fmla="*/ 32477127 h 61"/>
                  <a:gd name="T70" fmla="*/ 3450735 w 149"/>
                  <a:gd name="T71" fmla="*/ 31599266 h 61"/>
                  <a:gd name="T72" fmla="*/ 6356819 w 149"/>
                  <a:gd name="T73" fmla="*/ 30721404 h 61"/>
                  <a:gd name="T74" fmla="*/ 8717826 w 149"/>
                  <a:gd name="T75" fmla="*/ 28087820 h 61"/>
                  <a:gd name="T76" fmla="*/ 10897282 w 149"/>
                  <a:gd name="T77" fmla="*/ 23699449 h 61"/>
                  <a:gd name="T78" fmla="*/ 13077164 w 149"/>
                  <a:gd name="T79" fmla="*/ 19310142 h 61"/>
                  <a:gd name="T80" fmla="*/ 14893094 w 149"/>
                  <a:gd name="T81" fmla="*/ 14043910 h 61"/>
                  <a:gd name="T82" fmla="*/ 16891000 w 149"/>
                  <a:gd name="T83" fmla="*/ 7021955 h 61"/>
                  <a:gd name="T84" fmla="*/ 18707356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8" name="Freeform 488">
                <a:extLst>
                  <a:ext uri="{FF2B5EF4-FFF2-40B4-BE49-F238E27FC236}">
                    <a16:creationId xmlns:a16="http://schemas.microsoft.com/office/drawing/2014/main" id="{2158C494-022A-442F-AA81-6027718A721B}"/>
                  </a:ext>
                </a:extLst>
              </p:cNvPr>
              <p:cNvSpPr>
                <a:spLocks/>
              </p:cNvSpPr>
              <p:nvPr>
                <p:custDataLst>
                  <p:tags r:id="rId326"/>
                </p:custDataLst>
              </p:nvPr>
            </p:nvSpPr>
            <p:spPr bwMode="auto">
              <a:xfrm>
                <a:off x="5043116" y="1762904"/>
                <a:ext cx="157454" cy="65044"/>
              </a:xfrm>
              <a:custGeom>
                <a:avLst/>
                <a:gdLst>
                  <a:gd name="T0" fmla="*/ 25209542 w 299"/>
                  <a:gd name="T1" fmla="*/ 42943591 h 74"/>
                  <a:gd name="T2" fmla="*/ 29190111 w 299"/>
                  <a:gd name="T3" fmla="*/ 38768552 h 74"/>
                  <a:gd name="T4" fmla="*/ 33738835 w 299"/>
                  <a:gd name="T5" fmla="*/ 32207886 h 74"/>
                  <a:gd name="T6" fmla="*/ 37719404 w 299"/>
                  <a:gd name="T7" fmla="*/ 25050235 h 74"/>
                  <a:gd name="T8" fmla="*/ 39235790 w 299"/>
                  <a:gd name="T9" fmla="*/ 23857808 h 74"/>
                  <a:gd name="T10" fmla="*/ 39994201 w 299"/>
                  <a:gd name="T11" fmla="*/ 27436634 h 74"/>
                  <a:gd name="T12" fmla="*/ 41699972 w 299"/>
                  <a:gd name="T13" fmla="*/ 30418474 h 74"/>
                  <a:gd name="T14" fmla="*/ 46059311 w 299"/>
                  <a:gd name="T15" fmla="*/ 32804100 h 74"/>
                  <a:gd name="T16" fmla="*/ 50987675 w 299"/>
                  <a:gd name="T17" fmla="*/ 32804100 h 74"/>
                  <a:gd name="T18" fmla="*/ 54209833 w 299"/>
                  <a:gd name="T19" fmla="*/ 32804100 h 74"/>
                  <a:gd name="T20" fmla="*/ 55536835 w 299"/>
                  <a:gd name="T21" fmla="*/ 27436634 h 74"/>
                  <a:gd name="T22" fmla="*/ 56484630 w 299"/>
                  <a:gd name="T23" fmla="*/ 18489570 h 74"/>
                  <a:gd name="T24" fmla="*/ 52883267 w 299"/>
                  <a:gd name="T25" fmla="*/ 14910744 h 74"/>
                  <a:gd name="T26" fmla="*/ 46249131 w 299"/>
                  <a:gd name="T27" fmla="*/ 14910744 h 74"/>
                  <a:gd name="T28" fmla="*/ 42647768 w 299"/>
                  <a:gd name="T29" fmla="*/ 14910744 h 74"/>
                  <a:gd name="T30" fmla="*/ 40562791 w 299"/>
                  <a:gd name="T31" fmla="*/ 16103943 h 74"/>
                  <a:gd name="T32" fmla="*/ 38667199 w 299"/>
                  <a:gd name="T33" fmla="*/ 19682769 h 74"/>
                  <a:gd name="T34" fmla="*/ 32601654 w 299"/>
                  <a:gd name="T35" fmla="*/ 22068395 h 74"/>
                  <a:gd name="T36" fmla="*/ 33360065 w 299"/>
                  <a:gd name="T37" fmla="*/ 16700157 h 74"/>
                  <a:gd name="T38" fmla="*/ 34118040 w 299"/>
                  <a:gd name="T39" fmla="*/ 12525118 h 74"/>
                  <a:gd name="T40" fmla="*/ 36771608 w 299"/>
                  <a:gd name="T41" fmla="*/ 7753865 h 74"/>
                  <a:gd name="T42" fmla="*/ 39804380 w 299"/>
                  <a:gd name="T43" fmla="*/ 5368239 h 74"/>
                  <a:gd name="T44" fmla="*/ 42647768 w 299"/>
                  <a:gd name="T45" fmla="*/ 0 h 74"/>
                  <a:gd name="T46" fmla="*/ 35065836 w 299"/>
                  <a:gd name="T47" fmla="*/ 1789413 h 74"/>
                  <a:gd name="T48" fmla="*/ 29758702 w 299"/>
                  <a:gd name="T49" fmla="*/ 6560666 h 74"/>
                  <a:gd name="T50" fmla="*/ 25398928 w 299"/>
                  <a:gd name="T51" fmla="*/ 14910744 h 74"/>
                  <a:gd name="T52" fmla="*/ 21608179 w 299"/>
                  <a:gd name="T53" fmla="*/ 23857808 h 74"/>
                  <a:gd name="T54" fmla="*/ 18954612 w 299"/>
                  <a:gd name="T55" fmla="*/ 31611673 h 74"/>
                  <a:gd name="T56" fmla="*/ 16490430 w 299"/>
                  <a:gd name="T57" fmla="*/ 35190499 h 74"/>
                  <a:gd name="T58" fmla="*/ 12131091 w 299"/>
                  <a:gd name="T59" fmla="*/ 37576125 h 74"/>
                  <a:gd name="T60" fmla="*/ 6065545 w 299"/>
                  <a:gd name="T61" fmla="*/ 38172339 h 74"/>
                  <a:gd name="T62" fmla="*/ 2274362 w 299"/>
                  <a:gd name="T63" fmla="*/ 39961751 h 74"/>
                  <a:gd name="T64" fmla="*/ 379205 w 299"/>
                  <a:gd name="T65" fmla="*/ 41751164 h 74"/>
                  <a:gd name="T66" fmla="*/ 7392111 w 299"/>
                  <a:gd name="T67" fmla="*/ 44136791 h 74"/>
                  <a:gd name="T68" fmla="*/ 19333817 w 299"/>
                  <a:gd name="T69" fmla="*/ 44136791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89" name="Freeform 489">
                <a:extLst>
                  <a:ext uri="{FF2B5EF4-FFF2-40B4-BE49-F238E27FC236}">
                    <a16:creationId xmlns:a16="http://schemas.microsoft.com/office/drawing/2014/main" id="{F3D78CB0-1674-42B6-98DF-DBB871774137}"/>
                  </a:ext>
                </a:extLst>
              </p:cNvPr>
              <p:cNvSpPr>
                <a:spLocks/>
              </p:cNvSpPr>
              <p:nvPr>
                <p:custDataLst>
                  <p:tags r:id="rId327"/>
                </p:custDataLst>
              </p:nvPr>
            </p:nvSpPr>
            <p:spPr bwMode="auto">
              <a:xfrm>
                <a:off x="5687414" y="1972102"/>
                <a:ext cx="48865" cy="65046"/>
              </a:xfrm>
              <a:custGeom>
                <a:avLst/>
                <a:gdLst>
                  <a:gd name="T0" fmla="*/ 15843822 w 100"/>
                  <a:gd name="T1" fmla="*/ 0 h 42"/>
                  <a:gd name="T2" fmla="*/ 16525272 w 100"/>
                  <a:gd name="T3" fmla="*/ 12960804 h 42"/>
                  <a:gd name="T4" fmla="*/ 17036256 w 100"/>
                  <a:gd name="T5" fmla="*/ 33327975 h 42"/>
                  <a:gd name="T6" fmla="*/ 15673356 w 100"/>
                  <a:gd name="T7" fmla="*/ 44436846 h 42"/>
                  <a:gd name="T8" fmla="*/ 14651387 w 100"/>
                  <a:gd name="T9" fmla="*/ 53695146 h 42"/>
                  <a:gd name="T10" fmla="*/ 13458539 w 100"/>
                  <a:gd name="T11" fmla="*/ 62952086 h 42"/>
                  <a:gd name="T12" fmla="*/ 12266105 w 100"/>
                  <a:gd name="T13" fmla="*/ 68506521 h 42"/>
                  <a:gd name="T14" fmla="*/ 11073670 w 100"/>
                  <a:gd name="T15" fmla="*/ 72210386 h 42"/>
                  <a:gd name="T16" fmla="*/ 9710769 w 100"/>
                  <a:gd name="T17" fmla="*/ 75912889 h 42"/>
                  <a:gd name="T18" fmla="*/ 8347869 w 100"/>
                  <a:gd name="T19" fmla="*/ 77764821 h 42"/>
                  <a:gd name="T20" fmla="*/ 6814503 w 100"/>
                  <a:gd name="T21" fmla="*/ 77764821 h 42"/>
                  <a:gd name="T22" fmla="*/ 4599686 w 100"/>
                  <a:gd name="T23" fmla="*/ 75912889 h 42"/>
                  <a:gd name="T24" fmla="*/ 2044351 w 100"/>
                  <a:gd name="T25" fmla="*/ 72210386 h 42"/>
                  <a:gd name="T26" fmla="*/ 170466 w 100"/>
                  <a:gd name="T27" fmla="*/ 68506521 h 42"/>
                  <a:gd name="T28" fmla="*/ 0 w 100"/>
                  <a:gd name="T29" fmla="*/ 66655950 h 42"/>
                  <a:gd name="T30" fmla="*/ 1022382 w 100"/>
                  <a:gd name="T31" fmla="*/ 66655950 h 42"/>
                  <a:gd name="T32" fmla="*/ 2044351 w 100"/>
                  <a:gd name="T33" fmla="*/ 64804018 h 42"/>
                  <a:gd name="T34" fmla="*/ 3066733 w 100"/>
                  <a:gd name="T35" fmla="*/ 61101514 h 42"/>
                  <a:gd name="T36" fmla="*/ 3918236 w 100"/>
                  <a:gd name="T37" fmla="*/ 55545718 h 42"/>
                  <a:gd name="T38" fmla="*/ 5622068 w 100"/>
                  <a:gd name="T39" fmla="*/ 46288779 h 42"/>
                  <a:gd name="T40" fmla="*/ 7495953 w 100"/>
                  <a:gd name="T41" fmla="*/ 33327975 h 42"/>
                  <a:gd name="T42" fmla="*/ 9369838 w 100"/>
                  <a:gd name="T43" fmla="*/ 20367171 h 42"/>
                  <a:gd name="T44" fmla="*/ 11244136 w 100"/>
                  <a:gd name="T45" fmla="*/ 9258300 h 42"/>
                  <a:gd name="T46" fmla="*/ 12266105 w 100"/>
                  <a:gd name="T47" fmla="*/ 5554436 h 42"/>
                  <a:gd name="T48" fmla="*/ 13458539 w 100"/>
                  <a:gd name="T49" fmla="*/ 1851932 h 42"/>
                  <a:gd name="T50" fmla="*/ 14651387 w 100"/>
                  <a:gd name="T51" fmla="*/ 0 h 42"/>
                  <a:gd name="T52" fmla="*/ 15843822 w 100"/>
                  <a:gd name="T53" fmla="*/ 0 h 4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100" h="42">
                    <a:moveTo>
                      <a:pt x="93" y="0"/>
                    </a:moveTo>
                    <a:lnTo>
                      <a:pt x="97" y="7"/>
                    </a:lnTo>
                    <a:lnTo>
                      <a:pt x="100" y="18"/>
                    </a:lnTo>
                    <a:lnTo>
                      <a:pt x="92" y="24"/>
                    </a:lnTo>
                    <a:lnTo>
                      <a:pt x="86" y="29"/>
                    </a:lnTo>
                    <a:lnTo>
                      <a:pt x="79" y="34"/>
                    </a:lnTo>
                    <a:lnTo>
                      <a:pt x="72" y="37"/>
                    </a:lnTo>
                    <a:lnTo>
                      <a:pt x="65" y="39"/>
                    </a:lnTo>
                    <a:lnTo>
                      <a:pt x="57" y="41"/>
                    </a:lnTo>
                    <a:lnTo>
                      <a:pt x="49" y="42"/>
                    </a:lnTo>
                    <a:lnTo>
                      <a:pt x="40" y="42"/>
                    </a:lnTo>
                    <a:lnTo>
                      <a:pt x="27" y="41"/>
                    </a:lnTo>
                    <a:lnTo>
                      <a:pt x="12" y="39"/>
                    </a:lnTo>
                    <a:lnTo>
                      <a:pt x="1" y="37"/>
                    </a:lnTo>
                    <a:lnTo>
                      <a:pt x="0" y="36"/>
                    </a:lnTo>
                    <a:lnTo>
                      <a:pt x="6" y="36"/>
                    </a:lnTo>
                    <a:lnTo>
                      <a:pt x="12" y="35"/>
                    </a:lnTo>
                    <a:lnTo>
                      <a:pt x="18" y="33"/>
                    </a:lnTo>
                    <a:lnTo>
                      <a:pt x="23" y="30"/>
                    </a:lnTo>
                    <a:lnTo>
                      <a:pt x="33" y="25"/>
                    </a:lnTo>
                    <a:lnTo>
                      <a:pt x="44" y="18"/>
                    </a:lnTo>
                    <a:lnTo>
                      <a:pt x="55" y="11"/>
                    </a:lnTo>
                    <a:lnTo>
                      <a:pt x="66" y="5"/>
                    </a:lnTo>
                    <a:lnTo>
                      <a:pt x="72" y="3"/>
                    </a:lnTo>
                    <a:lnTo>
                      <a:pt x="79" y="1"/>
                    </a:lnTo>
                    <a:lnTo>
                      <a:pt x="86" y="0"/>
                    </a:lnTo>
                    <a:lnTo>
                      <a:pt x="9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0" name="Freeform 490">
                <a:extLst>
                  <a:ext uri="{FF2B5EF4-FFF2-40B4-BE49-F238E27FC236}">
                    <a16:creationId xmlns:a16="http://schemas.microsoft.com/office/drawing/2014/main" id="{F00DD117-BB97-4E75-96AD-B28508D29B0A}"/>
                  </a:ext>
                </a:extLst>
              </p:cNvPr>
              <p:cNvSpPr>
                <a:spLocks/>
              </p:cNvSpPr>
              <p:nvPr>
                <p:custDataLst>
                  <p:tags r:id="rId328"/>
                </p:custDataLst>
              </p:nvPr>
            </p:nvSpPr>
            <p:spPr bwMode="auto">
              <a:xfrm>
                <a:off x="5577014" y="1813884"/>
                <a:ext cx="19909" cy="65046"/>
              </a:xfrm>
              <a:custGeom>
                <a:avLst/>
                <a:gdLst>
                  <a:gd name="T0" fmla="*/ 6300391 w 40"/>
                  <a:gd name="T1" fmla="*/ 690030529 h 5"/>
                  <a:gd name="T2" fmla="*/ 0 w 40"/>
                  <a:gd name="T3" fmla="*/ 690030529 h 5"/>
                  <a:gd name="T4" fmla="*/ 787400 w 40"/>
                  <a:gd name="T5" fmla="*/ 414020667 h 5"/>
                  <a:gd name="T6" fmla="*/ 1417638 w 40"/>
                  <a:gd name="T7" fmla="*/ 138010805 h 5"/>
                  <a:gd name="T8" fmla="*/ 2362597 w 40"/>
                  <a:gd name="T9" fmla="*/ 0 h 5"/>
                  <a:gd name="T10" fmla="*/ 3150394 w 40"/>
                  <a:gd name="T11" fmla="*/ 0 h 5"/>
                  <a:gd name="T12" fmla="*/ 3937794 w 40"/>
                  <a:gd name="T13" fmla="*/ 0 h 5"/>
                  <a:gd name="T14" fmla="*/ 4725194 w 40"/>
                  <a:gd name="T15" fmla="*/ 138010805 h 5"/>
                  <a:gd name="T16" fmla="*/ 5512991 w 40"/>
                  <a:gd name="T17" fmla="*/ 414020667 h 5"/>
                  <a:gd name="T18" fmla="*/ 6300391 w 40"/>
                  <a:gd name="T19" fmla="*/ 690030529 h 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0" h="5">
                    <a:moveTo>
                      <a:pt x="40" y="5"/>
                    </a:moveTo>
                    <a:lnTo>
                      <a:pt x="0" y="5"/>
                    </a:lnTo>
                    <a:lnTo>
                      <a:pt x="5" y="3"/>
                    </a:lnTo>
                    <a:lnTo>
                      <a:pt x="9" y="1"/>
                    </a:lnTo>
                    <a:lnTo>
                      <a:pt x="15" y="0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30" y="1"/>
                    </a:lnTo>
                    <a:lnTo>
                      <a:pt x="35" y="3"/>
                    </a:lnTo>
                    <a:lnTo>
                      <a:pt x="40" y="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1" name="Freeform 491">
                <a:extLst>
                  <a:ext uri="{FF2B5EF4-FFF2-40B4-BE49-F238E27FC236}">
                    <a16:creationId xmlns:a16="http://schemas.microsoft.com/office/drawing/2014/main" id="{5CEF9DC4-18DE-4A9A-8A98-10FF20B7C2D3}"/>
                  </a:ext>
                </a:extLst>
              </p:cNvPr>
              <p:cNvSpPr>
                <a:spLocks/>
              </p:cNvSpPr>
              <p:nvPr>
                <p:custDataLst>
                  <p:tags r:id="rId329"/>
                </p:custDataLst>
              </p:nvPr>
            </p:nvSpPr>
            <p:spPr bwMode="auto">
              <a:xfrm>
                <a:off x="5604162" y="1766420"/>
                <a:ext cx="18098" cy="68560"/>
              </a:xfrm>
              <a:custGeom>
                <a:avLst/>
                <a:gdLst>
                  <a:gd name="T0" fmla="*/ 0 w 33"/>
                  <a:gd name="T1" fmla="*/ 71948265 h 31"/>
                  <a:gd name="T2" fmla="*/ 3748822 w 33"/>
                  <a:gd name="T3" fmla="*/ 0 h 31"/>
                  <a:gd name="T4" fmla="*/ 3748822 w 33"/>
                  <a:gd name="T5" fmla="*/ 15147413 h 31"/>
                  <a:gd name="T6" fmla="*/ 4123748 w 33"/>
                  <a:gd name="T7" fmla="*/ 37868532 h 31"/>
                  <a:gd name="T8" fmla="*/ 4685703 w 33"/>
                  <a:gd name="T9" fmla="*/ 53015945 h 31"/>
                  <a:gd name="T10" fmla="*/ 5060629 w 33"/>
                  <a:gd name="T11" fmla="*/ 68161412 h 31"/>
                  <a:gd name="T12" fmla="*/ 5810480 w 33"/>
                  <a:gd name="T13" fmla="*/ 98456238 h 31"/>
                  <a:gd name="T14" fmla="*/ 6185405 w 33"/>
                  <a:gd name="T15" fmla="*/ 117390504 h 31"/>
                  <a:gd name="T16" fmla="*/ 0 w 33"/>
                  <a:gd name="T17" fmla="*/ 117390504 h 31"/>
                  <a:gd name="T18" fmla="*/ 0 w 33"/>
                  <a:gd name="T19" fmla="*/ 94669385 h 31"/>
                  <a:gd name="T20" fmla="*/ 0 w 33"/>
                  <a:gd name="T21" fmla="*/ 71948265 h 3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33" h="31">
                    <a:moveTo>
                      <a:pt x="0" y="19"/>
                    </a:moveTo>
                    <a:lnTo>
                      <a:pt x="20" y="0"/>
                    </a:lnTo>
                    <a:lnTo>
                      <a:pt x="20" y="4"/>
                    </a:lnTo>
                    <a:lnTo>
                      <a:pt x="22" y="10"/>
                    </a:lnTo>
                    <a:lnTo>
                      <a:pt x="25" y="14"/>
                    </a:lnTo>
                    <a:lnTo>
                      <a:pt x="27" y="18"/>
                    </a:lnTo>
                    <a:lnTo>
                      <a:pt x="31" y="26"/>
                    </a:lnTo>
                    <a:lnTo>
                      <a:pt x="33" y="31"/>
                    </a:lnTo>
                    <a:lnTo>
                      <a:pt x="0" y="31"/>
                    </a:lnTo>
                    <a:lnTo>
                      <a:pt x="0" y="25"/>
                    </a:lnTo>
                    <a:lnTo>
                      <a:pt x="0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2" name="Freeform 492">
                <a:extLst>
                  <a:ext uri="{FF2B5EF4-FFF2-40B4-BE49-F238E27FC236}">
                    <a16:creationId xmlns:a16="http://schemas.microsoft.com/office/drawing/2014/main" id="{E81D5D3D-6400-4BEE-8E0D-DF0797A6716E}"/>
                  </a:ext>
                </a:extLst>
              </p:cNvPr>
              <p:cNvSpPr>
                <a:spLocks/>
              </p:cNvSpPr>
              <p:nvPr>
                <p:custDataLst>
                  <p:tags r:id="rId330"/>
                </p:custDataLst>
              </p:nvPr>
            </p:nvSpPr>
            <p:spPr bwMode="auto">
              <a:xfrm>
                <a:off x="5777905" y="1896509"/>
                <a:ext cx="21718" cy="65044"/>
              </a:xfrm>
              <a:custGeom>
                <a:avLst/>
                <a:gdLst>
                  <a:gd name="T0" fmla="*/ 7437960 w 41"/>
                  <a:gd name="T1" fmla="*/ 0 h 43"/>
                  <a:gd name="T2" fmla="*/ 7437960 w 41"/>
                  <a:gd name="T3" fmla="*/ 75956337 h 43"/>
                  <a:gd name="T4" fmla="*/ 5623938 w 41"/>
                  <a:gd name="T5" fmla="*/ 74190003 h 43"/>
                  <a:gd name="T6" fmla="*/ 4353824 w 41"/>
                  <a:gd name="T7" fmla="*/ 70657336 h 43"/>
                  <a:gd name="T8" fmla="*/ 3265581 w 41"/>
                  <a:gd name="T9" fmla="*/ 65358335 h 43"/>
                  <a:gd name="T10" fmla="*/ 2358357 w 41"/>
                  <a:gd name="T11" fmla="*/ 58291671 h 43"/>
                  <a:gd name="T12" fmla="*/ 907224 w 41"/>
                  <a:gd name="T13" fmla="*/ 44161001 h 43"/>
                  <a:gd name="T14" fmla="*/ 0 w 41"/>
                  <a:gd name="T15" fmla="*/ 33561670 h 43"/>
                  <a:gd name="T16" fmla="*/ 2176912 w 41"/>
                  <a:gd name="T17" fmla="*/ 22963667 h 43"/>
                  <a:gd name="T18" fmla="*/ 4535269 w 41"/>
                  <a:gd name="T19" fmla="*/ 12364336 h 43"/>
                  <a:gd name="T20" fmla="*/ 6530736 w 41"/>
                  <a:gd name="T21" fmla="*/ 3532667 h 43"/>
                  <a:gd name="T22" fmla="*/ 7437960 w 41"/>
                  <a:gd name="T23" fmla="*/ 0 h 43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41" h="43">
                    <a:moveTo>
                      <a:pt x="41" y="0"/>
                    </a:moveTo>
                    <a:lnTo>
                      <a:pt x="41" y="43"/>
                    </a:lnTo>
                    <a:lnTo>
                      <a:pt x="31" y="42"/>
                    </a:lnTo>
                    <a:lnTo>
                      <a:pt x="24" y="40"/>
                    </a:lnTo>
                    <a:lnTo>
                      <a:pt x="18" y="37"/>
                    </a:lnTo>
                    <a:lnTo>
                      <a:pt x="13" y="33"/>
                    </a:lnTo>
                    <a:lnTo>
                      <a:pt x="5" y="25"/>
                    </a:lnTo>
                    <a:lnTo>
                      <a:pt x="0" y="19"/>
                    </a:lnTo>
                    <a:lnTo>
                      <a:pt x="12" y="13"/>
                    </a:lnTo>
                    <a:lnTo>
                      <a:pt x="25" y="7"/>
                    </a:lnTo>
                    <a:lnTo>
                      <a:pt x="36" y="2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3" name="Freeform 493">
                <a:extLst>
                  <a:ext uri="{FF2B5EF4-FFF2-40B4-BE49-F238E27FC236}">
                    <a16:creationId xmlns:a16="http://schemas.microsoft.com/office/drawing/2014/main" id="{BA6527C9-5B89-4056-B413-F99FF8632869}"/>
                  </a:ext>
                </a:extLst>
              </p:cNvPr>
              <p:cNvSpPr>
                <a:spLocks/>
              </p:cNvSpPr>
              <p:nvPr>
                <p:custDataLst>
                  <p:tags r:id="rId331"/>
                </p:custDataLst>
              </p:nvPr>
            </p:nvSpPr>
            <p:spPr bwMode="auto">
              <a:xfrm>
                <a:off x="5843059" y="1766420"/>
                <a:ext cx="114018" cy="68560"/>
              </a:xfrm>
              <a:custGeom>
                <a:avLst/>
                <a:gdLst>
                  <a:gd name="T0" fmla="*/ 11795382 w 213"/>
                  <a:gd name="T1" fmla="*/ 0 h 62"/>
                  <a:gd name="T2" fmla="*/ 16049353 w 213"/>
                  <a:gd name="T3" fmla="*/ 0 h 62"/>
                  <a:gd name="T4" fmla="*/ 20303324 w 213"/>
                  <a:gd name="T5" fmla="*/ 946713 h 62"/>
                  <a:gd name="T6" fmla="*/ 24557295 w 213"/>
                  <a:gd name="T7" fmla="*/ 2840140 h 62"/>
                  <a:gd name="T8" fmla="*/ 28231259 w 213"/>
                  <a:gd name="T9" fmla="*/ 6626993 h 62"/>
                  <a:gd name="T10" fmla="*/ 32098706 w 213"/>
                  <a:gd name="T11" fmla="*/ 10413846 h 62"/>
                  <a:gd name="T12" fmla="*/ 35579188 w 213"/>
                  <a:gd name="T13" fmla="*/ 15147413 h 62"/>
                  <a:gd name="T14" fmla="*/ 36932684 w 213"/>
                  <a:gd name="T15" fmla="*/ 17987553 h 62"/>
                  <a:gd name="T16" fmla="*/ 38479663 w 213"/>
                  <a:gd name="T17" fmla="*/ 21774406 h 62"/>
                  <a:gd name="T18" fmla="*/ 40026641 w 213"/>
                  <a:gd name="T19" fmla="*/ 25561259 h 62"/>
                  <a:gd name="T20" fmla="*/ 41186655 w 213"/>
                  <a:gd name="T21" fmla="*/ 29348113 h 62"/>
                  <a:gd name="T22" fmla="*/ 40800130 w 213"/>
                  <a:gd name="T23" fmla="*/ 33133993 h 62"/>
                  <a:gd name="T24" fmla="*/ 40026641 w 213"/>
                  <a:gd name="T25" fmla="*/ 35974133 h 62"/>
                  <a:gd name="T26" fmla="*/ 38866187 w 213"/>
                  <a:gd name="T27" fmla="*/ 38814273 h 62"/>
                  <a:gd name="T28" fmla="*/ 37706173 w 213"/>
                  <a:gd name="T29" fmla="*/ 41654413 h 62"/>
                  <a:gd name="T30" fmla="*/ 34225691 w 213"/>
                  <a:gd name="T31" fmla="*/ 46387979 h 62"/>
                  <a:gd name="T32" fmla="*/ 30164763 w 213"/>
                  <a:gd name="T33" fmla="*/ 50174832 h 62"/>
                  <a:gd name="T34" fmla="*/ 26104274 w 213"/>
                  <a:gd name="T35" fmla="*/ 53961685 h 62"/>
                  <a:gd name="T36" fmla="*/ 22043345 w 213"/>
                  <a:gd name="T37" fmla="*/ 55855112 h 62"/>
                  <a:gd name="T38" fmla="*/ 18369821 w 213"/>
                  <a:gd name="T39" fmla="*/ 58695252 h 62"/>
                  <a:gd name="T40" fmla="*/ 15469346 w 213"/>
                  <a:gd name="T41" fmla="*/ 58695252 h 62"/>
                  <a:gd name="T42" fmla="*/ 11988424 w 213"/>
                  <a:gd name="T43" fmla="*/ 58695252 h 62"/>
                  <a:gd name="T44" fmla="*/ 8314460 w 213"/>
                  <a:gd name="T45" fmla="*/ 55855112 h 62"/>
                  <a:gd name="T46" fmla="*/ 6380957 w 213"/>
                  <a:gd name="T47" fmla="*/ 55855112 h 62"/>
                  <a:gd name="T48" fmla="*/ 4447453 w 213"/>
                  <a:gd name="T49" fmla="*/ 55855112 h 62"/>
                  <a:gd name="T50" fmla="*/ 2320468 w 213"/>
                  <a:gd name="T51" fmla="*/ 56801825 h 62"/>
                  <a:gd name="T52" fmla="*/ 0 w 213"/>
                  <a:gd name="T53" fmla="*/ 58695252 h 62"/>
                  <a:gd name="T54" fmla="*/ 1160014 w 213"/>
                  <a:gd name="T55" fmla="*/ 47334692 h 62"/>
                  <a:gd name="T56" fmla="*/ 2126986 w 213"/>
                  <a:gd name="T57" fmla="*/ 36920846 h 62"/>
                  <a:gd name="T58" fmla="*/ 3287000 w 213"/>
                  <a:gd name="T59" fmla="*/ 27454686 h 62"/>
                  <a:gd name="T60" fmla="*/ 4447453 w 213"/>
                  <a:gd name="T61" fmla="*/ 18934266 h 62"/>
                  <a:gd name="T62" fmla="*/ 5220943 w 213"/>
                  <a:gd name="T63" fmla="*/ 15147413 h 62"/>
                  <a:gd name="T64" fmla="*/ 5800950 w 213"/>
                  <a:gd name="T65" fmla="*/ 11360560 h 62"/>
                  <a:gd name="T66" fmla="*/ 6574439 w 213"/>
                  <a:gd name="T67" fmla="*/ 8520420 h 62"/>
                  <a:gd name="T68" fmla="*/ 7541411 w 213"/>
                  <a:gd name="T69" fmla="*/ 5680280 h 62"/>
                  <a:gd name="T70" fmla="*/ 8314460 w 213"/>
                  <a:gd name="T71" fmla="*/ 2840140 h 62"/>
                  <a:gd name="T72" fmla="*/ 9474914 w 213"/>
                  <a:gd name="T73" fmla="*/ 946713 h 62"/>
                  <a:gd name="T74" fmla="*/ 10441885 w 213"/>
                  <a:gd name="T75" fmla="*/ 0 h 62"/>
                  <a:gd name="T76" fmla="*/ 11795382 w 213"/>
                  <a:gd name="T77" fmla="*/ 0 h 6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213" h="62">
                    <a:moveTo>
                      <a:pt x="61" y="0"/>
                    </a:moveTo>
                    <a:lnTo>
                      <a:pt x="83" y="0"/>
                    </a:lnTo>
                    <a:lnTo>
                      <a:pt x="105" y="1"/>
                    </a:lnTo>
                    <a:lnTo>
                      <a:pt x="127" y="3"/>
                    </a:lnTo>
                    <a:lnTo>
                      <a:pt x="146" y="7"/>
                    </a:lnTo>
                    <a:lnTo>
                      <a:pt x="166" y="11"/>
                    </a:lnTo>
                    <a:lnTo>
                      <a:pt x="184" y="16"/>
                    </a:lnTo>
                    <a:lnTo>
                      <a:pt x="191" y="19"/>
                    </a:lnTo>
                    <a:lnTo>
                      <a:pt x="199" y="23"/>
                    </a:lnTo>
                    <a:lnTo>
                      <a:pt x="207" y="27"/>
                    </a:lnTo>
                    <a:lnTo>
                      <a:pt x="213" y="31"/>
                    </a:lnTo>
                    <a:lnTo>
                      <a:pt x="211" y="35"/>
                    </a:lnTo>
                    <a:lnTo>
                      <a:pt x="207" y="38"/>
                    </a:lnTo>
                    <a:lnTo>
                      <a:pt x="201" y="41"/>
                    </a:lnTo>
                    <a:lnTo>
                      <a:pt x="195" y="44"/>
                    </a:lnTo>
                    <a:lnTo>
                      <a:pt x="177" y="49"/>
                    </a:lnTo>
                    <a:lnTo>
                      <a:pt x="156" y="53"/>
                    </a:lnTo>
                    <a:lnTo>
                      <a:pt x="135" y="57"/>
                    </a:lnTo>
                    <a:lnTo>
                      <a:pt x="114" y="59"/>
                    </a:lnTo>
                    <a:lnTo>
                      <a:pt x="95" y="62"/>
                    </a:lnTo>
                    <a:lnTo>
                      <a:pt x="80" y="62"/>
                    </a:lnTo>
                    <a:lnTo>
                      <a:pt x="62" y="62"/>
                    </a:lnTo>
                    <a:lnTo>
                      <a:pt x="43" y="59"/>
                    </a:lnTo>
                    <a:lnTo>
                      <a:pt x="33" y="59"/>
                    </a:lnTo>
                    <a:lnTo>
                      <a:pt x="23" y="59"/>
                    </a:lnTo>
                    <a:lnTo>
                      <a:pt x="12" y="60"/>
                    </a:lnTo>
                    <a:lnTo>
                      <a:pt x="0" y="62"/>
                    </a:lnTo>
                    <a:lnTo>
                      <a:pt x="6" y="50"/>
                    </a:lnTo>
                    <a:lnTo>
                      <a:pt x="11" y="39"/>
                    </a:lnTo>
                    <a:lnTo>
                      <a:pt x="17" y="29"/>
                    </a:lnTo>
                    <a:lnTo>
                      <a:pt x="23" y="20"/>
                    </a:lnTo>
                    <a:lnTo>
                      <a:pt x="27" y="16"/>
                    </a:lnTo>
                    <a:lnTo>
                      <a:pt x="30" y="12"/>
                    </a:lnTo>
                    <a:lnTo>
                      <a:pt x="34" y="9"/>
                    </a:lnTo>
                    <a:lnTo>
                      <a:pt x="39" y="6"/>
                    </a:lnTo>
                    <a:lnTo>
                      <a:pt x="43" y="3"/>
                    </a:lnTo>
                    <a:lnTo>
                      <a:pt x="49" y="1"/>
                    </a:lnTo>
                    <a:lnTo>
                      <a:pt x="54" y="0"/>
                    </a:lnTo>
                    <a:lnTo>
                      <a:pt x="6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4" name="Freeform 494">
                <a:extLst>
                  <a:ext uri="{FF2B5EF4-FFF2-40B4-BE49-F238E27FC236}">
                    <a16:creationId xmlns:a16="http://schemas.microsoft.com/office/drawing/2014/main" id="{27F9B3FE-8A5E-4D28-93C4-C6288F6F16C4}"/>
                  </a:ext>
                </a:extLst>
              </p:cNvPr>
              <p:cNvSpPr>
                <a:spLocks/>
              </p:cNvSpPr>
              <p:nvPr>
                <p:custDataLst>
                  <p:tags r:id="rId332"/>
                </p:custDataLst>
              </p:nvPr>
            </p:nvSpPr>
            <p:spPr bwMode="auto">
              <a:xfrm>
                <a:off x="5915452" y="1796304"/>
                <a:ext cx="124877" cy="66803"/>
              </a:xfrm>
              <a:custGeom>
                <a:avLst/>
                <a:gdLst>
                  <a:gd name="T0" fmla="*/ 7642820 w 239"/>
                  <a:gd name="T1" fmla="*/ 0 h 56"/>
                  <a:gd name="T2" fmla="*/ 5592012 w 239"/>
                  <a:gd name="T3" fmla="*/ 3481614 h 56"/>
                  <a:gd name="T4" fmla="*/ 4287267 w 239"/>
                  <a:gd name="T5" fmla="*/ 5801972 h 56"/>
                  <a:gd name="T6" fmla="*/ 3541637 w 239"/>
                  <a:gd name="T7" fmla="*/ 8123408 h 56"/>
                  <a:gd name="T8" fmla="*/ 2796006 w 239"/>
                  <a:gd name="T9" fmla="*/ 10443766 h 56"/>
                  <a:gd name="T10" fmla="*/ 2423407 w 239"/>
                  <a:gd name="T11" fmla="*/ 15085559 h 56"/>
                  <a:gd name="T12" fmla="*/ 1863860 w 239"/>
                  <a:gd name="T13" fmla="*/ 17405917 h 56"/>
                  <a:gd name="T14" fmla="*/ 1304745 w 239"/>
                  <a:gd name="T15" fmla="*/ 19727352 h 56"/>
                  <a:gd name="T16" fmla="*/ 0 w 239"/>
                  <a:gd name="T17" fmla="*/ 22047710 h 56"/>
                  <a:gd name="T18" fmla="*/ 372599 w 239"/>
                  <a:gd name="T19" fmla="*/ 27850760 h 56"/>
                  <a:gd name="T20" fmla="*/ 932146 w 239"/>
                  <a:gd name="T21" fmla="*/ 31331297 h 56"/>
                  <a:gd name="T22" fmla="*/ 1304745 w 239"/>
                  <a:gd name="T23" fmla="*/ 34812911 h 56"/>
                  <a:gd name="T24" fmla="*/ 1863860 w 239"/>
                  <a:gd name="T25" fmla="*/ 38294525 h 56"/>
                  <a:gd name="T26" fmla="*/ 3169037 w 239"/>
                  <a:gd name="T27" fmla="*/ 41775063 h 56"/>
                  <a:gd name="T28" fmla="*/ 4473783 w 239"/>
                  <a:gd name="T29" fmla="*/ 44096498 h 56"/>
                  <a:gd name="T30" fmla="*/ 7642820 w 239"/>
                  <a:gd name="T31" fmla="*/ 44096498 h 56"/>
                  <a:gd name="T32" fmla="*/ 10065795 w 239"/>
                  <a:gd name="T33" fmla="*/ 44096498 h 56"/>
                  <a:gd name="T34" fmla="*/ 28520472 w 239"/>
                  <a:gd name="T35" fmla="*/ 44096498 h 56"/>
                  <a:gd name="T36" fmla="*/ 28893072 w 239"/>
                  <a:gd name="T37" fmla="*/ 47578112 h 56"/>
                  <a:gd name="T38" fmla="*/ 29079587 w 239"/>
                  <a:gd name="T39" fmla="*/ 51058649 h 56"/>
                  <a:gd name="T40" fmla="*/ 29638702 w 239"/>
                  <a:gd name="T41" fmla="*/ 53380084 h 56"/>
                  <a:gd name="T42" fmla="*/ 30197817 w 239"/>
                  <a:gd name="T43" fmla="*/ 55700442 h 56"/>
                  <a:gd name="T44" fmla="*/ 31129963 w 239"/>
                  <a:gd name="T45" fmla="*/ 59182057 h 56"/>
                  <a:gd name="T46" fmla="*/ 32434708 w 239"/>
                  <a:gd name="T47" fmla="*/ 62663671 h 56"/>
                  <a:gd name="T48" fmla="*/ 35044631 w 239"/>
                  <a:gd name="T49" fmla="*/ 64984029 h 56"/>
                  <a:gd name="T50" fmla="*/ 37281522 w 239"/>
                  <a:gd name="T51" fmla="*/ 64984029 h 56"/>
                  <a:gd name="T52" fmla="*/ 38027153 w 239"/>
                  <a:gd name="T53" fmla="*/ 63823850 h 56"/>
                  <a:gd name="T54" fmla="*/ 39145382 w 239"/>
                  <a:gd name="T55" fmla="*/ 62663671 h 56"/>
                  <a:gd name="T56" fmla="*/ 39891013 w 239"/>
                  <a:gd name="T57" fmla="*/ 60342236 h 56"/>
                  <a:gd name="T58" fmla="*/ 41009674 w 239"/>
                  <a:gd name="T59" fmla="*/ 56860621 h 56"/>
                  <a:gd name="T60" fmla="*/ 42873535 w 239"/>
                  <a:gd name="T61" fmla="*/ 49898470 h 56"/>
                  <a:gd name="T62" fmla="*/ 44551311 w 239"/>
                  <a:gd name="T63" fmla="*/ 44096498 h 56"/>
                  <a:gd name="T64" fmla="*/ 43246566 w 239"/>
                  <a:gd name="T65" fmla="*/ 42936319 h 56"/>
                  <a:gd name="T66" fmla="*/ 41941820 w 239"/>
                  <a:gd name="T67" fmla="*/ 41775063 h 56"/>
                  <a:gd name="T68" fmla="*/ 40823159 w 239"/>
                  <a:gd name="T69" fmla="*/ 39454704 h 56"/>
                  <a:gd name="T70" fmla="*/ 39704929 w 239"/>
                  <a:gd name="T71" fmla="*/ 37133269 h 56"/>
                  <a:gd name="T72" fmla="*/ 37468038 w 239"/>
                  <a:gd name="T73" fmla="*/ 30171118 h 56"/>
                  <a:gd name="T74" fmla="*/ 35417230 w 239"/>
                  <a:gd name="T75" fmla="*/ 22047710 h 56"/>
                  <a:gd name="T76" fmla="*/ 33180339 w 239"/>
                  <a:gd name="T77" fmla="*/ 15085559 h 56"/>
                  <a:gd name="T78" fmla="*/ 31129963 w 239"/>
                  <a:gd name="T79" fmla="*/ 6962151 h 56"/>
                  <a:gd name="T80" fmla="*/ 29825218 w 239"/>
                  <a:gd name="T81" fmla="*/ 4641793 h 56"/>
                  <a:gd name="T82" fmla="*/ 28706556 w 239"/>
                  <a:gd name="T83" fmla="*/ 2320358 h 56"/>
                  <a:gd name="T84" fmla="*/ 27401811 w 239"/>
                  <a:gd name="T85" fmla="*/ 1160179 h 56"/>
                  <a:gd name="T86" fmla="*/ 26097066 w 239"/>
                  <a:gd name="T87" fmla="*/ 0 h 56"/>
                  <a:gd name="T88" fmla="*/ 24978404 w 239"/>
                  <a:gd name="T89" fmla="*/ 1160179 h 56"/>
                  <a:gd name="T90" fmla="*/ 23673659 w 239"/>
                  <a:gd name="T91" fmla="*/ 4641793 h 56"/>
                  <a:gd name="T92" fmla="*/ 23114544 w 239"/>
                  <a:gd name="T93" fmla="*/ 6962151 h 56"/>
                  <a:gd name="T94" fmla="*/ 22741513 w 239"/>
                  <a:gd name="T95" fmla="*/ 9283587 h 56"/>
                  <a:gd name="T96" fmla="*/ 22555429 w 239"/>
                  <a:gd name="T97" fmla="*/ 11603945 h 56"/>
                  <a:gd name="T98" fmla="*/ 22368913 w 239"/>
                  <a:gd name="T99" fmla="*/ 15085559 h 56"/>
                  <a:gd name="T100" fmla="*/ 18640761 w 239"/>
                  <a:gd name="T101" fmla="*/ 9283587 h 56"/>
                  <a:gd name="T102" fmla="*/ 14912609 w 239"/>
                  <a:gd name="T103" fmla="*/ 4641793 h 56"/>
                  <a:gd name="T104" fmla="*/ 11370972 w 239"/>
                  <a:gd name="T105" fmla="*/ 1160179 h 56"/>
                  <a:gd name="T106" fmla="*/ 7642820 w 239"/>
                  <a:gd name="T107" fmla="*/ 0 h 5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0" t="0" r="r" b="b"/>
                <a:pathLst>
                  <a:path w="239" h="56">
                    <a:moveTo>
                      <a:pt x="41" y="0"/>
                    </a:moveTo>
                    <a:lnTo>
                      <a:pt x="30" y="3"/>
                    </a:lnTo>
                    <a:lnTo>
                      <a:pt x="23" y="5"/>
                    </a:lnTo>
                    <a:lnTo>
                      <a:pt x="19" y="7"/>
                    </a:lnTo>
                    <a:lnTo>
                      <a:pt x="15" y="9"/>
                    </a:lnTo>
                    <a:lnTo>
                      <a:pt x="13" y="13"/>
                    </a:lnTo>
                    <a:lnTo>
                      <a:pt x="10" y="15"/>
                    </a:lnTo>
                    <a:lnTo>
                      <a:pt x="7" y="17"/>
                    </a:lnTo>
                    <a:lnTo>
                      <a:pt x="0" y="19"/>
                    </a:lnTo>
                    <a:lnTo>
                      <a:pt x="2" y="24"/>
                    </a:lnTo>
                    <a:lnTo>
                      <a:pt x="5" y="27"/>
                    </a:lnTo>
                    <a:lnTo>
                      <a:pt x="7" y="30"/>
                    </a:lnTo>
                    <a:lnTo>
                      <a:pt x="10" y="33"/>
                    </a:lnTo>
                    <a:lnTo>
                      <a:pt x="17" y="36"/>
                    </a:lnTo>
                    <a:lnTo>
                      <a:pt x="24" y="38"/>
                    </a:lnTo>
                    <a:lnTo>
                      <a:pt x="41" y="38"/>
                    </a:lnTo>
                    <a:lnTo>
                      <a:pt x="54" y="38"/>
                    </a:lnTo>
                    <a:lnTo>
                      <a:pt x="153" y="38"/>
                    </a:lnTo>
                    <a:lnTo>
                      <a:pt x="155" y="41"/>
                    </a:lnTo>
                    <a:lnTo>
                      <a:pt x="156" y="44"/>
                    </a:lnTo>
                    <a:lnTo>
                      <a:pt x="159" y="46"/>
                    </a:lnTo>
                    <a:lnTo>
                      <a:pt x="162" y="48"/>
                    </a:lnTo>
                    <a:lnTo>
                      <a:pt x="167" y="51"/>
                    </a:lnTo>
                    <a:lnTo>
                      <a:pt x="174" y="54"/>
                    </a:lnTo>
                    <a:lnTo>
                      <a:pt x="188" y="56"/>
                    </a:lnTo>
                    <a:lnTo>
                      <a:pt x="200" y="56"/>
                    </a:lnTo>
                    <a:lnTo>
                      <a:pt x="204" y="55"/>
                    </a:lnTo>
                    <a:lnTo>
                      <a:pt x="210" y="54"/>
                    </a:lnTo>
                    <a:lnTo>
                      <a:pt x="214" y="52"/>
                    </a:lnTo>
                    <a:lnTo>
                      <a:pt x="220" y="49"/>
                    </a:lnTo>
                    <a:lnTo>
                      <a:pt x="230" y="43"/>
                    </a:lnTo>
                    <a:lnTo>
                      <a:pt x="239" y="38"/>
                    </a:lnTo>
                    <a:lnTo>
                      <a:pt x="232" y="37"/>
                    </a:lnTo>
                    <a:lnTo>
                      <a:pt x="225" y="36"/>
                    </a:lnTo>
                    <a:lnTo>
                      <a:pt x="219" y="34"/>
                    </a:lnTo>
                    <a:lnTo>
                      <a:pt x="213" y="32"/>
                    </a:lnTo>
                    <a:lnTo>
                      <a:pt x="201" y="26"/>
                    </a:lnTo>
                    <a:lnTo>
                      <a:pt x="190" y="19"/>
                    </a:lnTo>
                    <a:lnTo>
                      <a:pt x="178" y="13"/>
                    </a:lnTo>
                    <a:lnTo>
                      <a:pt x="167" y="6"/>
                    </a:lnTo>
                    <a:lnTo>
                      <a:pt x="160" y="4"/>
                    </a:lnTo>
                    <a:lnTo>
                      <a:pt x="154" y="2"/>
                    </a:lnTo>
                    <a:lnTo>
                      <a:pt x="147" y="1"/>
                    </a:lnTo>
                    <a:lnTo>
                      <a:pt x="140" y="0"/>
                    </a:lnTo>
                    <a:lnTo>
                      <a:pt x="134" y="1"/>
                    </a:lnTo>
                    <a:lnTo>
                      <a:pt x="127" y="4"/>
                    </a:lnTo>
                    <a:lnTo>
                      <a:pt x="124" y="6"/>
                    </a:lnTo>
                    <a:lnTo>
                      <a:pt x="122" y="8"/>
                    </a:lnTo>
                    <a:lnTo>
                      <a:pt x="121" y="10"/>
                    </a:lnTo>
                    <a:lnTo>
                      <a:pt x="120" y="13"/>
                    </a:lnTo>
                    <a:lnTo>
                      <a:pt x="100" y="8"/>
                    </a:lnTo>
                    <a:lnTo>
                      <a:pt x="80" y="4"/>
                    </a:lnTo>
                    <a:lnTo>
                      <a:pt x="61" y="1"/>
                    </a:lnTo>
                    <a:lnTo>
                      <a:pt x="41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5" name="Freeform 495">
                <a:extLst>
                  <a:ext uri="{FF2B5EF4-FFF2-40B4-BE49-F238E27FC236}">
                    <a16:creationId xmlns:a16="http://schemas.microsoft.com/office/drawing/2014/main" id="{331D5D11-0F14-4414-B386-8243C32B79AF}"/>
                  </a:ext>
                </a:extLst>
              </p:cNvPr>
              <p:cNvSpPr>
                <a:spLocks/>
              </p:cNvSpPr>
              <p:nvPr>
                <p:custDataLst>
                  <p:tags r:id="rId333"/>
                </p:custDataLst>
              </p:nvPr>
            </p:nvSpPr>
            <p:spPr bwMode="auto">
              <a:xfrm>
                <a:off x="6058428" y="1812127"/>
                <a:ext cx="99541" cy="63287"/>
              </a:xfrm>
              <a:custGeom>
                <a:avLst/>
                <a:gdLst>
                  <a:gd name="T0" fmla="*/ 2728123 w 187"/>
                  <a:gd name="T1" fmla="*/ 9696212 h 80"/>
                  <a:gd name="T2" fmla="*/ 7989692 w 187"/>
                  <a:gd name="T3" fmla="*/ 0 h 80"/>
                  <a:gd name="T4" fmla="*/ 8574605 w 187"/>
                  <a:gd name="T5" fmla="*/ 1530906 h 80"/>
                  <a:gd name="T6" fmla="*/ 9743549 w 187"/>
                  <a:gd name="T7" fmla="*/ 3061811 h 80"/>
                  <a:gd name="T8" fmla="*/ 11302728 w 187"/>
                  <a:gd name="T9" fmla="*/ 4592717 h 80"/>
                  <a:gd name="T10" fmla="*/ 13056585 w 187"/>
                  <a:gd name="T11" fmla="*/ 6124337 h 80"/>
                  <a:gd name="T12" fmla="*/ 17343887 w 187"/>
                  <a:gd name="T13" fmla="*/ 9696212 h 80"/>
                  <a:gd name="T14" fmla="*/ 22215662 w 187"/>
                  <a:gd name="T15" fmla="*/ 13268801 h 80"/>
                  <a:gd name="T16" fmla="*/ 27087436 w 187"/>
                  <a:gd name="T17" fmla="*/ 16840676 h 80"/>
                  <a:gd name="T18" fmla="*/ 31374297 w 187"/>
                  <a:gd name="T19" fmla="*/ 19392424 h 80"/>
                  <a:gd name="T20" fmla="*/ 34492657 w 187"/>
                  <a:gd name="T21" fmla="*/ 21434108 h 80"/>
                  <a:gd name="T22" fmla="*/ 36441190 w 187"/>
                  <a:gd name="T23" fmla="*/ 21944171 h 80"/>
                  <a:gd name="T24" fmla="*/ 36441190 w 187"/>
                  <a:gd name="T25" fmla="*/ 28578572 h 80"/>
                  <a:gd name="T26" fmla="*/ 36441190 w 187"/>
                  <a:gd name="T27" fmla="*/ 34702909 h 80"/>
                  <a:gd name="T28" fmla="*/ 33128154 w 187"/>
                  <a:gd name="T29" fmla="*/ 35723036 h 80"/>
                  <a:gd name="T30" fmla="*/ 29425764 w 187"/>
                  <a:gd name="T31" fmla="*/ 36233814 h 80"/>
                  <a:gd name="T32" fmla="*/ 25918051 w 187"/>
                  <a:gd name="T33" fmla="*/ 36233814 h 80"/>
                  <a:gd name="T34" fmla="*/ 22605015 w 187"/>
                  <a:gd name="T35" fmla="*/ 35723036 h 80"/>
                  <a:gd name="T36" fmla="*/ 16564298 w 187"/>
                  <a:gd name="T37" fmla="*/ 35212973 h 80"/>
                  <a:gd name="T38" fmla="*/ 11887200 w 187"/>
                  <a:gd name="T39" fmla="*/ 34702909 h 80"/>
                  <a:gd name="T40" fmla="*/ 10717815 w 187"/>
                  <a:gd name="T41" fmla="*/ 35212973 h 80"/>
                  <a:gd name="T42" fmla="*/ 9938667 w 187"/>
                  <a:gd name="T43" fmla="*/ 35723036 h 80"/>
                  <a:gd name="T44" fmla="*/ 8769282 w 187"/>
                  <a:gd name="T45" fmla="*/ 36743878 h 80"/>
                  <a:gd name="T46" fmla="*/ 7989692 w 187"/>
                  <a:gd name="T47" fmla="*/ 37764720 h 80"/>
                  <a:gd name="T48" fmla="*/ 6430954 w 187"/>
                  <a:gd name="T49" fmla="*/ 39805689 h 80"/>
                  <a:gd name="T50" fmla="*/ 5456246 w 187"/>
                  <a:gd name="T51" fmla="*/ 40826531 h 80"/>
                  <a:gd name="T52" fmla="*/ 4287303 w 187"/>
                  <a:gd name="T53" fmla="*/ 40316468 h 80"/>
                  <a:gd name="T54" fmla="*/ 3507713 w 187"/>
                  <a:gd name="T55" fmla="*/ 38785562 h 80"/>
                  <a:gd name="T56" fmla="*/ 2728123 w 187"/>
                  <a:gd name="T57" fmla="*/ 36743878 h 80"/>
                  <a:gd name="T58" fmla="*/ 1753856 w 187"/>
                  <a:gd name="T59" fmla="*/ 34192131 h 80"/>
                  <a:gd name="T60" fmla="*/ 1169385 w 187"/>
                  <a:gd name="T61" fmla="*/ 31640383 h 80"/>
                  <a:gd name="T62" fmla="*/ 584472 w 187"/>
                  <a:gd name="T63" fmla="*/ 29088636 h 80"/>
                  <a:gd name="T64" fmla="*/ 389795 w 187"/>
                  <a:gd name="T65" fmla="*/ 27047666 h 80"/>
                  <a:gd name="T66" fmla="*/ 0 w 187"/>
                  <a:gd name="T67" fmla="*/ 25516761 h 80"/>
                  <a:gd name="T68" fmla="*/ 389795 w 187"/>
                  <a:gd name="T69" fmla="*/ 22454949 h 80"/>
                  <a:gd name="T70" fmla="*/ 584472 w 187"/>
                  <a:gd name="T71" fmla="*/ 20413266 h 80"/>
                  <a:gd name="T72" fmla="*/ 974267 w 187"/>
                  <a:gd name="T73" fmla="*/ 18372296 h 80"/>
                  <a:gd name="T74" fmla="*/ 1364061 w 187"/>
                  <a:gd name="T75" fmla="*/ 15820549 h 80"/>
                  <a:gd name="T76" fmla="*/ 2533446 w 187"/>
                  <a:gd name="T77" fmla="*/ 12247959 h 80"/>
                  <a:gd name="T78" fmla="*/ 2728123 w 187"/>
                  <a:gd name="T79" fmla="*/ 9696212 h 8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0" t="0" r="r" b="b"/>
                <a:pathLst>
                  <a:path w="187" h="80">
                    <a:moveTo>
                      <a:pt x="14" y="19"/>
                    </a:moveTo>
                    <a:lnTo>
                      <a:pt x="41" y="0"/>
                    </a:lnTo>
                    <a:lnTo>
                      <a:pt x="44" y="3"/>
                    </a:lnTo>
                    <a:lnTo>
                      <a:pt x="50" y="6"/>
                    </a:lnTo>
                    <a:lnTo>
                      <a:pt x="58" y="9"/>
                    </a:lnTo>
                    <a:lnTo>
                      <a:pt x="67" y="12"/>
                    </a:lnTo>
                    <a:lnTo>
                      <a:pt x="89" y="19"/>
                    </a:lnTo>
                    <a:lnTo>
                      <a:pt x="114" y="26"/>
                    </a:lnTo>
                    <a:lnTo>
                      <a:pt x="139" y="33"/>
                    </a:lnTo>
                    <a:lnTo>
                      <a:pt x="161" y="38"/>
                    </a:lnTo>
                    <a:lnTo>
                      <a:pt x="177" y="42"/>
                    </a:lnTo>
                    <a:lnTo>
                      <a:pt x="187" y="43"/>
                    </a:lnTo>
                    <a:lnTo>
                      <a:pt x="187" y="56"/>
                    </a:lnTo>
                    <a:lnTo>
                      <a:pt x="187" y="68"/>
                    </a:lnTo>
                    <a:lnTo>
                      <a:pt x="170" y="70"/>
                    </a:lnTo>
                    <a:lnTo>
                      <a:pt x="151" y="71"/>
                    </a:lnTo>
                    <a:lnTo>
                      <a:pt x="133" y="71"/>
                    </a:lnTo>
                    <a:lnTo>
                      <a:pt x="116" y="70"/>
                    </a:lnTo>
                    <a:lnTo>
                      <a:pt x="85" y="69"/>
                    </a:lnTo>
                    <a:lnTo>
                      <a:pt x="61" y="68"/>
                    </a:lnTo>
                    <a:lnTo>
                      <a:pt x="55" y="69"/>
                    </a:lnTo>
                    <a:lnTo>
                      <a:pt x="51" y="70"/>
                    </a:lnTo>
                    <a:lnTo>
                      <a:pt x="45" y="72"/>
                    </a:lnTo>
                    <a:lnTo>
                      <a:pt x="41" y="74"/>
                    </a:lnTo>
                    <a:lnTo>
                      <a:pt x="33" y="78"/>
                    </a:lnTo>
                    <a:lnTo>
                      <a:pt x="28" y="80"/>
                    </a:lnTo>
                    <a:lnTo>
                      <a:pt x="22" y="79"/>
                    </a:lnTo>
                    <a:lnTo>
                      <a:pt x="18" y="76"/>
                    </a:lnTo>
                    <a:lnTo>
                      <a:pt x="14" y="72"/>
                    </a:lnTo>
                    <a:lnTo>
                      <a:pt x="9" y="67"/>
                    </a:lnTo>
                    <a:lnTo>
                      <a:pt x="6" y="62"/>
                    </a:lnTo>
                    <a:lnTo>
                      <a:pt x="3" y="57"/>
                    </a:lnTo>
                    <a:lnTo>
                      <a:pt x="2" y="53"/>
                    </a:lnTo>
                    <a:lnTo>
                      <a:pt x="0" y="50"/>
                    </a:lnTo>
                    <a:lnTo>
                      <a:pt x="2" y="44"/>
                    </a:lnTo>
                    <a:lnTo>
                      <a:pt x="3" y="40"/>
                    </a:lnTo>
                    <a:lnTo>
                      <a:pt x="5" y="36"/>
                    </a:lnTo>
                    <a:lnTo>
                      <a:pt x="7" y="31"/>
                    </a:lnTo>
                    <a:lnTo>
                      <a:pt x="13" y="24"/>
                    </a:lnTo>
                    <a:lnTo>
                      <a:pt x="14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6" name="Freeform 496">
                <a:extLst>
                  <a:ext uri="{FF2B5EF4-FFF2-40B4-BE49-F238E27FC236}">
                    <a16:creationId xmlns:a16="http://schemas.microsoft.com/office/drawing/2014/main" id="{31376635-684B-44D3-8700-684BB3D8021A}"/>
                  </a:ext>
                </a:extLst>
              </p:cNvPr>
              <p:cNvSpPr>
                <a:spLocks/>
              </p:cNvSpPr>
              <p:nvPr>
                <p:custDataLst>
                  <p:tags r:id="rId334"/>
                </p:custDataLst>
              </p:nvPr>
            </p:nvSpPr>
            <p:spPr bwMode="auto">
              <a:xfrm>
                <a:off x="6693677" y="1952765"/>
                <a:ext cx="95920" cy="65044"/>
              </a:xfrm>
              <a:custGeom>
                <a:avLst/>
                <a:gdLst>
                  <a:gd name="T0" fmla="*/ 9406588 w 183"/>
                  <a:gd name="T1" fmla="*/ 0 h 73"/>
                  <a:gd name="T2" fmla="*/ 11852466 w 183"/>
                  <a:gd name="T3" fmla="*/ 0 h 73"/>
                  <a:gd name="T4" fmla="*/ 14110099 w 183"/>
                  <a:gd name="T5" fmla="*/ 647727 h 73"/>
                  <a:gd name="T6" fmla="*/ 16179488 w 183"/>
                  <a:gd name="T7" fmla="*/ 2590104 h 73"/>
                  <a:gd name="T8" fmla="*/ 18248876 w 183"/>
                  <a:gd name="T9" fmla="*/ 4531677 h 73"/>
                  <a:gd name="T10" fmla="*/ 19942210 w 183"/>
                  <a:gd name="T11" fmla="*/ 6474054 h 73"/>
                  <a:gd name="T12" fmla="*/ 21823354 w 183"/>
                  <a:gd name="T13" fmla="*/ 9711081 h 73"/>
                  <a:gd name="T14" fmla="*/ 23328443 w 183"/>
                  <a:gd name="T15" fmla="*/ 12301186 h 73"/>
                  <a:gd name="T16" fmla="*/ 24645287 w 183"/>
                  <a:gd name="T17" fmla="*/ 16185940 h 73"/>
                  <a:gd name="T18" fmla="*/ 29913098 w 183"/>
                  <a:gd name="T19" fmla="*/ 31724152 h 73"/>
                  <a:gd name="T20" fmla="*/ 34428364 w 183"/>
                  <a:gd name="T21" fmla="*/ 47262365 h 73"/>
                  <a:gd name="T22" fmla="*/ 25774320 w 183"/>
                  <a:gd name="T23" fmla="*/ 47262365 h 73"/>
                  <a:gd name="T24" fmla="*/ 24080987 w 183"/>
                  <a:gd name="T25" fmla="*/ 46614638 h 73"/>
                  <a:gd name="T26" fmla="*/ 22011598 w 183"/>
                  <a:gd name="T27" fmla="*/ 45319988 h 73"/>
                  <a:gd name="T28" fmla="*/ 19565721 w 183"/>
                  <a:gd name="T29" fmla="*/ 42730688 h 73"/>
                  <a:gd name="T30" fmla="*/ 16932032 w 183"/>
                  <a:gd name="T31" fmla="*/ 40140584 h 73"/>
                  <a:gd name="T32" fmla="*/ 13733610 w 183"/>
                  <a:gd name="T33" fmla="*/ 36255829 h 73"/>
                  <a:gd name="T34" fmla="*/ 10911677 w 183"/>
                  <a:gd name="T35" fmla="*/ 32371880 h 73"/>
                  <a:gd name="T36" fmla="*/ 7901499 w 183"/>
                  <a:gd name="T37" fmla="*/ 28487125 h 73"/>
                  <a:gd name="T38" fmla="*/ 5267811 w 183"/>
                  <a:gd name="T39" fmla="*/ 23954644 h 73"/>
                  <a:gd name="T40" fmla="*/ 3010178 w 183"/>
                  <a:gd name="T41" fmla="*/ 19422967 h 73"/>
                  <a:gd name="T42" fmla="*/ 1316844 w 183"/>
                  <a:gd name="T43" fmla="*/ 14890485 h 73"/>
                  <a:gd name="T44" fmla="*/ 752544 w 183"/>
                  <a:gd name="T45" fmla="*/ 12301186 h 73"/>
                  <a:gd name="T46" fmla="*/ 376055 w 183"/>
                  <a:gd name="T47" fmla="*/ 10358808 h 73"/>
                  <a:gd name="T48" fmla="*/ 188245 w 183"/>
                  <a:gd name="T49" fmla="*/ 9064158 h 73"/>
                  <a:gd name="T50" fmla="*/ 0 w 183"/>
                  <a:gd name="T51" fmla="*/ 7121781 h 73"/>
                  <a:gd name="T52" fmla="*/ 188245 w 183"/>
                  <a:gd name="T53" fmla="*/ 5179404 h 73"/>
                  <a:gd name="T54" fmla="*/ 564300 w 183"/>
                  <a:gd name="T55" fmla="*/ 3884754 h 73"/>
                  <a:gd name="T56" fmla="*/ 1316844 w 183"/>
                  <a:gd name="T57" fmla="*/ 2590104 h 73"/>
                  <a:gd name="T58" fmla="*/ 2445878 w 183"/>
                  <a:gd name="T59" fmla="*/ 1942377 h 73"/>
                  <a:gd name="T60" fmla="*/ 3574477 w 183"/>
                  <a:gd name="T61" fmla="*/ 647727 h 73"/>
                  <a:gd name="T62" fmla="*/ 5267811 w 183"/>
                  <a:gd name="T63" fmla="*/ 0 h 73"/>
                  <a:gd name="T64" fmla="*/ 7148955 w 183"/>
                  <a:gd name="T65" fmla="*/ 0 h 73"/>
                  <a:gd name="T66" fmla="*/ 9406588 w 183"/>
                  <a:gd name="T67" fmla="*/ 0 h 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83" h="73">
                    <a:moveTo>
                      <a:pt x="50" y="0"/>
                    </a:moveTo>
                    <a:lnTo>
                      <a:pt x="63" y="0"/>
                    </a:lnTo>
                    <a:lnTo>
                      <a:pt x="75" y="1"/>
                    </a:lnTo>
                    <a:lnTo>
                      <a:pt x="86" y="4"/>
                    </a:lnTo>
                    <a:lnTo>
                      <a:pt x="97" y="7"/>
                    </a:lnTo>
                    <a:lnTo>
                      <a:pt x="106" y="10"/>
                    </a:lnTo>
                    <a:lnTo>
                      <a:pt x="116" y="15"/>
                    </a:lnTo>
                    <a:lnTo>
                      <a:pt x="124" y="19"/>
                    </a:lnTo>
                    <a:lnTo>
                      <a:pt x="131" y="25"/>
                    </a:lnTo>
                    <a:lnTo>
                      <a:pt x="159" y="49"/>
                    </a:lnTo>
                    <a:lnTo>
                      <a:pt x="183" y="73"/>
                    </a:lnTo>
                    <a:lnTo>
                      <a:pt x="137" y="73"/>
                    </a:lnTo>
                    <a:lnTo>
                      <a:pt x="128" y="72"/>
                    </a:lnTo>
                    <a:lnTo>
                      <a:pt x="117" y="70"/>
                    </a:lnTo>
                    <a:lnTo>
                      <a:pt x="104" y="66"/>
                    </a:lnTo>
                    <a:lnTo>
                      <a:pt x="90" y="62"/>
                    </a:lnTo>
                    <a:lnTo>
                      <a:pt x="73" y="56"/>
                    </a:lnTo>
                    <a:lnTo>
                      <a:pt x="58" y="50"/>
                    </a:lnTo>
                    <a:lnTo>
                      <a:pt x="42" y="44"/>
                    </a:lnTo>
                    <a:lnTo>
                      <a:pt x="28" y="37"/>
                    </a:lnTo>
                    <a:lnTo>
                      <a:pt x="16" y="30"/>
                    </a:lnTo>
                    <a:lnTo>
                      <a:pt x="7" y="23"/>
                    </a:lnTo>
                    <a:lnTo>
                      <a:pt x="4" y="19"/>
                    </a:lnTo>
                    <a:lnTo>
                      <a:pt x="2" y="16"/>
                    </a:lnTo>
                    <a:lnTo>
                      <a:pt x="1" y="14"/>
                    </a:lnTo>
                    <a:lnTo>
                      <a:pt x="0" y="11"/>
                    </a:lnTo>
                    <a:lnTo>
                      <a:pt x="1" y="8"/>
                    </a:lnTo>
                    <a:lnTo>
                      <a:pt x="3" y="6"/>
                    </a:lnTo>
                    <a:lnTo>
                      <a:pt x="7" y="4"/>
                    </a:lnTo>
                    <a:lnTo>
                      <a:pt x="13" y="3"/>
                    </a:lnTo>
                    <a:lnTo>
                      <a:pt x="19" y="1"/>
                    </a:lnTo>
                    <a:lnTo>
                      <a:pt x="28" y="0"/>
                    </a:lnTo>
                    <a:lnTo>
                      <a:pt x="38" y="0"/>
                    </a:lnTo>
                    <a:lnTo>
                      <a:pt x="5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7" name="Freeform 497">
                <a:extLst>
                  <a:ext uri="{FF2B5EF4-FFF2-40B4-BE49-F238E27FC236}">
                    <a16:creationId xmlns:a16="http://schemas.microsoft.com/office/drawing/2014/main" id="{5DEC4558-820F-4C09-A534-5D7B71460AD2}"/>
                  </a:ext>
                </a:extLst>
              </p:cNvPr>
              <p:cNvSpPr>
                <a:spLocks/>
              </p:cNvSpPr>
              <p:nvPr>
                <p:custDataLst>
                  <p:tags r:id="rId335"/>
                </p:custDataLst>
              </p:nvPr>
            </p:nvSpPr>
            <p:spPr bwMode="auto">
              <a:xfrm>
                <a:off x="6773310" y="1972102"/>
                <a:ext cx="41625" cy="65046"/>
              </a:xfrm>
              <a:custGeom>
                <a:avLst/>
                <a:gdLst>
                  <a:gd name="T0" fmla="*/ 0 w 79"/>
                  <a:gd name="T1" fmla="*/ 11108871 h 42"/>
                  <a:gd name="T2" fmla="*/ 4095932 w 79"/>
                  <a:gd name="T3" fmla="*/ 3702504 h 42"/>
                  <a:gd name="T4" fmla="*/ 7301444 w 79"/>
                  <a:gd name="T5" fmla="*/ 1851932 h 42"/>
                  <a:gd name="T6" fmla="*/ 10685040 w 79"/>
                  <a:gd name="T7" fmla="*/ 0 h 42"/>
                  <a:gd name="T8" fmla="*/ 14068636 w 79"/>
                  <a:gd name="T9" fmla="*/ 0 h 42"/>
                  <a:gd name="T10" fmla="*/ 14068636 w 79"/>
                  <a:gd name="T11" fmla="*/ 16663307 h 42"/>
                  <a:gd name="T12" fmla="*/ 14068636 w 79"/>
                  <a:gd name="T13" fmla="*/ 33327975 h 42"/>
                  <a:gd name="T14" fmla="*/ 14068636 w 79"/>
                  <a:gd name="T15" fmla="*/ 40734343 h 42"/>
                  <a:gd name="T16" fmla="*/ 13356300 w 79"/>
                  <a:gd name="T17" fmla="*/ 49991282 h 42"/>
                  <a:gd name="T18" fmla="*/ 12822048 w 79"/>
                  <a:gd name="T19" fmla="*/ 57397650 h 42"/>
                  <a:gd name="T20" fmla="*/ 12109712 w 79"/>
                  <a:gd name="T21" fmla="*/ 64804018 h 42"/>
                  <a:gd name="T22" fmla="*/ 11041208 w 79"/>
                  <a:gd name="T23" fmla="*/ 70358454 h 42"/>
                  <a:gd name="T24" fmla="*/ 10150788 w 79"/>
                  <a:gd name="T25" fmla="*/ 74062318 h 42"/>
                  <a:gd name="T26" fmla="*/ 9082284 w 79"/>
                  <a:gd name="T27" fmla="*/ 77764821 h 42"/>
                  <a:gd name="T28" fmla="*/ 8191864 w 79"/>
                  <a:gd name="T29" fmla="*/ 77764821 h 42"/>
                  <a:gd name="T30" fmla="*/ 7123360 w 79"/>
                  <a:gd name="T31" fmla="*/ 77764821 h 42"/>
                  <a:gd name="T32" fmla="*/ 6232940 w 79"/>
                  <a:gd name="T33" fmla="*/ 75912889 h 42"/>
                  <a:gd name="T34" fmla="*/ 5164436 w 79"/>
                  <a:gd name="T35" fmla="*/ 72210386 h 42"/>
                  <a:gd name="T36" fmla="*/ 4452100 w 79"/>
                  <a:gd name="T37" fmla="*/ 68506521 h 42"/>
                  <a:gd name="T38" fmla="*/ 2849344 w 79"/>
                  <a:gd name="T39" fmla="*/ 59249582 h 42"/>
                  <a:gd name="T40" fmla="*/ 1958924 w 79"/>
                  <a:gd name="T41" fmla="*/ 48140711 h 42"/>
                  <a:gd name="T42" fmla="*/ 890420 w 79"/>
                  <a:gd name="T43" fmla="*/ 37030479 h 42"/>
                  <a:gd name="T44" fmla="*/ 356168 w 79"/>
                  <a:gd name="T45" fmla="*/ 25921607 h 42"/>
                  <a:gd name="T46" fmla="*/ 0 w 79"/>
                  <a:gd name="T47" fmla="*/ 16663307 h 42"/>
                  <a:gd name="T48" fmla="*/ 0 w 79"/>
                  <a:gd name="T49" fmla="*/ 11108871 h 42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79" h="42">
                    <a:moveTo>
                      <a:pt x="0" y="6"/>
                    </a:moveTo>
                    <a:lnTo>
                      <a:pt x="23" y="2"/>
                    </a:lnTo>
                    <a:lnTo>
                      <a:pt x="41" y="1"/>
                    </a:lnTo>
                    <a:lnTo>
                      <a:pt x="60" y="0"/>
                    </a:lnTo>
                    <a:lnTo>
                      <a:pt x="79" y="0"/>
                    </a:lnTo>
                    <a:lnTo>
                      <a:pt x="79" y="9"/>
                    </a:lnTo>
                    <a:lnTo>
                      <a:pt x="79" y="18"/>
                    </a:lnTo>
                    <a:lnTo>
                      <a:pt x="79" y="22"/>
                    </a:lnTo>
                    <a:lnTo>
                      <a:pt x="75" y="27"/>
                    </a:lnTo>
                    <a:lnTo>
                      <a:pt x="72" y="31"/>
                    </a:lnTo>
                    <a:lnTo>
                      <a:pt x="68" y="35"/>
                    </a:lnTo>
                    <a:lnTo>
                      <a:pt x="62" y="38"/>
                    </a:lnTo>
                    <a:lnTo>
                      <a:pt x="57" y="40"/>
                    </a:lnTo>
                    <a:lnTo>
                      <a:pt x="51" y="42"/>
                    </a:lnTo>
                    <a:lnTo>
                      <a:pt x="46" y="42"/>
                    </a:lnTo>
                    <a:lnTo>
                      <a:pt x="40" y="42"/>
                    </a:lnTo>
                    <a:lnTo>
                      <a:pt x="35" y="41"/>
                    </a:lnTo>
                    <a:lnTo>
                      <a:pt x="29" y="39"/>
                    </a:lnTo>
                    <a:lnTo>
                      <a:pt x="25" y="37"/>
                    </a:lnTo>
                    <a:lnTo>
                      <a:pt x="16" y="32"/>
                    </a:lnTo>
                    <a:lnTo>
                      <a:pt x="11" y="26"/>
                    </a:lnTo>
                    <a:lnTo>
                      <a:pt x="5" y="20"/>
                    </a:lnTo>
                    <a:lnTo>
                      <a:pt x="2" y="14"/>
                    </a:lnTo>
                    <a:lnTo>
                      <a:pt x="0" y="9"/>
                    </a:lnTo>
                    <a:lnTo>
                      <a:pt x="0" y="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8" name="Freeform 498">
                <a:extLst>
                  <a:ext uri="{FF2B5EF4-FFF2-40B4-BE49-F238E27FC236}">
                    <a16:creationId xmlns:a16="http://schemas.microsoft.com/office/drawing/2014/main" id="{D94AB711-4D91-429E-AFDC-A88CF1771E84}"/>
                  </a:ext>
                </a:extLst>
              </p:cNvPr>
              <p:cNvSpPr>
                <a:spLocks/>
              </p:cNvSpPr>
              <p:nvPr>
                <p:custDataLst>
                  <p:tags r:id="rId336"/>
                </p:custDataLst>
              </p:nvPr>
            </p:nvSpPr>
            <p:spPr bwMode="auto">
              <a:xfrm>
                <a:off x="6809506" y="1984408"/>
                <a:ext cx="63343" cy="66803"/>
              </a:xfrm>
              <a:custGeom>
                <a:avLst/>
                <a:gdLst>
                  <a:gd name="T0" fmla="*/ 24286706 w 113"/>
                  <a:gd name="T1" fmla="*/ 49762382 h 52"/>
                  <a:gd name="T2" fmla="*/ 24071595 w 113"/>
                  <a:gd name="T3" fmla="*/ 53589388 h 52"/>
                  <a:gd name="T4" fmla="*/ 23427188 w 113"/>
                  <a:gd name="T5" fmla="*/ 57417525 h 52"/>
                  <a:gd name="T6" fmla="*/ 22782318 w 113"/>
                  <a:gd name="T7" fmla="*/ 59969239 h 52"/>
                  <a:gd name="T8" fmla="*/ 22137448 w 113"/>
                  <a:gd name="T9" fmla="*/ 62520953 h 52"/>
                  <a:gd name="T10" fmla="*/ 20203302 w 113"/>
                  <a:gd name="T11" fmla="*/ 65072667 h 52"/>
                  <a:gd name="T12" fmla="*/ 18268691 w 113"/>
                  <a:gd name="T13" fmla="*/ 66349089 h 52"/>
                  <a:gd name="T14" fmla="*/ 14185287 w 113"/>
                  <a:gd name="T15" fmla="*/ 66349089 h 52"/>
                  <a:gd name="T16" fmla="*/ 11391159 w 113"/>
                  <a:gd name="T17" fmla="*/ 65072667 h 52"/>
                  <a:gd name="T18" fmla="*/ 10101419 w 113"/>
                  <a:gd name="T19" fmla="*/ 65072667 h 52"/>
                  <a:gd name="T20" fmla="*/ 8381920 w 113"/>
                  <a:gd name="T21" fmla="*/ 61245661 h 52"/>
                  <a:gd name="T22" fmla="*/ 6447773 w 113"/>
                  <a:gd name="T23" fmla="*/ 57417525 h 52"/>
                  <a:gd name="T24" fmla="*/ 4513627 w 113"/>
                  <a:gd name="T25" fmla="*/ 52314096 h 52"/>
                  <a:gd name="T26" fmla="*/ 2794128 w 113"/>
                  <a:gd name="T27" fmla="*/ 45934246 h 52"/>
                  <a:gd name="T28" fmla="*/ 1289740 w 113"/>
                  <a:gd name="T29" fmla="*/ 39554395 h 52"/>
                  <a:gd name="T30" fmla="*/ 859518 w 113"/>
                  <a:gd name="T31" fmla="*/ 35726259 h 52"/>
                  <a:gd name="T32" fmla="*/ 429759 w 113"/>
                  <a:gd name="T33" fmla="*/ 31898123 h 52"/>
                  <a:gd name="T34" fmla="*/ 215111 w 113"/>
                  <a:gd name="T35" fmla="*/ 28071116 h 52"/>
                  <a:gd name="T36" fmla="*/ 0 w 113"/>
                  <a:gd name="T37" fmla="*/ 25519402 h 52"/>
                  <a:gd name="T38" fmla="*/ 215111 w 113"/>
                  <a:gd name="T39" fmla="*/ 19139551 h 52"/>
                  <a:gd name="T40" fmla="*/ 215111 w 113"/>
                  <a:gd name="T41" fmla="*/ 14034993 h 52"/>
                  <a:gd name="T42" fmla="*/ 644870 w 113"/>
                  <a:gd name="T43" fmla="*/ 10207987 h 52"/>
                  <a:gd name="T44" fmla="*/ 1074629 w 113"/>
                  <a:gd name="T45" fmla="*/ 6379850 h 52"/>
                  <a:gd name="T46" fmla="*/ 1504388 w 113"/>
                  <a:gd name="T47" fmla="*/ 3828136 h 52"/>
                  <a:gd name="T48" fmla="*/ 2149258 w 113"/>
                  <a:gd name="T49" fmla="*/ 2551714 h 52"/>
                  <a:gd name="T50" fmla="*/ 3008775 w 113"/>
                  <a:gd name="T51" fmla="*/ 1276422 h 52"/>
                  <a:gd name="T52" fmla="*/ 3653646 w 113"/>
                  <a:gd name="T53" fmla="*/ 0 h 52"/>
                  <a:gd name="T54" fmla="*/ 5588256 w 113"/>
                  <a:gd name="T55" fmla="*/ 0 h 52"/>
                  <a:gd name="T56" fmla="*/ 7737514 w 113"/>
                  <a:gd name="T57" fmla="*/ 2551714 h 52"/>
                  <a:gd name="T58" fmla="*/ 9886771 w 113"/>
                  <a:gd name="T59" fmla="*/ 6379850 h 52"/>
                  <a:gd name="T60" fmla="*/ 12250677 w 113"/>
                  <a:gd name="T61" fmla="*/ 11483279 h 52"/>
                  <a:gd name="T62" fmla="*/ 16549192 w 113"/>
                  <a:gd name="T63" fmla="*/ 22966558 h 52"/>
                  <a:gd name="T64" fmla="*/ 20417949 w 113"/>
                  <a:gd name="T65" fmla="*/ 37002681 h 52"/>
                  <a:gd name="T66" fmla="*/ 23212077 w 113"/>
                  <a:gd name="T67" fmla="*/ 45934246 h 52"/>
                  <a:gd name="T68" fmla="*/ 24286706 w 113"/>
                  <a:gd name="T69" fmla="*/ 49762382 h 5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113" h="52">
                    <a:moveTo>
                      <a:pt x="113" y="39"/>
                    </a:moveTo>
                    <a:lnTo>
                      <a:pt x="112" y="42"/>
                    </a:lnTo>
                    <a:lnTo>
                      <a:pt x="109" y="45"/>
                    </a:lnTo>
                    <a:lnTo>
                      <a:pt x="106" y="47"/>
                    </a:lnTo>
                    <a:lnTo>
                      <a:pt x="103" y="49"/>
                    </a:lnTo>
                    <a:lnTo>
                      <a:pt x="94" y="51"/>
                    </a:lnTo>
                    <a:lnTo>
                      <a:pt x="85" y="52"/>
                    </a:lnTo>
                    <a:lnTo>
                      <a:pt x="66" y="52"/>
                    </a:lnTo>
                    <a:lnTo>
                      <a:pt x="53" y="51"/>
                    </a:lnTo>
                    <a:lnTo>
                      <a:pt x="47" y="51"/>
                    </a:lnTo>
                    <a:lnTo>
                      <a:pt x="39" y="48"/>
                    </a:lnTo>
                    <a:lnTo>
                      <a:pt x="30" y="45"/>
                    </a:lnTo>
                    <a:lnTo>
                      <a:pt x="21" y="41"/>
                    </a:lnTo>
                    <a:lnTo>
                      <a:pt x="13" y="36"/>
                    </a:lnTo>
                    <a:lnTo>
                      <a:pt x="6" y="31"/>
                    </a:lnTo>
                    <a:lnTo>
                      <a:pt x="4" y="28"/>
                    </a:lnTo>
                    <a:lnTo>
                      <a:pt x="2" y="25"/>
                    </a:lnTo>
                    <a:lnTo>
                      <a:pt x="1" y="22"/>
                    </a:lnTo>
                    <a:lnTo>
                      <a:pt x="0" y="20"/>
                    </a:lnTo>
                    <a:lnTo>
                      <a:pt x="1" y="15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7" y="3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7" y="0"/>
                    </a:lnTo>
                    <a:lnTo>
                      <a:pt x="26" y="0"/>
                    </a:lnTo>
                    <a:lnTo>
                      <a:pt x="36" y="2"/>
                    </a:lnTo>
                    <a:lnTo>
                      <a:pt x="46" y="5"/>
                    </a:lnTo>
                    <a:lnTo>
                      <a:pt x="57" y="9"/>
                    </a:lnTo>
                    <a:lnTo>
                      <a:pt x="77" y="18"/>
                    </a:lnTo>
                    <a:lnTo>
                      <a:pt x="95" y="29"/>
                    </a:lnTo>
                    <a:lnTo>
                      <a:pt x="108" y="36"/>
                    </a:lnTo>
                    <a:lnTo>
                      <a:pt x="113" y="3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899" name="Freeform 499">
                <a:extLst>
                  <a:ext uri="{FF2B5EF4-FFF2-40B4-BE49-F238E27FC236}">
                    <a16:creationId xmlns:a16="http://schemas.microsoft.com/office/drawing/2014/main" id="{1BC42DA3-5034-4EE8-BCE3-258573D2597D}"/>
                  </a:ext>
                </a:extLst>
              </p:cNvPr>
              <p:cNvSpPr>
                <a:spLocks/>
              </p:cNvSpPr>
              <p:nvPr>
                <p:custDataLst>
                  <p:tags r:id="rId337"/>
                </p:custDataLst>
              </p:nvPr>
            </p:nvSpPr>
            <p:spPr bwMode="auto">
              <a:xfrm>
                <a:off x="6534413" y="1954522"/>
                <a:ext cx="74202" cy="65046"/>
              </a:xfrm>
              <a:custGeom>
                <a:avLst/>
                <a:gdLst>
                  <a:gd name="T0" fmla="*/ 0 w 139"/>
                  <a:gd name="T1" fmla="*/ 17249588 h 40"/>
                  <a:gd name="T2" fmla="*/ 1586996 w 139"/>
                  <a:gd name="T3" fmla="*/ 19406705 h 40"/>
                  <a:gd name="T4" fmla="*/ 3769505 w 139"/>
                  <a:gd name="T5" fmla="*/ 17249588 h 40"/>
                  <a:gd name="T6" fmla="*/ 5951569 w 139"/>
                  <a:gd name="T7" fmla="*/ 15093941 h 40"/>
                  <a:gd name="T8" fmla="*/ 8332286 w 139"/>
                  <a:gd name="T9" fmla="*/ 10781176 h 40"/>
                  <a:gd name="T10" fmla="*/ 10514796 w 139"/>
                  <a:gd name="T11" fmla="*/ 4312764 h 40"/>
                  <a:gd name="T12" fmla="*/ 12696860 w 139"/>
                  <a:gd name="T13" fmla="*/ 2155648 h 40"/>
                  <a:gd name="T14" fmla="*/ 14482508 w 139"/>
                  <a:gd name="T15" fmla="*/ 0 h 40"/>
                  <a:gd name="T16" fmla="*/ 15871297 w 139"/>
                  <a:gd name="T17" fmla="*/ 4312764 h 40"/>
                  <a:gd name="T18" fmla="*/ 27576228 w 139"/>
                  <a:gd name="T19" fmla="*/ 84095231 h 40"/>
                  <a:gd name="T20" fmla="*/ 26386093 w 139"/>
                  <a:gd name="T21" fmla="*/ 86250879 h 40"/>
                  <a:gd name="T22" fmla="*/ 24798651 w 139"/>
                  <a:gd name="T23" fmla="*/ 84095231 h 40"/>
                  <a:gd name="T24" fmla="*/ 23013448 w 139"/>
                  <a:gd name="T25" fmla="*/ 81938115 h 40"/>
                  <a:gd name="T26" fmla="*/ 21029146 w 139"/>
                  <a:gd name="T27" fmla="*/ 77625351 h 40"/>
                  <a:gd name="T28" fmla="*/ 17061433 w 139"/>
                  <a:gd name="T29" fmla="*/ 64688527 h 40"/>
                  <a:gd name="T30" fmla="*/ 12696860 w 139"/>
                  <a:gd name="T31" fmla="*/ 51750234 h 40"/>
                  <a:gd name="T32" fmla="*/ 8729147 w 139"/>
                  <a:gd name="T33" fmla="*/ 34500645 h 40"/>
                  <a:gd name="T34" fmla="*/ 5158294 w 139"/>
                  <a:gd name="T35" fmla="*/ 23719469 h 40"/>
                  <a:gd name="T36" fmla="*/ 3372645 w 139"/>
                  <a:gd name="T37" fmla="*/ 19406705 h 40"/>
                  <a:gd name="T38" fmla="*/ 2182509 w 139"/>
                  <a:gd name="T39" fmla="*/ 15093941 h 40"/>
                  <a:gd name="T40" fmla="*/ 793721 w 139"/>
                  <a:gd name="T41" fmla="*/ 15093941 h 40"/>
                  <a:gd name="T42" fmla="*/ 0 w 139"/>
                  <a:gd name="T43" fmla="*/ 17249588 h 4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39" h="40">
                    <a:moveTo>
                      <a:pt x="0" y="8"/>
                    </a:moveTo>
                    <a:lnTo>
                      <a:pt x="8" y="9"/>
                    </a:lnTo>
                    <a:lnTo>
                      <a:pt x="19" y="8"/>
                    </a:lnTo>
                    <a:lnTo>
                      <a:pt x="30" y="7"/>
                    </a:lnTo>
                    <a:lnTo>
                      <a:pt x="42" y="5"/>
                    </a:lnTo>
                    <a:lnTo>
                      <a:pt x="53" y="2"/>
                    </a:lnTo>
                    <a:lnTo>
                      <a:pt x="64" y="1"/>
                    </a:lnTo>
                    <a:lnTo>
                      <a:pt x="73" y="0"/>
                    </a:lnTo>
                    <a:lnTo>
                      <a:pt x="80" y="2"/>
                    </a:lnTo>
                    <a:lnTo>
                      <a:pt x="139" y="39"/>
                    </a:lnTo>
                    <a:lnTo>
                      <a:pt x="133" y="40"/>
                    </a:lnTo>
                    <a:lnTo>
                      <a:pt x="125" y="39"/>
                    </a:lnTo>
                    <a:lnTo>
                      <a:pt x="116" y="38"/>
                    </a:lnTo>
                    <a:lnTo>
                      <a:pt x="106" y="36"/>
                    </a:lnTo>
                    <a:lnTo>
                      <a:pt x="86" y="30"/>
                    </a:lnTo>
                    <a:lnTo>
                      <a:pt x="64" y="24"/>
                    </a:lnTo>
                    <a:lnTo>
                      <a:pt x="44" y="16"/>
                    </a:lnTo>
                    <a:lnTo>
                      <a:pt x="26" y="11"/>
                    </a:lnTo>
                    <a:lnTo>
                      <a:pt x="17" y="9"/>
                    </a:lnTo>
                    <a:lnTo>
                      <a:pt x="11" y="7"/>
                    </a:lnTo>
                    <a:lnTo>
                      <a:pt x="4" y="7"/>
                    </a:lnTo>
                    <a:lnTo>
                      <a:pt x="0" y="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0" name="Freeform 500">
                <a:extLst>
                  <a:ext uri="{FF2B5EF4-FFF2-40B4-BE49-F238E27FC236}">
                    <a16:creationId xmlns:a16="http://schemas.microsoft.com/office/drawing/2014/main" id="{63BEECA7-4F91-4F8D-ADA5-24F00F73090D}"/>
                  </a:ext>
                </a:extLst>
              </p:cNvPr>
              <p:cNvSpPr>
                <a:spLocks/>
              </p:cNvSpPr>
              <p:nvPr>
                <p:custDataLst>
                  <p:tags r:id="rId338"/>
                </p:custDataLst>
              </p:nvPr>
            </p:nvSpPr>
            <p:spPr bwMode="auto">
              <a:xfrm>
                <a:off x="6896378" y="1887719"/>
                <a:ext cx="168313" cy="65046"/>
              </a:xfrm>
              <a:custGeom>
                <a:avLst/>
                <a:gdLst>
                  <a:gd name="T0" fmla="*/ 1847479 w 325"/>
                  <a:gd name="T1" fmla="*/ 4535778 h 71"/>
                  <a:gd name="T2" fmla="*/ 5727700 w 325"/>
                  <a:gd name="T3" fmla="*/ 647968 h 71"/>
                  <a:gd name="T4" fmla="*/ 9792755 w 325"/>
                  <a:gd name="T5" fmla="*/ 0 h 71"/>
                  <a:gd name="T6" fmla="*/ 13488142 w 325"/>
                  <a:gd name="T7" fmla="*/ 2591873 h 71"/>
                  <a:gd name="T8" fmla="*/ 16998696 w 325"/>
                  <a:gd name="T9" fmla="*/ 6478878 h 71"/>
                  <a:gd name="T10" fmla="*/ 20324416 w 325"/>
                  <a:gd name="T11" fmla="*/ 11662625 h 71"/>
                  <a:gd name="T12" fmla="*/ 22541562 w 325"/>
                  <a:gd name="T13" fmla="*/ 18789471 h 71"/>
                  <a:gd name="T14" fmla="*/ 24019803 w 325"/>
                  <a:gd name="T15" fmla="*/ 24620381 h 71"/>
                  <a:gd name="T16" fmla="*/ 25128376 w 325"/>
                  <a:gd name="T17" fmla="*/ 22029313 h 71"/>
                  <a:gd name="T18" fmla="*/ 25682878 w 325"/>
                  <a:gd name="T19" fmla="*/ 9718720 h 71"/>
                  <a:gd name="T20" fmla="*/ 29747503 w 325"/>
                  <a:gd name="T21" fmla="*/ 4535778 h 71"/>
                  <a:gd name="T22" fmla="*/ 39909926 w 325"/>
                  <a:gd name="T23" fmla="*/ 8422783 h 71"/>
                  <a:gd name="T24" fmla="*/ 47669938 w 325"/>
                  <a:gd name="T25" fmla="*/ 14901661 h 71"/>
                  <a:gd name="T26" fmla="*/ 52289065 w 325"/>
                  <a:gd name="T27" fmla="*/ 20733376 h 71"/>
                  <a:gd name="T28" fmla="*/ 56354120 w 325"/>
                  <a:gd name="T29" fmla="*/ 27860223 h 71"/>
                  <a:gd name="T30" fmla="*/ 59125768 w 325"/>
                  <a:gd name="T31" fmla="*/ 35635037 h 71"/>
                  <a:gd name="T32" fmla="*/ 58386433 w 325"/>
                  <a:gd name="T33" fmla="*/ 41465947 h 71"/>
                  <a:gd name="T34" fmla="*/ 54321808 w 325"/>
                  <a:gd name="T35" fmla="*/ 44057820 h 71"/>
                  <a:gd name="T36" fmla="*/ 47854772 w 325"/>
                  <a:gd name="T37" fmla="*/ 46001725 h 71"/>
                  <a:gd name="T38" fmla="*/ 38801353 w 325"/>
                  <a:gd name="T39" fmla="*/ 45353757 h 71"/>
                  <a:gd name="T40" fmla="*/ 30856076 w 325"/>
                  <a:gd name="T41" fmla="*/ 44057820 h 71"/>
                  <a:gd name="T42" fmla="*/ 24574305 w 325"/>
                  <a:gd name="T43" fmla="*/ 44705789 h 71"/>
                  <a:gd name="T44" fmla="*/ 16629028 w 325"/>
                  <a:gd name="T45" fmla="*/ 46001725 h 71"/>
                  <a:gd name="T46" fmla="*/ 13303309 w 325"/>
                  <a:gd name="T47" fmla="*/ 44057820 h 71"/>
                  <a:gd name="T48" fmla="*/ 12379569 w 325"/>
                  <a:gd name="T49" fmla="*/ 41465947 h 71"/>
                  <a:gd name="T50" fmla="*/ 10716494 w 325"/>
                  <a:gd name="T51" fmla="*/ 39522847 h 71"/>
                  <a:gd name="T52" fmla="*/ 8499348 w 325"/>
                  <a:gd name="T53" fmla="*/ 38226911 h 71"/>
                  <a:gd name="T54" fmla="*/ 6467035 w 325"/>
                  <a:gd name="T55" fmla="*/ 34339101 h 71"/>
                  <a:gd name="T56" fmla="*/ 4619127 w 325"/>
                  <a:gd name="T57" fmla="*/ 29156159 h 71"/>
                  <a:gd name="T58" fmla="*/ 2956482 w 325"/>
                  <a:gd name="T59" fmla="*/ 25268349 h 71"/>
                  <a:gd name="T60" fmla="*/ 1108573 w 325"/>
                  <a:gd name="T61" fmla="*/ 23972413 h 71"/>
                  <a:gd name="T62" fmla="*/ 0 w 325"/>
                  <a:gd name="T63" fmla="*/ 14253693 h 7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325" h="71">
                    <a:moveTo>
                      <a:pt x="0" y="12"/>
                    </a:moveTo>
                    <a:lnTo>
                      <a:pt x="10" y="7"/>
                    </a:lnTo>
                    <a:lnTo>
                      <a:pt x="20" y="3"/>
                    </a:lnTo>
                    <a:lnTo>
                      <a:pt x="31" y="1"/>
                    </a:lnTo>
                    <a:lnTo>
                      <a:pt x="42" y="0"/>
                    </a:lnTo>
                    <a:lnTo>
                      <a:pt x="53" y="0"/>
                    </a:lnTo>
                    <a:lnTo>
                      <a:pt x="62" y="2"/>
                    </a:lnTo>
                    <a:lnTo>
                      <a:pt x="73" y="4"/>
                    </a:lnTo>
                    <a:lnTo>
                      <a:pt x="83" y="6"/>
                    </a:lnTo>
                    <a:lnTo>
                      <a:pt x="92" y="10"/>
                    </a:lnTo>
                    <a:lnTo>
                      <a:pt x="101" y="14"/>
                    </a:lnTo>
                    <a:lnTo>
                      <a:pt x="110" y="18"/>
                    </a:lnTo>
                    <a:lnTo>
                      <a:pt x="116" y="23"/>
                    </a:lnTo>
                    <a:lnTo>
                      <a:pt x="122" y="29"/>
                    </a:lnTo>
                    <a:lnTo>
                      <a:pt x="127" y="33"/>
                    </a:lnTo>
                    <a:lnTo>
                      <a:pt x="130" y="38"/>
                    </a:lnTo>
                    <a:lnTo>
                      <a:pt x="133" y="43"/>
                    </a:lnTo>
                    <a:lnTo>
                      <a:pt x="136" y="34"/>
                    </a:lnTo>
                    <a:lnTo>
                      <a:pt x="138" y="25"/>
                    </a:lnTo>
                    <a:lnTo>
                      <a:pt x="139" y="15"/>
                    </a:lnTo>
                    <a:lnTo>
                      <a:pt x="139" y="6"/>
                    </a:lnTo>
                    <a:lnTo>
                      <a:pt x="161" y="7"/>
                    </a:lnTo>
                    <a:lnTo>
                      <a:pt x="188" y="9"/>
                    </a:lnTo>
                    <a:lnTo>
                      <a:pt x="216" y="13"/>
                    </a:lnTo>
                    <a:lnTo>
                      <a:pt x="245" y="19"/>
                    </a:lnTo>
                    <a:lnTo>
                      <a:pt x="258" y="23"/>
                    </a:lnTo>
                    <a:lnTo>
                      <a:pt x="271" y="28"/>
                    </a:lnTo>
                    <a:lnTo>
                      <a:pt x="283" y="32"/>
                    </a:lnTo>
                    <a:lnTo>
                      <a:pt x="295" y="37"/>
                    </a:lnTo>
                    <a:lnTo>
                      <a:pt x="305" y="43"/>
                    </a:lnTo>
                    <a:lnTo>
                      <a:pt x="314" y="48"/>
                    </a:lnTo>
                    <a:lnTo>
                      <a:pt x="320" y="55"/>
                    </a:lnTo>
                    <a:lnTo>
                      <a:pt x="325" y="61"/>
                    </a:lnTo>
                    <a:lnTo>
                      <a:pt x="316" y="64"/>
                    </a:lnTo>
                    <a:lnTo>
                      <a:pt x="305" y="67"/>
                    </a:lnTo>
                    <a:lnTo>
                      <a:pt x="294" y="68"/>
                    </a:lnTo>
                    <a:lnTo>
                      <a:pt x="283" y="70"/>
                    </a:lnTo>
                    <a:lnTo>
                      <a:pt x="259" y="71"/>
                    </a:lnTo>
                    <a:lnTo>
                      <a:pt x="234" y="71"/>
                    </a:lnTo>
                    <a:lnTo>
                      <a:pt x="210" y="70"/>
                    </a:lnTo>
                    <a:lnTo>
                      <a:pt x="186" y="69"/>
                    </a:lnTo>
                    <a:lnTo>
                      <a:pt x="167" y="68"/>
                    </a:lnTo>
                    <a:lnTo>
                      <a:pt x="152" y="67"/>
                    </a:lnTo>
                    <a:lnTo>
                      <a:pt x="133" y="69"/>
                    </a:lnTo>
                    <a:lnTo>
                      <a:pt x="104" y="71"/>
                    </a:lnTo>
                    <a:lnTo>
                      <a:pt x="90" y="71"/>
                    </a:lnTo>
                    <a:lnTo>
                      <a:pt x="78" y="70"/>
                    </a:lnTo>
                    <a:lnTo>
                      <a:pt x="72" y="68"/>
                    </a:lnTo>
                    <a:lnTo>
                      <a:pt x="69" y="67"/>
                    </a:lnTo>
                    <a:lnTo>
                      <a:pt x="67" y="64"/>
                    </a:lnTo>
                    <a:lnTo>
                      <a:pt x="66" y="61"/>
                    </a:lnTo>
                    <a:lnTo>
                      <a:pt x="58" y="61"/>
                    </a:lnTo>
                    <a:lnTo>
                      <a:pt x="51" y="60"/>
                    </a:lnTo>
                    <a:lnTo>
                      <a:pt x="46" y="59"/>
                    </a:lnTo>
                    <a:lnTo>
                      <a:pt x="42" y="57"/>
                    </a:lnTo>
                    <a:lnTo>
                      <a:pt x="35" y="53"/>
                    </a:lnTo>
                    <a:lnTo>
                      <a:pt x="31" y="49"/>
                    </a:lnTo>
                    <a:lnTo>
                      <a:pt x="25" y="45"/>
                    </a:lnTo>
                    <a:lnTo>
                      <a:pt x="20" y="41"/>
                    </a:lnTo>
                    <a:lnTo>
                      <a:pt x="16" y="39"/>
                    </a:lnTo>
                    <a:lnTo>
                      <a:pt x="12" y="38"/>
                    </a:lnTo>
                    <a:lnTo>
                      <a:pt x="6" y="37"/>
                    </a:lnTo>
                    <a:lnTo>
                      <a:pt x="0" y="37"/>
                    </a:lnTo>
                    <a:lnTo>
                      <a:pt x="0" y="22"/>
                    </a:lnTo>
                    <a:lnTo>
                      <a:pt x="0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1" name="Freeform 501">
                <a:extLst>
                  <a:ext uri="{FF2B5EF4-FFF2-40B4-BE49-F238E27FC236}">
                    <a16:creationId xmlns:a16="http://schemas.microsoft.com/office/drawing/2014/main" id="{31C86303-CBF0-4101-B4E8-092893CCCCFD}"/>
                  </a:ext>
                </a:extLst>
              </p:cNvPr>
              <p:cNvSpPr>
                <a:spLocks/>
              </p:cNvSpPr>
              <p:nvPr>
                <p:custDataLst>
                  <p:tags r:id="rId339"/>
                </p:custDataLst>
              </p:nvPr>
            </p:nvSpPr>
            <p:spPr bwMode="auto">
              <a:xfrm>
                <a:off x="7090029" y="1896509"/>
                <a:ext cx="114020" cy="65044"/>
              </a:xfrm>
              <a:custGeom>
                <a:avLst/>
                <a:gdLst>
                  <a:gd name="T0" fmla="*/ 16308099 w 220"/>
                  <a:gd name="T1" fmla="*/ 15751175 h 72"/>
                  <a:gd name="T2" fmla="*/ 17245445 w 220"/>
                  <a:gd name="T3" fmla="*/ 16381413 h 72"/>
                  <a:gd name="T4" fmla="*/ 18370261 w 220"/>
                  <a:gd name="T5" fmla="*/ 17010856 h 72"/>
                  <a:gd name="T6" fmla="*/ 18932236 w 220"/>
                  <a:gd name="T7" fmla="*/ 17641094 h 72"/>
                  <a:gd name="T8" fmla="*/ 19494644 w 220"/>
                  <a:gd name="T9" fmla="*/ 17010856 h 72"/>
                  <a:gd name="T10" fmla="*/ 20431991 w 220"/>
                  <a:gd name="T11" fmla="*/ 17010856 h 72"/>
                  <a:gd name="T12" fmla="*/ 21181868 w 220"/>
                  <a:gd name="T13" fmla="*/ 15751175 h 72"/>
                  <a:gd name="T14" fmla="*/ 21369338 w 220"/>
                  <a:gd name="T15" fmla="*/ 16381413 h 72"/>
                  <a:gd name="T16" fmla="*/ 21556807 w 220"/>
                  <a:gd name="T17" fmla="*/ 16381413 h 72"/>
                  <a:gd name="T18" fmla="*/ 21744276 w 220"/>
                  <a:gd name="T19" fmla="*/ 15751175 h 72"/>
                  <a:gd name="T20" fmla="*/ 21931745 w 220"/>
                  <a:gd name="T21" fmla="*/ 15751175 h 72"/>
                  <a:gd name="T22" fmla="*/ 22306684 w 220"/>
                  <a:gd name="T23" fmla="*/ 13861256 h 72"/>
                  <a:gd name="T24" fmla="*/ 22494153 w 220"/>
                  <a:gd name="T25" fmla="*/ 10710863 h 72"/>
                  <a:gd name="T26" fmla="*/ 22494153 w 220"/>
                  <a:gd name="T27" fmla="*/ 4410075 h 72"/>
                  <a:gd name="T28" fmla="*/ 22494153 w 220"/>
                  <a:gd name="T29" fmla="*/ 0 h 72"/>
                  <a:gd name="T30" fmla="*/ 23431067 w 220"/>
                  <a:gd name="T31" fmla="*/ 3150394 h 72"/>
                  <a:gd name="T32" fmla="*/ 24555883 w 220"/>
                  <a:gd name="T33" fmla="*/ 6300788 h 72"/>
                  <a:gd name="T34" fmla="*/ 25680699 w 220"/>
                  <a:gd name="T35" fmla="*/ 9450388 h 72"/>
                  <a:gd name="T36" fmla="*/ 26805515 w 220"/>
                  <a:gd name="T37" fmla="*/ 11970544 h 72"/>
                  <a:gd name="T38" fmla="*/ 29242183 w 220"/>
                  <a:gd name="T39" fmla="*/ 15751175 h 72"/>
                  <a:gd name="T40" fmla="*/ 31866320 w 220"/>
                  <a:gd name="T41" fmla="*/ 18901569 h 72"/>
                  <a:gd name="T42" fmla="*/ 34303422 w 220"/>
                  <a:gd name="T43" fmla="*/ 22051169 h 72"/>
                  <a:gd name="T44" fmla="*/ 36740090 w 220"/>
                  <a:gd name="T45" fmla="*/ 25831800 h 72"/>
                  <a:gd name="T46" fmla="*/ 38052375 w 220"/>
                  <a:gd name="T47" fmla="*/ 27721719 h 72"/>
                  <a:gd name="T48" fmla="*/ 39177191 w 220"/>
                  <a:gd name="T49" fmla="*/ 29611638 h 72"/>
                  <a:gd name="T50" fmla="*/ 40114105 w 220"/>
                  <a:gd name="T51" fmla="*/ 32131794 h 72"/>
                  <a:gd name="T52" fmla="*/ 41238920 w 220"/>
                  <a:gd name="T53" fmla="*/ 34651950 h 72"/>
                  <a:gd name="T54" fmla="*/ 38614783 w 220"/>
                  <a:gd name="T55" fmla="*/ 35282188 h 72"/>
                  <a:gd name="T56" fmla="*/ 36365151 w 220"/>
                  <a:gd name="T57" fmla="*/ 35912425 h 72"/>
                  <a:gd name="T58" fmla="*/ 34115952 w 220"/>
                  <a:gd name="T59" fmla="*/ 36542663 h 72"/>
                  <a:gd name="T60" fmla="*/ 32053790 w 220"/>
                  <a:gd name="T61" fmla="*/ 37802344 h 72"/>
                  <a:gd name="T62" fmla="*/ 28304836 w 220"/>
                  <a:gd name="T63" fmla="*/ 40952738 h 72"/>
                  <a:gd name="T64" fmla="*/ 25118291 w 220"/>
                  <a:gd name="T65" fmla="*/ 44103131 h 72"/>
                  <a:gd name="T66" fmla="*/ 23618536 w 220"/>
                  <a:gd name="T67" fmla="*/ 44732575 h 72"/>
                  <a:gd name="T68" fmla="*/ 21931745 w 220"/>
                  <a:gd name="T69" fmla="*/ 45362813 h 72"/>
                  <a:gd name="T70" fmla="*/ 20619460 w 220"/>
                  <a:gd name="T71" fmla="*/ 45362813 h 72"/>
                  <a:gd name="T72" fmla="*/ 19307175 w 220"/>
                  <a:gd name="T73" fmla="*/ 45362813 h 72"/>
                  <a:gd name="T74" fmla="*/ 17807853 w 220"/>
                  <a:gd name="T75" fmla="*/ 44103131 h 72"/>
                  <a:gd name="T76" fmla="*/ 16495568 w 220"/>
                  <a:gd name="T77" fmla="*/ 41582975 h 72"/>
                  <a:gd name="T78" fmla="*/ 15183283 w 220"/>
                  <a:gd name="T79" fmla="*/ 38432581 h 72"/>
                  <a:gd name="T80" fmla="*/ 13871431 w 220"/>
                  <a:gd name="T81" fmla="*/ 34651950 h 72"/>
                  <a:gd name="T82" fmla="*/ 11059391 w 220"/>
                  <a:gd name="T83" fmla="*/ 33392269 h 72"/>
                  <a:gd name="T84" fmla="*/ 8435253 w 220"/>
                  <a:gd name="T85" fmla="*/ 31502350 h 72"/>
                  <a:gd name="T86" fmla="*/ 6186055 w 220"/>
                  <a:gd name="T87" fmla="*/ 29611638 h 72"/>
                  <a:gd name="T88" fmla="*/ 4123892 w 220"/>
                  <a:gd name="T89" fmla="*/ 27091481 h 72"/>
                  <a:gd name="T90" fmla="*/ 3374015 w 220"/>
                  <a:gd name="T91" fmla="*/ 25831800 h 72"/>
                  <a:gd name="T92" fmla="*/ 2436668 w 220"/>
                  <a:gd name="T93" fmla="*/ 23941881 h 72"/>
                  <a:gd name="T94" fmla="*/ 1687224 w 220"/>
                  <a:gd name="T95" fmla="*/ 22051169 h 72"/>
                  <a:gd name="T96" fmla="*/ 1312285 w 220"/>
                  <a:gd name="T97" fmla="*/ 19531013 h 72"/>
                  <a:gd name="T98" fmla="*/ 562408 w 220"/>
                  <a:gd name="T99" fmla="*/ 17010856 h 72"/>
                  <a:gd name="T100" fmla="*/ 374939 w 220"/>
                  <a:gd name="T101" fmla="*/ 14490700 h 72"/>
                  <a:gd name="T102" fmla="*/ 187469 w 220"/>
                  <a:gd name="T103" fmla="*/ 11341100 h 72"/>
                  <a:gd name="T104" fmla="*/ 0 w 220"/>
                  <a:gd name="T105" fmla="*/ 8190706 h 72"/>
                  <a:gd name="T106" fmla="*/ 4311361 w 220"/>
                  <a:gd name="T107" fmla="*/ 10710863 h 72"/>
                  <a:gd name="T108" fmla="*/ 8247784 w 220"/>
                  <a:gd name="T109" fmla="*/ 13231019 h 72"/>
                  <a:gd name="T110" fmla="*/ 11996738 w 220"/>
                  <a:gd name="T111" fmla="*/ 15120938 h 72"/>
                  <a:gd name="T112" fmla="*/ 16308099 w 220"/>
                  <a:gd name="T113" fmla="*/ 15751175 h 7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220" h="72">
                    <a:moveTo>
                      <a:pt x="87" y="25"/>
                    </a:moveTo>
                    <a:lnTo>
                      <a:pt x="92" y="26"/>
                    </a:lnTo>
                    <a:lnTo>
                      <a:pt x="98" y="27"/>
                    </a:lnTo>
                    <a:lnTo>
                      <a:pt x="101" y="28"/>
                    </a:lnTo>
                    <a:lnTo>
                      <a:pt x="104" y="27"/>
                    </a:lnTo>
                    <a:lnTo>
                      <a:pt x="109" y="27"/>
                    </a:lnTo>
                    <a:lnTo>
                      <a:pt x="113" y="25"/>
                    </a:lnTo>
                    <a:lnTo>
                      <a:pt x="114" y="26"/>
                    </a:lnTo>
                    <a:lnTo>
                      <a:pt x="115" y="26"/>
                    </a:lnTo>
                    <a:lnTo>
                      <a:pt x="116" y="25"/>
                    </a:lnTo>
                    <a:lnTo>
                      <a:pt x="117" y="25"/>
                    </a:lnTo>
                    <a:lnTo>
                      <a:pt x="119" y="22"/>
                    </a:lnTo>
                    <a:lnTo>
                      <a:pt x="120" y="17"/>
                    </a:lnTo>
                    <a:lnTo>
                      <a:pt x="120" y="7"/>
                    </a:lnTo>
                    <a:lnTo>
                      <a:pt x="120" y="0"/>
                    </a:lnTo>
                    <a:lnTo>
                      <a:pt x="125" y="5"/>
                    </a:lnTo>
                    <a:lnTo>
                      <a:pt x="131" y="10"/>
                    </a:lnTo>
                    <a:lnTo>
                      <a:pt x="137" y="15"/>
                    </a:lnTo>
                    <a:lnTo>
                      <a:pt x="143" y="19"/>
                    </a:lnTo>
                    <a:lnTo>
                      <a:pt x="156" y="25"/>
                    </a:lnTo>
                    <a:lnTo>
                      <a:pt x="170" y="30"/>
                    </a:lnTo>
                    <a:lnTo>
                      <a:pt x="183" y="35"/>
                    </a:lnTo>
                    <a:lnTo>
                      <a:pt x="196" y="41"/>
                    </a:lnTo>
                    <a:lnTo>
                      <a:pt x="203" y="44"/>
                    </a:lnTo>
                    <a:lnTo>
                      <a:pt x="209" y="47"/>
                    </a:lnTo>
                    <a:lnTo>
                      <a:pt x="214" y="51"/>
                    </a:lnTo>
                    <a:lnTo>
                      <a:pt x="220" y="55"/>
                    </a:lnTo>
                    <a:lnTo>
                      <a:pt x="206" y="56"/>
                    </a:lnTo>
                    <a:lnTo>
                      <a:pt x="194" y="57"/>
                    </a:lnTo>
                    <a:lnTo>
                      <a:pt x="182" y="58"/>
                    </a:lnTo>
                    <a:lnTo>
                      <a:pt x="171" y="60"/>
                    </a:lnTo>
                    <a:lnTo>
                      <a:pt x="151" y="65"/>
                    </a:lnTo>
                    <a:lnTo>
                      <a:pt x="134" y="70"/>
                    </a:lnTo>
                    <a:lnTo>
                      <a:pt x="126" y="71"/>
                    </a:lnTo>
                    <a:lnTo>
                      <a:pt x="117" y="72"/>
                    </a:lnTo>
                    <a:lnTo>
                      <a:pt x="110" y="72"/>
                    </a:lnTo>
                    <a:lnTo>
                      <a:pt x="103" y="72"/>
                    </a:lnTo>
                    <a:lnTo>
                      <a:pt x="95" y="70"/>
                    </a:lnTo>
                    <a:lnTo>
                      <a:pt x="88" y="66"/>
                    </a:lnTo>
                    <a:lnTo>
                      <a:pt x="81" y="61"/>
                    </a:lnTo>
                    <a:lnTo>
                      <a:pt x="74" y="55"/>
                    </a:lnTo>
                    <a:lnTo>
                      <a:pt x="59" y="53"/>
                    </a:lnTo>
                    <a:lnTo>
                      <a:pt x="45" y="50"/>
                    </a:lnTo>
                    <a:lnTo>
                      <a:pt x="33" y="47"/>
                    </a:lnTo>
                    <a:lnTo>
                      <a:pt x="22" y="43"/>
                    </a:lnTo>
                    <a:lnTo>
                      <a:pt x="18" y="41"/>
                    </a:lnTo>
                    <a:lnTo>
                      <a:pt x="13" y="38"/>
                    </a:lnTo>
                    <a:lnTo>
                      <a:pt x="9" y="35"/>
                    </a:lnTo>
                    <a:lnTo>
                      <a:pt x="7" y="31"/>
                    </a:lnTo>
                    <a:lnTo>
                      <a:pt x="3" y="27"/>
                    </a:lnTo>
                    <a:lnTo>
                      <a:pt x="2" y="23"/>
                    </a:lnTo>
                    <a:lnTo>
                      <a:pt x="1" y="18"/>
                    </a:lnTo>
                    <a:lnTo>
                      <a:pt x="0" y="13"/>
                    </a:lnTo>
                    <a:lnTo>
                      <a:pt x="23" y="17"/>
                    </a:lnTo>
                    <a:lnTo>
                      <a:pt x="44" y="21"/>
                    </a:lnTo>
                    <a:lnTo>
                      <a:pt x="64" y="24"/>
                    </a:lnTo>
                    <a:lnTo>
                      <a:pt x="87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2" name="Freeform 502">
                <a:extLst>
                  <a:ext uri="{FF2B5EF4-FFF2-40B4-BE49-F238E27FC236}">
                    <a16:creationId xmlns:a16="http://schemas.microsoft.com/office/drawing/2014/main" id="{AE951221-5323-4BA0-BDCA-C4DB78A666EB}"/>
                  </a:ext>
                </a:extLst>
              </p:cNvPr>
              <p:cNvSpPr>
                <a:spLocks/>
              </p:cNvSpPr>
              <p:nvPr>
                <p:custDataLst>
                  <p:tags r:id="rId340"/>
                </p:custDataLst>
              </p:nvPr>
            </p:nvSpPr>
            <p:spPr bwMode="auto">
              <a:xfrm>
                <a:off x="7041164" y="1951006"/>
                <a:ext cx="77822" cy="65046"/>
              </a:xfrm>
              <a:custGeom>
                <a:avLst/>
                <a:gdLst>
                  <a:gd name="T0" fmla="*/ 27618151 w 146"/>
                  <a:gd name="T1" fmla="*/ 95835289 h 30"/>
                  <a:gd name="T2" fmla="*/ 26482979 w 146"/>
                  <a:gd name="T3" fmla="*/ 61333175 h 30"/>
                  <a:gd name="T4" fmla="*/ 25915829 w 146"/>
                  <a:gd name="T5" fmla="*/ 34500156 h 30"/>
                  <a:gd name="T6" fmla="*/ 25159048 w 146"/>
                  <a:gd name="T7" fmla="*/ 15334273 h 30"/>
                  <a:gd name="T8" fmla="*/ 24213072 w 146"/>
                  <a:gd name="T9" fmla="*/ 3833568 h 30"/>
                  <a:gd name="T10" fmla="*/ 23834682 w 146"/>
                  <a:gd name="T11" fmla="*/ 3833568 h 30"/>
                  <a:gd name="T12" fmla="*/ 23456726 w 146"/>
                  <a:gd name="T13" fmla="*/ 3833568 h 30"/>
                  <a:gd name="T14" fmla="*/ 22699945 w 146"/>
                  <a:gd name="T15" fmla="*/ 7667136 h 30"/>
                  <a:gd name="T16" fmla="*/ 22321555 w 146"/>
                  <a:gd name="T17" fmla="*/ 11500705 h 30"/>
                  <a:gd name="T18" fmla="*/ 21375579 w 146"/>
                  <a:gd name="T19" fmla="*/ 34500156 h 30"/>
                  <a:gd name="T20" fmla="*/ 19862452 w 146"/>
                  <a:gd name="T21" fmla="*/ 72833880 h 30"/>
                  <a:gd name="T22" fmla="*/ 13619880 w 146"/>
                  <a:gd name="T23" fmla="*/ 72833880 h 30"/>
                  <a:gd name="T24" fmla="*/ 11917558 w 146"/>
                  <a:gd name="T25" fmla="*/ 69000312 h 30"/>
                  <a:gd name="T26" fmla="*/ 10403997 w 146"/>
                  <a:gd name="T27" fmla="*/ 65166744 h 30"/>
                  <a:gd name="T28" fmla="*/ 8890870 w 146"/>
                  <a:gd name="T29" fmla="*/ 53667997 h 30"/>
                  <a:gd name="T30" fmla="*/ 7566503 w 146"/>
                  <a:gd name="T31" fmla="*/ 46000861 h 30"/>
                  <a:gd name="T32" fmla="*/ 5485791 w 146"/>
                  <a:gd name="T33" fmla="*/ 22999451 h 30"/>
                  <a:gd name="T34" fmla="*/ 3594274 w 146"/>
                  <a:gd name="T35" fmla="*/ 0 h 30"/>
                  <a:gd name="T36" fmla="*/ 2648298 w 146"/>
                  <a:gd name="T37" fmla="*/ 34500156 h 30"/>
                  <a:gd name="T38" fmla="*/ 1891517 w 146"/>
                  <a:gd name="T39" fmla="*/ 57501565 h 30"/>
                  <a:gd name="T40" fmla="*/ 756781 w 146"/>
                  <a:gd name="T41" fmla="*/ 76667448 h 30"/>
                  <a:gd name="T42" fmla="*/ 0 w 146"/>
                  <a:gd name="T43" fmla="*/ 95835289 h 30"/>
                  <a:gd name="T44" fmla="*/ 6242572 w 146"/>
                  <a:gd name="T45" fmla="*/ 95835289 h 30"/>
                  <a:gd name="T46" fmla="*/ 10782387 w 146"/>
                  <a:gd name="T47" fmla="*/ 95835289 h 30"/>
                  <a:gd name="T48" fmla="*/ 14565856 w 146"/>
                  <a:gd name="T49" fmla="*/ 95835289 h 30"/>
                  <a:gd name="T50" fmla="*/ 18727281 w 146"/>
                  <a:gd name="T51" fmla="*/ 95835289 h 30"/>
                  <a:gd name="T52" fmla="*/ 20807993 w 146"/>
                  <a:gd name="T53" fmla="*/ 99666900 h 30"/>
                  <a:gd name="T54" fmla="*/ 23267531 w 146"/>
                  <a:gd name="T55" fmla="*/ 111167604 h 30"/>
                  <a:gd name="T56" fmla="*/ 24213072 w 146"/>
                  <a:gd name="T57" fmla="*/ 115001172 h 30"/>
                  <a:gd name="T58" fmla="*/ 25537438 w 146"/>
                  <a:gd name="T59" fmla="*/ 115001172 h 30"/>
                  <a:gd name="T60" fmla="*/ 26482979 w 146"/>
                  <a:gd name="T61" fmla="*/ 107334036 h 30"/>
                  <a:gd name="T62" fmla="*/ 27618151 w 146"/>
                  <a:gd name="T63" fmla="*/ 95835289 h 3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146" h="30">
                    <a:moveTo>
                      <a:pt x="146" y="25"/>
                    </a:moveTo>
                    <a:lnTo>
                      <a:pt x="140" y="16"/>
                    </a:lnTo>
                    <a:lnTo>
                      <a:pt x="137" y="9"/>
                    </a:lnTo>
                    <a:lnTo>
                      <a:pt x="133" y="4"/>
                    </a:lnTo>
                    <a:lnTo>
                      <a:pt x="128" y="1"/>
                    </a:lnTo>
                    <a:lnTo>
                      <a:pt x="126" y="1"/>
                    </a:lnTo>
                    <a:lnTo>
                      <a:pt x="124" y="1"/>
                    </a:lnTo>
                    <a:lnTo>
                      <a:pt x="120" y="2"/>
                    </a:lnTo>
                    <a:lnTo>
                      <a:pt x="118" y="3"/>
                    </a:lnTo>
                    <a:lnTo>
                      <a:pt x="113" y="9"/>
                    </a:lnTo>
                    <a:lnTo>
                      <a:pt x="105" y="19"/>
                    </a:lnTo>
                    <a:lnTo>
                      <a:pt x="72" y="19"/>
                    </a:lnTo>
                    <a:lnTo>
                      <a:pt x="63" y="18"/>
                    </a:lnTo>
                    <a:lnTo>
                      <a:pt x="55" y="17"/>
                    </a:lnTo>
                    <a:lnTo>
                      <a:pt x="47" y="14"/>
                    </a:lnTo>
                    <a:lnTo>
                      <a:pt x="40" y="12"/>
                    </a:lnTo>
                    <a:lnTo>
                      <a:pt x="29" y="6"/>
                    </a:lnTo>
                    <a:lnTo>
                      <a:pt x="19" y="0"/>
                    </a:lnTo>
                    <a:lnTo>
                      <a:pt x="14" y="9"/>
                    </a:lnTo>
                    <a:lnTo>
                      <a:pt x="10" y="15"/>
                    </a:lnTo>
                    <a:lnTo>
                      <a:pt x="4" y="20"/>
                    </a:lnTo>
                    <a:lnTo>
                      <a:pt x="0" y="25"/>
                    </a:lnTo>
                    <a:lnTo>
                      <a:pt x="33" y="25"/>
                    </a:lnTo>
                    <a:lnTo>
                      <a:pt x="57" y="25"/>
                    </a:lnTo>
                    <a:lnTo>
                      <a:pt x="77" y="25"/>
                    </a:lnTo>
                    <a:lnTo>
                      <a:pt x="99" y="25"/>
                    </a:lnTo>
                    <a:lnTo>
                      <a:pt x="110" y="26"/>
                    </a:lnTo>
                    <a:lnTo>
                      <a:pt x="123" y="29"/>
                    </a:lnTo>
                    <a:lnTo>
                      <a:pt x="128" y="30"/>
                    </a:lnTo>
                    <a:lnTo>
                      <a:pt x="135" y="30"/>
                    </a:lnTo>
                    <a:lnTo>
                      <a:pt x="140" y="28"/>
                    </a:lnTo>
                    <a:lnTo>
                      <a:pt x="146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3" name="Freeform 503">
                <a:extLst>
                  <a:ext uri="{FF2B5EF4-FFF2-40B4-BE49-F238E27FC236}">
                    <a16:creationId xmlns:a16="http://schemas.microsoft.com/office/drawing/2014/main" id="{2B0B3830-6CCA-4E89-9F83-7A4AE770D8D0}"/>
                  </a:ext>
                </a:extLst>
              </p:cNvPr>
              <p:cNvSpPr>
                <a:spLocks/>
              </p:cNvSpPr>
              <p:nvPr>
                <p:custDataLst>
                  <p:tags r:id="rId341"/>
                </p:custDataLst>
              </p:nvPr>
            </p:nvSpPr>
            <p:spPr bwMode="auto">
              <a:xfrm>
                <a:off x="7017636" y="1947490"/>
                <a:ext cx="23528" cy="65046"/>
              </a:xfrm>
              <a:custGeom>
                <a:avLst/>
                <a:gdLst>
                  <a:gd name="T0" fmla="*/ 0 w 53"/>
                  <a:gd name="T1" fmla="*/ 383337241 h 9"/>
                  <a:gd name="T2" fmla="*/ 2577289 w 53"/>
                  <a:gd name="T3" fmla="*/ 383337241 h 9"/>
                  <a:gd name="T4" fmla="*/ 4396849 w 53"/>
                  <a:gd name="T5" fmla="*/ 383337241 h 9"/>
                  <a:gd name="T6" fmla="*/ 6064552 w 53"/>
                  <a:gd name="T7" fmla="*/ 383337241 h 9"/>
                  <a:gd name="T8" fmla="*/ 8035581 w 53"/>
                  <a:gd name="T9" fmla="*/ 383337241 h 9"/>
                  <a:gd name="T10" fmla="*/ 6974138 w 53"/>
                  <a:gd name="T11" fmla="*/ 255558161 h 9"/>
                  <a:gd name="T12" fmla="*/ 5761227 w 53"/>
                  <a:gd name="T13" fmla="*/ 127779080 h 9"/>
                  <a:gd name="T14" fmla="*/ 4700174 w 53"/>
                  <a:gd name="T15" fmla="*/ 42590851 h 9"/>
                  <a:gd name="T16" fmla="*/ 3790199 w 53"/>
                  <a:gd name="T17" fmla="*/ 0 h 9"/>
                  <a:gd name="T18" fmla="*/ 2880614 w 53"/>
                  <a:gd name="T19" fmla="*/ 0 h 9"/>
                  <a:gd name="T20" fmla="*/ 2122496 w 53"/>
                  <a:gd name="T21" fmla="*/ 0 h 9"/>
                  <a:gd name="T22" fmla="*/ 1364378 w 53"/>
                  <a:gd name="T23" fmla="*/ 42590851 h 9"/>
                  <a:gd name="T24" fmla="*/ 909586 w 53"/>
                  <a:gd name="T25" fmla="*/ 127779080 h 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3" h="9">
                    <a:moveTo>
                      <a:pt x="0" y="9"/>
                    </a:moveTo>
                    <a:lnTo>
                      <a:pt x="17" y="9"/>
                    </a:lnTo>
                    <a:lnTo>
                      <a:pt x="29" y="9"/>
                    </a:lnTo>
                    <a:lnTo>
                      <a:pt x="40" y="9"/>
                    </a:lnTo>
                    <a:lnTo>
                      <a:pt x="53" y="9"/>
                    </a:lnTo>
                    <a:lnTo>
                      <a:pt x="46" y="6"/>
                    </a:lnTo>
                    <a:lnTo>
                      <a:pt x="38" y="3"/>
                    </a:lnTo>
                    <a:lnTo>
                      <a:pt x="31" y="1"/>
                    </a:lnTo>
                    <a:lnTo>
                      <a:pt x="25" y="0"/>
                    </a:lnTo>
                    <a:lnTo>
                      <a:pt x="19" y="0"/>
                    </a:lnTo>
                    <a:lnTo>
                      <a:pt x="14" y="0"/>
                    </a:lnTo>
                    <a:lnTo>
                      <a:pt x="9" y="1"/>
                    </a:lnTo>
                    <a:lnTo>
                      <a:pt x="6" y="3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4" name="Line 504">
                <a:extLst>
                  <a:ext uri="{FF2B5EF4-FFF2-40B4-BE49-F238E27FC236}">
                    <a16:creationId xmlns:a16="http://schemas.microsoft.com/office/drawing/2014/main" id="{B3FE3903-AC42-468F-8DDE-CAF65A6E63DC}"/>
                  </a:ext>
                </a:extLst>
              </p:cNvPr>
              <p:cNvSpPr>
                <a:spLocks noChangeShapeType="1"/>
              </p:cNvSpPr>
              <p:nvPr>
                <p:custDataLst>
                  <p:tags r:id="rId342"/>
                </p:custDataLst>
              </p:nvPr>
            </p:nvSpPr>
            <p:spPr bwMode="auto">
              <a:xfrm flipV="1">
                <a:off x="7019446" y="1945733"/>
                <a:ext cx="0" cy="1757"/>
              </a:xfrm>
              <a:prstGeom prst="line">
                <a:avLst/>
              </a:prstGeom>
              <a:noFill/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5" name="Freeform 505">
                <a:extLst>
                  <a:ext uri="{FF2B5EF4-FFF2-40B4-BE49-F238E27FC236}">
                    <a16:creationId xmlns:a16="http://schemas.microsoft.com/office/drawing/2014/main" id="{F54B16E9-5898-422A-BF1F-3E69778EF9B8}"/>
                  </a:ext>
                </a:extLst>
              </p:cNvPr>
              <p:cNvSpPr>
                <a:spLocks/>
              </p:cNvSpPr>
              <p:nvPr>
                <p:custDataLst>
                  <p:tags r:id="rId343"/>
                </p:custDataLst>
              </p:nvPr>
            </p:nvSpPr>
            <p:spPr bwMode="auto">
              <a:xfrm>
                <a:off x="6018612" y="1864866"/>
                <a:ext cx="12669" cy="63287"/>
              </a:xfrm>
              <a:custGeom>
                <a:avLst/>
                <a:gdLst>
                  <a:gd name="T0" fmla="*/ 0 w 26"/>
                  <a:gd name="T1" fmla="*/ 123485434 h 25"/>
                  <a:gd name="T2" fmla="*/ 913321 w 26"/>
                  <a:gd name="T3" fmla="*/ 83969739 h 25"/>
                  <a:gd name="T4" fmla="*/ 2374549 w 26"/>
                  <a:gd name="T5" fmla="*/ 39515694 h 25"/>
                  <a:gd name="T6" fmla="*/ 2922456 w 26"/>
                  <a:gd name="T7" fmla="*/ 24696198 h 25"/>
                  <a:gd name="T8" fmla="*/ 3653284 w 26"/>
                  <a:gd name="T9" fmla="*/ 9878924 h 25"/>
                  <a:gd name="T10" fmla="*/ 4201191 w 26"/>
                  <a:gd name="T11" fmla="*/ 4938351 h 25"/>
                  <a:gd name="T12" fmla="*/ 4749098 w 26"/>
                  <a:gd name="T13" fmla="*/ 0 h 25"/>
                  <a:gd name="T14" fmla="*/ 4749098 w 26"/>
                  <a:gd name="T15" fmla="*/ 123485434 h 25"/>
                  <a:gd name="T16" fmla="*/ 3653284 w 26"/>
                  <a:gd name="T17" fmla="*/ 123485434 h 25"/>
                  <a:gd name="T18" fmla="*/ 2374549 w 26"/>
                  <a:gd name="T19" fmla="*/ 123485434 h 25"/>
                  <a:gd name="T20" fmla="*/ 0 w 26"/>
                  <a:gd name="T21" fmla="*/ 123485434 h 2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26" h="25">
                    <a:moveTo>
                      <a:pt x="0" y="25"/>
                    </a:moveTo>
                    <a:lnTo>
                      <a:pt x="5" y="17"/>
                    </a:lnTo>
                    <a:lnTo>
                      <a:pt x="13" y="8"/>
                    </a:lnTo>
                    <a:lnTo>
                      <a:pt x="16" y="5"/>
                    </a:lnTo>
                    <a:lnTo>
                      <a:pt x="20" y="2"/>
                    </a:lnTo>
                    <a:lnTo>
                      <a:pt x="23" y="1"/>
                    </a:lnTo>
                    <a:lnTo>
                      <a:pt x="26" y="0"/>
                    </a:lnTo>
                    <a:lnTo>
                      <a:pt x="26" y="25"/>
                    </a:lnTo>
                    <a:lnTo>
                      <a:pt x="20" y="25"/>
                    </a:lnTo>
                    <a:lnTo>
                      <a:pt x="13" y="25"/>
                    </a:lnTo>
                    <a:lnTo>
                      <a:pt x="0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6" name="Freeform 506">
                <a:extLst>
                  <a:ext uri="{FF2B5EF4-FFF2-40B4-BE49-F238E27FC236}">
                    <a16:creationId xmlns:a16="http://schemas.microsoft.com/office/drawing/2014/main" id="{EECDECD8-3D3D-4B2E-99A0-15A592D4B4A3}"/>
                  </a:ext>
                </a:extLst>
              </p:cNvPr>
              <p:cNvSpPr>
                <a:spLocks/>
              </p:cNvSpPr>
              <p:nvPr>
                <p:custDataLst>
                  <p:tags r:id="rId344"/>
                </p:custDataLst>
              </p:nvPr>
            </p:nvSpPr>
            <p:spPr bwMode="auto">
              <a:xfrm>
                <a:off x="6921715" y="1945733"/>
                <a:ext cx="10859" cy="63287"/>
              </a:xfrm>
              <a:custGeom>
                <a:avLst/>
                <a:gdLst>
                  <a:gd name="T0" fmla="*/ 2749261 w 33"/>
                  <a:gd name="T1" fmla="*/ 130644900 h 25"/>
                  <a:gd name="T2" fmla="*/ 2749261 w 33"/>
                  <a:gd name="T3" fmla="*/ 62709552 h 25"/>
                  <a:gd name="T4" fmla="*/ 2749261 w 33"/>
                  <a:gd name="T5" fmla="*/ 0 h 25"/>
                  <a:gd name="T6" fmla="*/ 0 w 33"/>
                  <a:gd name="T7" fmla="*/ 0 h 25"/>
                  <a:gd name="T8" fmla="*/ 749877 w 33"/>
                  <a:gd name="T9" fmla="*/ 47032164 h 25"/>
                  <a:gd name="T10" fmla="*/ 1332923 w 33"/>
                  <a:gd name="T11" fmla="*/ 88838532 h 25"/>
                  <a:gd name="T12" fmla="*/ 1666298 w 33"/>
                  <a:gd name="T13" fmla="*/ 104515920 h 25"/>
                  <a:gd name="T14" fmla="*/ 1999384 w 33"/>
                  <a:gd name="T15" fmla="*/ 120193308 h 25"/>
                  <a:gd name="T16" fmla="*/ 2332759 w 33"/>
                  <a:gd name="T17" fmla="*/ 125419104 h 25"/>
                  <a:gd name="T18" fmla="*/ 2749261 w 33"/>
                  <a:gd name="T19" fmla="*/ 130644900 h 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33" h="25">
                    <a:moveTo>
                      <a:pt x="33" y="25"/>
                    </a:moveTo>
                    <a:lnTo>
                      <a:pt x="33" y="12"/>
                    </a:lnTo>
                    <a:lnTo>
                      <a:pt x="33" y="0"/>
                    </a:lnTo>
                    <a:lnTo>
                      <a:pt x="0" y="0"/>
                    </a:lnTo>
                    <a:lnTo>
                      <a:pt x="9" y="9"/>
                    </a:lnTo>
                    <a:lnTo>
                      <a:pt x="16" y="17"/>
                    </a:lnTo>
                    <a:lnTo>
                      <a:pt x="20" y="20"/>
                    </a:lnTo>
                    <a:lnTo>
                      <a:pt x="24" y="23"/>
                    </a:lnTo>
                    <a:lnTo>
                      <a:pt x="28" y="24"/>
                    </a:lnTo>
                    <a:lnTo>
                      <a:pt x="33" y="25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7" name="Freeform 507">
                <a:extLst>
                  <a:ext uri="{FF2B5EF4-FFF2-40B4-BE49-F238E27FC236}">
                    <a16:creationId xmlns:a16="http://schemas.microsoft.com/office/drawing/2014/main" id="{BE5768FE-59A9-4ACD-9278-5AA7F1047D6E}"/>
                  </a:ext>
                </a:extLst>
              </p:cNvPr>
              <p:cNvSpPr>
                <a:spLocks/>
              </p:cNvSpPr>
              <p:nvPr>
                <p:custDataLst>
                  <p:tags r:id="rId345"/>
                </p:custDataLst>
              </p:nvPr>
            </p:nvSpPr>
            <p:spPr bwMode="auto">
              <a:xfrm>
                <a:off x="6865610" y="1903541"/>
                <a:ext cx="10859" cy="65044"/>
              </a:xfrm>
              <a:custGeom>
                <a:avLst/>
                <a:gdLst>
                  <a:gd name="T0" fmla="*/ 0 w 20"/>
                  <a:gd name="T1" fmla="*/ 0 h 18"/>
                  <a:gd name="T2" fmla="*/ 2948464 w 20"/>
                  <a:gd name="T3" fmla="*/ 181451250 h 18"/>
                  <a:gd name="T4" fmla="*/ 3629025 w 20"/>
                  <a:gd name="T5" fmla="*/ 110886875 h 18"/>
                  <a:gd name="T6" fmla="*/ 4536281 w 20"/>
                  <a:gd name="T7" fmla="*/ 0 h 18"/>
                  <a:gd name="T8" fmla="*/ 0 w 20"/>
                  <a:gd name="T9" fmla="*/ 0 h 1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0" h="18">
                    <a:moveTo>
                      <a:pt x="0" y="0"/>
                    </a:moveTo>
                    <a:lnTo>
                      <a:pt x="13" y="18"/>
                    </a:lnTo>
                    <a:lnTo>
                      <a:pt x="16" y="11"/>
                    </a:lnTo>
                    <a:lnTo>
                      <a:pt x="20" y="0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8" name="Freeform 508">
                <a:extLst>
                  <a:ext uri="{FF2B5EF4-FFF2-40B4-BE49-F238E27FC236}">
                    <a16:creationId xmlns:a16="http://schemas.microsoft.com/office/drawing/2014/main" id="{F2BD8D4B-4E7E-4A1A-8BA1-DDD44F1741A9}"/>
                  </a:ext>
                </a:extLst>
              </p:cNvPr>
              <p:cNvSpPr>
                <a:spLocks/>
              </p:cNvSpPr>
              <p:nvPr>
                <p:custDataLst>
                  <p:tags r:id="rId346"/>
                </p:custDataLst>
              </p:nvPr>
            </p:nvSpPr>
            <p:spPr bwMode="auto">
              <a:xfrm>
                <a:off x="7468283" y="2545201"/>
                <a:ext cx="16288" cy="66803"/>
              </a:xfrm>
              <a:custGeom>
                <a:avLst/>
                <a:gdLst>
                  <a:gd name="T0" fmla="*/ 0 w 33"/>
                  <a:gd name="T1" fmla="*/ 111295247 h 31"/>
                  <a:gd name="T2" fmla="*/ 0 w 33"/>
                  <a:gd name="T3" fmla="*/ 0 h 31"/>
                  <a:gd name="T4" fmla="*/ 1333115 w 33"/>
                  <a:gd name="T5" fmla="*/ 0 h 31"/>
                  <a:gd name="T6" fmla="*/ 2369897 w 33"/>
                  <a:gd name="T7" fmla="*/ 0 h 31"/>
                  <a:gd name="T8" fmla="*/ 3554461 w 33"/>
                  <a:gd name="T9" fmla="*/ 0 h 31"/>
                  <a:gd name="T10" fmla="*/ 4887576 w 33"/>
                  <a:gd name="T11" fmla="*/ 0 h 31"/>
                  <a:gd name="T12" fmla="*/ 4443076 w 33"/>
                  <a:gd name="T13" fmla="*/ 7181194 h 31"/>
                  <a:gd name="T14" fmla="*/ 4295294 w 33"/>
                  <a:gd name="T15" fmla="*/ 17951091 h 31"/>
                  <a:gd name="T16" fmla="*/ 4147127 w 33"/>
                  <a:gd name="T17" fmla="*/ 32311584 h 31"/>
                  <a:gd name="T18" fmla="*/ 4147127 w 33"/>
                  <a:gd name="T19" fmla="*/ 46672078 h 31"/>
                  <a:gd name="T20" fmla="*/ 4147127 w 33"/>
                  <a:gd name="T21" fmla="*/ 61032572 h 31"/>
                  <a:gd name="T22" fmla="*/ 4295294 w 33"/>
                  <a:gd name="T23" fmla="*/ 75393065 h 31"/>
                  <a:gd name="T24" fmla="*/ 4443076 w 33"/>
                  <a:gd name="T25" fmla="*/ 93344156 h 31"/>
                  <a:gd name="T26" fmla="*/ 4887576 w 33"/>
                  <a:gd name="T27" fmla="*/ 111295247 h 31"/>
                  <a:gd name="T28" fmla="*/ 0 w 33"/>
                  <a:gd name="T29" fmla="*/ 111295247 h 31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33" h="31">
                    <a:moveTo>
                      <a:pt x="0" y="31"/>
                    </a:moveTo>
                    <a:lnTo>
                      <a:pt x="0" y="0"/>
                    </a:lnTo>
                    <a:lnTo>
                      <a:pt x="9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33" y="0"/>
                    </a:lnTo>
                    <a:lnTo>
                      <a:pt x="30" y="2"/>
                    </a:lnTo>
                    <a:lnTo>
                      <a:pt x="29" y="5"/>
                    </a:lnTo>
                    <a:lnTo>
                      <a:pt x="28" y="9"/>
                    </a:lnTo>
                    <a:lnTo>
                      <a:pt x="28" y="13"/>
                    </a:lnTo>
                    <a:lnTo>
                      <a:pt x="28" y="17"/>
                    </a:lnTo>
                    <a:lnTo>
                      <a:pt x="29" y="21"/>
                    </a:lnTo>
                    <a:lnTo>
                      <a:pt x="30" y="26"/>
                    </a:lnTo>
                    <a:lnTo>
                      <a:pt x="33" y="31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09" name="Freeform 509">
                <a:extLst>
                  <a:ext uri="{FF2B5EF4-FFF2-40B4-BE49-F238E27FC236}">
                    <a16:creationId xmlns:a16="http://schemas.microsoft.com/office/drawing/2014/main" id="{C6EF81F9-49B9-4F85-834E-9FB245AFD0A3}"/>
                  </a:ext>
                </a:extLst>
              </p:cNvPr>
              <p:cNvSpPr>
                <a:spLocks/>
              </p:cNvSpPr>
              <p:nvPr>
                <p:custDataLst>
                  <p:tags r:id="rId347"/>
                </p:custDataLst>
              </p:nvPr>
            </p:nvSpPr>
            <p:spPr bwMode="auto">
              <a:xfrm>
                <a:off x="7823009" y="2007261"/>
                <a:ext cx="66963" cy="66803"/>
              </a:xfrm>
              <a:custGeom>
                <a:avLst/>
                <a:gdLst>
                  <a:gd name="T0" fmla="*/ 556491 w 129"/>
                  <a:gd name="T1" fmla="*/ 48406630 h 56"/>
                  <a:gd name="T2" fmla="*/ 185641 w 129"/>
                  <a:gd name="T3" fmla="*/ 46206090 h 56"/>
                  <a:gd name="T4" fmla="*/ 185641 w 129"/>
                  <a:gd name="T5" fmla="*/ 44005551 h 56"/>
                  <a:gd name="T6" fmla="*/ 0 w 129"/>
                  <a:gd name="T7" fmla="*/ 40704741 h 56"/>
                  <a:gd name="T8" fmla="*/ 185641 w 129"/>
                  <a:gd name="T9" fmla="*/ 36304710 h 56"/>
                  <a:gd name="T10" fmla="*/ 370851 w 129"/>
                  <a:gd name="T11" fmla="*/ 27503600 h 56"/>
                  <a:gd name="T12" fmla="*/ 556491 w 129"/>
                  <a:gd name="T13" fmla="*/ 19802760 h 56"/>
                  <a:gd name="T14" fmla="*/ 1669474 w 129"/>
                  <a:gd name="T15" fmla="*/ 14301411 h 56"/>
                  <a:gd name="T16" fmla="*/ 2968529 w 129"/>
                  <a:gd name="T17" fmla="*/ 9901380 h 56"/>
                  <a:gd name="T18" fmla="*/ 3895871 w 129"/>
                  <a:gd name="T19" fmla="*/ 6600570 h 56"/>
                  <a:gd name="T20" fmla="*/ 5008854 w 129"/>
                  <a:gd name="T21" fmla="*/ 5500301 h 56"/>
                  <a:gd name="T22" fmla="*/ 7235250 w 129"/>
                  <a:gd name="T23" fmla="*/ 3300810 h 56"/>
                  <a:gd name="T24" fmla="*/ 10574630 w 129"/>
                  <a:gd name="T25" fmla="*/ 0 h 56"/>
                  <a:gd name="T26" fmla="*/ 11131121 w 129"/>
                  <a:gd name="T27" fmla="*/ 5500301 h 56"/>
                  <a:gd name="T28" fmla="*/ 11873253 w 129"/>
                  <a:gd name="T29" fmla="*/ 8801110 h 56"/>
                  <a:gd name="T30" fmla="*/ 12801026 w 129"/>
                  <a:gd name="T31" fmla="*/ 12101920 h 56"/>
                  <a:gd name="T32" fmla="*/ 13543158 w 129"/>
                  <a:gd name="T33" fmla="*/ 15401681 h 56"/>
                  <a:gd name="T34" fmla="*/ 15398273 w 129"/>
                  <a:gd name="T35" fmla="*/ 19802760 h 56"/>
                  <a:gd name="T36" fmla="*/ 17253388 w 129"/>
                  <a:gd name="T37" fmla="*/ 23102521 h 56"/>
                  <a:gd name="T38" fmla="*/ 19108503 w 129"/>
                  <a:gd name="T39" fmla="*/ 27503600 h 56"/>
                  <a:gd name="T40" fmla="*/ 20963618 w 129"/>
                  <a:gd name="T41" fmla="*/ 31903631 h 56"/>
                  <a:gd name="T42" fmla="*/ 21705751 w 129"/>
                  <a:gd name="T43" fmla="*/ 35204441 h 56"/>
                  <a:gd name="T44" fmla="*/ 22447883 w 129"/>
                  <a:gd name="T45" fmla="*/ 38505250 h 56"/>
                  <a:gd name="T46" fmla="*/ 23375656 w 129"/>
                  <a:gd name="T47" fmla="*/ 41805011 h 56"/>
                  <a:gd name="T48" fmla="*/ 23932147 w 129"/>
                  <a:gd name="T49" fmla="*/ 48406630 h 56"/>
                  <a:gd name="T50" fmla="*/ 22077032 w 129"/>
                  <a:gd name="T51" fmla="*/ 52806661 h 56"/>
                  <a:gd name="T52" fmla="*/ 20221917 w 129"/>
                  <a:gd name="T53" fmla="*/ 56107470 h 56"/>
                  <a:gd name="T54" fmla="*/ 18366371 w 129"/>
                  <a:gd name="T55" fmla="*/ 58306961 h 56"/>
                  <a:gd name="T56" fmla="*/ 16696897 w 129"/>
                  <a:gd name="T57" fmla="*/ 59407231 h 56"/>
                  <a:gd name="T58" fmla="*/ 12986236 w 129"/>
                  <a:gd name="T59" fmla="*/ 61607771 h 56"/>
                  <a:gd name="T60" fmla="*/ 9090365 w 129"/>
                  <a:gd name="T61" fmla="*/ 61607771 h 56"/>
                  <a:gd name="T62" fmla="*/ 7420891 w 129"/>
                  <a:gd name="T63" fmla="*/ 60507501 h 56"/>
                  <a:gd name="T64" fmla="*/ 5750986 w 129"/>
                  <a:gd name="T65" fmla="*/ 59407231 h 56"/>
                  <a:gd name="T66" fmla="*/ 4267152 w 129"/>
                  <a:gd name="T67" fmla="*/ 57207740 h 56"/>
                  <a:gd name="T68" fmla="*/ 2968529 w 129"/>
                  <a:gd name="T69" fmla="*/ 55007201 h 56"/>
                  <a:gd name="T70" fmla="*/ 1112983 w 129"/>
                  <a:gd name="T71" fmla="*/ 50606121 h 56"/>
                  <a:gd name="T72" fmla="*/ 556491 w 129"/>
                  <a:gd name="T73" fmla="*/ 48406630 h 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0" t="0" r="r" b="b"/>
                <a:pathLst>
                  <a:path w="129" h="56">
                    <a:moveTo>
                      <a:pt x="3" y="44"/>
                    </a:moveTo>
                    <a:lnTo>
                      <a:pt x="1" y="42"/>
                    </a:lnTo>
                    <a:lnTo>
                      <a:pt x="1" y="40"/>
                    </a:lnTo>
                    <a:lnTo>
                      <a:pt x="0" y="37"/>
                    </a:lnTo>
                    <a:lnTo>
                      <a:pt x="1" y="33"/>
                    </a:lnTo>
                    <a:lnTo>
                      <a:pt x="2" y="25"/>
                    </a:lnTo>
                    <a:lnTo>
                      <a:pt x="3" y="18"/>
                    </a:lnTo>
                    <a:lnTo>
                      <a:pt x="9" y="13"/>
                    </a:lnTo>
                    <a:lnTo>
                      <a:pt x="16" y="9"/>
                    </a:lnTo>
                    <a:lnTo>
                      <a:pt x="21" y="6"/>
                    </a:lnTo>
                    <a:lnTo>
                      <a:pt x="27" y="5"/>
                    </a:lnTo>
                    <a:lnTo>
                      <a:pt x="39" y="3"/>
                    </a:lnTo>
                    <a:lnTo>
                      <a:pt x="57" y="0"/>
                    </a:lnTo>
                    <a:lnTo>
                      <a:pt x="60" y="5"/>
                    </a:lnTo>
                    <a:lnTo>
                      <a:pt x="64" y="8"/>
                    </a:lnTo>
                    <a:lnTo>
                      <a:pt x="69" y="11"/>
                    </a:lnTo>
                    <a:lnTo>
                      <a:pt x="73" y="14"/>
                    </a:lnTo>
                    <a:lnTo>
                      <a:pt x="83" y="18"/>
                    </a:lnTo>
                    <a:lnTo>
                      <a:pt x="93" y="21"/>
                    </a:lnTo>
                    <a:lnTo>
                      <a:pt x="103" y="25"/>
                    </a:lnTo>
                    <a:lnTo>
                      <a:pt x="113" y="29"/>
                    </a:lnTo>
                    <a:lnTo>
                      <a:pt x="117" y="32"/>
                    </a:lnTo>
                    <a:lnTo>
                      <a:pt x="121" y="35"/>
                    </a:lnTo>
                    <a:lnTo>
                      <a:pt x="126" y="38"/>
                    </a:lnTo>
                    <a:lnTo>
                      <a:pt x="129" y="44"/>
                    </a:lnTo>
                    <a:lnTo>
                      <a:pt x="119" y="48"/>
                    </a:lnTo>
                    <a:lnTo>
                      <a:pt x="109" y="51"/>
                    </a:lnTo>
                    <a:lnTo>
                      <a:pt x="99" y="53"/>
                    </a:lnTo>
                    <a:lnTo>
                      <a:pt x="90" y="54"/>
                    </a:lnTo>
                    <a:lnTo>
                      <a:pt x="70" y="56"/>
                    </a:lnTo>
                    <a:lnTo>
                      <a:pt x="49" y="56"/>
                    </a:lnTo>
                    <a:lnTo>
                      <a:pt x="40" y="55"/>
                    </a:lnTo>
                    <a:lnTo>
                      <a:pt x="31" y="54"/>
                    </a:lnTo>
                    <a:lnTo>
                      <a:pt x="23" y="52"/>
                    </a:lnTo>
                    <a:lnTo>
                      <a:pt x="16" y="50"/>
                    </a:lnTo>
                    <a:lnTo>
                      <a:pt x="6" y="46"/>
                    </a:lnTo>
                    <a:lnTo>
                      <a:pt x="3" y="4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0" name="Freeform 510">
                <a:extLst>
                  <a:ext uri="{FF2B5EF4-FFF2-40B4-BE49-F238E27FC236}">
                    <a16:creationId xmlns:a16="http://schemas.microsoft.com/office/drawing/2014/main" id="{C63B3CB2-B3E1-4F51-8FA8-890E484854AB}"/>
                  </a:ext>
                </a:extLst>
              </p:cNvPr>
              <p:cNvSpPr>
                <a:spLocks/>
              </p:cNvSpPr>
              <p:nvPr>
                <p:custDataLst>
                  <p:tags r:id="rId348"/>
                </p:custDataLst>
              </p:nvPr>
            </p:nvSpPr>
            <p:spPr bwMode="auto">
              <a:xfrm>
                <a:off x="7987702" y="2404563"/>
                <a:ext cx="16289" cy="63287"/>
              </a:xfrm>
              <a:custGeom>
                <a:avLst/>
                <a:gdLst>
                  <a:gd name="T0" fmla="*/ 2550234 w 41"/>
                  <a:gd name="T1" fmla="*/ 77764821 h 42"/>
                  <a:gd name="T2" fmla="*/ 0 w 41"/>
                  <a:gd name="T3" fmla="*/ 55545718 h 42"/>
                  <a:gd name="T4" fmla="*/ 0 w 41"/>
                  <a:gd name="T5" fmla="*/ 11108871 h 42"/>
                  <a:gd name="T6" fmla="*/ 849962 w 41"/>
                  <a:gd name="T7" fmla="*/ 9258300 h 42"/>
                  <a:gd name="T8" fmla="*/ 1700272 w 41"/>
                  <a:gd name="T9" fmla="*/ 5554436 h 42"/>
                  <a:gd name="T10" fmla="*/ 2914752 w 41"/>
                  <a:gd name="T11" fmla="*/ 1851932 h 42"/>
                  <a:gd name="T12" fmla="*/ 4129232 w 41"/>
                  <a:gd name="T13" fmla="*/ 0 h 42"/>
                  <a:gd name="T14" fmla="*/ 4129232 w 41"/>
                  <a:gd name="T15" fmla="*/ 33327975 h 42"/>
                  <a:gd name="T16" fmla="*/ 4979194 w 41"/>
                  <a:gd name="T17" fmla="*/ 33327975 h 42"/>
                  <a:gd name="T18" fmla="*/ 2550234 w 41"/>
                  <a:gd name="T19" fmla="*/ 77764821 h 42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41" h="42">
                    <a:moveTo>
                      <a:pt x="21" y="42"/>
                    </a:moveTo>
                    <a:lnTo>
                      <a:pt x="0" y="30"/>
                    </a:lnTo>
                    <a:lnTo>
                      <a:pt x="0" y="6"/>
                    </a:lnTo>
                    <a:lnTo>
                      <a:pt x="7" y="5"/>
                    </a:lnTo>
                    <a:lnTo>
                      <a:pt x="14" y="3"/>
                    </a:lnTo>
                    <a:lnTo>
                      <a:pt x="24" y="1"/>
                    </a:lnTo>
                    <a:lnTo>
                      <a:pt x="34" y="0"/>
                    </a:lnTo>
                    <a:lnTo>
                      <a:pt x="34" y="18"/>
                    </a:lnTo>
                    <a:lnTo>
                      <a:pt x="41" y="18"/>
                    </a:lnTo>
                    <a:lnTo>
                      <a:pt x="21" y="4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1" name="Freeform 511">
                <a:extLst>
                  <a:ext uri="{FF2B5EF4-FFF2-40B4-BE49-F238E27FC236}">
                    <a16:creationId xmlns:a16="http://schemas.microsoft.com/office/drawing/2014/main" id="{B7D29393-BEE1-4E24-B1BB-30C8913C4E41}"/>
                  </a:ext>
                </a:extLst>
              </p:cNvPr>
              <p:cNvSpPr>
                <a:spLocks/>
              </p:cNvSpPr>
              <p:nvPr>
                <p:custDataLst>
                  <p:tags r:id="rId349"/>
                </p:custDataLst>
              </p:nvPr>
            </p:nvSpPr>
            <p:spPr bwMode="auto">
              <a:xfrm>
                <a:off x="8166876" y="2531137"/>
                <a:ext cx="52484" cy="66803"/>
              </a:xfrm>
              <a:custGeom>
                <a:avLst/>
                <a:gdLst>
                  <a:gd name="T0" fmla="*/ 12745520 w 93"/>
                  <a:gd name="T1" fmla="*/ 21532931 h 39"/>
                  <a:gd name="T2" fmla="*/ 14232360 w 93"/>
                  <a:gd name="T3" fmla="*/ 43065863 h 39"/>
                  <a:gd name="T4" fmla="*/ 16356613 w 93"/>
                  <a:gd name="T5" fmla="*/ 66991686 h 39"/>
                  <a:gd name="T6" fmla="*/ 17206038 w 93"/>
                  <a:gd name="T7" fmla="*/ 78954597 h 39"/>
                  <a:gd name="T8" fmla="*/ 18268395 w 93"/>
                  <a:gd name="T9" fmla="*/ 86133272 h 39"/>
                  <a:gd name="T10" fmla="*/ 19117820 w 93"/>
                  <a:gd name="T11" fmla="*/ 90917509 h 39"/>
                  <a:gd name="T12" fmla="*/ 19755234 w 93"/>
                  <a:gd name="T13" fmla="*/ 93310401 h 39"/>
                  <a:gd name="T14" fmla="*/ 12745520 w 93"/>
                  <a:gd name="T15" fmla="*/ 93310401 h 39"/>
                  <a:gd name="T16" fmla="*/ 10621267 w 93"/>
                  <a:gd name="T17" fmla="*/ 86133272 h 39"/>
                  <a:gd name="T18" fmla="*/ 9133967 w 93"/>
                  <a:gd name="T19" fmla="*/ 76561706 h 39"/>
                  <a:gd name="T20" fmla="*/ 7647128 w 93"/>
                  <a:gd name="T21" fmla="*/ 66991686 h 39"/>
                  <a:gd name="T22" fmla="*/ 6372760 w 93"/>
                  <a:gd name="T23" fmla="*/ 55028774 h 39"/>
                  <a:gd name="T24" fmla="*/ 5097932 w 93"/>
                  <a:gd name="T25" fmla="*/ 43065863 h 39"/>
                  <a:gd name="T26" fmla="*/ 3398621 w 93"/>
                  <a:gd name="T27" fmla="*/ 31102951 h 39"/>
                  <a:gd name="T28" fmla="*/ 1911782 w 93"/>
                  <a:gd name="T29" fmla="*/ 16748695 h 39"/>
                  <a:gd name="T30" fmla="*/ 0 w 93"/>
                  <a:gd name="T31" fmla="*/ 7177128 h 39"/>
                  <a:gd name="T32" fmla="*/ 2336725 w 93"/>
                  <a:gd name="T33" fmla="*/ 2392892 h 39"/>
                  <a:gd name="T34" fmla="*/ 4248507 w 93"/>
                  <a:gd name="T35" fmla="*/ 0 h 39"/>
                  <a:gd name="T36" fmla="*/ 5522875 w 93"/>
                  <a:gd name="T37" fmla="*/ 0 h 39"/>
                  <a:gd name="T38" fmla="*/ 7009714 w 93"/>
                  <a:gd name="T39" fmla="*/ 2392892 h 39"/>
                  <a:gd name="T40" fmla="*/ 9346438 w 93"/>
                  <a:gd name="T41" fmla="*/ 9570020 h 39"/>
                  <a:gd name="T42" fmla="*/ 12745520 w 93"/>
                  <a:gd name="T43" fmla="*/ 21532931 h 39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93" h="39">
                    <a:moveTo>
                      <a:pt x="60" y="9"/>
                    </a:moveTo>
                    <a:lnTo>
                      <a:pt x="67" y="18"/>
                    </a:lnTo>
                    <a:lnTo>
                      <a:pt x="77" y="28"/>
                    </a:lnTo>
                    <a:lnTo>
                      <a:pt x="81" y="33"/>
                    </a:lnTo>
                    <a:lnTo>
                      <a:pt x="86" y="36"/>
                    </a:lnTo>
                    <a:lnTo>
                      <a:pt x="90" y="38"/>
                    </a:lnTo>
                    <a:lnTo>
                      <a:pt x="93" y="39"/>
                    </a:lnTo>
                    <a:lnTo>
                      <a:pt x="60" y="39"/>
                    </a:lnTo>
                    <a:lnTo>
                      <a:pt x="50" y="36"/>
                    </a:lnTo>
                    <a:lnTo>
                      <a:pt x="43" y="32"/>
                    </a:lnTo>
                    <a:lnTo>
                      <a:pt x="36" y="28"/>
                    </a:lnTo>
                    <a:lnTo>
                      <a:pt x="30" y="23"/>
                    </a:lnTo>
                    <a:lnTo>
                      <a:pt x="24" y="18"/>
                    </a:lnTo>
                    <a:lnTo>
                      <a:pt x="16" y="13"/>
                    </a:lnTo>
                    <a:lnTo>
                      <a:pt x="9" y="7"/>
                    </a:lnTo>
                    <a:lnTo>
                      <a:pt x="0" y="3"/>
                    </a:lnTo>
                    <a:lnTo>
                      <a:pt x="11" y="1"/>
                    </a:lnTo>
                    <a:lnTo>
                      <a:pt x="20" y="0"/>
                    </a:lnTo>
                    <a:lnTo>
                      <a:pt x="26" y="0"/>
                    </a:lnTo>
                    <a:lnTo>
                      <a:pt x="33" y="1"/>
                    </a:lnTo>
                    <a:lnTo>
                      <a:pt x="44" y="4"/>
                    </a:lnTo>
                    <a:lnTo>
                      <a:pt x="60" y="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2" name="Freeform 512">
                <a:extLst>
                  <a:ext uri="{FF2B5EF4-FFF2-40B4-BE49-F238E27FC236}">
                    <a16:creationId xmlns:a16="http://schemas.microsoft.com/office/drawing/2014/main" id="{8A8E1016-A19C-46BD-A91D-4B34DCC6C7D5}"/>
                  </a:ext>
                </a:extLst>
              </p:cNvPr>
              <p:cNvSpPr>
                <a:spLocks/>
              </p:cNvSpPr>
              <p:nvPr>
                <p:custDataLst>
                  <p:tags r:id="rId350"/>
                </p:custDataLst>
              </p:nvPr>
            </p:nvSpPr>
            <p:spPr bwMode="auto">
              <a:xfrm>
                <a:off x="8228410" y="2548717"/>
                <a:ext cx="23527" cy="66803"/>
              </a:xfrm>
              <a:custGeom>
                <a:avLst/>
                <a:gdLst>
                  <a:gd name="T0" fmla="*/ 9305192 w 39"/>
                  <a:gd name="T1" fmla="*/ 181586981 h 19"/>
                  <a:gd name="T2" fmla="*/ 3101731 w 39"/>
                  <a:gd name="T3" fmla="*/ 181586981 h 19"/>
                  <a:gd name="T4" fmla="*/ 1908908 w 39"/>
                  <a:gd name="T5" fmla="*/ 181586981 h 19"/>
                  <a:gd name="T6" fmla="*/ 1192823 w 39"/>
                  <a:gd name="T7" fmla="*/ 162472399 h 19"/>
                  <a:gd name="T8" fmla="*/ 715596 w 39"/>
                  <a:gd name="T9" fmla="*/ 133802073 h 19"/>
                  <a:gd name="T10" fmla="*/ 477227 w 39"/>
                  <a:gd name="T11" fmla="*/ 105128654 h 19"/>
                  <a:gd name="T12" fmla="*/ 0 w 39"/>
                  <a:gd name="T13" fmla="*/ 47784909 h 19"/>
                  <a:gd name="T14" fmla="*/ 0 w 39"/>
                  <a:gd name="T15" fmla="*/ 0 h 19"/>
                  <a:gd name="T16" fmla="*/ 3101731 w 39"/>
                  <a:gd name="T17" fmla="*/ 38229164 h 19"/>
                  <a:gd name="T18" fmla="*/ 5249008 w 39"/>
                  <a:gd name="T19" fmla="*/ 86014072 h 19"/>
                  <a:gd name="T20" fmla="*/ 7157915 w 39"/>
                  <a:gd name="T21" fmla="*/ 133802073 h 19"/>
                  <a:gd name="T22" fmla="*/ 9305192 w 39"/>
                  <a:gd name="T23" fmla="*/ 181586981 h 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39" h="19">
                    <a:moveTo>
                      <a:pt x="39" y="19"/>
                    </a:moveTo>
                    <a:lnTo>
                      <a:pt x="13" y="19"/>
                    </a:lnTo>
                    <a:lnTo>
                      <a:pt x="8" y="19"/>
                    </a:lnTo>
                    <a:lnTo>
                      <a:pt x="5" y="17"/>
                    </a:lnTo>
                    <a:lnTo>
                      <a:pt x="3" y="14"/>
                    </a:lnTo>
                    <a:lnTo>
                      <a:pt x="2" y="11"/>
                    </a:lnTo>
                    <a:lnTo>
                      <a:pt x="0" y="5"/>
                    </a:lnTo>
                    <a:lnTo>
                      <a:pt x="0" y="0"/>
                    </a:lnTo>
                    <a:lnTo>
                      <a:pt x="13" y="4"/>
                    </a:lnTo>
                    <a:lnTo>
                      <a:pt x="22" y="9"/>
                    </a:lnTo>
                    <a:lnTo>
                      <a:pt x="30" y="14"/>
                    </a:lnTo>
                    <a:lnTo>
                      <a:pt x="39" y="1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3" name="Freeform 513">
                <a:extLst>
                  <a:ext uri="{FF2B5EF4-FFF2-40B4-BE49-F238E27FC236}">
                    <a16:creationId xmlns:a16="http://schemas.microsoft.com/office/drawing/2014/main" id="{85AD1F82-7577-4878-90F2-2B57CC3B7F7F}"/>
                  </a:ext>
                </a:extLst>
              </p:cNvPr>
              <p:cNvSpPr>
                <a:spLocks/>
              </p:cNvSpPr>
              <p:nvPr>
                <p:custDataLst>
                  <p:tags r:id="rId351"/>
                </p:custDataLst>
              </p:nvPr>
            </p:nvSpPr>
            <p:spPr bwMode="auto">
              <a:xfrm>
                <a:off x="8065525" y="2691113"/>
                <a:ext cx="18098" cy="65044"/>
              </a:xfrm>
              <a:custGeom>
                <a:avLst/>
                <a:gdLst>
                  <a:gd name="T0" fmla="*/ 0 w 26"/>
                  <a:gd name="T1" fmla="*/ 90725625 h 36"/>
                  <a:gd name="T2" fmla="*/ 906126 w 26"/>
                  <a:gd name="T3" fmla="*/ 78125638 h 36"/>
                  <a:gd name="T4" fmla="*/ 3019503 w 26"/>
                  <a:gd name="T5" fmla="*/ 50403125 h 36"/>
                  <a:gd name="T6" fmla="*/ 5435105 w 26"/>
                  <a:gd name="T7" fmla="*/ 20161250 h 36"/>
                  <a:gd name="T8" fmla="*/ 7850707 w 26"/>
                  <a:gd name="T9" fmla="*/ 0 h 36"/>
                  <a:gd name="T10" fmla="*/ 7850707 w 26"/>
                  <a:gd name="T11" fmla="*/ 22682200 h 36"/>
                  <a:gd name="T12" fmla="*/ 7850707 w 26"/>
                  <a:gd name="T13" fmla="*/ 45362813 h 36"/>
                  <a:gd name="T14" fmla="*/ 7549031 w 26"/>
                  <a:gd name="T15" fmla="*/ 55443438 h 36"/>
                  <a:gd name="T16" fmla="*/ 7246806 w 26"/>
                  <a:gd name="T17" fmla="*/ 65524063 h 36"/>
                  <a:gd name="T18" fmla="*/ 6341230 w 26"/>
                  <a:gd name="T19" fmla="*/ 73085325 h 36"/>
                  <a:gd name="T20" fmla="*/ 5133429 w 26"/>
                  <a:gd name="T21" fmla="*/ 80645000 h 36"/>
                  <a:gd name="T22" fmla="*/ 4227304 w 26"/>
                  <a:gd name="T23" fmla="*/ 85685313 h 36"/>
                  <a:gd name="T24" fmla="*/ 3019503 w 26"/>
                  <a:gd name="T25" fmla="*/ 88206263 h 36"/>
                  <a:gd name="T26" fmla="*/ 1207801 w 26"/>
                  <a:gd name="T27" fmla="*/ 90725625 h 36"/>
                  <a:gd name="T28" fmla="*/ 0 w 26"/>
                  <a:gd name="T29" fmla="*/ 90725625 h 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6" h="36">
                    <a:moveTo>
                      <a:pt x="0" y="36"/>
                    </a:moveTo>
                    <a:lnTo>
                      <a:pt x="3" y="31"/>
                    </a:lnTo>
                    <a:lnTo>
                      <a:pt x="10" y="20"/>
                    </a:lnTo>
                    <a:lnTo>
                      <a:pt x="18" y="8"/>
                    </a:lnTo>
                    <a:lnTo>
                      <a:pt x="26" y="0"/>
                    </a:lnTo>
                    <a:lnTo>
                      <a:pt x="26" y="9"/>
                    </a:lnTo>
                    <a:lnTo>
                      <a:pt x="26" y="18"/>
                    </a:lnTo>
                    <a:lnTo>
                      <a:pt x="25" y="22"/>
                    </a:lnTo>
                    <a:lnTo>
                      <a:pt x="24" y="26"/>
                    </a:lnTo>
                    <a:lnTo>
                      <a:pt x="21" y="29"/>
                    </a:lnTo>
                    <a:lnTo>
                      <a:pt x="17" y="32"/>
                    </a:lnTo>
                    <a:lnTo>
                      <a:pt x="14" y="34"/>
                    </a:lnTo>
                    <a:lnTo>
                      <a:pt x="10" y="35"/>
                    </a:lnTo>
                    <a:lnTo>
                      <a:pt x="4" y="36"/>
                    </a:lnTo>
                    <a:lnTo>
                      <a:pt x="0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4" name="Freeform 514">
                <a:extLst>
                  <a:ext uri="{FF2B5EF4-FFF2-40B4-BE49-F238E27FC236}">
                    <a16:creationId xmlns:a16="http://schemas.microsoft.com/office/drawing/2014/main" id="{1D6E59C0-8BFF-41E9-9AED-CF262BE73144}"/>
                  </a:ext>
                </a:extLst>
              </p:cNvPr>
              <p:cNvSpPr>
                <a:spLocks/>
              </p:cNvSpPr>
              <p:nvPr>
                <p:custDataLst>
                  <p:tags r:id="rId352"/>
                </p:custDataLst>
              </p:nvPr>
            </p:nvSpPr>
            <p:spPr bwMode="auto">
              <a:xfrm>
                <a:off x="8080004" y="2722757"/>
                <a:ext cx="3620" cy="68560"/>
              </a:xfrm>
              <a:custGeom>
                <a:avLst/>
                <a:gdLst>
                  <a:gd name="T0" fmla="*/ 0 w 6"/>
                  <a:gd name="T1" fmla="*/ 98354206 h 37"/>
                  <a:gd name="T2" fmla="*/ 0 w 6"/>
                  <a:gd name="T3" fmla="*/ 0 h 37"/>
                  <a:gd name="T4" fmla="*/ 1680104 w 6"/>
                  <a:gd name="T5" fmla="*/ 0 h 37"/>
                  <a:gd name="T6" fmla="*/ 1680104 w 6"/>
                  <a:gd name="T7" fmla="*/ 82405580 h 37"/>
                  <a:gd name="T8" fmla="*/ 0 w 6"/>
                  <a:gd name="T9" fmla="*/ 98354206 h 3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6" h="37">
                    <a:moveTo>
                      <a:pt x="0" y="37"/>
                    </a:moveTo>
                    <a:lnTo>
                      <a:pt x="0" y="0"/>
                    </a:lnTo>
                    <a:lnTo>
                      <a:pt x="6" y="0"/>
                    </a:lnTo>
                    <a:lnTo>
                      <a:pt x="6" y="31"/>
                    </a:lnTo>
                    <a:lnTo>
                      <a:pt x="0" y="37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5" name="Freeform 515">
                <a:extLst>
                  <a:ext uri="{FF2B5EF4-FFF2-40B4-BE49-F238E27FC236}">
                    <a16:creationId xmlns:a16="http://schemas.microsoft.com/office/drawing/2014/main" id="{5D200383-4D4C-499C-AE6C-C30B7AAA98F7}"/>
                  </a:ext>
                </a:extLst>
              </p:cNvPr>
              <p:cNvSpPr>
                <a:spLocks/>
              </p:cNvSpPr>
              <p:nvPr>
                <p:custDataLst>
                  <p:tags r:id="rId353"/>
                </p:custDataLst>
              </p:nvPr>
            </p:nvSpPr>
            <p:spPr bwMode="auto">
              <a:xfrm>
                <a:off x="8063715" y="2815929"/>
                <a:ext cx="12669" cy="63287"/>
              </a:xfrm>
              <a:custGeom>
                <a:avLst/>
                <a:gdLst>
                  <a:gd name="T0" fmla="*/ 0 w 20"/>
                  <a:gd name="T1" fmla="*/ 51760165 h 43"/>
                  <a:gd name="T2" fmla="*/ 0 w 20"/>
                  <a:gd name="T3" fmla="*/ 41742027 h 43"/>
                  <a:gd name="T4" fmla="*/ 0 w 20"/>
                  <a:gd name="T5" fmla="*/ 30054414 h 43"/>
                  <a:gd name="T6" fmla="*/ 453866 w 20"/>
                  <a:gd name="T7" fmla="*/ 15026561 h 43"/>
                  <a:gd name="T8" fmla="*/ 1587818 w 20"/>
                  <a:gd name="T9" fmla="*/ 0 h 43"/>
                  <a:gd name="T10" fmla="*/ 2495074 w 20"/>
                  <a:gd name="T11" fmla="*/ 11687612 h 43"/>
                  <a:gd name="T12" fmla="*/ 3629025 w 20"/>
                  <a:gd name="T13" fmla="*/ 20036276 h 43"/>
                  <a:gd name="T14" fmla="*/ 3855720 w 20"/>
                  <a:gd name="T15" fmla="*/ 23375225 h 43"/>
                  <a:gd name="T16" fmla="*/ 4309586 w 20"/>
                  <a:gd name="T17" fmla="*/ 30054414 h 43"/>
                  <a:gd name="T18" fmla="*/ 4309586 w 20"/>
                  <a:gd name="T19" fmla="*/ 35062837 h 43"/>
                  <a:gd name="T20" fmla="*/ 4536281 w 20"/>
                  <a:gd name="T21" fmla="*/ 41742027 h 43"/>
                  <a:gd name="T22" fmla="*/ 4309586 w 20"/>
                  <a:gd name="T23" fmla="*/ 45080975 h 43"/>
                  <a:gd name="T24" fmla="*/ 4082891 w 20"/>
                  <a:gd name="T25" fmla="*/ 50090691 h 43"/>
                  <a:gd name="T26" fmla="*/ 3629025 w 20"/>
                  <a:gd name="T27" fmla="*/ 55099114 h 43"/>
                  <a:gd name="T28" fmla="*/ 2721769 w 20"/>
                  <a:gd name="T29" fmla="*/ 60108829 h 43"/>
                  <a:gd name="T30" fmla="*/ 2041208 w 20"/>
                  <a:gd name="T31" fmla="*/ 65117252 h 43"/>
                  <a:gd name="T32" fmla="*/ 1361123 w 20"/>
                  <a:gd name="T33" fmla="*/ 68457492 h 43"/>
                  <a:gd name="T34" fmla="*/ 453866 w 20"/>
                  <a:gd name="T35" fmla="*/ 70126967 h 43"/>
                  <a:gd name="T36" fmla="*/ 0 w 20"/>
                  <a:gd name="T37" fmla="*/ 71796441 h 43"/>
                  <a:gd name="T38" fmla="*/ 0 w 20"/>
                  <a:gd name="T39" fmla="*/ 51760165 h 43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0" t="0" r="r" b="b"/>
                <a:pathLst>
                  <a:path w="20" h="43">
                    <a:moveTo>
                      <a:pt x="0" y="31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2" y="9"/>
                    </a:lnTo>
                    <a:lnTo>
                      <a:pt x="7" y="0"/>
                    </a:lnTo>
                    <a:lnTo>
                      <a:pt x="11" y="7"/>
                    </a:lnTo>
                    <a:lnTo>
                      <a:pt x="16" y="12"/>
                    </a:lnTo>
                    <a:lnTo>
                      <a:pt x="17" y="14"/>
                    </a:lnTo>
                    <a:lnTo>
                      <a:pt x="19" y="18"/>
                    </a:lnTo>
                    <a:lnTo>
                      <a:pt x="19" y="21"/>
                    </a:lnTo>
                    <a:lnTo>
                      <a:pt x="20" y="25"/>
                    </a:lnTo>
                    <a:lnTo>
                      <a:pt x="19" y="27"/>
                    </a:lnTo>
                    <a:lnTo>
                      <a:pt x="18" y="30"/>
                    </a:lnTo>
                    <a:lnTo>
                      <a:pt x="16" y="33"/>
                    </a:lnTo>
                    <a:lnTo>
                      <a:pt x="12" y="36"/>
                    </a:lnTo>
                    <a:lnTo>
                      <a:pt x="9" y="39"/>
                    </a:lnTo>
                    <a:lnTo>
                      <a:pt x="6" y="41"/>
                    </a:lnTo>
                    <a:lnTo>
                      <a:pt x="2" y="42"/>
                    </a:lnTo>
                    <a:lnTo>
                      <a:pt x="0" y="43"/>
                    </a:lnTo>
                    <a:lnTo>
                      <a:pt x="0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6" name="Freeform 516">
                <a:extLst>
                  <a:ext uri="{FF2B5EF4-FFF2-40B4-BE49-F238E27FC236}">
                    <a16:creationId xmlns:a16="http://schemas.microsoft.com/office/drawing/2014/main" id="{86A77B43-5E96-4EE0-BB44-4A1F524F75B3}"/>
                  </a:ext>
                </a:extLst>
              </p:cNvPr>
              <p:cNvSpPr>
                <a:spLocks/>
              </p:cNvSpPr>
              <p:nvPr>
                <p:custDataLst>
                  <p:tags r:id="rId354"/>
                </p:custDataLst>
              </p:nvPr>
            </p:nvSpPr>
            <p:spPr bwMode="auto">
              <a:xfrm>
                <a:off x="8036568" y="2856363"/>
                <a:ext cx="0" cy="65044"/>
              </a:xfrm>
              <a:custGeom>
                <a:avLst/>
                <a:gdLst>
                  <a:gd name="T0" fmla="*/ 115005088 h 30"/>
                  <a:gd name="T1" fmla="*/ 95836921 h 30"/>
                  <a:gd name="T2" fmla="*/ 69003444 h 30"/>
                  <a:gd name="T3" fmla="*/ 34500743 h 30"/>
                  <a:gd name="T4" fmla="*/ 0 h 30"/>
                  <a:gd name="T5" fmla="*/ 0 60000 65536"/>
                  <a:gd name="T6" fmla="*/ 0 60000 65536"/>
                  <a:gd name="T7" fmla="*/ 0 60000 65536"/>
                  <a:gd name="T8" fmla="*/ 0 60000 65536"/>
                  <a:gd name="T9" fmla="*/ 0 60000 65536"/>
                </a:gdLst>
                <a:ahLst/>
                <a:cxnLst>
                  <a:cxn ang="T5">
                    <a:pos x="0" y="T0"/>
                  </a:cxn>
                  <a:cxn ang="T6">
                    <a:pos x="0" y="T1"/>
                  </a:cxn>
                  <a:cxn ang="T7">
                    <a:pos x="0" y="T2"/>
                  </a:cxn>
                  <a:cxn ang="T8">
                    <a:pos x="0" y="T3"/>
                  </a:cxn>
                  <a:cxn ang="T9">
                    <a:pos x="0" y="T4"/>
                  </a:cxn>
                </a:cxnLst>
                <a:rect l="0" t="0" r="r" b="b"/>
                <a:pathLst>
                  <a:path h="30">
                    <a:moveTo>
                      <a:pt x="0" y="30"/>
                    </a:moveTo>
                    <a:lnTo>
                      <a:pt x="0" y="25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7" name="Freeform 517">
                <a:extLst>
                  <a:ext uri="{FF2B5EF4-FFF2-40B4-BE49-F238E27FC236}">
                    <a16:creationId xmlns:a16="http://schemas.microsoft.com/office/drawing/2014/main" id="{0BCF0C83-58A4-46F4-8DC9-B8F8FEF97CD8}"/>
                  </a:ext>
                </a:extLst>
              </p:cNvPr>
              <p:cNvSpPr>
                <a:spLocks/>
              </p:cNvSpPr>
              <p:nvPr>
                <p:custDataLst>
                  <p:tags r:id="rId355"/>
                </p:custDataLst>
              </p:nvPr>
            </p:nvSpPr>
            <p:spPr bwMode="auto">
              <a:xfrm>
                <a:off x="8036568" y="2856363"/>
                <a:ext cx="10859" cy="65044"/>
              </a:xfrm>
              <a:custGeom>
                <a:avLst/>
                <a:gdLst>
                  <a:gd name="T0" fmla="*/ 0 w 20"/>
                  <a:gd name="T1" fmla="*/ 0 h 24"/>
                  <a:gd name="T2" fmla="*/ 3150592 w 20"/>
                  <a:gd name="T3" fmla="*/ 0 h 24"/>
                  <a:gd name="T4" fmla="*/ 0 w 20"/>
                  <a:gd name="T5" fmla="*/ 143756360 h 2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0" h="24">
                    <a:moveTo>
                      <a:pt x="0" y="0"/>
                    </a:moveTo>
                    <a:lnTo>
                      <a:pt x="20" y="0"/>
                    </a:lnTo>
                    <a:lnTo>
                      <a:pt x="0" y="2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8" name="Freeform 518">
                <a:extLst>
                  <a:ext uri="{FF2B5EF4-FFF2-40B4-BE49-F238E27FC236}">
                    <a16:creationId xmlns:a16="http://schemas.microsoft.com/office/drawing/2014/main" id="{FAFA5A23-8DDD-4EA3-A4AE-FF9D7DAEA7CD}"/>
                  </a:ext>
                </a:extLst>
              </p:cNvPr>
              <p:cNvSpPr>
                <a:spLocks/>
              </p:cNvSpPr>
              <p:nvPr>
                <p:custDataLst>
                  <p:tags r:id="rId356"/>
                </p:custDataLst>
              </p:nvPr>
            </p:nvSpPr>
            <p:spPr bwMode="auto">
              <a:xfrm>
                <a:off x="7739757" y="2392258"/>
                <a:ext cx="21718" cy="66803"/>
              </a:xfrm>
              <a:custGeom>
                <a:avLst/>
                <a:gdLst>
                  <a:gd name="T0" fmla="*/ 0 w 46"/>
                  <a:gd name="T1" fmla="*/ 0 h 19"/>
                  <a:gd name="T2" fmla="*/ 1296743 w 46"/>
                  <a:gd name="T3" fmla="*/ 30241875 h 19"/>
                  <a:gd name="T4" fmla="*/ 2017620 w 46"/>
                  <a:gd name="T5" fmla="*/ 50403125 h 19"/>
                  <a:gd name="T6" fmla="*/ 2738118 w 46"/>
                  <a:gd name="T7" fmla="*/ 80645000 h 19"/>
                  <a:gd name="T8" fmla="*/ 3314364 w 46"/>
                  <a:gd name="T9" fmla="*/ 100806250 h 19"/>
                  <a:gd name="T10" fmla="*/ 3746738 w 46"/>
                  <a:gd name="T11" fmla="*/ 120967500 h 19"/>
                  <a:gd name="T12" fmla="*/ 4611107 w 46"/>
                  <a:gd name="T13" fmla="*/ 141128750 h 19"/>
                  <a:gd name="T14" fmla="*/ 5331984 w 46"/>
                  <a:gd name="T15" fmla="*/ 171370625 h 19"/>
                  <a:gd name="T16" fmla="*/ 6628727 w 46"/>
                  <a:gd name="T17" fmla="*/ 191531875 h 19"/>
                  <a:gd name="T18" fmla="*/ 4755358 w 46"/>
                  <a:gd name="T19" fmla="*/ 191531875 h 19"/>
                  <a:gd name="T20" fmla="*/ 3458615 w 46"/>
                  <a:gd name="T21" fmla="*/ 191531875 h 19"/>
                  <a:gd name="T22" fmla="*/ 2593866 w 46"/>
                  <a:gd name="T23" fmla="*/ 181451250 h 19"/>
                  <a:gd name="T24" fmla="*/ 1873369 w 46"/>
                  <a:gd name="T25" fmla="*/ 171370625 h 19"/>
                  <a:gd name="T26" fmla="*/ 1440995 w 46"/>
                  <a:gd name="T27" fmla="*/ 141128750 h 19"/>
                  <a:gd name="T28" fmla="*/ 1008620 w 46"/>
                  <a:gd name="T29" fmla="*/ 110886875 h 19"/>
                  <a:gd name="T30" fmla="*/ 576246 w 46"/>
                  <a:gd name="T31" fmla="*/ 70564375 h 19"/>
                  <a:gd name="T32" fmla="*/ 0 w 46"/>
                  <a:gd name="T33" fmla="*/ 0 h 1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46" h="19">
                    <a:moveTo>
                      <a:pt x="0" y="0"/>
                    </a:moveTo>
                    <a:lnTo>
                      <a:pt x="9" y="3"/>
                    </a:lnTo>
                    <a:lnTo>
                      <a:pt x="14" y="5"/>
                    </a:lnTo>
                    <a:lnTo>
                      <a:pt x="19" y="8"/>
                    </a:lnTo>
                    <a:lnTo>
                      <a:pt x="23" y="10"/>
                    </a:lnTo>
                    <a:lnTo>
                      <a:pt x="26" y="12"/>
                    </a:lnTo>
                    <a:lnTo>
                      <a:pt x="32" y="14"/>
                    </a:lnTo>
                    <a:lnTo>
                      <a:pt x="37" y="17"/>
                    </a:lnTo>
                    <a:lnTo>
                      <a:pt x="46" y="19"/>
                    </a:lnTo>
                    <a:lnTo>
                      <a:pt x="33" y="19"/>
                    </a:lnTo>
                    <a:lnTo>
                      <a:pt x="24" y="19"/>
                    </a:lnTo>
                    <a:lnTo>
                      <a:pt x="18" y="18"/>
                    </a:lnTo>
                    <a:lnTo>
                      <a:pt x="13" y="17"/>
                    </a:lnTo>
                    <a:lnTo>
                      <a:pt x="10" y="14"/>
                    </a:lnTo>
                    <a:lnTo>
                      <a:pt x="7" y="11"/>
                    </a:lnTo>
                    <a:lnTo>
                      <a:pt x="4" y="7"/>
                    </a:lnTo>
                    <a:lnTo>
                      <a:pt x="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19" name="Freeform 519">
                <a:extLst>
                  <a:ext uri="{FF2B5EF4-FFF2-40B4-BE49-F238E27FC236}">
                    <a16:creationId xmlns:a16="http://schemas.microsoft.com/office/drawing/2014/main" id="{6591B69F-F7C3-483A-B377-B5FCD1C79327}"/>
                  </a:ext>
                </a:extLst>
              </p:cNvPr>
              <p:cNvSpPr>
                <a:spLocks/>
              </p:cNvSpPr>
              <p:nvPr>
                <p:custDataLst>
                  <p:tags r:id="rId357"/>
                </p:custDataLst>
              </p:nvPr>
            </p:nvSpPr>
            <p:spPr bwMode="auto">
              <a:xfrm>
                <a:off x="4503788" y="2548717"/>
                <a:ext cx="57914" cy="66803"/>
              </a:xfrm>
              <a:custGeom>
                <a:avLst/>
                <a:gdLst>
                  <a:gd name="T0" fmla="*/ 7484745 w 100"/>
                  <a:gd name="T1" fmla="*/ 0 h 55"/>
                  <a:gd name="T2" fmla="*/ 22681406 w 100"/>
                  <a:gd name="T3" fmla="*/ 13687022 h 55"/>
                  <a:gd name="T4" fmla="*/ 22681406 w 100"/>
                  <a:gd name="T5" fmla="*/ 62730048 h 55"/>
                  <a:gd name="T6" fmla="*/ 2948464 w 100"/>
                  <a:gd name="T7" fmla="*/ 62730048 h 55"/>
                  <a:gd name="T8" fmla="*/ 0 w 100"/>
                  <a:gd name="T9" fmla="*/ 49043026 h 55"/>
                  <a:gd name="T10" fmla="*/ 226695 w 100"/>
                  <a:gd name="T11" fmla="*/ 43341168 h 55"/>
                  <a:gd name="T12" fmla="*/ 907256 w 100"/>
                  <a:gd name="T13" fmla="*/ 36497657 h 55"/>
                  <a:gd name="T14" fmla="*/ 2268379 w 100"/>
                  <a:gd name="T15" fmla="*/ 28513561 h 55"/>
                  <a:gd name="T16" fmla="*/ 3629025 w 100"/>
                  <a:gd name="T17" fmla="*/ 20529465 h 55"/>
                  <a:gd name="T18" fmla="*/ 6124099 w 100"/>
                  <a:gd name="T19" fmla="*/ 5702926 h 55"/>
                  <a:gd name="T20" fmla="*/ 7484745 w 100"/>
                  <a:gd name="T21" fmla="*/ 0 h 5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100" h="55">
                    <a:moveTo>
                      <a:pt x="33" y="0"/>
                    </a:moveTo>
                    <a:lnTo>
                      <a:pt x="100" y="12"/>
                    </a:lnTo>
                    <a:lnTo>
                      <a:pt x="100" y="55"/>
                    </a:lnTo>
                    <a:lnTo>
                      <a:pt x="13" y="55"/>
                    </a:lnTo>
                    <a:lnTo>
                      <a:pt x="0" y="43"/>
                    </a:lnTo>
                    <a:lnTo>
                      <a:pt x="1" y="38"/>
                    </a:lnTo>
                    <a:lnTo>
                      <a:pt x="4" y="32"/>
                    </a:lnTo>
                    <a:lnTo>
                      <a:pt x="10" y="25"/>
                    </a:lnTo>
                    <a:lnTo>
                      <a:pt x="16" y="18"/>
                    </a:lnTo>
                    <a:lnTo>
                      <a:pt x="27" y="5"/>
                    </a:lnTo>
                    <a:lnTo>
                      <a:pt x="3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20" name="Freeform 520">
                <a:extLst>
                  <a:ext uri="{FF2B5EF4-FFF2-40B4-BE49-F238E27FC236}">
                    <a16:creationId xmlns:a16="http://schemas.microsoft.com/office/drawing/2014/main" id="{E0AAEB47-B899-4489-98EE-DE96BE69B554}"/>
                  </a:ext>
                </a:extLst>
              </p:cNvPr>
              <p:cNvSpPr>
                <a:spLocks/>
              </p:cNvSpPr>
              <p:nvPr>
                <p:custDataLst>
                  <p:tags r:id="rId358"/>
                </p:custDataLst>
              </p:nvPr>
            </p:nvSpPr>
            <p:spPr bwMode="auto">
              <a:xfrm>
                <a:off x="5044925" y="2089886"/>
                <a:ext cx="52486" cy="66803"/>
              </a:xfrm>
              <a:custGeom>
                <a:avLst/>
                <a:gdLst>
                  <a:gd name="T0" fmla="*/ 9934459 w 99"/>
                  <a:gd name="T1" fmla="*/ 2652379 h 51"/>
                  <a:gd name="T2" fmla="*/ 10871795 w 99"/>
                  <a:gd name="T3" fmla="*/ 1326765 h 51"/>
                  <a:gd name="T4" fmla="*/ 11621663 w 99"/>
                  <a:gd name="T5" fmla="*/ 0 h 51"/>
                  <a:gd name="T6" fmla="*/ 12184065 w 99"/>
                  <a:gd name="T7" fmla="*/ 0 h 51"/>
                  <a:gd name="T8" fmla="*/ 12933933 w 99"/>
                  <a:gd name="T9" fmla="*/ 1326765 h 51"/>
                  <a:gd name="T10" fmla="*/ 13870836 w 99"/>
                  <a:gd name="T11" fmla="*/ 6632674 h 51"/>
                  <a:gd name="T12" fmla="*/ 14808172 w 99"/>
                  <a:gd name="T13" fmla="*/ 14590962 h 51"/>
                  <a:gd name="T14" fmla="*/ 15558040 w 99"/>
                  <a:gd name="T15" fmla="*/ 23876015 h 51"/>
                  <a:gd name="T16" fmla="*/ 16307909 w 99"/>
                  <a:gd name="T17" fmla="*/ 33161067 h 51"/>
                  <a:gd name="T18" fmla="*/ 17057344 w 99"/>
                  <a:gd name="T19" fmla="*/ 37140211 h 51"/>
                  <a:gd name="T20" fmla="*/ 17432278 w 99"/>
                  <a:gd name="T21" fmla="*/ 39792590 h 51"/>
                  <a:gd name="T22" fmla="*/ 17994680 w 99"/>
                  <a:gd name="T23" fmla="*/ 42446120 h 51"/>
                  <a:gd name="T24" fmla="*/ 18557081 w 99"/>
                  <a:gd name="T25" fmla="*/ 45098499 h 51"/>
                  <a:gd name="T26" fmla="*/ 18557081 w 99"/>
                  <a:gd name="T27" fmla="*/ 49077643 h 51"/>
                  <a:gd name="T28" fmla="*/ 18182147 w 99"/>
                  <a:gd name="T29" fmla="*/ 53056787 h 51"/>
                  <a:gd name="T30" fmla="*/ 17807213 w 99"/>
                  <a:gd name="T31" fmla="*/ 57035930 h 51"/>
                  <a:gd name="T32" fmla="*/ 17057344 w 99"/>
                  <a:gd name="T33" fmla="*/ 59689461 h 51"/>
                  <a:gd name="T34" fmla="*/ 16120441 w 99"/>
                  <a:gd name="T35" fmla="*/ 62341839 h 51"/>
                  <a:gd name="T36" fmla="*/ 15183106 w 99"/>
                  <a:gd name="T37" fmla="*/ 63668605 h 51"/>
                  <a:gd name="T38" fmla="*/ 13870836 w 99"/>
                  <a:gd name="T39" fmla="*/ 66320983 h 51"/>
                  <a:gd name="T40" fmla="*/ 12746466 w 99"/>
                  <a:gd name="T41" fmla="*/ 66320983 h 51"/>
                  <a:gd name="T42" fmla="*/ 9746992 w 99"/>
                  <a:gd name="T43" fmla="*/ 67647748 h 51"/>
                  <a:gd name="T44" fmla="*/ 6747951 w 99"/>
                  <a:gd name="T45" fmla="*/ 64995370 h 51"/>
                  <a:gd name="T46" fmla="*/ 5061180 w 99"/>
                  <a:gd name="T47" fmla="*/ 63668605 h 51"/>
                  <a:gd name="T48" fmla="*/ 3373975 w 99"/>
                  <a:gd name="T49" fmla="*/ 59689461 h 51"/>
                  <a:gd name="T50" fmla="*/ 1687204 w 99"/>
                  <a:gd name="T51" fmla="*/ 57035930 h 51"/>
                  <a:gd name="T52" fmla="*/ 187467 w 99"/>
                  <a:gd name="T53" fmla="*/ 53056787 h 51"/>
                  <a:gd name="T54" fmla="*/ 0 w 99"/>
                  <a:gd name="T55" fmla="*/ 51731173 h 51"/>
                  <a:gd name="T56" fmla="*/ 187467 w 99"/>
                  <a:gd name="T57" fmla="*/ 49077643 h 51"/>
                  <a:gd name="T58" fmla="*/ 562401 w 99"/>
                  <a:gd name="T59" fmla="*/ 46425264 h 51"/>
                  <a:gd name="T60" fmla="*/ 1124803 w 99"/>
                  <a:gd name="T61" fmla="*/ 43771734 h 51"/>
                  <a:gd name="T62" fmla="*/ 2624107 w 99"/>
                  <a:gd name="T63" fmla="*/ 38465825 h 51"/>
                  <a:gd name="T64" fmla="*/ 4686245 w 99"/>
                  <a:gd name="T65" fmla="*/ 31834302 h 51"/>
                  <a:gd name="T66" fmla="*/ 6560484 w 99"/>
                  <a:gd name="T67" fmla="*/ 25201628 h 51"/>
                  <a:gd name="T68" fmla="*/ 8435155 w 99"/>
                  <a:gd name="T69" fmla="*/ 15916575 h 51"/>
                  <a:gd name="T70" fmla="*/ 8997556 w 99"/>
                  <a:gd name="T71" fmla="*/ 13264197 h 51"/>
                  <a:gd name="T72" fmla="*/ 9559525 w 99"/>
                  <a:gd name="T73" fmla="*/ 9285053 h 51"/>
                  <a:gd name="T74" fmla="*/ 9746992 w 99"/>
                  <a:gd name="T75" fmla="*/ 6632674 h 51"/>
                  <a:gd name="T76" fmla="*/ 9934459 w 99"/>
                  <a:gd name="T77" fmla="*/ 2652379 h 51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99" h="51">
                    <a:moveTo>
                      <a:pt x="53" y="2"/>
                    </a:moveTo>
                    <a:lnTo>
                      <a:pt x="58" y="1"/>
                    </a:lnTo>
                    <a:lnTo>
                      <a:pt x="62" y="0"/>
                    </a:lnTo>
                    <a:lnTo>
                      <a:pt x="65" y="0"/>
                    </a:lnTo>
                    <a:lnTo>
                      <a:pt x="69" y="1"/>
                    </a:lnTo>
                    <a:lnTo>
                      <a:pt x="74" y="5"/>
                    </a:lnTo>
                    <a:lnTo>
                      <a:pt x="79" y="11"/>
                    </a:lnTo>
                    <a:lnTo>
                      <a:pt x="83" y="18"/>
                    </a:lnTo>
                    <a:lnTo>
                      <a:pt x="87" y="25"/>
                    </a:lnTo>
                    <a:lnTo>
                      <a:pt x="91" y="28"/>
                    </a:lnTo>
                    <a:lnTo>
                      <a:pt x="93" y="30"/>
                    </a:lnTo>
                    <a:lnTo>
                      <a:pt x="96" y="32"/>
                    </a:lnTo>
                    <a:lnTo>
                      <a:pt x="99" y="34"/>
                    </a:lnTo>
                    <a:lnTo>
                      <a:pt x="99" y="37"/>
                    </a:lnTo>
                    <a:lnTo>
                      <a:pt x="97" y="40"/>
                    </a:lnTo>
                    <a:lnTo>
                      <a:pt x="95" y="43"/>
                    </a:lnTo>
                    <a:lnTo>
                      <a:pt x="91" y="45"/>
                    </a:lnTo>
                    <a:lnTo>
                      <a:pt x="86" y="47"/>
                    </a:lnTo>
                    <a:lnTo>
                      <a:pt x="81" y="48"/>
                    </a:lnTo>
                    <a:lnTo>
                      <a:pt x="74" y="50"/>
                    </a:lnTo>
                    <a:lnTo>
                      <a:pt x="68" y="50"/>
                    </a:lnTo>
                    <a:lnTo>
                      <a:pt x="52" y="51"/>
                    </a:lnTo>
                    <a:lnTo>
                      <a:pt x="36" y="49"/>
                    </a:lnTo>
                    <a:lnTo>
                      <a:pt x="27" y="48"/>
                    </a:lnTo>
                    <a:lnTo>
                      <a:pt x="18" y="45"/>
                    </a:lnTo>
                    <a:lnTo>
                      <a:pt x="9" y="43"/>
                    </a:lnTo>
                    <a:lnTo>
                      <a:pt x="1" y="40"/>
                    </a:lnTo>
                    <a:lnTo>
                      <a:pt x="0" y="39"/>
                    </a:lnTo>
                    <a:lnTo>
                      <a:pt x="1" y="37"/>
                    </a:lnTo>
                    <a:lnTo>
                      <a:pt x="3" y="35"/>
                    </a:lnTo>
                    <a:lnTo>
                      <a:pt x="6" y="33"/>
                    </a:lnTo>
                    <a:lnTo>
                      <a:pt x="14" y="29"/>
                    </a:lnTo>
                    <a:lnTo>
                      <a:pt x="25" y="24"/>
                    </a:lnTo>
                    <a:lnTo>
                      <a:pt x="35" y="19"/>
                    </a:lnTo>
                    <a:lnTo>
                      <a:pt x="45" y="12"/>
                    </a:lnTo>
                    <a:lnTo>
                      <a:pt x="48" y="10"/>
                    </a:lnTo>
                    <a:lnTo>
                      <a:pt x="51" y="7"/>
                    </a:lnTo>
                    <a:lnTo>
                      <a:pt x="52" y="5"/>
                    </a:lnTo>
                    <a:lnTo>
                      <a:pt x="53" y="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21" name="Freeform 521">
                <a:extLst>
                  <a:ext uri="{FF2B5EF4-FFF2-40B4-BE49-F238E27FC236}">
                    <a16:creationId xmlns:a16="http://schemas.microsoft.com/office/drawing/2014/main" id="{3E5FBF6D-FD2A-4FB6-B51F-B9C932B8495B}"/>
                  </a:ext>
                </a:extLst>
              </p:cNvPr>
              <p:cNvSpPr>
                <a:spLocks/>
              </p:cNvSpPr>
              <p:nvPr>
                <p:custDataLst>
                  <p:tags r:id="rId359"/>
                </p:custDataLst>
              </p:nvPr>
            </p:nvSpPr>
            <p:spPr bwMode="auto">
              <a:xfrm>
                <a:off x="5086552" y="1878930"/>
                <a:ext cx="276903" cy="184587"/>
              </a:xfrm>
              <a:custGeom>
                <a:avLst/>
                <a:gdLst>
                  <a:gd name="T0" fmla="*/ 59723383 w 525"/>
                  <a:gd name="T1" fmla="*/ 7463718 h 311"/>
                  <a:gd name="T2" fmla="*/ 64842717 w 525"/>
                  <a:gd name="T3" fmla="*/ 5804939 h 311"/>
                  <a:gd name="T4" fmla="*/ 72995246 w 525"/>
                  <a:gd name="T5" fmla="*/ 5528388 h 311"/>
                  <a:gd name="T6" fmla="*/ 77356063 w 525"/>
                  <a:gd name="T7" fmla="*/ 4699261 h 311"/>
                  <a:gd name="T8" fmla="*/ 80958363 w 525"/>
                  <a:gd name="T9" fmla="*/ 1934804 h 311"/>
                  <a:gd name="T10" fmla="*/ 97453269 w 525"/>
                  <a:gd name="T11" fmla="*/ 1658779 h 311"/>
                  <a:gd name="T12" fmla="*/ 99538971 w 525"/>
                  <a:gd name="T13" fmla="*/ 5251837 h 311"/>
                  <a:gd name="T14" fmla="*/ 88732070 w 525"/>
                  <a:gd name="T15" fmla="*/ 12992106 h 311"/>
                  <a:gd name="T16" fmla="*/ 74322432 w 525"/>
                  <a:gd name="T17" fmla="*/ 20179274 h 311"/>
                  <a:gd name="T18" fmla="*/ 67497089 w 525"/>
                  <a:gd name="T19" fmla="*/ 22114078 h 311"/>
                  <a:gd name="T20" fmla="*/ 60861158 w 525"/>
                  <a:gd name="T21" fmla="*/ 22943205 h 311"/>
                  <a:gd name="T22" fmla="*/ 52898040 w 525"/>
                  <a:gd name="T23" fmla="*/ 27919017 h 311"/>
                  <a:gd name="T24" fmla="*/ 46262109 w 525"/>
                  <a:gd name="T25" fmla="*/ 33447405 h 311"/>
                  <a:gd name="T26" fmla="*/ 41332186 w 525"/>
                  <a:gd name="T27" fmla="*/ 35658760 h 311"/>
                  <a:gd name="T28" fmla="*/ 35454771 w 525"/>
                  <a:gd name="T29" fmla="*/ 34000507 h 311"/>
                  <a:gd name="T30" fmla="*/ 33748327 w 525"/>
                  <a:gd name="T31" fmla="*/ 37870115 h 311"/>
                  <a:gd name="T32" fmla="*/ 33179657 w 525"/>
                  <a:gd name="T33" fmla="*/ 40081470 h 311"/>
                  <a:gd name="T34" fmla="*/ 35075513 w 525"/>
                  <a:gd name="T35" fmla="*/ 40911123 h 311"/>
                  <a:gd name="T36" fmla="*/ 34886102 w 525"/>
                  <a:gd name="T37" fmla="*/ 43399029 h 311"/>
                  <a:gd name="T38" fmla="*/ 33369069 w 525"/>
                  <a:gd name="T39" fmla="*/ 46162960 h 311"/>
                  <a:gd name="T40" fmla="*/ 34127585 w 525"/>
                  <a:gd name="T41" fmla="*/ 49479993 h 311"/>
                  <a:gd name="T42" fmla="*/ 30714696 w 525"/>
                  <a:gd name="T43" fmla="*/ 53626678 h 311"/>
                  <a:gd name="T44" fmla="*/ 27302242 w 525"/>
                  <a:gd name="T45" fmla="*/ 56390610 h 311"/>
                  <a:gd name="T46" fmla="*/ 26733137 w 525"/>
                  <a:gd name="T47" fmla="*/ 58878516 h 311"/>
                  <a:gd name="T48" fmla="*/ 27302242 w 525"/>
                  <a:gd name="T49" fmla="*/ 63025201 h 311"/>
                  <a:gd name="T50" fmla="*/ 30904543 w 525"/>
                  <a:gd name="T51" fmla="*/ 68277038 h 311"/>
                  <a:gd name="T52" fmla="*/ 36213288 w 525"/>
                  <a:gd name="T53" fmla="*/ 73805426 h 311"/>
                  <a:gd name="T54" fmla="*/ 48537223 w 525"/>
                  <a:gd name="T55" fmla="*/ 82927924 h 311"/>
                  <a:gd name="T56" fmla="*/ 46072262 w 525"/>
                  <a:gd name="T57" fmla="*/ 85968406 h 311"/>
                  <a:gd name="T58" fmla="*/ 35834030 w 525"/>
                  <a:gd name="T59" fmla="*/ 85415304 h 311"/>
                  <a:gd name="T60" fmla="*/ 27491654 w 525"/>
                  <a:gd name="T61" fmla="*/ 85139279 h 311"/>
                  <a:gd name="T62" fmla="*/ 24458023 w 525"/>
                  <a:gd name="T63" fmla="*/ 84033601 h 311"/>
                  <a:gd name="T64" fmla="*/ 23320683 w 525"/>
                  <a:gd name="T65" fmla="*/ 82374822 h 311"/>
                  <a:gd name="T66" fmla="*/ 22751578 w 525"/>
                  <a:gd name="T67" fmla="*/ 77952112 h 311"/>
                  <a:gd name="T68" fmla="*/ 21993497 w 525"/>
                  <a:gd name="T69" fmla="*/ 76846434 h 311"/>
                  <a:gd name="T70" fmla="*/ 18011938 w 525"/>
                  <a:gd name="T71" fmla="*/ 76569883 h 311"/>
                  <a:gd name="T72" fmla="*/ 15167719 w 525"/>
                  <a:gd name="T73" fmla="*/ 81822246 h 311"/>
                  <a:gd name="T74" fmla="*/ 8342376 w 525"/>
                  <a:gd name="T75" fmla="*/ 77952112 h 311"/>
                  <a:gd name="T76" fmla="*/ 0 w 525"/>
                  <a:gd name="T77" fmla="*/ 68000487 h 311"/>
                  <a:gd name="T78" fmla="*/ 3412889 w 525"/>
                  <a:gd name="T79" fmla="*/ 66065683 h 311"/>
                  <a:gd name="T80" fmla="*/ 6446520 w 525"/>
                  <a:gd name="T81" fmla="*/ 61366422 h 311"/>
                  <a:gd name="T82" fmla="*/ 5308745 w 525"/>
                  <a:gd name="T83" fmla="*/ 58878516 h 311"/>
                  <a:gd name="T84" fmla="*/ 6446520 w 525"/>
                  <a:gd name="T85" fmla="*/ 55284932 h 311"/>
                  <a:gd name="T86" fmla="*/ 7583859 w 525"/>
                  <a:gd name="T87" fmla="*/ 51967899 h 311"/>
                  <a:gd name="T88" fmla="*/ 6446520 w 525"/>
                  <a:gd name="T89" fmla="*/ 49479993 h 311"/>
                  <a:gd name="T90" fmla="*/ 25405951 w 525"/>
                  <a:gd name="T91" fmla="*/ 49479993 h 311"/>
                  <a:gd name="T92" fmla="*/ 24837281 w 525"/>
                  <a:gd name="T93" fmla="*/ 48927417 h 311"/>
                  <a:gd name="T94" fmla="*/ 17064010 w 525"/>
                  <a:gd name="T95" fmla="*/ 45886935 h 311"/>
                  <a:gd name="T96" fmla="*/ 10238232 w 525"/>
                  <a:gd name="T97" fmla="*/ 40911123 h 311"/>
                  <a:gd name="T98" fmla="*/ 15926235 w 525"/>
                  <a:gd name="T99" fmla="*/ 37040989 h 311"/>
                  <a:gd name="T100" fmla="*/ 22751578 w 525"/>
                  <a:gd name="T101" fmla="*/ 30683474 h 311"/>
                  <a:gd name="T102" fmla="*/ 21045569 w 525"/>
                  <a:gd name="T103" fmla="*/ 28471593 h 311"/>
                  <a:gd name="T104" fmla="*/ 18959866 w 525"/>
                  <a:gd name="T105" fmla="*/ 22114078 h 311"/>
                  <a:gd name="T106" fmla="*/ 24078765 w 525"/>
                  <a:gd name="T107" fmla="*/ 21008400 h 311"/>
                  <a:gd name="T108" fmla="*/ 34886102 w 525"/>
                  <a:gd name="T109" fmla="*/ 16032588 h 311"/>
                  <a:gd name="T110" fmla="*/ 48157965 w 525"/>
                  <a:gd name="T111" fmla="*/ 9675073 h 31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525" h="311">
                    <a:moveTo>
                      <a:pt x="273" y="31"/>
                    </a:moveTo>
                    <a:lnTo>
                      <a:pt x="307" y="31"/>
                    </a:lnTo>
                    <a:lnTo>
                      <a:pt x="315" y="27"/>
                    </a:lnTo>
                    <a:lnTo>
                      <a:pt x="324" y="24"/>
                    </a:lnTo>
                    <a:lnTo>
                      <a:pt x="333" y="22"/>
                    </a:lnTo>
                    <a:lnTo>
                      <a:pt x="342" y="21"/>
                    </a:lnTo>
                    <a:lnTo>
                      <a:pt x="359" y="20"/>
                    </a:lnTo>
                    <a:lnTo>
                      <a:pt x="377" y="20"/>
                    </a:lnTo>
                    <a:lnTo>
                      <a:pt x="385" y="20"/>
                    </a:lnTo>
                    <a:lnTo>
                      <a:pt x="393" y="20"/>
                    </a:lnTo>
                    <a:lnTo>
                      <a:pt x="401" y="19"/>
                    </a:lnTo>
                    <a:lnTo>
                      <a:pt x="408" y="17"/>
                    </a:lnTo>
                    <a:lnTo>
                      <a:pt x="415" y="15"/>
                    </a:lnTo>
                    <a:lnTo>
                      <a:pt x="421" y="11"/>
                    </a:lnTo>
                    <a:lnTo>
                      <a:pt x="427" y="7"/>
                    </a:lnTo>
                    <a:lnTo>
                      <a:pt x="433" y="0"/>
                    </a:lnTo>
                    <a:lnTo>
                      <a:pt x="512" y="0"/>
                    </a:lnTo>
                    <a:lnTo>
                      <a:pt x="514" y="6"/>
                    </a:lnTo>
                    <a:lnTo>
                      <a:pt x="519" y="12"/>
                    </a:lnTo>
                    <a:lnTo>
                      <a:pt x="523" y="17"/>
                    </a:lnTo>
                    <a:lnTo>
                      <a:pt x="525" y="19"/>
                    </a:lnTo>
                    <a:lnTo>
                      <a:pt x="511" y="26"/>
                    </a:lnTo>
                    <a:lnTo>
                      <a:pt x="491" y="36"/>
                    </a:lnTo>
                    <a:lnTo>
                      <a:pt x="468" y="47"/>
                    </a:lnTo>
                    <a:lnTo>
                      <a:pt x="443" y="57"/>
                    </a:lnTo>
                    <a:lnTo>
                      <a:pt x="418" y="66"/>
                    </a:lnTo>
                    <a:lnTo>
                      <a:pt x="392" y="73"/>
                    </a:lnTo>
                    <a:lnTo>
                      <a:pt x="379" y="76"/>
                    </a:lnTo>
                    <a:lnTo>
                      <a:pt x="368" y="78"/>
                    </a:lnTo>
                    <a:lnTo>
                      <a:pt x="356" y="80"/>
                    </a:lnTo>
                    <a:lnTo>
                      <a:pt x="346" y="80"/>
                    </a:lnTo>
                    <a:lnTo>
                      <a:pt x="333" y="81"/>
                    </a:lnTo>
                    <a:lnTo>
                      <a:pt x="321" y="83"/>
                    </a:lnTo>
                    <a:lnTo>
                      <a:pt x="309" y="86"/>
                    </a:lnTo>
                    <a:lnTo>
                      <a:pt x="299" y="90"/>
                    </a:lnTo>
                    <a:lnTo>
                      <a:pt x="279" y="101"/>
                    </a:lnTo>
                    <a:lnTo>
                      <a:pt x="262" y="111"/>
                    </a:lnTo>
                    <a:lnTo>
                      <a:pt x="253" y="116"/>
                    </a:lnTo>
                    <a:lnTo>
                      <a:pt x="244" y="121"/>
                    </a:lnTo>
                    <a:lnTo>
                      <a:pt x="235" y="124"/>
                    </a:lnTo>
                    <a:lnTo>
                      <a:pt x="226" y="127"/>
                    </a:lnTo>
                    <a:lnTo>
                      <a:pt x="218" y="129"/>
                    </a:lnTo>
                    <a:lnTo>
                      <a:pt x="208" y="129"/>
                    </a:lnTo>
                    <a:lnTo>
                      <a:pt x="198" y="127"/>
                    </a:lnTo>
                    <a:lnTo>
                      <a:pt x="187" y="123"/>
                    </a:lnTo>
                    <a:lnTo>
                      <a:pt x="186" y="128"/>
                    </a:lnTo>
                    <a:lnTo>
                      <a:pt x="183" y="133"/>
                    </a:lnTo>
                    <a:lnTo>
                      <a:pt x="178" y="137"/>
                    </a:lnTo>
                    <a:lnTo>
                      <a:pt x="174" y="142"/>
                    </a:lnTo>
                    <a:lnTo>
                      <a:pt x="174" y="144"/>
                    </a:lnTo>
                    <a:lnTo>
                      <a:pt x="175" y="145"/>
                    </a:lnTo>
                    <a:lnTo>
                      <a:pt x="177" y="146"/>
                    </a:lnTo>
                    <a:lnTo>
                      <a:pt x="180" y="147"/>
                    </a:lnTo>
                    <a:lnTo>
                      <a:pt x="185" y="148"/>
                    </a:lnTo>
                    <a:lnTo>
                      <a:pt x="187" y="148"/>
                    </a:lnTo>
                    <a:lnTo>
                      <a:pt x="186" y="152"/>
                    </a:lnTo>
                    <a:lnTo>
                      <a:pt x="184" y="157"/>
                    </a:lnTo>
                    <a:lnTo>
                      <a:pt x="181" y="160"/>
                    </a:lnTo>
                    <a:lnTo>
                      <a:pt x="178" y="164"/>
                    </a:lnTo>
                    <a:lnTo>
                      <a:pt x="176" y="167"/>
                    </a:lnTo>
                    <a:lnTo>
                      <a:pt x="175" y="171"/>
                    </a:lnTo>
                    <a:lnTo>
                      <a:pt x="176" y="175"/>
                    </a:lnTo>
                    <a:lnTo>
                      <a:pt x="180" y="179"/>
                    </a:lnTo>
                    <a:lnTo>
                      <a:pt x="175" y="185"/>
                    </a:lnTo>
                    <a:lnTo>
                      <a:pt x="168" y="190"/>
                    </a:lnTo>
                    <a:lnTo>
                      <a:pt x="162" y="194"/>
                    </a:lnTo>
                    <a:lnTo>
                      <a:pt x="155" y="197"/>
                    </a:lnTo>
                    <a:lnTo>
                      <a:pt x="150" y="201"/>
                    </a:lnTo>
                    <a:lnTo>
                      <a:pt x="144" y="204"/>
                    </a:lnTo>
                    <a:lnTo>
                      <a:pt x="143" y="207"/>
                    </a:lnTo>
                    <a:lnTo>
                      <a:pt x="141" y="209"/>
                    </a:lnTo>
                    <a:lnTo>
                      <a:pt x="141" y="213"/>
                    </a:lnTo>
                    <a:lnTo>
                      <a:pt x="140" y="216"/>
                    </a:lnTo>
                    <a:lnTo>
                      <a:pt x="141" y="222"/>
                    </a:lnTo>
                    <a:lnTo>
                      <a:pt x="144" y="228"/>
                    </a:lnTo>
                    <a:lnTo>
                      <a:pt x="149" y="234"/>
                    </a:lnTo>
                    <a:lnTo>
                      <a:pt x="155" y="241"/>
                    </a:lnTo>
                    <a:lnTo>
                      <a:pt x="163" y="247"/>
                    </a:lnTo>
                    <a:lnTo>
                      <a:pt x="172" y="254"/>
                    </a:lnTo>
                    <a:lnTo>
                      <a:pt x="181" y="260"/>
                    </a:lnTo>
                    <a:lnTo>
                      <a:pt x="191" y="267"/>
                    </a:lnTo>
                    <a:lnTo>
                      <a:pt x="213" y="279"/>
                    </a:lnTo>
                    <a:lnTo>
                      <a:pt x="235" y="290"/>
                    </a:lnTo>
                    <a:lnTo>
                      <a:pt x="256" y="300"/>
                    </a:lnTo>
                    <a:lnTo>
                      <a:pt x="273" y="308"/>
                    </a:lnTo>
                    <a:lnTo>
                      <a:pt x="258" y="310"/>
                    </a:lnTo>
                    <a:lnTo>
                      <a:pt x="243" y="311"/>
                    </a:lnTo>
                    <a:lnTo>
                      <a:pt x="229" y="311"/>
                    </a:lnTo>
                    <a:lnTo>
                      <a:pt x="214" y="310"/>
                    </a:lnTo>
                    <a:lnTo>
                      <a:pt x="189" y="309"/>
                    </a:lnTo>
                    <a:lnTo>
                      <a:pt x="167" y="308"/>
                    </a:lnTo>
                    <a:lnTo>
                      <a:pt x="155" y="308"/>
                    </a:lnTo>
                    <a:lnTo>
                      <a:pt x="145" y="308"/>
                    </a:lnTo>
                    <a:lnTo>
                      <a:pt x="138" y="307"/>
                    </a:lnTo>
                    <a:lnTo>
                      <a:pt x="131" y="305"/>
                    </a:lnTo>
                    <a:lnTo>
                      <a:pt x="129" y="304"/>
                    </a:lnTo>
                    <a:lnTo>
                      <a:pt x="127" y="302"/>
                    </a:lnTo>
                    <a:lnTo>
                      <a:pt x="124" y="300"/>
                    </a:lnTo>
                    <a:lnTo>
                      <a:pt x="123" y="298"/>
                    </a:lnTo>
                    <a:lnTo>
                      <a:pt x="121" y="292"/>
                    </a:lnTo>
                    <a:lnTo>
                      <a:pt x="120" y="284"/>
                    </a:lnTo>
                    <a:lnTo>
                      <a:pt x="120" y="282"/>
                    </a:lnTo>
                    <a:lnTo>
                      <a:pt x="119" y="280"/>
                    </a:lnTo>
                    <a:lnTo>
                      <a:pt x="118" y="279"/>
                    </a:lnTo>
                    <a:lnTo>
                      <a:pt x="116" y="278"/>
                    </a:lnTo>
                    <a:lnTo>
                      <a:pt x="111" y="277"/>
                    </a:lnTo>
                    <a:lnTo>
                      <a:pt x="106" y="276"/>
                    </a:lnTo>
                    <a:lnTo>
                      <a:pt x="95" y="277"/>
                    </a:lnTo>
                    <a:lnTo>
                      <a:pt x="87" y="278"/>
                    </a:lnTo>
                    <a:lnTo>
                      <a:pt x="84" y="287"/>
                    </a:lnTo>
                    <a:lnTo>
                      <a:pt x="80" y="296"/>
                    </a:lnTo>
                    <a:lnTo>
                      <a:pt x="66" y="291"/>
                    </a:lnTo>
                    <a:lnTo>
                      <a:pt x="55" y="287"/>
                    </a:lnTo>
                    <a:lnTo>
                      <a:pt x="44" y="282"/>
                    </a:lnTo>
                    <a:lnTo>
                      <a:pt x="35" y="276"/>
                    </a:lnTo>
                    <a:lnTo>
                      <a:pt x="19" y="263"/>
                    </a:lnTo>
                    <a:lnTo>
                      <a:pt x="0" y="246"/>
                    </a:lnTo>
                    <a:lnTo>
                      <a:pt x="8" y="244"/>
                    </a:lnTo>
                    <a:lnTo>
                      <a:pt x="13" y="242"/>
                    </a:lnTo>
                    <a:lnTo>
                      <a:pt x="18" y="239"/>
                    </a:lnTo>
                    <a:lnTo>
                      <a:pt x="22" y="237"/>
                    </a:lnTo>
                    <a:lnTo>
                      <a:pt x="29" y="230"/>
                    </a:lnTo>
                    <a:lnTo>
                      <a:pt x="34" y="222"/>
                    </a:lnTo>
                    <a:lnTo>
                      <a:pt x="31" y="219"/>
                    </a:lnTo>
                    <a:lnTo>
                      <a:pt x="29" y="216"/>
                    </a:lnTo>
                    <a:lnTo>
                      <a:pt x="28" y="213"/>
                    </a:lnTo>
                    <a:lnTo>
                      <a:pt x="28" y="211"/>
                    </a:lnTo>
                    <a:lnTo>
                      <a:pt x="30" y="205"/>
                    </a:lnTo>
                    <a:lnTo>
                      <a:pt x="34" y="200"/>
                    </a:lnTo>
                    <a:lnTo>
                      <a:pt x="38" y="196"/>
                    </a:lnTo>
                    <a:lnTo>
                      <a:pt x="40" y="191"/>
                    </a:lnTo>
                    <a:lnTo>
                      <a:pt x="40" y="188"/>
                    </a:lnTo>
                    <a:lnTo>
                      <a:pt x="39" y="185"/>
                    </a:lnTo>
                    <a:lnTo>
                      <a:pt x="37" y="182"/>
                    </a:lnTo>
                    <a:lnTo>
                      <a:pt x="34" y="179"/>
                    </a:lnTo>
                    <a:lnTo>
                      <a:pt x="73" y="179"/>
                    </a:lnTo>
                    <a:lnTo>
                      <a:pt x="106" y="179"/>
                    </a:lnTo>
                    <a:lnTo>
                      <a:pt x="134" y="179"/>
                    </a:lnTo>
                    <a:lnTo>
                      <a:pt x="167" y="179"/>
                    </a:lnTo>
                    <a:lnTo>
                      <a:pt x="147" y="178"/>
                    </a:lnTo>
                    <a:lnTo>
                      <a:pt x="131" y="177"/>
                    </a:lnTo>
                    <a:lnTo>
                      <a:pt x="117" y="174"/>
                    </a:lnTo>
                    <a:lnTo>
                      <a:pt x="102" y="171"/>
                    </a:lnTo>
                    <a:lnTo>
                      <a:pt x="90" y="166"/>
                    </a:lnTo>
                    <a:lnTo>
                      <a:pt x="78" y="161"/>
                    </a:lnTo>
                    <a:lnTo>
                      <a:pt x="66" y="155"/>
                    </a:lnTo>
                    <a:lnTo>
                      <a:pt x="54" y="148"/>
                    </a:lnTo>
                    <a:lnTo>
                      <a:pt x="65" y="143"/>
                    </a:lnTo>
                    <a:lnTo>
                      <a:pt x="75" y="139"/>
                    </a:lnTo>
                    <a:lnTo>
                      <a:pt x="84" y="134"/>
                    </a:lnTo>
                    <a:lnTo>
                      <a:pt x="91" y="130"/>
                    </a:lnTo>
                    <a:lnTo>
                      <a:pt x="106" y="120"/>
                    </a:lnTo>
                    <a:lnTo>
                      <a:pt x="120" y="111"/>
                    </a:lnTo>
                    <a:lnTo>
                      <a:pt x="118" y="110"/>
                    </a:lnTo>
                    <a:lnTo>
                      <a:pt x="115" y="108"/>
                    </a:lnTo>
                    <a:lnTo>
                      <a:pt x="111" y="103"/>
                    </a:lnTo>
                    <a:lnTo>
                      <a:pt x="108" y="99"/>
                    </a:lnTo>
                    <a:lnTo>
                      <a:pt x="102" y="87"/>
                    </a:lnTo>
                    <a:lnTo>
                      <a:pt x="100" y="80"/>
                    </a:lnTo>
                    <a:lnTo>
                      <a:pt x="108" y="80"/>
                    </a:lnTo>
                    <a:lnTo>
                      <a:pt x="117" y="78"/>
                    </a:lnTo>
                    <a:lnTo>
                      <a:pt x="127" y="76"/>
                    </a:lnTo>
                    <a:lnTo>
                      <a:pt x="138" y="73"/>
                    </a:lnTo>
                    <a:lnTo>
                      <a:pt x="161" y="66"/>
                    </a:lnTo>
                    <a:lnTo>
                      <a:pt x="184" y="58"/>
                    </a:lnTo>
                    <a:lnTo>
                      <a:pt x="209" y="50"/>
                    </a:lnTo>
                    <a:lnTo>
                      <a:pt x="232" y="41"/>
                    </a:lnTo>
                    <a:lnTo>
                      <a:pt x="254" y="35"/>
                    </a:lnTo>
                    <a:lnTo>
                      <a:pt x="273" y="31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22" name="Freeform 522">
                <a:extLst>
                  <a:ext uri="{FF2B5EF4-FFF2-40B4-BE49-F238E27FC236}">
                    <a16:creationId xmlns:a16="http://schemas.microsoft.com/office/drawing/2014/main" id="{CEAE5BC7-C896-4A77-8B2D-635FCBFB2D56}"/>
                  </a:ext>
                </a:extLst>
              </p:cNvPr>
              <p:cNvSpPr>
                <a:spLocks/>
              </p:cNvSpPr>
              <p:nvPr>
                <p:custDataLst>
                  <p:tags r:id="rId360"/>
                </p:custDataLst>
              </p:nvPr>
            </p:nvSpPr>
            <p:spPr bwMode="auto">
              <a:xfrm>
                <a:off x="4836796" y="2228766"/>
                <a:ext cx="38006" cy="63287"/>
              </a:xfrm>
              <a:custGeom>
                <a:avLst/>
                <a:gdLst>
                  <a:gd name="T0" fmla="*/ 7429902 w 79"/>
                  <a:gd name="T1" fmla="*/ 0 h 38"/>
                  <a:gd name="T2" fmla="*/ 8722408 w 79"/>
                  <a:gd name="T3" fmla="*/ 2137675 h 38"/>
                  <a:gd name="T4" fmla="*/ 10014513 w 79"/>
                  <a:gd name="T5" fmla="*/ 6413025 h 38"/>
                  <a:gd name="T6" fmla="*/ 10983491 w 79"/>
                  <a:gd name="T7" fmla="*/ 14965186 h 38"/>
                  <a:gd name="T8" fmla="*/ 11629744 w 79"/>
                  <a:gd name="T9" fmla="*/ 25655022 h 38"/>
                  <a:gd name="T10" fmla="*/ 12114032 w 79"/>
                  <a:gd name="T11" fmla="*/ 36344859 h 38"/>
                  <a:gd name="T12" fmla="*/ 12437158 w 79"/>
                  <a:gd name="T13" fmla="*/ 47033233 h 38"/>
                  <a:gd name="T14" fmla="*/ 12760285 w 79"/>
                  <a:gd name="T15" fmla="*/ 57723069 h 38"/>
                  <a:gd name="T16" fmla="*/ 12760285 w 79"/>
                  <a:gd name="T17" fmla="*/ 68412906 h 38"/>
                  <a:gd name="T18" fmla="*/ 12437158 w 79"/>
                  <a:gd name="T19" fmla="*/ 72688255 h 38"/>
                  <a:gd name="T20" fmla="*/ 12114032 w 79"/>
                  <a:gd name="T21" fmla="*/ 74827392 h 38"/>
                  <a:gd name="T22" fmla="*/ 11629744 w 79"/>
                  <a:gd name="T23" fmla="*/ 76965067 h 38"/>
                  <a:gd name="T24" fmla="*/ 10983491 w 79"/>
                  <a:gd name="T25" fmla="*/ 79102742 h 38"/>
                  <a:gd name="T26" fmla="*/ 9206696 w 79"/>
                  <a:gd name="T27" fmla="*/ 81240417 h 38"/>
                  <a:gd name="T28" fmla="*/ 7429902 w 79"/>
                  <a:gd name="T29" fmla="*/ 81240417 h 38"/>
                  <a:gd name="T30" fmla="*/ 6137797 w 79"/>
                  <a:gd name="T31" fmla="*/ 79102742 h 38"/>
                  <a:gd name="T32" fmla="*/ 4845693 w 79"/>
                  <a:gd name="T33" fmla="*/ 76965067 h 38"/>
                  <a:gd name="T34" fmla="*/ 3392025 w 79"/>
                  <a:gd name="T35" fmla="*/ 74827392 h 38"/>
                  <a:gd name="T36" fmla="*/ 2422646 w 79"/>
                  <a:gd name="T37" fmla="*/ 68412906 h 38"/>
                  <a:gd name="T38" fmla="*/ 1292104 w 79"/>
                  <a:gd name="T39" fmla="*/ 61999881 h 38"/>
                  <a:gd name="T40" fmla="*/ 646253 w 79"/>
                  <a:gd name="T41" fmla="*/ 53447720 h 38"/>
                  <a:gd name="T42" fmla="*/ 323127 w 79"/>
                  <a:gd name="T43" fmla="*/ 47033233 h 38"/>
                  <a:gd name="T44" fmla="*/ 161563 w 79"/>
                  <a:gd name="T45" fmla="*/ 42757883 h 38"/>
                  <a:gd name="T46" fmla="*/ 0 w 79"/>
                  <a:gd name="T47" fmla="*/ 36344859 h 38"/>
                  <a:gd name="T48" fmla="*/ 0 w 79"/>
                  <a:gd name="T49" fmla="*/ 27792697 h 38"/>
                  <a:gd name="T50" fmla="*/ 161563 w 79"/>
                  <a:gd name="T51" fmla="*/ 23517348 h 38"/>
                  <a:gd name="T52" fmla="*/ 646253 w 79"/>
                  <a:gd name="T53" fmla="*/ 19240536 h 38"/>
                  <a:gd name="T54" fmla="*/ 1615231 w 79"/>
                  <a:gd name="T55" fmla="*/ 12827511 h 38"/>
                  <a:gd name="T56" fmla="*/ 2745772 w 79"/>
                  <a:gd name="T57" fmla="*/ 8552162 h 38"/>
                  <a:gd name="T58" fmla="*/ 5168820 w 79"/>
                  <a:gd name="T59" fmla="*/ 2137675 h 38"/>
                  <a:gd name="T60" fmla="*/ 7429902 w 79"/>
                  <a:gd name="T61" fmla="*/ 0 h 38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0" t="0" r="r" b="b"/>
                <a:pathLst>
                  <a:path w="79" h="38">
                    <a:moveTo>
                      <a:pt x="46" y="0"/>
                    </a:moveTo>
                    <a:lnTo>
                      <a:pt x="54" y="1"/>
                    </a:lnTo>
                    <a:lnTo>
                      <a:pt x="62" y="3"/>
                    </a:lnTo>
                    <a:lnTo>
                      <a:pt x="68" y="7"/>
                    </a:lnTo>
                    <a:lnTo>
                      <a:pt x="72" y="12"/>
                    </a:lnTo>
                    <a:lnTo>
                      <a:pt x="75" y="17"/>
                    </a:lnTo>
                    <a:lnTo>
                      <a:pt x="77" y="22"/>
                    </a:lnTo>
                    <a:lnTo>
                      <a:pt x="79" y="27"/>
                    </a:lnTo>
                    <a:lnTo>
                      <a:pt x="79" y="32"/>
                    </a:lnTo>
                    <a:lnTo>
                      <a:pt x="77" y="34"/>
                    </a:lnTo>
                    <a:lnTo>
                      <a:pt x="75" y="35"/>
                    </a:lnTo>
                    <a:lnTo>
                      <a:pt x="72" y="36"/>
                    </a:lnTo>
                    <a:lnTo>
                      <a:pt x="68" y="37"/>
                    </a:lnTo>
                    <a:lnTo>
                      <a:pt x="57" y="38"/>
                    </a:lnTo>
                    <a:lnTo>
                      <a:pt x="46" y="38"/>
                    </a:lnTo>
                    <a:lnTo>
                      <a:pt x="38" y="37"/>
                    </a:lnTo>
                    <a:lnTo>
                      <a:pt x="30" y="36"/>
                    </a:lnTo>
                    <a:lnTo>
                      <a:pt x="21" y="35"/>
                    </a:lnTo>
                    <a:lnTo>
                      <a:pt x="15" y="32"/>
                    </a:lnTo>
                    <a:lnTo>
                      <a:pt x="8" y="29"/>
                    </a:lnTo>
                    <a:lnTo>
                      <a:pt x="4" y="25"/>
                    </a:lnTo>
                    <a:lnTo>
                      <a:pt x="2" y="22"/>
                    </a:lnTo>
                    <a:lnTo>
                      <a:pt x="1" y="20"/>
                    </a:lnTo>
                    <a:lnTo>
                      <a:pt x="0" y="17"/>
                    </a:lnTo>
                    <a:lnTo>
                      <a:pt x="0" y="13"/>
                    </a:lnTo>
                    <a:lnTo>
                      <a:pt x="1" y="11"/>
                    </a:lnTo>
                    <a:lnTo>
                      <a:pt x="4" y="9"/>
                    </a:lnTo>
                    <a:lnTo>
                      <a:pt x="10" y="6"/>
                    </a:lnTo>
                    <a:lnTo>
                      <a:pt x="17" y="4"/>
                    </a:lnTo>
                    <a:lnTo>
                      <a:pt x="32" y="1"/>
                    </a:lnTo>
                    <a:lnTo>
                      <a:pt x="46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23" name="Freeform 523">
                <a:extLst>
                  <a:ext uri="{FF2B5EF4-FFF2-40B4-BE49-F238E27FC236}">
                    <a16:creationId xmlns:a16="http://schemas.microsoft.com/office/drawing/2014/main" id="{0AE53E5D-E8E1-4417-9F6C-578942CBE892}"/>
                  </a:ext>
                </a:extLst>
              </p:cNvPr>
              <p:cNvSpPr>
                <a:spLocks/>
              </p:cNvSpPr>
              <p:nvPr>
                <p:custDataLst>
                  <p:tags r:id="rId361"/>
                </p:custDataLst>
              </p:nvPr>
            </p:nvSpPr>
            <p:spPr bwMode="auto">
              <a:xfrm>
                <a:off x="7616688" y="2562781"/>
                <a:ext cx="237087" cy="302371"/>
              </a:xfrm>
              <a:custGeom>
                <a:avLst/>
                <a:gdLst>
                  <a:gd name="T0" fmla="*/ 4782297 w 459"/>
                  <a:gd name="T1" fmla="*/ 12404251 h 511"/>
                  <a:gd name="T2" fmla="*/ 2206950 w 459"/>
                  <a:gd name="T3" fmla="*/ 6891484 h 511"/>
                  <a:gd name="T4" fmla="*/ 0 w 459"/>
                  <a:gd name="T5" fmla="*/ 0 h 511"/>
                  <a:gd name="T6" fmla="*/ 4046361 w 459"/>
                  <a:gd name="T7" fmla="*/ 1929468 h 511"/>
                  <a:gd name="T8" fmla="*/ 6069756 w 459"/>
                  <a:gd name="T9" fmla="*/ 1653830 h 511"/>
                  <a:gd name="T10" fmla="*/ 17472903 w 459"/>
                  <a:gd name="T11" fmla="*/ 18468820 h 511"/>
                  <a:gd name="T12" fmla="*/ 26853514 w 459"/>
                  <a:gd name="T13" fmla="*/ 33905093 h 511"/>
                  <a:gd name="T14" fmla="*/ 39728104 w 459"/>
                  <a:gd name="T15" fmla="*/ 54579020 h 511"/>
                  <a:gd name="T16" fmla="*/ 47453287 w 459"/>
                  <a:gd name="T17" fmla="*/ 65329441 h 511"/>
                  <a:gd name="T18" fmla="*/ 55729993 w 459"/>
                  <a:gd name="T19" fmla="*/ 73323478 h 511"/>
                  <a:gd name="T20" fmla="*/ 68421029 w 459"/>
                  <a:gd name="T21" fmla="*/ 85727729 h 511"/>
                  <a:gd name="T22" fmla="*/ 73202897 w 459"/>
                  <a:gd name="T23" fmla="*/ 92619213 h 511"/>
                  <a:gd name="T24" fmla="*/ 67133141 w 459"/>
                  <a:gd name="T25" fmla="*/ 88208474 h 511"/>
                  <a:gd name="T26" fmla="*/ 59592370 w 459"/>
                  <a:gd name="T27" fmla="*/ 81593154 h 511"/>
                  <a:gd name="T28" fmla="*/ 57752959 w 459"/>
                  <a:gd name="T29" fmla="*/ 82144430 h 511"/>
                  <a:gd name="T30" fmla="*/ 57568975 w 459"/>
                  <a:gd name="T31" fmla="*/ 85727729 h 511"/>
                  <a:gd name="T32" fmla="*/ 58304911 w 459"/>
                  <a:gd name="T33" fmla="*/ 92894851 h 511"/>
                  <a:gd name="T34" fmla="*/ 59960338 w 459"/>
                  <a:gd name="T35" fmla="*/ 98683257 h 511"/>
                  <a:gd name="T36" fmla="*/ 64006700 w 459"/>
                  <a:gd name="T37" fmla="*/ 106677294 h 511"/>
                  <a:gd name="T38" fmla="*/ 72467390 w 459"/>
                  <a:gd name="T39" fmla="*/ 116049523 h 511"/>
                  <a:gd name="T40" fmla="*/ 80928080 w 459"/>
                  <a:gd name="T41" fmla="*/ 126248667 h 511"/>
                  <a:gd name="T42" fmla="*/ 82399094 w 459"/>
                  <a:gd name="T43" fmla="*/ 131210158 h 511"/>
                  <a:gd name="T44" fmla="*/ 78720701 w 459"/>
                  <a:gd name="T45" fmla="*/ 129280689 h 511"/>
                  <a:gd name="T46" fmla="*/ 72099422 w 459"/>
                  <a:gd name="T47" fmla="*/ 127351221 h 511"/>
                  <a:gd name="T48" fmla="*/ 72283406 w 459"/>
                  <a:gd name="T49" fmla="*/ 136172173 h 511"/>
                  <a:gd name="T50" fmla="*/ 73202897 w 459"/>
                  <a:gd name="T51" fmla="*/ 140858025 h 511"/>
                  <a:gd name="T52" fmla="*/ 71363486 w 459"/>
                  <a:gd name="T53" fmla="*/ 135620897 h 511"/>
                  <a:gd name="T54" fmla="*/ 66765602 w 459"/>
                  <a:gd name="T55" fmla="*/ 128453774 h 511"/>
                  <a:gd name="T56" fmla="*/ 63086780 w 459"/>
                  <a:gd name="T57" fmla="*/ 122664844 h 511"/>
                  <a:gd name="T58" fmla="*/ 62351273 w 459"/>
                  <a:gd name="T59" fmla="*/ 118805907 h 511"/>
                  <a:gd name="T60" fmla="*/ 60327878 w 459"/>
                  <a:gd name="T61" fmla="*/ 113292615 h 511"/>
                  <a:gd name="T62" fmla="*/ 57017452 w 459"/>
                  <a:gd name="T63" fmla="*/ 105850379 h 511"/>
                  <a:gd name="T64" fmla="*/ 54810073 w 459"/>
                  <a:gd name="T65" fmla="*/ 101164002 h 511"/>
                  <a:gd name="T66" fmla="*/ 51499648 w 459"/>
                  <a:gd name="T67" fmla="*/ 98683257 h 511"/>
                  <a:gd name="T68" fmla="*/ 48556762 w 459"/>
                  <a:gd name="T69" fmla="*/ 94548681 h 511"/>
                  <a:gd name="T70" fmla="*/ 45797860 w 459"/>
                  <a:gd name="T71" fmla="*/ 86554644 h 511"/>
                  <a:gd name="T72" fmla="*/ 45061924 w 459"/>
                  <a:gd name="T73" fmla="*/ 80765714 h 511"/>
                  <a:gd name="T74" fmla="*/ 43038958 w 459"/>
                  <a:gd name="T75" fmla="*/ 77458053 h 511"/>
                  <a:gd name="T76" fmla="*/ 35681743 w 459"/>
                  <a:gd name="T77" fmla="*/ 67258909 h 511"/>
                  <a:gd name="T78" fmla="*/ 31451398 w 459"/>
                  <a:gd name="T79" fmla="*/ 60643589 h 511"/>
                  <a:gd name="T80" fmla="*/ 29979955 w 459"/>
                  <a:gd name="T81" fmla="*/ 55957211 h 511"/>
                  <a:gd name="T82" fmla="*/ 28324957 w 459"/>
                  <a:gd name="T83" fmla="*/ 51546998 h 511"/>
                  <a:gd name="T84" fmla="*/ 21151725 w 459"/>
                  <a:gd name="T85" fmla="*/ 42726045 h 511"/>
                  <a:gd name="T86" fmla="*/ 12875019 w 459"/>
                  <a:gd name="T87" fmla="*/ 35834561 h 511"/>
                  <a:gd name="T88" fmla="*/ 8644674 w 459"/>
                  <a:gd name="T89" fmla="*/ 30321794 h 511"/>
                  <a:gd name="T90" fmla="*/ 6989247 w 459"/>
                  <a:gd name="T91" fmla="*/ 25635417 h 511"/>
                  <a:gd name="T92" fmla="*/ 6253311 w 459"/>
                  <a:gd name="T93" fmla="*/ 20673927 h 51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459" h="511">
                    <a:moveTo>
                      <a:pt x="33" y="68"/>
                    </a:moveTo>
                    <a:lnTo>
                      <a:pt x="29" y="56"/>
                    </a:lnTo>
                    <a:lnTo>
                      <a:pt x="26" y="45"/>
                    </a:lnTo>
                    <a:lnTo>
                      <a:pt x="22" y="38"/>
                    </a:lnTo>
                    <a:lnTo>
                      <a:pt x="16" y="31"/>
                    </a:lnTo>
                    <a:lnTo>
                      <a:pt x="12" y="25"/>
                    </a:lnTo>
                    <a:lnTo>
                      <a:pt x="6" y="18"/>
                    </a:lnTo>
                    <a:lnTo>
                      <a:pt x="3" y="10"/>
                    </a:lnTo>
                    <a:lnTo>
                      <a:pt x="0" y="0"/>
                    </a:lnTo>
                    <a:lnTo>
                      <a:pt x="6" y="2"/>
                    </a:lnTo>
                    <a:lnTo>
                      <a:pt x="16" y="5"/>
                    </a:lnTo>
                    <a:lnTo>
                      <a:pt x="22" y="7"/>
                    </a:lnTo>
                    <a:lnTo>
                      <a:pt x="26" y="8"/>
                    </a:lnTo>
                    <a:lnTo>
                      <a:pt x="29" y="8"/>
                    </a:lnTo>
                    <a:lnTo>
                      <a:pt x="33" y="6"/>
                    </a:lnTo>
                    <a:lnTo>
                      <a:pt x="59" y="31"/>
                    </a:lnTo>
                    <a:lnTo>
                      <a:pt x="80" y="50"/>
                    </a:lnTo>
                    <a:lnTo>
                      <a:pt x="95" y="67"/>
                    </a:lnTo>
                    <a:lnTo>
                      <a:pt x="107" y="80"/>
                    </a:lnTo>
                    <a:lnTo>
                      <a:pt x="125" y="102"/>
                    </a:lnTo>
                    <a:lnTo>
                      <a:pt x="146" y="123"/>
                    </a:lnTo>
                    <a:lnTo>
                      <a:pt x="172" y="149"/>
                    </a:lnTo>
                    <a:lnTo>
                      <a:pt x="195" y="175"/>
                    </a:lnTo>
                    <a:lnTo>
                      <a:pt x="216" y="198"/>
                    </a:lnTo>
                    <a:lnTo>
                      <a:pt x="239" y="222"/>
                    </a:lnTo>
                    <a:lnTo>
                      <a:pt x="248" y="230"/>
                    </a:lnTo>
                    <a:lnTo>
                      <a:pt x="258" y="237"/>
                    </a:lnTo>
                    <a:lnTo>
                      <a:pt x="269" y="245"/>
                    </a:lnTo>
                    <a:lnTo>
                      <a:pt x="280" y="252"/>
                    </a:lnTo>
                    <a:lnTo>
                      <a:pt x="303" y="266"/>
                    </a:lnTo>
                    <a:lnTo>
                      <a:pt x="327" y="281"/>
                    </a:lnTo>
                    <a:lnTo>
                      <a:pt x="350" y="295"/>
                    </a:lnTo>
                    <a:lnTo>
                      <a:pt x="372" y="311"/>
                    </a:lnTo>
                    <a:lnTo>
                      <a:pt x="382" y="318"/>
                    </a:lnTo>
                    <a:lnTo>
                      <a:pt x="391" y="327"/>
                    </a:lnTo>
                    <a:lnTo>
                      <a:pt x="398" y="336"/>
                    </a:lnTo>
                    <a:lnTo>
                      <a:pt x="405" y="345"/>
                    </a:lnTo>
                    <a:lnTo>
                      <a:pt x="387" y="334"/>
                    </a:lnTo>
                    <a:lnTo>
                      <a:pt x="365" y="320"/>
                    </a:lnTo>
                    <a:lnTo>
                      <a:pt x="343" y="306"/>
                    </a:lnTo>
                    <a:lnTo>
                      <a:pt x="326" y="295"/>
                    </a:lnTo>
                    <a:lnTo>
                      <a:pt x="324" y="296"/>
                    </a:lnTo>
                    <a:lnTo>
                      <a:pt x="318" y="296"/>
                    </a:lnTo>
                    <a:lnTo>
                      <a:pt x="316" y="297"/>
                    </a:lnTo>
                    <a:lnTo>
                      <a:pt x="314" y="298"/>
                    </a:lnTo>
                    <a:lnTo>
                      <a:pt x="313" y="300"/>
                    </a:lnTo>
                    <a:lnTo>
                      <a:pt x="311" y="301"/>
                    </a:lnTo>
                    <a:lnTo>
                      <a:pt x="313" y="311"/>
                    </a:lnTo>
                    <a:lnTo>
                      <a:pt x="313" y="320"/>
                    </a:lnTo>
                    <a:lnTo>
                      <a:pt x="315" y="328"/>
                    </a:lnTo>
                    <a:lnTo>
                      <a:pt x="317" y="337"/>
                    </a:lnTo>
                    <a:lnTo>
                      <a:pt x="319" y="344"/>
                    </a:lnTo>
                    <a:lnTo>
                      <a:pt x="322" y="351"/>
                    </a:lnTo>
                    <a:lnTo>
                      <a:pt x="326" y="358"/>
                    </a:lnTo>
                    <a:lnTo>
                      <a:pt x="329" y="364"/>
                    </a:lnTo>
                    <a:lnTo>
                      <a:pt x="338" y="375"/>
                    </a:lnTo>
                    <a:lnTo>
                      <a:pt x="348" y="387"/>
                    </a:lnTo>
                    <a:lnTo>
                      <a:pt x="359" y="396"/>
                    </a:lnTo>
                    <a:lnTo>
                      <a:pt x="370" y="405"/>
                    </a:lnTo>
                    <a:lnTo>
                      <a:pt x="394" y="421"/>
                    </a:lnTo>
                    <a:lnTo>
                      <a:pt x="418" y="438"/>
                    </a:lnTo>
                    <a:lnTo>
                      <a:pt x="430" y="448"/>
                    </a:lnTo>
                    <a:lnTo>
                      <a:pt x="440" y="458"/>
                    </a:lnTo>
                    <a:lnTo>
                      <a:pt x="450" y="468"/>
                    </a:lnTo>
                    <a:lnTo>
                      <a:pt x="459" y="480"/>
                    </a:lnTo>
                    <a:lnTo>
                      <a:pt x="448" y="476"/>
                    </a:lnTo>
                    <a:lnTo>
                      <a:pt x="437" y="473"/>
                    </a:lnTo>
                    <a:lnTo>
                      <a:pt x="432" y="471"/>
                    </a:lnTo>
                    <a:lnTo>
                      <a:pt x="428" y="469"/>
                    </a:lnTo>
                    <a:lnTo>
                      <a:pt x="426" y="466"/>
                    </a:lnTo>
                    <a:lnTo>
                      <a:pt x="425" y="462"/>
                    </a:lnTo>
                    <a:lnTo>
                      <a:pt x="392" y="462"/>
                    </a:lnTo>
                    <a:lnTo>
                      <a:pt x="392" y="475"/>
                    </a:lnTo>
                    <a:lnTo>
                      <a:pt x="393" y="488"/>
                    </a:lnTo>
                    <a:lnTo>
                      <a:pt x="393" y="494"/>
                    </a:lnTo>
                    <a:lnTo>
                      <a:pt x="395" y="501"/>
                    </a:lnTo>
                    <a:lnTo>
                      <a:pt x="396" y="506"/>
                    </a:lnTo>
                    <a:lnTo>
                      <a:pt x="398" y="511"/>
                    </a:lnTo>
                    <a:lnTo>
                      <a:pt x="395" y="505"/>
                    </a:lnTo>
                    <a:lnTo>
                      <a:pt x="392" y="498"/>
                    </a:lnTo>
                    <a:lnTo>
                      <a:pt x="388" y="492"/>
                    </a:lnTo>
                    <a:lnTo>
                      <a:pt x="383" y="486"/>
                    </a:lnTo>
                    <a:lnTo>
                      <a:pt x="374" y="476"/>
                    </a:lnTo>
                    <a:lnTo>
                      <a:pt x="363" y="466"/>
                    </a:lnTo>
                    <a:lnTo>
                      <a:pt x="354" y="458"/>
                    </a:lnTo>
                    <a:lnTo>
                      <a:pt x="346" y="449"/>
                    </a:lnTo>
                    <a:lnTo>
                      <a:pt x="343" y="445"/>
                    </a:lnTo>
                    <a:lnTo>
                      <a:pt x="340" y="439"/>
                    </a:lnTo>
                    <a:lnTo>
                      <a:pt x="339" y="435"/>
                    </a:lnTo>
                    <a:lnTo>
                      <a:pt x="339" y="431"/>
                    </a:lnTo>
                    <a:lnTo>
                      <a:pt x="337" y="425"/>
                    </a:lnTo>
                    <a:lnTo>
                      <a:pt x="333" y="419"/>
                    </a:lnTo>
                    <a:lnTo>
                      <a:pt x="328" y="411"/>
                    </a:lnTo>
                    <a:lnTo>
                      <a:pt x="321" y="403"/>
                    </a:lnTo>
                    <a:lnTo>
                      <a:pt x="316" y="394"/>
                    </a:lnTo>
                    <a:lnTo>
                      <a:pt x="310" y="384"/>
                    </a:lnTo>
                    <a:lnTo>
                      <a:pt x="307" y="376"/>
                    </a:lnTo>
                    <a:lnTo>
                      <a:pt x="305" y="369"/>
                    </a:lnTo>
                    <a:lnTo>
                      <a:pt x="298" y="367"/>
                    </a:lnTo>
                    <a:lnTo>
                      <a:pt x="292" y="365"/>
                    </a:lnTo>
                    <a:lnTo>
                      <a:pt x="285" y="362"/>
                    </a:lnTo>
                    <a:lnTo>
                      <a:pt x="280" y="358"/>
                    </a:lnTo>
                    <a:lnTo>
                      <a:pt x="274" y="353"/>
                    </a:lnTo>
                    <a:lnTo>
                      <a:pt x="269" y="348"/>
                    </a:lnTo>
                    <a:lnTo>
                      <a:pt x="264" y="343"/>
                    </a:lnTo>
                    <a:lnTo>
                      <a:pt x="261" y="337"/>
                    </a:lnTo>
                    <a:lnTo>
                      <a:pt x="254" y="325"/>
                    </a:lnTo>
                    <a:lnTo>
                      <a:pt x="249" y="314"/>
                    </a:lnTo>
                    <a:lnTo>
                      <a:pt x="247" y="304"/>
                    </a:lnTo>
                    <a:lnTo>
                      <a:pt x="246" y="295"/>
                    </a:lnTo>
                    <a:lnTo>
                      <a:pt x="245" y="293"/>
                    </a:lnTo>
                    <a:lnTo>
                      <a:pt x="242" y="289"/>
                    </a:lnTo>
                    <a:lnTo>
                      <a:pt x="239" y="285"/>
                    </a:lnTo>
                    <a:lnTo>
                      <a:pt x="234" y="281"/>
                    </a:lnTo>
                    <a:lnTo>
                      <a:pt x="221" y="269"/>
                    </a:lnTo>
                    <a:lnTo>
                      <a:pt x="208" y="257"/>
                    </a:lnTo>
                    <a:lnTo>
                      <a:pt x="194" y="244"/>
                    </a:lnTo>
                    <a:lnTo>
                      <a:pt x="181" y="232"/>
                    </a:lnTo>
                    <a:lnTo>
                      <a:pt x="175" y="226"/>
                    </a:lnTo>
                    <a:lnTo>
                      <a:pt x="171" y="220"/>
                    </a:lnTo>
                    <a:lnTo>
                      <a:pt x="168" y="214"/>
                    </a:lnTo>
                    <a:lnTo>
                      <a:pt x="165" y="209"/>
                    </a:lnTo>
                    <a:lnTo>
                      <a:pt x="163" y="203"/>
                    </a:lnTo>
                    <a:lnTo>
                      <a:pt x="161" y="197"/>
                    </a:lnTo>
                    <a:lnTo>
                      <a:pt x="158" y="192"/>
                    </a:lnTo>
                    <a:lnTo>
                      <a:pt x="154" y="187"/>
                    </a:lnTo>
                    <a:lnTo>
                      <a:pt x="146" y="178"/>
                    </a:lnTo>
                    <a:lnTo>
                      <a:pt x="137" y="170"/>
                    </a:lnTo>
                    <a:lnTo>
                      <a:pt x="115" y="155"/>
                    </a:lnTo>
                    <a:lnTo>
                      <a:pt x="92" y="143"/>
                    </a:lnTo>
                    <a:lnTo>
                      <a:pt x="81" y="136"/>
                    </a:lnTo>
                    <a:lnTo>
                      <a:pt x="70" y="130"/>
                    </a:lnTo>
                    <a:lnTo>
                      <a:pt x="60" y="122"/>
                    </a:lnTo>
                    <a:lnTo>
                      <a:pt x="51" y="114"/>
                    </a:lnTo>
                    <a:lnTo>
                      <a:pt x="47" y="110"/>
                    </a:lnTo>
                    <a:lnTo>
                      <a:pt x="44" y="104"/>
                    </a:lnTo>
                    <a:lnTo>
                      <a:pt x="40" y="99"/>
                    </a:lnTo>
                    <a:lnTo>
                      <a:pt x="38" y="93"/>
                    </a:lnTo>
                    <a:lnTo>
                      <a:pt x="36" y="88"/>
                    </a:lnTo>
                    <a:lnTo>
                      <a:pt x="34" y="81"/>
                    </a:lnTo>
                    <a:lnTo>
                      <a:pt x="34" y="75"/>
                    </a:lnTo>
                    <a:lnTo>
                      <a:pt x="33" y="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924" name="Group 524">
                <a:extLst>
                  <a:ext uri="{FF2B5EF4-FFF2-40B4-BE49-F238E27FC236}">
                    <a16:creationId xmlns:a16="http://schemas.microsoft.com/office/drawing/2014/main" id="{29E56296-0BCA-4CE5-9B22-5319359A72CC}"/>
                  </a:ext>
                </a:extLst>
              </p:cNvPr>
              <p:cNvGrpSpPr>
                <a:grpSpLocks/>
              </p:cNvGrpSpPr>
              <p:nvPr>
                <p:custDataLst>
                  <p:tags r:id="rId362"/>
                </p:custDataLst>
              </p:nvPr>
            </p:nvGrpSpPr>
            <p:grpSpPr bwMode="auto">
              <a:xfrm>
                <a:off x="6157476" y="2512975"/>
                <a:ext cx="809725" cy="431936"/>
                <a:chOff x="4115" y="1551"/>
                <a:chExt cx="504" cy="244"/>
              </a:xfrm>
            </p:grpSpPr>
            <p:sp>
              <p:nvSpPr>
                <p:cNvPr id="952" name="Freeform 525">
                  <a:extLst>
                    <a:ext uri="{FF2B5EF4-FFF2-40B4-BE49-F238E27FC236}">
                      <a16:creationId xmlns:a16="http://schemas.microsoft.com/office/drawing/2014/main" id="{2F9420FA-B954-451D-B783-E52BB1CFA02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540" y="1551"/>
                  <a:ext cx="79" cy="81"/>
                </a:xfrm>
                <a:custGeom>
                  <a:avLst/>
                  <a:gdLst>
                    <a:gd name="T0" fmla="*/ 1 w 240"/>
                    <a:gd name="T1" fmla="*/ 27 h 259"/>
                    <a:gd name="T2" fmla="*/ 9 w 240"/>
                    <a:gd name="T3" fmla="*/ 29 h 259"/>
                    <a:gd name="T4" fmla="*/ 13 w 240"/>
                    <a:gd name="T5" fmla="*/ 27 h 259"/>
                    <a:gd name="T6" fmla="*/ 14 w 240"/>
                    <a:gd name="T7" fmla="*/ 23 h 259"/>
                    <a:gd name="T8" fmla="*/ 21 w 240"/>
                    <a:gd name="T9" fmla="*/ 18 h 259"/>
                    <a:gd name="T10" fmla="*/ 23 w 240"/>
                    <a:gd name="T11" fmla="*/ 12 h 259"/>
                    <a:gd name="T12" fmla="*/ 26 w 240"/>
                    <a:gd name="T13" fmla="*/ 3 h 259"/>
                    <a:gd name="T14" fmla="*/ 23 w 240"/>
                    <a:gd name="T15" fmla="*/ 0 h 259"/>
                    <a:gd name="T16" fmla="*/ 22 w 240"/>
                    <a:gd name="T17" fmla="*/ 4 h 259"/>
                    <a:gd name="T18" fmla="*/ 22 w 240"/>
                    <a:gd name="T19" fmla="*/ 8 h 259"/>
                    <a:gd name="T20" fmla="*/ 18 w 240"/>
                    <a:gd name="T21" fmla="*/ 12 h 259"/>
                    <a:gd name="T22" fmla="*/ 14 w 240"/>
                    <a:gd name="T23" fmla="*/ 16 h 259"/>
                    <a:gd name="T24" fmla="*/ 12 w 240"/>
                    <a:gd name="T25" fmla="*/ 20 h 259"/>
                    <a:gd name="T26" fmla="*/ 10 w 240"/>
                    <a:gd name="T27" fmla="*/ 24 h 259"/>
                    <a:gd name="T28" fmla="*/ 2 w 240"/>
                    <a:gd name="T29" fmla="*/ 25 h 259"/>
                    <a:gd name="T30" fmla="*/ 0 w 240"/>
                    <a:gd name="T31" fmla="*/ 25 h 259"/>
                    <a:gd name="T32" fmla="*/ 1 w 240"/>
                    <a:gd name="T33" fmla="*/ 27 h 259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40" h="259">
                      <a:moveTo>
                        <a:pt x="13" y="247"/>
                      </a:moveTo>
                      <a:lnTo>
                        <a:pt x="79" y="259"/>
                      </a:lnTo>
                      <a:lnTo>
                        <a:pt x="120" y="240"/>
                      </a:lnTo>
                      <a:lnTo>
                        <a:pt x="133" y="210"/>
                      </a:lnTo>
                      <a:lnTo>
                        <a:pt x="192" y="161"/>
                      </a:lnTo>
                      <a:lnTo>
                        <a:pt x="212" y="111"/>
                      </a:lnTo>
                      <a:lnTo>
                        <a:pt x="240" y="26"/>
                      </a:lnTo>
                      <a:lnTo>
                        <a:pt x="212" y="0"/>
                      </a:lnTo>
                      <a:lnTo>
                        <a:pt x="206" y="32"/>
                      </a:lnTo>
                      <a:lnTo>
                        <a:pt x="199" y="74"/>
                      </a:lnTo>
                      <a:lnTo>
                        <a:pt x="166" y="105"/>
                      </a:lnTo>
                      <a:lnTo>
                        <a:pt x="133" y="149"/>
                      </a:lnTo>
                      <a:lnTo>
                        <a:pt x="113" y="179"/>
                      </a:lnTo>
                      <a:lnTo>
                        <a:pt x="93" y="216"/>
                      </a:lnTo>
                      <a:lnTo>
                        <a:pt x="20" y="222"/>
                      </a:lnTo>
                      <a:lnTo>
                        <a:pt x="0" y="222"/>
                      </a:lnTo>
                      <a:lnTo>
                        <a:pt x="13" y="247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53" name="Freeform 526">
                  <a:extLst>
                    <a:ext uri="{FF2B5EF4-FFF2-40B4-BE49-F238E27FC236}">
                      <a16:creationId xmlns:a16="http://schemas.microsoft.com/office/drawing/2014/main" id="{C93EA4AF-B8F4-47BC-B8DB-1CBD9987BC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15" y="1761"/>
                  <a:ext cx="84" cy="34"/>
                </a:xfrm>
                <a:custGeom>
                  <a:avLst/>
                  <a:gdLst>
                    <a:gd name="T0" fmla="*/ 4 w 259"/>
                    <a:gd name="T1" fmla="*/ 11 h 104"/>
                    <a:gd name="T2" fmla="*/ 3 w 259"/>
                    <a:gd name="T3" fmla="*/ 9 h 104"/>
                    <a:gd name="T4" fmla="*/ 6 w 259"/>
                    <a:gd name="T5" fmla="*/ 7 h 104"/>
                    <a:gd name="T6" fmla="*/ 7 w 259"/>
                    <a:gd name="T7" fmla="*/ 5 h 104"/>
                    <a:gd name="T8" fmla="*/ 13 w 259"/>
                    <a:gd name="T9" fmla="*/ 5 h 104"/>
                    <a:gd name="T10" fmla="*/ 18 w 259"/>
                    <a:gd name="T11" fmla="*/ 5 h 104"/>
                    <a:gd name="T12" fmla="*/ 26 w 259"/>
                    <a:gd name="T13" fmla="*/ 3 h 104"/>
                    <a:gd name="T14" fmla="*/ 27 w 259"/>
                    <a:gd name="T15" fmla="*/ 1 h 104"/>
                    <a:gd name="T16" fmla="*/ 26 w 259"/>
                    <a:gd name="T17" fmla="*/ 0 h 104"/>
                    <a:gd name="T18" fmla="*/ 21 w 259"/>
                    <a:gd name="T19" fmla="*/ 1 h 104"/>
                    <a:gd name="T20" fmla="*/ 16 w 259"/>
                    <a:gd name="T21" fmla="*/ 1 h 104"/>
                    <a:gd name="T22" fmla="*/ 11 w 259"/>
                    <a:gd name="T23" fmla="*/ 1 h 104"/>
                    <a:gd name="T24" fmla="*/ 6 w 259"/>
                    <a:gd name="T25" fmla="*/ 2 h 104"/>
                    <a:gd name="T26" fmla="*/ 3 w 259"/>
                    <a:gd name="T27" fmla="*/ 5 h 104"/>
                    <a:gd name="T28" fmla="*/ 0 w 259"/>
                    <a:gd name="T29" fmla="*/ 7 h 104"/>
                    <a:gd name="T30" fmla="*/ 0 w 259"/>
                    <a:gd name="T31" fmla="*/ 11 h 104"/>
                    <a:gd name="T32" fmla="*/ 4 w 259"/>
                    <a:gd name="T33" fmla="*/ 11 h 104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</a:gdLst>
                  <a:ahLst/>
                  <a:cxnLst>
                    <a:cxn ang="T34">
                      <a:pos x="T0" y="T1"/>
                    </a:cxn>
                    <a:cxn ang="T35">
                      <a:pos x="T2" y="T3"/>
                    </a:cxn>
                    <a:cxn ang="T36">
                      <a:pos x="T4" y="T5"/>
                    </a:cxn>
                    <a:cxn ang="T37">
                      <a:pos x="T6" y="T7"/>
                    </a:cxn>
                    <a:cxn ang="T38">
                      <a:pos x="T8" y="T9"/>
                    </a:cxn>
                    <a:cxn ang="T39">
                      <a:pos x="T10" y="T11"/>
                    </a:cxn>
                    <a:cxn ang="T40">
                      <a:pos x="T12" y="T13"/>
                    </a:cxn>
                    <a:cxn ang="T41">
                      <a:pos x="T14" y="T15"/>
                    </a:cxn>
                    <a:cxn ang="T42">
                      <a:pos x="T16" y="T17"/>
                    </a:cxn>
                    <a:cxn ang="T43">
                      <a:pos x="T18" y="T19"/>
                    </a:cxn>
                    <a:cxn ang="T44">
                      <a:pos x="T20" y="T21"/>
                    </a:cxn>
                    <a:cxn ang="T45">
                      <a:pos x="T22" y="T23"/>
                    </a:cxn>
                    <a:cxn ang="T46">
                      <a:pos x="T24" y="T25"/>
                    </a:cxn>
                    <a:cxn ang="T47">
                      <a:pos x="T26" y="T27"/>
                    </a:cxn>
                    <a:cxn ang="T48">
                      <a:pos x="T28" y="T29"/>
                    </a:cxn>
                    <a:cxn ang="T49">
                      <a:pos x="T30" y="T31"/>
                    </a:cxn>
                    <a:cxn ang="T50">
                      <a:pos x="T32" y="T33"/>
                    </a:cxn>
                  </a:cxnLst>
                  <a:rect l="0" t="0" r="r" b="b"/>
                  <a:pathLst>
                    <a:path w="259" h="104">
                      <a:moveTo>
                        <a:pt x="33" y="104"/>
                      </a:moveTo>
                      <a:lnTo>
                        <a:pt x="26" y="86"/>
                      </a:lnTo>
                      <a:lnTo>
                        <a:pt x="52" y="62"/>
                      </a:lnTo>
                      <a:lnTo>
                        <a:pt x="72" y="49"/>
                      </a:lnTo>
                      <a:lnTo>
                        <a:pt x="126" y="43"/>
                      </a:lnTo>
                      <a:lnTo>
                        <a:pt x="172" y="43"/>
                      </a:lnTo>
                      <a:lnTo>
                        <a:pt x="246" y="31"/>
                      </a:lnTo>
                      <a:lnTo>
                        <a:pt x="259" y="7"/>
                      </a:lnTo>
                      <a:lnTo>
                        <a:pt x="246" y="0"/>
                      </a:lnTo>
                      <a:lnTo>
                        <a:pt x="205" y="13"/>
                      </a:lnTo>
                      <a:lnTo>
                        <a:pt x="152" y="7"/>
                      </a:lnTo>
                      <a:lnTo>
                        <a:pt x="106" y="13"/>
                      </a:lnTo>
                      <a:lnTo>
                        <a:pt x="52" y="19"/>
                      </a:lnTo>
                      <a:lnTo>
                        <a:pt x="26" y="43"/>
                      </a:lnTo>
                      <a:lnTo>
                        <a:pt x="0" y="68"/>
                      </a:lnTo>
                      <a:lnTo>
                        <a:pt x="0" y="104"/>
                      </a:lnTo>
                      <a:lnTo>
                        <a:pt x="33" y="104"/>
                      </a:lnTo>
                    </a:path>
                  </a:pathLst>
                </a:custGeom>
                <a:solidFill>
                  <a:srgbClr val="C0C0C0"/>
                </a:solidFill>
                <a:ln w="9525" cmpd="sng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925" name="Freeform 527">
                <a:extLst>
                  <a:ext uri="{FF2B5EF4-FFF2-40B4-BE49-F238E27FC236}">
                    <a16:creationId xmlns:a16="http://schemas.microsoft.com/office/drawing/2014/main" id="{55C6AA96-6174-48B7-B5C3-7EFD2B074403}"/>
                  </a:ext>
                </a:extLst>
              </p:cNvPr>
              <p:cNvSpPr>
                <a:spLocks/>
              </p:cNvSpPr>
              <p:nvPr>
                <p:custDataLst>
                  <p:tags r:id="rId363"/>
                </p:custDataLst>
              </p:nvPr>
            </p:nvSpPr>
            <p:spPr bwMode="auto">
              <a:xfrm>
                <a:off x="5019588" y="3355627"/>
                <a:ext cx="640678" cy="574857"/>
              </a:xfrm>
              <a:custGeom>
                <a:avLst/>
                <a:gdLst>
                  <a:gd name="T0" fmla="*/ 174039118 w 1227"/>
                  <a:gd name="T1" fmla="*/ 127045523 h 979"/>
                  <a:gd name="T2" fmla="*/ 174039118 w 1227"/>
                  <a:gd name="T3" fmla="*/ 120502588 h 979"/>
                  <a:gd name="T4" fmla="*/ 173665757 w 1227"/>
                  <a:gd name="T5" fmla="*/ 112323788 h 979"/>
                  <a:gd name="T6" fmla="*/ 169557485 w 1227"/>
                  <a:gd name="T7" fmla="*/ 104962659 h 979"/>
                  <a:gd name="T8" fmla="*/ 167876927 w 1227"/>
                  <a:gd name="T9" fmla="*/ 100055066 h 979"/>
                  <a:gd name="T10" fmla="*/ 152564357 w 1227"/>
                  <a:gd name="T11" fmla="*/ 85060773 h 979"/>
                  <a:gd name="T12" fmla="*/ 141733853 w 1227"/>
                  <a:gd name="T13" fmla="*/ 71701823 h 979"/>
                  <a:gd name="T14" fmla="*/ 140426656 w 1227"/>
                  <a:gd name="T15" fmla="*/ 62432272 h 979"/>
                  <a:gd name="T16" fmla="*/ 135571229 w 1227"/>
                  <a:gd name="T17" fmla="*/ 59433623 h 979"/>
                  <a:gd name="T18" fmla="*/ 129782400 w 1227"/>
                  <a:gd name="T19" fmla="*/ 56434451 h 979"/>
                  <a:gd name="T20" fmla="*/ 119138576 w 1227"/>
                  <a:gd name="T21" fmla="*/ 53435279 h 979"/>
                  <a:gd name="T22" fmla="*/ 111295394 w 1227"/>
                  <a:gd name="T23" fmla="*/ 54798587 h 979"/>
                  <a:gd name="T24" fmla="*/ 106440400 w 1227"/>
                  <a:gd name="T25" fmla="*/ 55616780 h 979"/>
                  <a:gd name="T26" fmla="*/ 98971012 w 1227"/>
                  <a:gd name="T27" fmla="*/ 53162722 h 979"/>
                  <a:gd name="T28" fmla="*/ 94302266 w 1227"/>
                  <a:gd name="T29" fmla="*/ 48800765 h 979"/>
                  <a:gd name="T30" fmla="*/ 90193995 w 1227"/>
                  <a:gd name="T31" fmla="*/ 34896701 h 979"/>
                  <a:gd name="T32" fmla="*/ 86832878 w 1227"/>
                  <a:gd name="T33" fmla="*/ 28080686 h 979"/>
                  <a:gd name="T34" fmla="*/ 80670687 w 1227"/>
                  <a:gd name="T35" fmla="*/ 22082864 h 979"/>
                  <a:gd name="T36" fmla="*/ 68159192 w 1227"/>
                  <a:gd name="T37" fmla="*/ 16630679 h 979"/>
                  <a:gd name="T38" fmla="*/ 56581533 w 1227"/>
                  <a:gd name="T39" fmla="*/ 8723914 h 979"/>
                  <a:gd name="T40" fmla="*/ 39961766 w 1227"/>
                  <a:gd name="T41" fmla="*/ 2726093 h 979"/>
                  <a:gd name="T42" fmla="*/ 30998501 w 1227"/>
                  <a:gd name="T43" fmla="*/ 10359779 h 979"/>
                  <a:gd name="T44" fmla="*/ 28197426 w 1227"/>
                  <a:gd name="T45" fmla="*/ 16630679 h 979"/>
                  <a:gd name="T46" fmla="*/ 28570787 w 1227"/>
                  <a:gd name="T47" fmla="*/ 24536922 h 979"/>
                  <a:gd name="T48" fmla="*/ 31558543 w 1227"/>
                  <a:gd name="T49" fmla="*/ 32170608 h 979"/>
                  <a:gd name="T50" fmla="*/ 28197426 w 1227"/>
                  <a:gd name="T51" fmla="*/ 40894522 h 979"/>
                  <a:gd name="T52" fmla="*/ 17739851 w 1227"/>
                  <a:gd name="T53" fmla="*/ 50709187 h 979"/>
                  <a:gd name="T54" fmla="*/ 10083782 w 1227"/>
                  <a:gd name="T55" fmla="*/ 51799937 h 979"/>
                  <a:gd name="T56" fmla="*/ 1680558 w 1227"/>
                  <a:gd name="T57" fmla="*/ 49891515 h 979"/>
                  <a:gd name="T58" fmla="*/ 0 w 1227"/>
                  <a:gd name="T59" fmla="*/ 64340694 h 979"/>
                  <a:gd name="T60" fmla="*/ 1680558 w 1227"/>
                  <a:gd name="T61" fmla="*/ 73337687 h 979"/>
                  <a:gd name="T62" fmla="*/ 4668314 w 1227"/>
                  <a:gd name="T63" fmla="*/ 76881451 h 979"/>
                  <a:gd name="T64" fmla="*/ 7469388 w 1227"/>
                  <a:gd name="T65" fmla="*/ 83697466 h 979"/>
                  <a:gd name="T66" fmla="*/ 15499250 w 1227"/>
                  <a:gd name="T67" fmla="*/ 99237395 h 979"/>
                  <a:gd name="T68" fmla="*/ 19047048 w 1227"/>
                  <a:gd name="T69" fmla="*/ 112868902 h 979"/>
                  <a:gd name="T70" fmla="*/ 22595277 w 1227"/>
                  <a:gd name="T71" fmla="*/ 116413188 h 979"/>
                  <a:gd name="T72" fmla="*/ 24835877 w 1227"/>
                  <a:gd name="T73" fmla="*/ 119411838 h 979"/>
                  <a:gd name="T74" fmla="*/ 27636952 w 1227"/>
                  <a:gd name="T75" fmla="*/ 127863717 h 979"/>
                  <a:gd name="T76" fmla="*/ 41829005 w 1227"/>
                  <a:gd name="T77" fmla="*/ 148855831 h 979"/>
                  <a:gd name="T78" fmla="*/ 46497751 w 1227"/>
                  <a:gd name="T79" fmla="*/ 159488689 h 979"/>
                  <a:gd name="T80" fmla="*/ 47804948 w 1227"/>
                  <a:gd name="T81" fmla="*/ 170121024 h 979"/>
                  <a:gd name="T82" fmla="*/ 49672187 w 1227"/>
                  <a:gd name="T83" fmla="*/ 179663132 h 979"/>
                  <a:gd name="T84" fmla="*/ 55834378 w 1227"/>
                  <a:gd name="T85" fmla="*/ 191113660 h 979"/>
                  <a:gd name="T86" fmla="*/ 67412037 w 1227"/>
                  <a:gd name="T87" fmla="*/ 207471260 h 979"/>
                  <a:gd name="T88" fmla="*/ 72454144 w 1227"/>
                  <a:gd name="T89" fmla="*/ 221920961 h 979"/>
                  <a:gd name="T90" fmla="*/ 79363490 w 1227"/>
                  <a:gd name="T91" fmla="*/ 236370140 h 979"/>
                  <a:gd name="T92" fmla="*/ 90193995 w 1227"/>
                  <a:gd name="T93" fmla="*/ 255726911 h 979"/>
                  <a:gd name="T94" fmla="*/ 98597219 w 1227"/>
                  <a:gd name="T95" fmla="*/ 266904883 h 979"/>
                  <a:gd name="T96" fmla="*/ 101398293 w 1227"/>
                  <a:gd name="T97" fmla="*/ 259816311 h 979"/>
                  <a:gd name="T98" fmla="*/ 101958767 w 1227"/>
                  <a:gd name="T99" fmla="*/ 247820668 h 979"/>
                  <a:gd name="T100" fmla="*/ 106440400 w 1227"/>
                  <a:gd name="T101" fmla="*/ 244276383 h 979"/>
                  <a:gd name="T102" fmla="*/ 112975953 w 1227"/>
                  <a:gd name="T103" fmla="*/ 244003825 h 979"/>
                  <a:gd name="T104" fmla="*/ 123246847 w 1227"/>
                  <a:gd name="T105" fmla="*/ 247820668 h 979"/>
                  <a:gd name="T106" fmla="*/ 132210113 w 1227"/>
                  <a:gd name="T107" fmla="*/ 257090219 h 979"/>
                  <a:gd name="T108" fmla="*/ 146962208 w 1227"/>
                  <a:gd name="T109" fmla="*/ 228463897 h 979"/>
                  <a:gd name="T110" fmla="*/ 223897985 w 1227"/>
                  <a:gd name="T111" fmla="*/ 154581095 h 979"/>
                  <a:gd name="T112" fmla="*/ 175532996 w 1227"/>
                  <a:gd name="T113" fmla="*/ 127590638 h 97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0" t="0" r="r" b="b"/>
                <a:pathLst>
                  <a:path w="1227" h="979">
                    <a:moveTo>
                      <a:pt x="940" y="468"/>
                    </a:moveTo>
                    <a:lnTo>
                      <a:pt x="937" y="468"/>
                    </a:lnTo>
                    <a:lnTo>
                      <a:pt x="935" y="467"/>
                    </a:lnTo>
                    <a:lnTo>
                      <a:pt x="932" y="466"/>
                    </a:lnTo>
                    <a:lnTo>
                      <a:pt x="931" y="465"/>
                    </a:lnTo>
                    <a:lnTo>
                      <a:pt x="930" y="461"/>
                    </a:lnTo>
                    <a:lnTo>
                      <a:pt x="930" y="456"/>
                    </a:lnTo>
                    <a:lnTo>
                      <a:pt x="932" y="442"/>
                    </a:lnTo>
                    <a:lnTo>
                      <a:pt x="933" y="425"/>
                    </a:lnTo>
                    <a:lnTo>
                      <a:pt x="933" y="420"/>
                    </a:lnTo>
                    <a:lnTo>
                      <a:pt x="932" y="416"/>
                    </a:lnTo>
                    <a:lnTo>
                      <a:pt x="930" y="412"/>
                    </a:lnTo>
                    <a:lnTo>
                      <a:pt x="928" y="407"/>
                    </a:lnTo>
                    <a:lnTo>
                      <a:pt x="921" y="400"/>
                    </a:lnTo>
                    <a:lnTo>
                      <a:pt x="915" y="392"/>
                    </a:lnTo>
                    <a:lnTo>
                      <a:pt x="908" y="385"/>
                    </a:lnTo>
                    <a:lnTo>
                      <a:pt x="903" y="378"/>
                    </a:lnTo>
                    <a:lnTo>
                      <a:pt x="902" y="373"/>
                    </a:lnTo>
                    <a:lnTo>
                      <a:pt x="901" y="370"/>
                    </a:lnTo>
                    <a:lnTo>
                      <a:pt x="899" y="367"/>
                    </a:lnTo>
                    <a:lnTo>
                      <a:pt x="901" y="363"/>
                    </a:lnTo>
                    <a:lnTo>
                      <a:pt x="865" y="344"/>
                    </a:lnTo>
                    <a:lnTo>
                      <a:pt x="838" y="328"/>
                    </a:lnTo>
                    <a:lnTo>
                      <a:pt x="817" y="312"/>
                    </a:lnTo>
                    <a:lnTo>
                      <a:pt x="801" y="300"/>
                    </a:lnTo>
                    <a:lnTo>
                      <a:pt x="779" y="280"/>
                    </a:lnTo>
                    <a:lnTo>
                      <a:pt x="761" y="264"/>
                    </a:lnTo>
                    <a:lnTo>
                      <a:pt x="759" y="263"/>
                    </a:lnTo>
                    <a:lnTo>
                      <a:pt x="757" y="258"/>
                    </a:lnTo>
                    <a:lnTo>
                      <a:pt x="756" y="252"/>
                    </a:lnTo>
                    <a:lnTo>
                      <a:pt x="754" y="245"/>
                    </a:lnTo>
                    <a:lnTo>
                      <a:pt x="752" y="229"/>
                    </a:lnTo>
                    <a:lnTo>
                      <a:pt x="748" y="216"/>
                    </a:lnTo>
                    <a:lnTo>
                      <a:pt x="740" y="218"/>
                    </a:lnTo>
                    <a:lnTo>
                      <a:pt x="733" y="218"/>
                    </a:lnTo>
                    <a:lnTo>
                      <a:pt x="726" y="218"/>
                    </a:lnTo>
                    <a:lnTo>
                      <a:pt x="718" y="217"/>
                    </a:lnTo>
                    <a:lnTo>
                      <a:pt x="711" y="215"/>
                    </a:lnTo>
                    <a:lnTo>
                      <a:pt x="703" y="212"/>
                    </a:lnTo>
                    <a:lnTo>
                      <a:pt x="695" y="207"/>
                    </a:lnTo>
                    <a:lnTo>
                      <a:pt x="688" y="203"/>
                    </a:lnTo>
                    <a:lnTo>
                      <a:pt x="667" y="199"/>
                    </a:lnTo>
                    <a:lnTo>
                      <a:pt x="650" y="197"/>
                    </a:lnTo>
                    <a:lnTo>
                      <a:pt x="638" y="196"/>
                    </a:lnTo>
                    <a:lnTo>
                      <a:pt x="630" y="196"/>
                    </a:lnTo>
                    <a:lnTo>
                      <a:pt x="617" y="199"/>
                    </a:lnTo>
                    <a:lnTo>
                      <a:pt x="602" y="203"/>
                    </a:lnTo>
                    <a:lnTo>
                      <a:pt x="596" y="201"/>
                    </a:lnTo>
                    <a:lnTo>
                      <a:pt x="591" y="201"/>
                    </a:lnTo>
                    <a:lnTo>
                      <a:pt x="584" y="202"/>
                    </a:lnTo>
                    <a:lnTo>
                      <a:pt x="578" y="203"/>
                    </a:lnTo>
                    <a:lnTo>
                      <a:pt x="570" y="204"/>
                    </a:lnTo>
                    <a:lnTo>
                      <a:pt x="563" y="205"/>
                    </a:lnTo>
                    <a:lnTo>
                      <a:pt x="556" y="204"/>
                    </a:lnTo>
                    <a:lnTo>
                      <a:pt x="548" y="203"/>
                    </a:lnTo>
                    <a:lnTo>
                      <a:pt x="530" y="195"/>
                    </a:lnTo>
                    <a:lnTo>
                      <a:pt x="517" y="190"/>
                    </a:lnTo>
                    <a:lnTo>
                      <a:pt x="513" y="187"/>
                    </a:lnTo>
                    <a:lnTo>
                      <a:pt x="509" y="183"/>
                    </a:lnTo>
                    <a:lnTo>
                      <a:pt x="505" y="179"/>
                    </a:lnTo>
                    <a:lnTo>
                      <a:pt x="502" y="173"/>
                    </a:lnTo>
                    <a:lnTo>
                      <a:pt x="493" y="152"/>
                    </a:lnTo>
                    <a:lnTo>
                      <a:pt x="487" y="136"/>
                    </a:lnTo>
                    <a:lnTo>
                      <a:pt x="483" y="128"/>
                    </a:lnTo>
                    <a:lnTo>
                      <a:pt x="479" y="121"/>
                    </a:lnTo>
                    <a:lnTo>
                      <a:pt x="476" y="115"/>
                    </a:lnTo>
                    <a:lnTo>
                      <a:pt x="470" y="109"/>
                    </a:lnTo>
                    <a:lnTo>
                      <a:pt x="465" y="103"/>
                    </a:lnTo>
                    <a:lnTo>
                      <a:pt x="459" y="96"/>
                    </a:lnTo>
                    <a:lnTo>
                      <a:pt x="451" y="91"/>
                    </a:lnTo>
                    <a:lnTo>
                      <a:pt x="443" y="86"/>
                    </a:lnTo>
                    <a:lnTo>
                      <a:pt x="432" y="81"/>
                    </a:lnTo>
                    <a:lnTo>
                      <a:pt x="420" y="77"/>
                    </a:lnTo>
                    <a:lnTo>
                      <a:pt x="405" y="72"/>
                    </a:lnTo>
                    <a:lnTo>
                      <a:pt x="389" y="68"/>
                    </a:lnTo>
                    <a:lnTo>
                      <a:pt x="365" y="61"/>
                    </a:lnTo>
                    <a:lnTo>
                      <a:pt x="346" y="55"/>
                    </a:lnTo>
                    <a:lnTo>
                      <a:pt x="332" y="48"/>
                    </a:lnTo>
                    <a:lnTo>
                      <a:pt x="317" y="40"/>
                    </a:lnTo>
                    <a:lnTo>
                      <a:pt x="303" y="32"/>
                    </a:lnTo>
                    <a:lnTo>
                      <a:pt x="287" y="23"/>
                    </a:lnTo>
                    <a:lnTo>
                      <a:pt x="265" y="13"/>
                    </a:lnTo>
                    <a:lnTo>
                      <a:pt x="236" y="0"/>
                    </a:lnTo>
                    <a:lnTo>
                      <a:pt x="214" y="10"/>
                    </a:lnTo>
                    <a:lnTo>
                      <a:pt x="186" y="24"/>
                    </a:lnTo>
                    <a:lnTo>
                      <a:pt x="178" y="28"/>
                    </a:lnTo>
                    <a:lnTo>
                      <a:pt x="171" y="33"/>
                    </a:lnTo>
                    <a:lnTo>
                      <a:pt x="166" y="38"/>
                    </a:lnTo>
                    <a:lnTo>
                      <a:pt x="160" y="44"/>
                    </a:lnTo>
                    <a:lnTo>
                      <a:pt x="156" y="49"/>
                    </a:lnTo>
                    <a:lnTo>
                      <a:pt x="153" y="55"/>
                    </a:lnTo>
                    <a:lnTo>
                      <a:pt x="151" y="61"/>
                    </a:lnTo>
                    <a:lnTo>
                      <a:pt x="149" y="68"/>
                    </a:lnTo>
                    <a:lnTo>
                      <a:pt x="151" y="75"/>
                    </a:lnTo>
                    <a:lnTo>
                      <a:pt x="152" y="82"/>
                    </a:lnTo>
                    <a:lnTo>
                      <a:pt x="153" y="90"/>
                    </a:lnTo>
                    <a:lnTo>
                      <a:pt x="156" y="97"/>
                    </a:lnTo>
                    <a:lnTo>
                      <a:pt x="159" y="105"/>
                    </a:lnTo>
                    <a:lnTo>
                      <a:pt x="164" y="112"/>
                    </a:lnTo>
                    <a:lnTo>
                      <a:pt x="169" y="118"/>
                    </a:lnTo>
                    <a:lnTo>
                      <a:pt x="177" y="123"/>
                    </a:lnTo>
                    <a:lnTo>
                      <a:pt x="171" y="129"/>
                    </a:lnTo>
                    <a:lnTo>
                      <a:pt x="163" y="139"/>
                    </a:lnTo>
                    <a:lnTo>
                      <a:pt x="151" y="150"/>
                    </a:lnTo>
                    <a:lnTo>
                      <a:pt x="136" y="162"/>
                    </a:lnTo>
                    <a:lnTo>
                      <a:pt x="120" y="173"/>
                    </a:lnTo>
                    <a:lnTo>
                      <a:pt x="102" y="182"/>
                    </a:lnTo>
                    <a:lnTo>
                      <a:pt x="95" y="186"/>
                    </a:lnTo>
                    <a:lnTo>
                      <a:pt x="86" y="188"/>
                    </a:lnTo>
                    <a:lnTo>
                      <a:pt x="78" y="190"/>
                    </a:lnTo>
                    <a:lnTo>
                      <a:pt x="70" y="191"/>
                    </a:lnTo>
                    <a:lnTo>
                      <a:pt x="54" y="190"/>
                    </a:lnTo>
                    <a:lnTo>
                      <a:pt x="37" y="187"/>
                    </a:lnTo>
                    <a:lnTo>
                      <a:pt x="22" y="183"/>
                    </a:lnTo>
                    <a:lnTo>
                      <a:pt x="10" y="179"/>
                    </a:lnTo>
                    <a:lnTo>
                      <a:pt x="9" y="183"/>
                    </a:lnTo>
                    <a:lnTo>
                      <a:pt x="6" y="193"/>
                    </a:lnTo>
                    <a:lnTo>
                      <a:pt x="2" y="208"/>
                    </a:lnTo>
                    <a:lnTo>
                      <a:pt x="0" y="226"/>
                    </a:lnTo>
                    <a:lnTo>
                      <a:pt x="0" y="236"/>
                    </a:lnTo>
                    <a:lnTo>
                      <a:pt x="0" y="245"/>
                    </a:lnTo>
                    <a:lnTo>
                      <a:pt x="2" y="253"/>
                    </a:lnTo>
                    <a:lnTo>
                      <a:pt x="5" y="261"/>
                    </a:lnTo>
                    <a:lnTo>
                      <a:pt x="9" y="269"/>
                    </a:lnTo>
                    <a:lnTo>
                      <a:pt x="14" y="276"/>
                    </a:lnTo>
                    <a:lnTo>
                      <a:pt x="18" y="278"/>
                    </a:lnTo>
                    <a:lnTo>
                      <a:pt x="21" y="280"/>
                    </a:lnTo>
                    <a:lnTo>
                      <a:pt x="25" y="282"/>
                    </a:lnTo>
                    <a:lnTo>
                      <a:pt x="30" y="283"/>
                    </a:lnTo>
                    <a:lnTo>
                      <a:pt x="32" y="291"/>
                    </a:lnTo>
                    <a:lnTo>
                      <a:pt x="35" y="299"/>
                    </a:lnTo>
                    <a:lnTo>
                      <a:pt x="40" y="307"/>
                    </a:lnTo>
                    <a:lnTo>
                      <a:pt x="44" y="315"/>
                    </a:lnTo>
                    <a:lnTo>
                      <a:pt x="56" y="331"/>
                    </a:lnTo>
                    <a:lnTo>
                      <a:pt x="69" y="347"/>
                    </a:lnTo>
                    <a:lnTo>
                      <a:pt x="83" y="364"/>
                    </a:lnTo>
                    <a:lnTo>
                      <a:pt x="92" y="383"/>
                    </a:lnTo>
                    <a:lnTo>
                      <a:pt x="97" y="393"/>
                    </a:lnTo>
                    <a:lnTo>
                      <a:pt x="100" y="403"/>
                    </a:lnTo>
                    <a:lnTo>
                      <a:pt x="102" y="414"/>
                    </a:lnTo>
                    <a:lnTo>
                      <a:pt x="103" y="425"/>
                    </a:lnTo>
                    <a:lnTo>
                      <a:pt x="110" y="425"/>
                    </a:lnTo>
                    <a:lnTo>
                      <a:pt x="117" y="426"/>
                    </a:lnTo>
                    <a:lnTo>
                      <a:pt x="121" y="427"/>
                    </a:lnTo>
                    <a:lnTo>
                      <a:pt x="124" y="429"/>
                    </a:lnTo>
                    <a:lnTo>
                      <a:pt x="128" y="431"/>
                    </a:lnTo>
                    <a:lnTo>
                      <a:pt x="131" y="435"/>
                    </a:lnTo>
                    <a:lnTo>
                      <a:pt x="133" y="438"/>
                    </a:lnTo>
                    <a:lnTo>
                      <a:pt x="135" y="441"/>
                    </a:lnTo>
                    <a:lnTo>
                      <a:pt x="139" y="450"/>
                    </a:lnTo>
                    <a:lnTo>
                      <a:pt x="143" y="459"/>
                    </a:lnTo>
                    <a:lnTo>
                      <a:pt x="148" y="469"/>
                    </a:lnTo>
                    <a:lnTo>
                      <a:pt x="156" y="480"/>
                    </a:lnTo>
                    <a:lnTo>
                      <a:pt x="184" y="504"/>
                    </a:lnTo>
                    <a:lnTo>
                      <a:pt x="216" y="536"/>
                    </a:lnTo>
                    <a:lnTo>
                      <a:pt x="224" y="546"/>
                    </a:lnTo>
                    <a:lnTo>
                      <a:pt x="232" y="556"/>
                    </a:lnTo>
                    <a:lnTo>
                      <a:pt x="238" y="565"/>
                    </a:lnTo>
                    <a:lnTo>
                      <a:pt x="244" y="575"/>
                    </a:lnTo>
                    <a:lnTo>
                      <a:pt x="249" y="585"/>
                    </a:lnTo>
                    <a:lnTo>
                      <a:pt x="253" y="595"/>
                    </a:lnTo>
                    <a:lnTo>
                      <a:pt x="255" y="606"/>
                    </a:lnTo>
                    <a:lnTo>
                      <a:pt x="256" y="616"/>
                    </a:lnTo>
                    <a:lnTo>
                      <a:pt x="256" y="624"/>
                    </a:lnTo>
                    <a:lnTo>
                      <a:pt x="257" y="631"/>
                    </a:lnTo>
                    <a:lnTo>
                      <a:pt x="258" y="638"/>
                    </a:lnTo>
                    <a:lnTo>
                      <a:pt x="260" y="645"/>
                    </a:lnTo>
                    <a:lnTo>
                      <a:pt x="266" y="659"/>
                    </a:lnTo>
                    <a:lnTo>
                      <a:pt x="272" y="670"/>
                    </a:lnTo>
                    <a:lnTo>
                      <a:pt x="280" y="681"/>
                    </a:lnTo>
                    <a:lnTo>
                      <a:pt x="289" y="691"/>
                    </a:lnTo>
                    <a:lnTo>
                      <a:pt x="299" y="701"/>
                    </a:lnTo>
                    <a:lnTo>
                      <a:pt x="310" y="710"/>
                    </a:lnTo>
                    <a:lnTo>
                      <a:pt x="331" y="730"/>
                    </a:lnTo>
                    <a:lnTo>
                      <a:pt x="352" y="750"/>
                    </a:lnTo>
                    <a:lnTo>
                      <a:pt x="361" y="761"/>
                    </a:lnTo>
                    <a:lnTo>
                      <a:pt x="369" y="774"/>
                    </a:lnTo>
                    <a:lnTo>
                      <a:pt x="377" y="787"/>
                    </a:lnTo>
                    <a:lnTo>
                      <a:pt x="382" y="801"/>
                    </a:lnTo>
                    <a:lnTo>
                      <a:pt x="388" y="814"/>
                    </a:lnTo>
                    <a:lnTo>
                      <a:pt x="394" y="827"/>
                    </a:lnTo>
                    <a:lnTo>
                      <a:pt x="401" y="838"/>
                    </a:lnTo>
                    <a:lnTo>
                      <a:pt x="409" y="848"/>
                    </a:lnTo>
                    <a:lnTo>
                      <a:pt x="425" y="867"/>
                    </a:lnTo>
                    <a:lnTo>
                      <a:pt x="443" y="886"/>
                    </a:lnTo>
                    <a:lnTo>
                      <a:pt x="459" y="905"/>
                    </a:lnTo>
                    <a:lnTo>
                      <a:pt x="476" y="925"/>
                    </a:lnTo>
                    <a:lnTo>
                      <a:pt x="483" y="938"/>
                    </a:lnTo>
                    <a:lnTo>
                      <a:pt x="490" y="950"/>
                    </a:lnTo>
                    <a:lnTo>
                      <a:pt x="496" y="964"/>
                    </a:lnTo>
                    <a:lnTo>
                      <a:pt x="502" y="979"/>
                    </a:lnTo>
                    <a:lnTo>
                      <a:pt x="528" y="979"/>
                    </a:lnTo>
                    <a:lnTo>
                      <a:pt x="535" y="973"/>
                    </a:lnTo>
                    <a:lnTo>
                      <a:pt x="539" y="966"/>
                    </a:lnTo>
                    <a:lnTo>
                      <a:pt x="541" y="960"/>
                    </a:lnTo>
                    <a:lnTo>
                      <a:pt x="543" y="953"/>
                    </a:lnTo>
                    <a:lnTo>
                      <a:pt x="543" y="938"/>
                    </a:lnTo>
                    <a:lnTo>
                      <a:pt x="541" y="918"/>
                    </a:lnTo>
                    <a:lnTo>
                      <a:pt x="543" y="913"/>
                    </a:lnTo>
                    <a:lnTo>
                      <a:pt x="546" y="909"/>
                    </a:lnTo>
                    <a:lnTo>
                      <a:pt x="551" y="905"/>
                    </a:lnTo>
                    <a:lnTo>
                      <a:pt x="557" y="901"/>
                    </a:lnTo>
                    <a:lnTo>
                      <a:pt x="563" y="898"/>
                    </a:lnTo>
                    <a:lnTo>
                      <a:pt x="570" y="896"/>
                    </a:lnTo>
                    <a:lnTo>
                      <a:pt x="577" y="894"/>
                    </a:lnTo>
                    <a:lnTo>
                      <a:pt x="582" y="893"/>
                    </a:lnTo>
                    <a:lnTo>
                      <a:pt x="594" y="894"/>
                    </a:lnTo>
                    <a:lnTo>
                      <a:pt x="605" y="895"/>
                    </a:lnTo>
                    <a:lnTo>
                      <a:pt x="616" y="896"/>
                    </a:lnTo>
                    <a:lnTo>
                      <a:pt x="626" y="898"/>
                    </a:lnTo>
                    <a:lnTo>
                      <a:pt x="644" y="902"/>
                    </a:lnTo>
                    <a:lnTo>
                      <a:pt x="660" y="909"/>
                    </a:lnTo>
                    <a:lnTo>
                      <a:pt x="674" y="916"/>
                    </a:lnTo>
                    <a:lnTo>
                      <a:pt x="686" y="924"/>
                    </a:lnTo>
                    <a:lnTo>
                      <a:pt x="697" y="934"/>
                    </a:lnTo>
                    <a:lnTo>
                      <a:pt x="708" y="943"/>
                    </a:lnTo>
                    <a:lnTo>
                      <a:pt x="729" y="916"/>
                    </a:lnTo>
                    <a:lnTo>
                      <a:pt x="756" y="881"/>
                    </a:lnTo>
                    <a:lnTo>
                      <a:pt x="778" y="851"/>
                    </a:lnTo>
                    <a:lnTo>
                      <a:pt x="787" y="838"/>
                    </a:lnTo>
                    <a:lnTo>
                      <a:pt x="1033" y="789"/>
                    </a:lnTo>
                    <a:lnTo>
                      <a:pt x="1146" y="763"/>
                    </a:lnTo>
                    <a:lnTo>
                      <a:pt x="1227" y="616"/>
                    </a:lnTo>
                    <a:lnTo>
                      <a:pt x="1199" y="567"/>
                    </a:lnTo>
                    <a:lnTo>
                      <a:pt x="1173" y="591"/>
                    </a:lnTo>
                    <a:lnTo>
                      <a:pt x="1000" y="573"/>
                    </a:lnTo>
                    <a:lnTo>
                      <a:pt x="940" y="480"/>
                    </a:lnTo>
                    <a:lnTo>
                      <a:pt x="940" y="46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26" name="Freeform 528">
                <a:extLst>
                  <a:ext uri="{FF2B5EF4-FFF2-40B4-BE49-F238E27FC236}">
                    <a16:creationId xmlns:a16="http://schemas.microsoft.com/office/drawing/2014/main" id="{15966707-9667-4B74-9536-2F804225EEEB}"/>
                  </a:ext>
                </a:extLst>
              </p:cNvPr>
              <p:cNvSpPr>
                <a:spLocks/>
              </p:cNvSpPr>
              <p:nvPr>
                <p:custDataLst>
                  <p:tags r:id="rId364"/>
                </p:custDataLst>
              </p:nvPr>
            </p:nvSpPr>
            <p:spPr bwMode="auto">
              <a:xfrm>
                <a:off x="4386149" y="2842299"/>
                <a:ext cx="68773" cy="65044"/>
              </a:xfrm>
              <a:custGeom>
                <a:avLst/>
                <a:gdLst>
                  <a:gd name="T0" fmla="*/ 22370702 w 146"/>
                  <a:gd name="T1" fmla="*/ 8960556 h 81"/>
                  <a:gd name="T2" fmla="*/ 21144717 w 146"/>
                  <a:gd name="T3" fmla="*/ 11947172 h 81"/>
                  <a:gd name="T4" fmla="*/ 19919124 w 146"/>
                  <a:gd name="T5" fmla="*/ 14436372 h 81"/>
                  <a:gd name="T6" fmla="*/ 18846583 w 146"/>
                  <a:gd name="T7" fmla="*/ 17422989 h 81"/>
                  <a:gd name="T8" fmla="*/ 18080538 w 146"/>
                  <a:gd name="T9" fmla="*/ 20410311 h 81"/>
                  <a:gd name="T10" fmla="*/ 16548057 w 146"/>
                  <a:gd name="T11" fmla="*/ 26383544 h 81"/>
                  <a:gd name="T12" fmla="*/ 15015967 w 146"/>
                  <a:gd name="T13" fmla="*/ 31860067 h 81"/>
                  <a:gd name="T14" fmla="*/ 14249922 w 146"/>
                  <a:gd name="T15" fmla="*/ 34348561 h 81"/>
                  <a:gd name="T16" fmla="*/ 13023937 w 146"/>
                  <a:gd name="T17" fmla="*/ 36340344 h 81"/>
                  <a:gd name="T18" fmla="*/ 11644900 w 146"/>
                  <a:gd name="T19" fmla="*/ 38331422 h 81"/>
                  <a:gd name="T20" fmla="*/ 10112810 w 146"/>
                  <a:gd name="T21" fmla="*/ 39824378 h 81"/>
                  <a:gd name="T22" fmla="*/ 8120780 w 146"/>
                  <a:gd name="T23" fmla="*/ 40322500 h 81"/>
                  <a:gd name="T24" fmla="*/ 5975698 w 146"/>
                  <a:gd name="T25" fmla="*/ 39824378 h 81"/>
                  <a:gd name="T26" fmla="*/ 3217623 w 146"/>
                  <a:gd name="T27" fmla="*/ 38331422 h 81"/>
                  <a:gd name="T28" fmla="*/ 0 w 146"/>
                  <a:gd name="T29" fmla="*/ 36837761 h 81"/>
                  <a:gd name="T30" fmla="*/ 0 w 146"/>
                  <a:gd name="T31" fmla="*/ 30863822 h 81"/>
                  <a:gd name="T32" fmla="*/ 0 w 146"/>
                  <a:gd name="T33" fmla="*/ 24392467 h 81"/>
                  <a:gd name="T34" fmla="*/ 0 w 146"/>
                  <a:gd name="T35" fmla="*/ 16925572 h 81"/>
                  <a:gd name="T36" fmla="*/ 0 w 146"/>
                  <a:gd name="T37" fmla="*/ 8960556 h 81"/>
                  <a:gd name="T38" fmla="*/ 2145082 w 146"/>
                  <a:gd name="T39" fmla="*/ 8960556 h 81"/>
                  <a:gd name="T40" fmla="*/ 3371067 w 146"/>
                  <a:gd name="T41" fmla="*/ 8960556 h 81"/>
                  <a:gd name="T42" fmla="*/ 4750104 w 146"/>
                  <a:gd name="T43" fmla="*/ 8960556 h 81"/>
                  <a:gd name="T44" fmla="*/ 6129142 w 146"/>
                  <a:gd name="T45" fmla="*/ 8960556 h 81"/>
                  <a:gd name="T46" fmla="*/ 7967728 w 146"/>
                  <a:gd name="T47" fmla="*/ 8960556 h 81"/>
                  <a:gd name="T48" fmla="*/ 9653261 w 146"/>
                  <a:gd name="T49" fmla="*/ 7965017 h 81"/>
                  <a:gd name="T50" fmla="*/ 11185351 w 146"/>
                  <a:gd name="T51" fmla="*/ 6969478 h 81"/>
                  <a:gd name="T52" fmla="*/ 12717441 w 146"/>
                  <a:gd name="T53" fmla="*/ 5475817 h 81"/>
                  <a:gd name="T54" fmla="*/ 15475515 w 146"/>
                  <a:gd name="T55" fmla="*/ 2489200 h 81"/>
                  <a:gd name="T56" fmla="*/ 18387034 w 146"/>
                  <a:gd name="T57" fmla="*/ 0 h 81"/>
                  <a:gd name="T58" fmla="*/ 19766071 w 146"/>
                  <a:gd name="T59" fmla="*/ 1991078 h 81"/>
                  <a:gd name="T60" fmla="*/ 20685168 w 146"/>
                  <a:gd name="T61" fmla="*/ 4480278 h 81"/>
                  <a:gd name="T62" fmla="*/ 21604657 w 146"/>
                  <a:gd name="T63" fmla="*/ 6969478 h 81"/>
                  <a:gd name="T64" fmla="*/ 22370702 w 146"/>
                  <a:gd name="T65" fmla="*/ 8960556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0" t="0" r="r" b="b"/>
                <a:pathLst>
                  <a:path w="146" h="81">
                    <a:moveTo>
                      <a:pt x="146" y="18"/>
                    </a:moveTo>
                    <a:lnTo>
                      <a:pt x="138" y="24"/>
                    </a:lnTo>
                    <a:lnTo>
                      <a:pt x="130" y="29"/>
                    </a:lnTo>
                    <a:lnTo>
                      <a:pt x="123" y="35"/>
                    </a:lnTo>
                    <a:lnTo>
                      <a:pt x="118" y="41"/>
                    </a:lnTo>
                    <a:lnTo>
                      <a:pt x="108" y="53"/>
                    </a:lnTo>
                    <a:lnTo>
                      <a:pt x="98" y="64"/>
                    </a:lnTo>
                    <a:lnTo>
                      <a:pt x="93" y="69"/>
                    </a:lnTo>
                    <a:lnTo>
                      <a:pt x="85" y="73"/>
                    </a:lnTo>
                    <a:lnTo>
                      <a:pt x="76" y="77"/>
                    </a:lnTo>
                    <a:lnTo>
                      <a:pt x="66" y="80"/>
                    </a:lnTo>
                    <a:lnTo>
                      <a:pt x="53" y="81"/>
                    </a:lnTo>
                    <a:lnTo>
                      <a:pt x="39" y="80"/>
                    </a:lnTo>
                    <a:lnTo>
                      <a:pt x="21" y="77"/>
                    </a:lnTo>
                    <a:lnTo>
                      <a:pt x="0" y="74"/>
                    </a:lnTo>
                    <a:lnTo>
                      <a:pt x="0" y="62"/>
                    </a:lnTo>
                    <a:lnTo>
                      <a:pt x="0" y="49"/>
                    </a:lnTo>
                    <a:lnTo>
                      <a:pt x="0" y="34"/>
                    </a:lnTo>
                    <a:lnTo>
                      <a:pt x="0" y="18"/>
                    </a:lnTo>
                    <a:lnTo>
                      <a:pt x="14" y="18"/>
                    </a:lnTo>
                    <a:lnTo>
                      <a:pt x="22" y="18"/>
                    </a:lnTo>
                    <a:lnTo>
                      <a:pt x="31" y="18"/>
                    </a:lnTo>
                    <a:lnTo>
                      <a:pt x="40" y="18"/>
                    </a:lnTo>
                    <a:lnTo>
                      <a:pt x="52" y="18"/>
                    </a:lnTo>
                    <a:lnTo>
                      <a:pt x="63" y="16"/>
                    </a:lnTo>
                    <a:lnTo>
                      <a:pt x="73" y="14"/>
                    </a:lnTo>
                    <a:lnTo>
                      <a:pt x="83" y="11"/>
                    </a:lnTo>
                    <a:lnTo>
                      <a:pt x="101" y="5"/>
                    </a:lnTo>
                    <a:lnTo>
                      <a:pt x="120" y="0"/>
                    </a:lnTo>
                    <a:lnTo>
                      <a:pt x="129" y="4"/>
                    </a:lnTo>
                    <a:lnTo>
                      <a:pt x="135" y="9"/>
                    </a:lnTo>
                    <a:lnTo>
                      <a:pt x="141" y="14"/>
                    </a:lnTo>
                    <a:lnTo>
                      <a:pt x="146" y="1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27" name="Freeform 529">
                <a:extLst>
                  <a:ext uri="{FF2B5EF4-FFF2-40B4-BE49-F238E27FC236}">
                    <a16:creationId xmlns:a16="http://schemas.microsoft.com/office/drawing/2014/main" id="{7D27149C-6313-452C-B160-05BF49158224}"/>
                  </a:ext>
                </a:extLst>
              </p:cNvPr>
              <p:cNvSpPr>
                <a:spLocks/>
              </p:cNvSpPr>
              <p:nvPr>
                <p:custDataLst>
                  <p:tags r:id="rId365"/>
                </p:custDataLst>
              </p:nvPr>
            </p:nvSpPr>
            <p:spPr bwMode="auto">
              <a:xfrm>
                <a:off x="4073049" y="3083141"/>
                <a:ext cx="18098" cy="63287"/>
              </a:xfrm>
              <a:custGeom>
                <a:avLst/>
                <a:gdLst>
                  <a:gd name="T0" fmla="*/ 7412224 w 34"/>
                  <a:gd name="T1" fmla="*/ 66655561 h 49"/>
                  <a:gd name="T2" fmla="*/ 7412224 w 34"/>
                  <a:gd name="T3" fmla="*/ 46250679 h 49"/>
                  <a:gd name="T4" fmla="*/ 7412224 w 34"/>
                  <a:gd name="T5" fmla="*/ 34007749 h 49"/>
                  <a:gd name="T6" fmla="*/ 7194176 w 34"/>
                  <a:gd name="T7" fmla="*/ 28566836 h 49"/>
                  <a:gd name="T8" fmla="*/ 7194176 w 34"/>
                  <a:gd name="T9" fmla="*/ 23125922 h 49"/>
                  <a:gd name="T10" fmla="*/ 6758081 w 34"/>
                  <a:gd name="T11" fmla="*/ 20404883 h 49"/>
                  <a:gd name="T12" fmla="*/ 6540033 w 34"/>
                  <a:gd name="T13" fmla="*/ 16323906 h 49"/>
                  <a:gd name="T14" fmla="*/ 5450261 w 34"/>
                  <a:gd name="T15" fmla="*/ 10882993 h 49"/>
                  <a:gd name="T16" fmla="*/ 4578070 w 34"/>
                  <a:gd name="T17" fmla="*/ 0 h 49"/>
                  <a:gd name="T18" fmla="*/ 1743915 w 34"/>
                  <a:gd name="T19" fmla="*/ 0 h 49"/>
                  <a:gd name="T20" fmla="*/ 0 w 34"/>
                  <a:gd name="T21" fmla="*/ 0 h 49"/>
                  <a:gd name="T22" fmla="*/ 654143 w 34"/>
                  <a:gd name="T23" fmla="*/ 14963969 h 49"/>
                  <a:gd name="T24" fmla="*/ 1525868 w 34"/>
                  <a:gd name="T25" fmla="*/ 27206899 h 49"/>
                  <a:gd name="T26" fmla="*/ 2180011 w 34"/>
                  <a:gd name="T27" fmla="*/ 36728789 h 49"/>
                  <a:gd name="T28" fmla="*/ 3052202 w 34"/>
                  <a:gd name="T29" fmla="*/ 46250679 h 49"/>
                  <a:gd name="T30" fmla="*/ 4141974 w 34"/>
                  <a:gd name="T31" fmla="*/ 53052695 h 49"/>
                  <a:gd name="T32" fmla="*/ 5232213 w 34"/>
                  <a:gd name="T33" fmla="*/ 58493608 h 49"/>
                  <a:gd name="T34" fmla="*/ 6321985 w 34"/>
                  <a:gd name="T35" fmla="*/ 62574585 h 49"/>
                  <a:gd name="T36" fmla="*/ 7412224 w 34"/>
                  <a:gd name="T37" fmla="*/ 66655561 h 4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34" y="49"/>
                    </a:moveTo>
                    <a:lnTo>
                      <a:pt x="34" y="34"/>
                    </a:lnTo>
                    <a:lnTo>
                      <a:pt x="34" y="25"/>
                    </a:lnTo>
                    <a:lnTo>
                      <a:pt x="33" y="21"/>
                    </a:lnTo>
                    <a:lnTo>
                      <a:pt x="33" y="17"/>
                    </a:lnTo>
                    <a:lnTo>
                      <a:pt x="31" y="15"/>
                    </a:lnTo>
                    <a:lnTo>
                      <a:pt x="30" y="12"/>
                    </a:lnTo>
                    <a:lnTo>
                      <a:pt x="25" y="8"/>
                    </a:lnTo>
                    <a:lnTo>
                      <a:pt x="21" y="0"/>
                    </a:lnTo>
                    <a:lnTo>
                      <a:pt x="8" y="0"/>
                    </a:lnTo>
                    <a:lnTo>
                      <a:pt x="0" y="0"/>
                    </a:lnTo>
                    <a:lnTo>
                      <a:pt x="3" y="11"/>
                    </a:lnTo>
                    <a:lnTo>
                      <a:pt x="7" y="20"/>
                    </a:lnTo>
                    <a:lnTo>
                      <a:pt x="10" y="27"/>
                    </a:lnTo>
                    <a:lnTo>
                      <a:pt x="14" y="34"/>
                    </a:lnTo>
                    <a:lnTo>
                      <a:pt x="19" y="39"/>
                    </a:lnTo>
                    <a:lnTo>
                      <a:pt x="24" y="43"/>
                    </a:lnTo>
                    <a:lnTo>
                      <a:pt x="29" y="46"/>
                    </a:lnTo>
                    <a:lnTo>
                      <a:pt x="34" y="49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28" name="Freeform 530">
                <a:extLst>
                  <a:ext uri="{FF2B5EF4-FFF2-40B4-BE49-F238E27FC236}">
                    <a16:creationId xmlns:a16="http://schemas.microsoft.com/office/drawing/2014/main" id="{EB4F5A62-E6BE-4EEA-BD2C-CBB9A5792940}"/>
                  </a:ext>
                </a:extLst>
              </p:cNvPr>
              <p:cNvSpPr>
                <a:spLocks/>
              </p:cNvSpPr>
              <p:nvPr>
                <p:custDataLst>
                  <p:tags r:id="rId366"/>
                </p:custDataLst>
              </p:nvPr>
            </p:nvSpPr>
            <p:spPr bwMode="auto">
              <a:xfrm>
                <a:off x="3580777" y="3471653"/>
                <a:ext cx="34386" cy="63287"/>
              </a:xfrm>
              <a:custGeom>
                <a:avLst/>
                <a:gdLst>
                  <a:gd name="T0" fmla="*/ 13608844 w 60"/>
                  <a:gd name="T1" fmla="*/ 0 h 74"/>
                  <a:gd name="T2" fmla="*/ 12701588 w 60"/>
                  <a:gd name="T3" fmla="*/ 2385626 h 74"/>
                  <a:gd name="T4" fmla="*/ 11567636 w 60"/>
                  <a:gd name="T5" fmla="*/ 5964452 h 74"/>
                  <a:gd name="T6" fmla="*/ 10887075 w 60"/>
                  <a:gd name="T7" fmla="*/ 8946292 h 74"/>
                  <a:gd name="T8" fmla="*/ 10433685 w 60"/>
                  <a:gd name="T9" fmla="*/ 12525118 h 74"/>
                  <a:gd name="T10" fmla="*/ 9299258 w 60"/>
                  <a:gd name="T11" fmla="*/ 18489570 h 74"/>
                  <a:gd name="T12" fmla="*/ 8392001 w 60"/>
                  <a:gd name="T13" fmla="*/ 25050235 h 74"/>
                  <a:gd name="T14" fmla="*/ 7938611 w 60"/>
                  <a:gd name="T15" fmla="*/ 28032847 h 74"/>
                  <a:gd name="T16" fmla="*/ 7258050 w 60"/>
                  <a:gd name="T17" fmla="*/ 30418474 h 74"/>
                  <a:gd name="T18" fmla="*/ 6577489 w 60"/>
                  <a:gd name="T19" fmla="*/ 33401086 h 74"/>
                  <a:gd name="T20" fmla="*/ 5670233 w 60"/>
                  <a:gd name="T21" fmla="*/ 35786712 h 74"/>
                  <a:gd name="T22" fmla="*/ 4536281 w 60"/>
                  <a:gd name="T23" fmla="*/ 38768552 h 74"/>
                  <a:gd name="T24" fmla="*/ 3402330 w 60"/>
                  <a:gd name="T25" fmla="*/ 41154951 h 74"/>
                  <a:gd name="T26" fmla="*/ 1814513 w 60"/>
                  <a:gd name="T27" fmla="*/ 42943591 h 74"/>
                  <a:gd name="T28" fmla="*/ 0 w 60"/>
                  <a:gd name="T29" fmla="*/ 44136791 h 74"/>
                  <a:gd name="T30" fmla="*/ 1133951 w 60"/>
                  <a:gd name="T31" fmla="*/ 35786712 h 74"/>
                  <a:gd name="T32" fmla="*/ 2721769 w 60"/>
                  <a:gd name="T33" fmla="*/ 28032847 h 74"/>
                  <a:gd name="T34" fmla="*/ 4309586 w 60"/>
                  <a:gd name="T35" fmla="*/ 20278982 h 74"/>
                  <a:gd name="T36" fmla="*/ 6124099 w 60"/>
                  <a:gd name="T37" fmla="*/ 13718317 h 74"/>
                  <a:gd name="T38" fmla="*/ 8165306 w 60"/>
                  <a:gd name="T39" fmla="*/ 8350078 h 74"/>
                  <a:gd name="T40" fmla="*/ 9753124 w 60"/>
                  <a:gd name="T41" fmla="*/ 3578826 h 74"/>
                  <a:gd name="T42" fmla="*/ 10887075 w 60"/>
                  <a:gd name="T43" fmla="*/ 1789413 h 74"/>
                  <a:gd name="T44" fmla="*/ 11794331 w 60"/>
                  <a:gd name="T45" fmla="*/ 596214 h 74"/>
                  <a:gd name="T46" fmla="*/ 12701588 w 60"/>
                  <a:gd name="T47" fmla="*/ 0 h 74"/>
                  <a:gd name="T48" fmla="*/ 13608844 w 60"/>
                  <a:gd name="T49" fmla="*/ 0 h 7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60" h="74">
                    <a:moveTo>
                      <a:pt x="60" y="0"/>
                    </a:moveTo>
                    <a:lnTo>
                      <a:pt x="56" y="4"/>
                    </a:lnTo>
                    <a:lnTo>
                      <a:pt x="51" y="10"/>
                    </a:lnTo>
                    <a:lnTo>
                      <a:pt x="48" y="15"/>
                    </a:lnTo>
                    <a:lnTo>
                      <a:pt x="46" y="21"/>
                    </a:lnTo>
                    <a:lnTo>
                      <a:pt x="41" y="31"/>
                    </a:lnTo>
                    <a:lnTo>
                      <a:pt x="37" y="42"/>
                    </a:lnTo>
                    <a:lnTo>
                      <a:pt x="35" y="47"/>
                    </a:lnTo>
                    <a:lnTo>
                      <a:pt x="32" y="51"/>
                    </a:lnTo>
                    <a:lnTo>
                      <a:pt x="29" y="56"/>
                    </a:lnTo>
                    <a:lnTo>
                      <a:pt x="25" y="60"/>
                    </a:lnTo>
                    <a:lnTo>
                      <a:pt x="20" y="65"/>
                    </a:lnTo>
                    <a:lnTo>
                      <a:pt x="15" y="69"/>
                    </a:lnTo>
                    <a:lnTo>
                      <a:pt x="8" y="72"/>
                    </a:lnTo>
                    <a:lnTo>
                      <a:pt x="0" y="74"/>
                    </a:lnTo>
                    <a:lnTo>
                      <a:pt x="5" y="60"/>
                    </a:lnTo>
                    <a:lnTo>
                      <a:pt x="12" y="47"/>
                    </a:lnTo>
                    <a:lnTo>
                      <a:pt x="19" y="34"/>
                    </a:lnTo>
                    <a:lnTo>
                      <a:pt x="27" y="23"/>
                    </a:lnTo>
                    <a:lnTo>
                      <a:pt x="36" y="14"/>
                    </a:lnTo>
                    <a:lnTo>
                      <a:pt x="43" y="6"/>
                    </a:lnTo>
                    <a:lnTo>
                      <a:pt x="48" y="3"/>
                    </a:lnTo>
                    <a:lnTo>
                      <a:pt x="52" y="1"/>
                    </a:lnTo>
                    <a:lnTo>
                      <a:pt x="56" y="0"/>
                    </a:lnTo>
                    <a:lnTo>
                      <a:pt x="60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29" name="Freeform 531">
                <a:extLst>
                  <a:ext uri="{FF2B5EF4-FFF2-40B4-BE49-F238E27FC236}">
                    <a16:creationId xmlns:a16="http://schemas.microsoft.com/office/drawing/2014/main" id="{EC7344C1-C56C-488A-A968-7EDF057AC713}"/>
                  </a:ext>
                </a:extLst>
              </p:cNvPr>
              <p:cNvSpPr>
                <a:spLocks/>
              </p:cNvSpPr>
              <p:nvPr>
                <p:custDataLst>
                  <p:tags r:id="rId367"/>
                </p:custDataLst>
              </p:nvPr>
            </p:nvSpPr>
            <p:spPr bwMode="auto">
              <a:xfrm>
                <a:off x="3510193" y="3489233"/>
                <a:ext cx="28957" cy="68560"/>
              </a:xfrm>
              <a:custGeom>
                <a:avLst/>
                <a:gdLst>
                  <a:gd name="T0" fmla="*/ 3336720 w 47"/>
                  <a:gd name="T1" fmla="*/ 14376118 h 45"/>
                  <a:gd name="T2" fmla="*/ 5646990 w 47"/>
                  <a:gd name="T3" fmla="*/ 14376118 h 45"/>
                  <a:gd name="T4" fmla="*/ 7187171 w 47"/>
                  <a:gd name="T5" fmla="*/ 10782088 h 45"/>
                  <a:gd name="T6" fmla="*/ 8213620 w 47"/>
                  <a:gd name="T7" fmla="*/ 8985744 h 45"/>
                  <a:gd name="T8" fmla="*/ 8983710 w 47"/>
                  <a:gd name="T9" fmla="*/ 5391714 h 45"/>
                  <a:gd name="T10" fmla="*/ 9497442 w 47"/>
                  <a:gd name="T11" fmla="*/ 1797685 h 45"/>
                  <a:gd name="T12" fmla="*/ 10010666 w 47"/>
                  <a:gd name="T13" fmla="*/ 0 h 45"/>
                  <a:gd name="T14" fmla="*/ 11037115 w 47"/>
                  <a:gd name="T15" fmla="*/ 1797685 h 45"/>
                  <a:gd name="T16" fmla="*/ 12064071 w 47"/>
                  <a:gd name="T17" fmla="*/ 3594029 h 45"/>
                  <a:gd name="T18" fmla="*/ 11807206 w 47"/>
                  <a:gd name="T19" fmla="*/ 12579773 h 45"/>
                  <a:gd name="T20" fmla="*/ 11807206 w 47"/>
                  <a:gd name="T21" fmla="*/ 19767832 h 45"/>
                  <a:gd name="T22" fmla="*/ 11293981 w 47"/>
                  <a:gd name="T23" fmla="*/ 26955891 h 45"/>
                  <a:gd name="T24" fmla="*/ 11037115 w 47"/>
                  <a:gd name="T25" fmla="*/ 34145291 h 45"/>
                  <a:gd name="T26" fmla="*/ 9497442 w 47"/>
                  <a:gd name="T27" fmla="*/ 46723723 h 45"/>
                  <a:gd name="T28" fmla="*/ 7700395 w 47"/>
                  <a:gd name="T29" fmla="*/ 57507152 h 45"/>
                  <a:gd name="T30" fmla="*/ 6160215 w 47"/>
                  <a:gd name="T31" fmla="*/ 68289241 h 45"/>
                  <a:gd name="T32" fmla="*/ 4106810 w 47"/>
                  <a:gd name="T33" fmla="*/ 75477299 h 45"/>
                  <a:gd name="T34" fmla="*/ 1796539 w 47"/>
                  <a:gd name="T35" fmla="*/ 80869014 h 45"/>
                  <a:gd name="T36" fmla="*/ 0 w 47"/>
                  <a:gd name="T37" fmla="*/ 80869014 h 45"/>
                  <a:gd name="T38" fmla="*/ 513225 w 47"/>
                  <a:gd name="T39" fmla="*/ 68289241 h 45"/>
                  <a:gd name="T40" fmla="*/ 1540180 w 47"/>
                  <a:gd name="T41" fmla="*/ 46723723 h 45"/>
                  <a:gd name="T42" fmla="*/ 2823495 w 47"/>
                  <a:gd name="T43" fmla="*/ 26955891 h 45"/>
                  <a:gd name="T44" fmla="*/ 3336720 w 47"/>
                  <a:gd name="T45" fmla="*/ 14376118 h 45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0" t="0" r="r" b="b"/>
                <a:pathLst>
                  <a:path w="47" h="45">
                    <a:moveTo>
                      <a:pt x="13" y="8"/>
                    </a:moveTo>
                    <a:lnTo>
                      <a:pt x="22" y="8"/>
                    </a:lnTo>
                    <a:lnTo>
                      <a:pt x="28" y="6"/>
                    </a:lnTo>
                    <a:lnTo>
                      <a:pt x="32" y="5"/>
                    </a:lnTo>
                    <a:lnTo>
                      <a:pt x="35" y="3"/>
                    </a:lnTo>
                    <a:lnTo>
                      <a:pt x="37" y="1"/>
                    </a:lnTo>
                    <a:lnTo>
                      <a:pt x="39" y="0"/>
                    </a:lnTo>
                    <a:lnTo>
                      <a:pt x="43" y="1"/>
                    </a:lnTo>
                    <a:lnTo>
                      <a:pt x="47" y="2"/>
                    </a:lnTo>
                    <a:lnTo>
                      <a:pt x="46" y="7"/>
                    </a:lnTo>
                    <a:lnTo>
                      <a:pt x="46" y="11"/>
                    </a:lnTo>
                    <a:lnTo>
                      <a:pt x="44" y="15"/>
                    </a:lnTo>
                    <a:lnTo>
                      <a:pt x="43" y="19"/>
                    </a:lnTo>
                    <a:lnTo>
                      <a:pt x="37" y="26"/>
                    </a:lnTo>
                    <a:lnTo>
                      <a:pt x="30" y="32"/>
                    </a:lnTo>
                    <a:lnTo>
                      <a:pt x="24" y="38"/>
                    </a:lnTo>
                    <a:lnTo>
                      <a:pt x="16" y="42"/>
                    </a:lnTo>
                    <a:lnTo>
                      <a:pt x="7" y="45"/>
                    </a:lnTo>
                    <a:lnTo>
                      <a:pt x="0" y="45"/>
                    </a:lnTo>
                    <a:lnTo>
                      <a:pt x="2" y="38"/>
                    </a:lnTo>
                    <a:lnTo>
                      <a:pt x="6" y="26"/>
                    </a:lnTo>
                    <a:lnTo>
                      <a:pt x="11" y="15"/>
                    </a:lnTo>
                    <a:lnTo>
                      <a:pt x="13" y="8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30" name="Freeform 532">
                <a:extLst>
                  <a:ext uri="{FF2B5EF4-FFF2-40B4-BE49-F238E27FC236}">
                    <a16:creationId xmlns:a16="http://schemas.microsoft.com/office/drawing/2014/main" id="{C6467836-9330-4AEF-B6CB-E508F9981302}"/>
                  </a:ext>
                </a:extLst>
              </p:cNvPr>
              <p:cNvSpPr>
                <a:spLocks/>
              </p:cNvSpPr>
              <p:nvPr>
                <p:custDataLst>
                  <p:tags r:id="rId368"/>
                </p:custDataLst>
              </p:nvPr>
            </p:nvSpPr>
            <p:spPr bwMode="auto">
              <a:xfrm>
                <a:off x="3479426" y="3482201"/>
                <a:ext cx="7239" cy="65044"/>
              </a:xfrm>
              <a:custGeom>
                <a:avLst/>
                <a:gdLst>
                  <a:gd name="T0" fmla="*/ 357798 w 26"/>
                  <a:gd name="T1" fmla="*/ 90725625 h 36"/>
                  <a:gd name="T2" fmla="*/ 298206 w 26"/>
                  <a:gd name="T3" fmla="*/ 75604688 h 36"/>
                  <a:gd name="T4" fmla="*/ 179021 w 26"/>
                  <a:gd name="T5" fmla="*/ 50403125 h 36"/>
                  <a:gd name="T6" fmla="*/ 59592 w 26"/>
                  <a:gd name="T7" fmla="*/ 25201563 h 36"/>
                  <a:gd name="T8" fmla="*/ 0 w 26"/>
                  <a:gd name="T9" fmla="*/ 0 h 36"/>
                  <a:gd name="T10" fmla="*/ 1550865 w 26"/>
                  <a:gd name="T11" fmla="*/ 0 h 36"/>
                  <a:gd name="T12" fmla="*/ 1491273 w 26"/>
                  <a:gd name="T13" fmla="*/ 30241875 h 36"/>
                  <a:gd name="T14" fmla="*/ 1431681 w 26"/>
                  <a:gd name="T15" fmla="*/ 57964388 h 36"/>
                  <a:gd name="T16" fmla="*/ 1371844 w 26"/>
                  <a:gd name="T17" fmla="*/ 68045013 h 36"/>
                  <a:gd name="T18" fmla="*/ 1371844 w 26"/>
                  <a:gd name="T19" fmla="*/ 78125638 h 36"/>
                  <a:gd name="T20" fmla="*/ 1431681 w 26"/>
                  <a:gd name="T21" fmla="*/ 85685313 h 36"/>
                  <a:gd name="T22" fmla="*/ 1550865 w 26"/>
                  <a:gd name="T23" fmla="*/ 90725625 h 36"/>
                  <a:gd name="T24" fmla="*/ 357798 w 26"/>
                  <a:gd name="T25" fmla="*/ 90725625 h 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26" h="36">
                    <a:moveTo>
                      <a:pt x="6" y="36"/>
                    </a:moveTo>
                    <a:lnTo>
                      <a:pt x="5" y="30"/>
                    </a:lnTo>
                    <a:lnTo>
                      <a:pt x="3" y="20"/>
                    </a:lnTo>
                    <a:lnTo>
                      <a:pt x="1" y="10"/>
                    </a:lnTo>
                    <a:lnTo>
                      <a:pt x="0" y="0"/>
                    </a:lnTo>
                    <a:lnTo>
                      <a:pt x="26" y="0"/>
                    </a:lnTo>
                    <a:lnTo>
                      <a:pt x="25" y="12"/>
                    </a:lnTo>
                    <a:lnTo>
                      <a:pt x="24" y="23"/>
                    </a:lnTo>
                    <a:lnTo>
                      <a:pt x="23" y="27"/>
                    </a:lnTo>
                    <a:lnTo>
                      <a:pt x="23" y="31"/>
                    </a:lnTo>
                    <a:lnTo>
                      <a:pt x="24" y="34"/>
                    </a:lnTo>
                    <a:lnTo>
                      <a:pt x="26" y="36"/>
                    </a:lnTo>
                    <a:lnTo>
                      <a:pt x="6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31" name="Freeform 533">
                <a:extLst>
                  <a:ext uri="{FF2B5EF4-FFF2-40B4-BE49-F238E27FC236}">
                    <a16:creationId xmlns:a16="http://schemas.microsoft.com/office/drawing/2014/main" id="{F9E5992F-AEB3-4513-942B-24B25277E85E}"/>
                  </a:ext>
                </a:extLst>
              </p:cNvPr>
              <p:cNvSpPr>
                <a:spLocks/>
              </p:cNvSpPr>
              <p:nvPr>
                <p:custDataLst>
                  <p:tags r:id="rId369"/>
                </p:custDataLst>
              </p:nvPr>
            </p:nvSpPr>
            <p:spPr bwMode="auto">
              <a:xfrm>
                <a:off x="5012348" y="3176314"/>
                <a:ext cx="211750" cy="179313"/>
              </a:xfrm>
              <a:custGeom>
                <a:avLst/>
                <a:gdLst>
                  <a:gd name="T0" fmla="*/ 4833448 w 405"/>
                  <a:gd name="T1" fmla="*/ 44763820 h 302"/>
                  <a:gd name="T2" fmla="*/ 5205550 w 405"/>
                  <a:gd name="T3" fmla="*/ 43105882 h 302"/>
                  <a:gd name="T4" fmla="*/ 5577221 w 405"/>
                  <a:gd name="T5" fmla="*/ 42553411 h 302"/>
                  <a:gd name="T6" fmla="*/ 5205550 w 405"/>
                  <a:gd name="T7" fmla="*/ 41724441 h 302"/>
                  <a:gd name="T8" fmla="*/ 3346332 w 405"/>
                  <a:gd name="T9" fmla="*/ 39514031 h 302"/>
                  <a:gd name="T10" fmla="*/ 1115444 w 405"/>
                  <a:gd name="T11" fmla="*/ 35092686 h 302"/>
                  <a:gd name="T12" fmla="*/ 371671 w 405"/>
                  <a:gd name="T13" fmla="*/ 32053307 h 302"/>
                  <a:gd name="T14" fmla="*/ 929609 w 405"/>
                  <a:gd name="T15" fmla="*/ 30947839 h 302"/>
                  <a:gd name="T16" fmla="*/ 1115444 w 405"/>
                  <a:gd name="T17" fmla="*/ 28737430 h 302"/>
                  <a:gd name="T18" fmla="*/ 3160497 w 405"/>
                  <a:gd name="T19" fmla="*/ 26802993 h 302"/>
                  <a:gd name="T20" fmla="*/ 6320994 w 405"/>
                  <a:gd name="T21" fmla="*/ 25698050 h 302"/>
                  <a:gd name="T22" fmla="*/ 8737718 w 405"/>
                  <a:gd name="T23" fmla="*/ 24316084 h 302"/>
                  <a:gd name="T24" fmla="*/ 10596935 w 405"/>
                  <a:gd name="T25" fmla="*/ 22658146 h 302"/>
                  <a:gd name="T26" fmla="*/ 12456152 w 405"/>
                  <a:gd name="T27" fmla="*/ 19342268 h 302"/>
                  <a:gd name="T28" fmla="*/ 13943267 w 405"/>
                  <a:gd name="T29" fmla="*/ 14368452 h 302"/>
                  <a:gd name="T30" fmla="*/ 15616649 w 405"/>
                  <a:gd name="T31" fmla="*/ 12987012 h 302"/>
                  <a:gd name="T32" fmla="*/ 17661271 w 405"/>
                  <a:gd name="T33" fmla="*/ 14368452 h 302"/>
                  <a:gd name="T34" fmla="*/ 21751376 w 405"/>
                  <a:gd name="T35" fmla="*/ 14921449 h 302"/>
                  <a:gd name="T36" fmla="*/ 31418702 w 405"/>
                  <a:gd name="T37" fmla="*/ 12710513 h 302"/>
                  <a:gd name="T38" fmla="*/ 39413078 w 405"/>
                  <a:gd name="T39" fmla="*/ 11881544 h 302"/>
                  <a:gd name="T40" fmla="*/ 43502752 w 405"/>
                  <a:gd name="T41" fmla="*/ 11329073 h 302"/>
                  <a:gd name="T42" fmla="*/ 49080404 w 405"/>
                  <a:gd name="T43" fmla="*/ 9671134 h 302"/>
                  <a:gd name="T44" fmla="*/ 59119402 w 405"/>
                  <a:gd name="T45" fmla="*/ 4697318 h 302"/>
                  <a:gd name="T46" fmla="*/ 66741675 w 405"/>
                  <a:gd name="T47" fmla="*/ 1105468 h 302"/>
                  <a:gd name="T48" fmla="*/ 69158399 w 405"/>
                  <a:gd name="T49" fmla="*/ 828969 h 302"/>
                  <a:gd name="T50" fmla="*/ 71575554 w 405"/>
                  <a:gd name="T51" fmla="*/ 828969 h 302"/>
                  <a:gd name="T52" fmla="*/ 73992277 w 405"/>
                  <a:gd name="T53" fmla="*/ 276498 h 302"/>
                  <a:gd name="T54" fmla="*/ 73434340 w 405"/>
                  <a:gd name="T55" fmla="*/ 2210410 h 302"/>
                  <a:gd name="T56" fmla="*/ 66927510 w 405"/>
                  <a:gd name="T57" fmla="*/ 11329073 h 302"/>
                  <a:gd name="T58" fmla="*/ 63952849 w 405"/>
                  <a:gd name="T59" fmla="*/ 15750418 h 302"/>
                  <a:gd name="T60" fmla="*/ 63023672 w 405"/>
                  <a:gd name="T61" fmla="*/ 17684329 h 302"/>
                  <a:gd name="T62" fmla="*/ 63023672 w 405"/>
                  <a:gd name="T63" fmla="*/ 26527020 h 302"/>
                  <a:gd name="T64" fmla="*/ 62651569 w 405"/>
                  <a:gd name="T65" fmla="*/ 41171970 h 302"/>
                  <a:gd name="T66" fmla="*/ 62279898 w 405"/>
                  <a:gd name="T67" fmla="*/ 49737637 h 302"/>
                  <a:gd name="T68" fmla="*/ 60606517 w 405"/>
                  <a:gd name="T69" fmla="*/ 54711453 h 302"/>
                  <a:gd name="T70" fmla="*/ 56702678 w 405"/>
                  <a:gd name="T71" fmla="*/ 58027330 h 302"/>
                  <a:gd name="T72" fmla="*/ 49266240 w 405"/>
                  <a:gd name="T73" fmla="*/ 62724648 h 302"/>
                  <a:gd name="T74" fmla="*/ 19706323 w 405"/>
                  <a:gd name="T75" fmla="*/ 83448882 h 302"/>
                  <a:gd name="T76" fmla="*/ 10596935 w 405"/>
                  <a:gd name="T77" fmla="*/ 71843311 h 302"/>
                  <a:gd name="T78" fmla="*/ 13013659 w 405"/>
                  <a:gd name="T79" fmla="*/ 63001147 h 302"/>
                  <a:gd name="T80" fmla="*/ 15058711 w 405"/>
                  <a:gd name="T81" fmla="*/ 57750832 h 302"/>
                  <a:gd name="T82" fmla="*/ 15988320 w 405"/>
                  <a:gd name="T83" fmla="*/ 47527227 h 302"/>
                  <a:gd name="T84" fmla="*/ 13199494 w 405"/>
                  <a:gd name="T85" fmla="*/ 47803725 h 302"/>
                  <a:gd name="T86" fmla="*/ 10596935 w 405"/>
                  <a:gd name="T87" fmla="*/ 46698257 h 302"/>
                  <a:gd name="T88" fmla="*/ 7622273 w 405"/>
                  <a:gd name="T89" fmla="*/ 45592790 h 302"/>
                  <a:gd name="T90" fmla="*/ 4833448 w 405"/>
                  <a:gd name="T91" fmla="*/ 45869288 h 30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405" h="302">
                    <a:moveTo>
                      <a:pt x="26" y="166"/>
                    </a:moveTo>
                    <a:lnTo>
                      <a:pt x="26" y="162"/>
                    </a:lnTo>
                    <a:lnTo>
                      <a:pt x="27" y="158"/>
                    </a:lnTo>
                    <a:lnTo>
                      <a:pt x="28" y="156"/>
                    </a:lnTo>
                    <a:lnTo>
                      <a:pt x="29" y="155"/>
                    </a:lnTo>
                    <a:lnTo>
                      <a:pt x="30" y="154"/>
                    </a:lnTo>
                    <a:lnTo>
                      <a:pt x="33" y="154"/>
                    </a:lnTo>
                    <a:lnTo>
                      <a:pt x="28" y="151"/>
                    </a:lnTo>
                    <a:lnTo>
                      <a:pt x="23" y="147"/>
                    </a:lnTo>
                    <a:lnTo>
                      <a:pt x="18" y="143"/>
                    </a:lnTo>
                    <a:lnTo>
                      <a:pt x="14" y="138"/>
                    </a:lnTo>
                    <a:lnTo>
                      <a:pt x="6" y="127"/>
                    </a:lnTo>
                    <a:lnTo>
                      <a:pt x="0" y="117"/>
                    </a:lnTo>
                    <a:lnTo>
                      <a:pt x="2" y="116"/>
                    </a:lnTo>
                    <a:lnTo>
                      <a:pt x="4" y="115"/>
                    </a:lnTo>
                    <a:lnTo>
                      <a:pt x="5" y="112"/>
                    </a:lnTo>
                    <a:lnTo>
                      <a:pt x="5" y="110"/>
                    </a:lnTo>
                    <a:lnTo>
                      <a:pt x="6" y="104"/>
                    </a:lnTo>
                    <a:lnTo>
                      <a:pt x="6" y="98"/>
                    </a:lnTo>
                    <a:lnTo>
                      <a:pt x="17" y="97"/>
                    </a:lnTo>
                    <a:lnTo>
                      <a:pt x="26" y="95"/>
                    </a:lnTo>
                    <a:lnTo>
                      <a:pt x="34" y="93"/>
                    </a:lnTo>
                    <a:lnTo>
                      <a:pt x="41" y="91"/>
                    </a:lnTo>
                    <a:lnTo>
                      <a:pt x="47" y="88"/>
                    </a:lnTo>
                    <a:lnTo>
                      <a:pt x="52" y="85"/>
                    </a:lnTo>
                    <a:lnTo>
                      <a:pt x="57" y="82"/>
                    </a:lnTo>
                    <a:lnTo>
                      <a:pt x="60" y="78"/>
                    </a:lnTo>
                    <a:lnTo>
                      <a:pt x="67" y="70"/>
                    </a:lnTo>
                    <a:lnTo>
                      <a:pt x="71" y="61"/>
                    </a:lnTo>
                    <a:lnTo>
                      <a:pt x="75" y="52"/>
                    </a:lnTo>
                    <a:lnTo>
                      <a:pt x="80" y="43"/>
                    </a:lnTo>
                    <a:lnTo>
                      <a:pt x="84" y="47"/>
                    </a:lnTo>
                    <a:lnTo>
                      <a:pt x="89" y="50"/>
                    </a:lnTo>
                    <a:lnTo>
                      <a:pt x="95" y="52"/>
                    </a:lnTo>
                    <a:lnTo>
                      <a:pt x="102" y="53"/>
                    </a:lnTo>
                    <a:lnTo>
                      <a:pt x="117" y="54"/>
                    </a:lnTo>
                    <a:lnTo>
                      <a:pt x="135" y="52"/>
                    </a:lnTo>
                    <a:lnTo>
                      <a:pt x="169" y="46"/>
                    </a:lnTo>
                    <a:lnTo>
                      <a:pt x="200" y="43"/>
                    </a:lnTo>
                    <a:lnTo>
                      <a:pt x="212" y="43"/>
                    </a:lnTo>
                    <a:lnTo>
                      <a:pt x="223" y="42"/>
                    </a:lnTo>
                    <a:lnTo>
                      <a:pt x="234" y="41"/>
                    </a:lnTo>
                    <a:lnTo>
                      <a:pt x="245" y="39"/>
                    </a:lnTo>
                    <a:lnTo>
                      <a:pt x="264" y="35"/>
                    </a:lnTo>
                    <a:lnTo>
                      <a:pt x="283" y="29"/>
                    </a:lnTo>
                    <a:lnTo>
                      <a:pt x="318" y="17"/>
                    </a:lnTo>
                    <a:lnTo>
                      <a:pt x="352" y="6"/>
                    </a:lnTo>
                    <a:lnTo>
                      <a:pt x="359" y="4"/>
                    </a:lnTo>
                    <a:lnTo>
                      <a:pt x="365" y="3"/>
                    </a:lnTo>
                    <a:lnTo>
                      <a:pt x="372" y="3"/>
                    </a:lnTo>
                    <a:lnTo>
                      <a:pt x="378" y="3"/>
                    </a:lnTo>
                    <a:lnTo>
                      <a:pt x="385" y="3"/>
                    </a:lnTo>
                    <a:lnTo>
                      <a:pt x="392" y="2"/>
                    </a:lnTo>
                    <a:lnTo>
                      <a:pt x="398" y="1"/>
                    </a:lnTo>
                    <a:lnTo>
                      <a:pt x="405" y="0"/>
                    </a:lnTo>
                    <a:lnTo>
                      <a:pt x="395" y="8"/>
                    </a:lnTo>
                    <a:lnTo>
                      <a:pt x="372" y="29"/>
                    </a:lnTo>
                    <a:lnTo>
                      <a:pt x="360" y="41"/>
                    </a:lnTo>
                    <a:lnTo>
                      <a:pt x="349" y="52"/>
                    </a:lnTo>
                    <a:lnTo>
                      <a:pt x="344" y="57"/>
                    </a:lnTo>
                    <a:lnTo>
                      <a:pt x="341" y="61"/>
                    </a:lnTo>
                    <a:lnTo>
                      <a:pt x="339" y="64"/>
                    </a:lnTo>
                    <a:lnTo>
                      <a:pt x="339" y="68"/>
                    </a:lnTo>
                    <a:lnTo>
                      <a:pt x="339" y="96"/>
                    </a:lnTo>
                    <a:lnTo>
                      <a:pt x="338" y="132"/>
                    </a:lnTo>
                    <a:lnTo>
                      <a:pt x="337" y="149"/>
                    </a:lnTo>
                    <a:lnTo>
                      <a:pt x="336" y="165"/>
                    </a:lnTo>
                    <a:lnTo>
                      <a:pt x="335" y="180"/>
                    </a:lnTo>
                    <a:lnTo>
                      <a:pt x="332" y="191"/>
                    </a:lnTo>
                    <a:lnTo>
                      <a:pt x="326" y="198"/>
                    </a:lnTo>
                    <a:lnTo>
                      <a:pt x="317" y="204"/>
                    </a:lnTo>
                    <a:lnTo>
                      <a:pt x="305" y="210"/>
                    </a:lnTo>
                    <a:lnTo>
                      <a:pt x="293" y="215"/>
                    </a:lnTo>
                    <a:lnTo>
                      <a:pt x="265" y="227"/>
                    </a:lnTo>
                    <a:lnTo>
                      <a:pt x="239" y="241"/>
                    </a:lnTo>
                    <a:lnTo>
                      <a:pt x="106" y="302"/>
                    </a:lnTo>
                    <a:lnTo>
                      <a:pt x="53" y="271"/>
                    </a:lnTo>
                    <a:lnTo>
                      <a:pt x="57" y="260"/>
                    </a:lnTo>
                    <a:lnTo>
                      <a:pt x="64" y="240"/>
                    </a:lnTo>
                    <a:lnTo>
                      <a:pt x="70" y="228"/>
                    </a:lnTo>
                    <a:lnTo>
                      <a:pt x="75" y="218"/>
                    </a:lnTo>
                    <a:lnTo>
                      <a:pt x="81" y="209"/>
                    </a:lnTo>
                    <a:lnTo>
                      <a:pt x="86" y="203"/>
                    </a:lnTo>
                    <a:lnTo>
                      <a:pt x="86" y="172"/>
                    </a:lnTo>
                    <a:lnTo>
                      <a:pt x="79" y="173"/>
                    </a:lnTo>
                    <a:lnTo>
                      <a:pt x="71" y="173"/>
                    </a:lnTo>
                    <a:lnTo>
                      <a:pt x="63" y="171"/>
                    </a:lnTo>
                    <a:lnTo>
                      <a:pt x="57" y="169"/>
                    </a:lnTo>
                    <a:lnTo>
                      <a:pt x="49" y="167"/>
                    </a:lnTo>
                    <a:lnTo>
                      <a:pt x="41" y="165"/>
                    </a:lnTo>
                    <a:lnTo>
                      <a:pt x="34" y="165"/>
                    </a:lnTo>
                    <a:lnTo>
                      <a:pt x="26" y="16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32" name="Freeform 534">
                <a:extLst>
                  <a:ext uri="{FF2B5EF4-FFF2-40B4-BE49-F238E27FC236}">
                    <a16:creationId xmlns:a16="http://schemas.microsoft.com/office/drawing/2014/main" id="{01FB183A-FA06-4B18-9BE5-44460410D0A7}"/>
                  </a:ext>
                </a:extLst>
              </p:cNvPr>
              <p:cNvSpPr>
                <a:spLocks/>
              </p:cNvSpPr>
              <p:nvPr>
                <p:custDataLst>
                  <p:tags r:id="rId370"/>
                </p:custDataLst>
              </p:nvPr>
            </p:nvSpPr>
            <p:spPr bwMode="auto">
              <a:xfrm>
                <a:off x="7537056" y="3605259"/>
                <a:ext cx="52484" cy="89656"/>
              </a:xfrm>
              <a:custGeom>
                <a:avLst/>
                <a:gdLst>
                  <a:gd name="T0" fmla="*/ 18371510 w 100"/>
                  <a:gd name="T1" fmla="*/ 262194 h 155"/>
                  <a:gd name="T2" fmla="*/ 18371510 w 100"/>
                  <a:gd name="T3" fmla="*/ 7867343 h 155"/>
                  <a:gd name="T4" fmla="*/ 18371510 w 100"/>
                  <a:gd name="T5" fmla="*/ 14423206 h 155"/>
                  <a:gd name="T6" fmla="*/ 18371510 w 100"/>
                  <a:gd name="T7" fmla="*/ 20455194 h 155"/>
                  <a:gd name="T8" fmla="*/ 18371510 w 100"/>
                  <a:gd name="T9" fmla="*/ 25962282 h 155"/>
                  <a:gd name="T10" fmla="*/ 18004183 w 100"/>
                  <a:gd name="T11" fmla="*/ 28584730 h 155"/>
                  <a:gd name="T12" fmla="*/ 17269100 w 100"/>
                  <a:gd name="T13" fmla="*/ 30944472 h 155"/>
                  <a:gd name="T14" fmla="*/ 16350567 w 100"/>
                  <a:gd name="T15" fmla="*/ 33566919 h 155"/>
                  <a:gd name="T16" fmla="*/ 15064707 w 100"/>
                  <a:gd name="T17" fmla="*/ 35927173 h 155"/>
                  <a:gd name="T18" fmla="*/ 13411091 w 100"/>
                  <a:gd name="T19" fmla="*/ 37763040 h 155"/>
                  <a:gd name="T20" fmla="*/ 11390148 w 100"/>
                  <a:gd name="T21" fmla="*/ 39336714 h 155"/>
                  <a:gd name="T22" fmla="*/ 10471615 w 100"/>
                  <a:gd name="T23" fmla="*/ 39861101 h 155"/>
                  <a:gd name="T24" fmla="*/ 9369633 w 100"/>
                  <a:gd name="T25" fmla="*/ 40385488 h 155"/>
                  <a:gd name="T26" fmla="*/ 8451101 w 100"/>
                  <a:gd name="T27" fmla="*/ 40647681 h 155"/>
                  <a:gd name="T28" fmla="*/ 7164812 w 100"/>
                  <a:gd name="T29" fmla="*/ 40647681 h 155"/>
                  <a:gd name="T30" fmla="*/ 6430157 w 100"/>
                  <a:gd name="T31" fmla="*/ 40385488 h 155"/>
                  <a:gd name="T32" fmla="*/ 5511625 w 100"/>
                  <a:gd name="T33" fmla="*/ 40123294 h 155"/>
                  <a:gd name="T34" fmla="*/ 4776541 w 100"/>
                  <a:gd name="T35" fmla="*/ 39598907 h 155"/>
                  <a:gd name="T36" fmla="*/ 4041887 w 100"/>
                  <a:gd name="T37" fmla="*/ 39074008 h 155"/>
                  <a:gd name="T38" fmla="*/ 2755598 w 100"/>
                  <a:gd name="T39" fmla="*/ 37238653 h 155"/>
                  <a:gd name="T40" fmla="*/ 1653616 w 100"/>
                  <a:gd name="T41" fmla="*/ 35140593 h 155"/>
                  <a:gd name="T42" fmla="*/ 918533 w 100"/>
                  <a:gd name="T43" fmla="*/ 32518145 h 155"/>
                  <a:gd name="T44" fmla="*/ 367327 w 100"/>
                  <a:gd name="T45" fmla="*/ 29633504 h 155"/>
                  <a:gd name="T46" fmla="*/ 0 w 100"/>
                  <a:gd name="T47" fmla="*/ 27011056 h 155"/>
                  <a:gd name="T48" fmla="*/ 0 w 100"/>
                  <a:gd name="T49" fmla="*/ 24388609 h 155"/>
                  <a:gd name="T50" fmla="*/ 0 w 100"/>
                  <a:gd name="T51" fmla="*/ 20192488 h 155"/>
                  <a:gd name="T52" fmla="*/ 0 w 100"/>
                  <a:gd name="T53" fmla="*/ 17045653 h 155"/>
                  <a:gd name="T54" fmla="*/ 0 w 100"/>
                  <a:gd name="T55" fmla="*/ 14685399 h 155"/>
                  <a:gd name="T56" fmla="*/ 0 w 100"/>
                  <a:gd name="T57" fmla="*/ 13112238 h 155"/>
                  <a:gd name="T58" fmla="*/ 2755598 w 100"/>
                  <a:gd name="T59" fmla="*/ 13112238 h 155"/>
                  <a:gd name="T60" fmla="*/ 4776541 w 100"/>
                  <a:gd name="T61" fmla="*/ 13112238 h 155"/>
                  <a:gd name="T62" fmla="*/ 4776541 w 100"/>
                  <a:gd name="T63" fmla="*/ 10489790 h 155"/>
                  <a:gd name="T64" fmla="*/ 4960419 w 100"/>
                  <a:gd name="T65" fmla="*/ 8129536 h 155"/>
                  <a:gd name="T66" fmla="*/ 5327747 w 100"/>
                  <a:gd name="T67" fmla="*/ 6031476 h 155"/>
                  <a:gd name="T68" fmla="*/ 5695074 w 100"/>
                  <a:gd name="T69" fmla="*/ 4458315 h 155"/>
                  <a:gd name="T70" fmla="*/ 6430157 w 100"/>
                  <a:gd name="T71" fmla="*/ 3146835 h 155"/>
                  <a:gd name="T72" fmla="*/ 7164812 w 100"/>
                  <a:gd name="T73" fmla="*/ 1835867 h 155"/>
                  <a:gd name="T74" fmla="*/ 7716017 w 100"/>
                  <a:gd name="T75" fmla="*/ 1048774 h 155"/>
                  <a:gd name="T76" fmla="*/ 8818428 w 100"/>
                  <a:gd name="T77" fmla="*/ 524387 h 155"/>
                  <a:gd name="T78" fmla="*/ 10839371 w 100"/>
                  <a:gd name="T79" fmla="*/ 0 h 155"/>
                  <a:gd name="T80" fmla="*/ 13043764 w 100"/>
                  <a:gd name="T81" fmla="*/ 0 h 155"/>
                  <a:gd name="T82" fmla="*/ 15432034 w 100"/>
                  <a:gd name="T83" fmla="*/ 0 h 155"/>
                  <a:gd name="T84" fmla="*/ 18371510 w 100"/>
                  <a:gd name="T85" fmla="*/ 262194 h 15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00" h="155">
                    <a:moveTo>
                      <a:pt x="100" y="1"/>
                    </a:moveTo>
                    <a:lnTo>
                      <a:pt x="100" y="30"/>
                    </a:lnTo>
                    <a:lnTo>
                      <a:pt x="100" y="55"/>
                    </a:lnTo>
                    <a:lnTo>
                      <a:pt x="100" y="78"/>
                    </a:lnTo>
                    <a:lnTo>
                      <a:pt x="100" y="99"/>
                    </a:lnTo>
                    <a:lnTo>
                      <a:pt x="98" y="109"/>
                    </a:lnTo>
                    <a:lnTo>
                      <a:pt x="94" y="118"/>
                    </a:lnTo>
                    <a:lnTo>
                      <a:pt x="89" y="128"/>
                    </a:lnTo>
                    <a:lnTo>
                      <a:pt x="82" y="137"/>
                    </a:lnTo>
                    <a:lnTo>
                      <a:pt x="73" y="144"/>
                    </a:lnTo>
                    <a:lnTo>
                      <a:pt x="62" y="150"/>
                    </a:lnTo>
                    <a:lnTo>
                      <a:pt x="57" y="152"/>
                    </a:lnTo>
                    <a:lnTo>
                      <a:pt x="51" y="154"/>
                    </a:lnTo>
                    <a:lnTo>
                      <a:pt x="46" y="155"/>
                    </a:lnTo>
                    <a:lnTo>
                      <a:pt x="39" y="155"/>
                    </a:lnTo>
                    <a:lnTo>
                      <a:pt x="35" y="154"/>
                    </a:lnTo>
                    <a:lnTo>
                      <a:pt x="30" y="153"/>
                    </a:lnTo>
                    <a:lnTo>
                      <a:pt x="26" y="151"/>
                    </a:lnTo>
                    <a:lnTo>
                      <a:pt x="22" y="149"/>
                    </a:lnTo>
                    <a:lnTo>
                      <a:pt x="15" y="142"/>
                    </a:lnTo>
                    <a:lnTo>
                      <a:pt x="9" y="134"/>
                    </a:lnTo>
                    <a:lnTo>
                      <a:pt x="5" y="124"/>
                    </a:lnTo>
                    <a:lnTo>
                      <a:pt x="2" y="113"/>
                    </a:lnTo>
                    <a:lnTo>
                      <a:pt x="0" y="103"/>
                    </a:lnTo>
                    <a:lnTo>
                      <a:pt x="0" y="93"/>
                    </a:lnTo>
                    <a:lnTo>
                      <a:pt x="0" y="77"/>
                    </a:lnTo>
                    <a:lnTo>
                      <a:pt x="0" y="65"/>
                    </a:lnTo>
                    <a:lnTo>
                      <a:pt x="0" y="56"/>
                    </a:lnTo>
                    <a:lnTo>
                      <a:pt x="0" y="50"/>
                    </a:lnTo>
                    <a:lnTo>
                      <a:pt x="15" y="50"/>
                    </a:lnTo>
                    <a:lnTo>
                      <a:pt x="26" y="50"/>
                    </a:lnTo>
                    <a:lnTo>
                      <a:pt x="26" y="40"/>
                    </a:lnTo>
                    <a:lnTo>
                      <a:pt x="27" y="31"/>
                    </a:lnTo>
                    <a:lnTo>
                      <a:pt x="29" y="23"/>
                    </a:lnTo>
                    <a:lnTo>
                      <a:pt x="31" y="17"/>
                    </a:lnTo>
                    <a:lnTo>
                      <a:pt x="35" y="12"/>
                    </a:lnTo>
                    <a:lnTo>
                      <a:pt x="39" y="7"/>
                    </a:lnTo>
                    <a:lnTo>
                      <a:pt x="42" y="4"/>
                    </a:lnTo>
                    <a:lnTo>
                      <a:pt x="48" y="2"/>
                    </a:lnTo>
                    <a:lnTo>
                      <a:pt x="59" y="0"/>
                    </a:lnTo>
                    <a:lnTo>
                      <a:pt x="71" y="0"/>
                    </a:lnTo>
                    <a:lnTo>
                      <a:pt x="84" y="0"/>
                    </a:lnTo>
                    <a:lnTo>
                      <a:pt x="100" y="1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grpSp>
            <p:nvGrpSpPr>
              <p:cNvPr id="933" name="Group 535">
                <a:extLst>
                  <a:ext uri="{FF2B5EF4-FFF2-40B4-BE49-F238E27FC236}">
                    <a16:creationId xmlns:a16="http://schemas.microsoft.com/office/drawing/2014/main" id="{9242B835-F7AE-434E-B7B0-B9F16E6542C0}"/>
                  </a:ext>
                </a:extLst>
              </p:cNvPr>
              <p:cNvGrpSpPr>
                <a:grpSpLocks/>
              </p:cNvGrpSpPr>
              <p:nvPr>
                <p:custDataLst>
                  <p:tags r:id="rId371"/>
                </p:custDataLst>
              </p:nvPr>
            </p:nvGrpSpPr>
            <p:grpSpPr bwMode="auto">
              <a:xfrm>
                <a:off x="4700738" y="3007382"/>
                <a:ext cx="581929" cy="226677"/>
                <a:chOff x="3289" y="1830"/>
                <a:chExt cx="363" cy="128"/>
              </a:xfrm>
            </p:grpSpPr>
            <p:sp>
              <p:nvSpPr>
                <p:cNvPr id="947" name="Freeform 536">
                  <a:extLst>
                    <a:ext uri="{FF2B5EF4-FFF2-40B4-BE49-F238E27FC236}">
                      <a16:creationId xmlns:a16="http://schemas.microsoft.com/office/drawing/2014/main" id="{4C479F4B-9DD0-448A-9EE8-585DE2D1B9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89" y="1871"/>
                  <a:ext cx="5" cy="3"/>
                </a:xfrm>
                <a:custGeom>
                  <a:avLst/>
                  <a:gdLst>
                    <a:gd name="T0" fmla="*/ 1 w 13"/>
                    <a:gd name="T1" fmla="*/ 0 h 7"/>
                    <a:gd name="T2" fmla="*/ 1 w 13"/>
                    <a:gd name="T3" fmla="*/ 0 h 7"/>
                    <a:gd name="T4" fmla="*/ 1 w 13"/>
                    <a:gd name="T5" fmla="*/ 0 h 7"/>
                    <a:gd name="T6" fmla="*/ 0 w 13"/>
                    <a:gd name="T7" fmla="*/ 1 h 7"/>
                    <a:gd name="T8" fmla="*/ 0 w 13"/>
                    <a:gd name="T9" fmla="*/ 1 h 7"/>
                    <a:gd name="T10" fmla="*/ 1 w 13"/>
                    <a:gd name="T11" fmla="*/ 0 h 7"/>
                    <a:gd name="T12" fmla="*/ 1 w 13"/>
                    <a:gd name="T13" fmla="*/ 0 h 7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2" y="1"/>
                      </a:lnTo>
                      <a:lnTo>
                        <a:pt x="9" y="3"/>
                      </a:lnTo>
                      <a:lnTo>
                        <a:pt x="4" y="5"/>
                      </a:lnTo>
                      <a:lnTo>
                        <a:pt x="0" y="7"/>
                      </a:lnTo>
                      <a:lnTo>
                        <a:pt x="7" y="3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48" name="Freeform 537">
                  <a:extLst>
                    <a:ext uri="{FF2B5EF4-FFF2-40B4-BE49-F238E27FC236}">
                      <a16:creationId xmlns:a16="http://schemas.microsoft.com/office/drawing/2014/main" id="{D439EFA1-537B-49D7-9243-EA7928A2E9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24" y="1937"/>
                  <a:ext cx="10" cy="3"/>
                </a:xfrm>
                <a:custGeom>
                  <a:avLst/>
                  <a:gdLst>
                    <a:gd name="T0" fmla="*/ 0 w 34"/>
                    <a:gd name="T1" fmla="*/ 1 h 8"/>
                    <a:gd name="T2" fmla="*/ 1 w 34"/>
                    <a:gd name="T3" fmla="*/ 1 h 8"/>
                    <a:gd name="T4" fmla="*/ 1 w 34"/>
                    <a:gd name="T5" fmla="*/ 0 h 8"/>
                    <a:gd name="T6" fmla="*/ 2 w 34"/>
                    <a:gd name="T7" fmla="*/ 0 h 8"/>
                    <a:gd name="T8" fmla="*/ 3 w 34"/>
                    <a:gd name="T9" fmla="*/ 0 h 8"/>
                    <a:gd name="T10" fmla="*/ 3 w 34"/>
                    <a:gd name="T11" fmla="*/ 0 h 8"/>
                    <a:gd name="T12" fmla="*/ 2 w 34"/>
                    <a:gd name="T13" fmla="*/ 1 h 8"/>
                    <a:gd name="T14" fmla="*/ 2 w 34"/>
                    <a:gd name="T15" fmla="*/ 1 h 8"/>
                    <a:gd name="T16" fmla="*/ 1 w 34"/>
                    <a:gd name="T17" fmla="*/ 1 h 8"/>
                    <a:gd name="T18" fmla="*/ 1 w 34"/>
                    <a:gd name="T19" fmla="*/ 1 h 8"/>
                    <a:gd name="T20" fmla="*/ 1 w 34"/>
                    <a:gd name="T21" fmla="*/ 1 h 8"/>
                    <a:gd name="T22" fmla="*/ 0 w 34"/>
                    <a:gd name="T23" fmla="*/ 1 h 8"/>
                    <a:gd name="T24" fmla="*/ 0 w 34"/>
                    <a:gd name="T25" fmla="*/ 1 h 8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0" t="0" r="r" b="b"/>
                  <a:pathLst>
                    <a:path w="34" h="8">
                      <a:moveTo>
                        <a:pt x="0" y="6"/>
                      </a:moveTo>
                      <a:lnTo>
                        <a:pt x="7" y="5"/>
                      </a:lnTo>
                      <a:lnTo>
                        <a:pt x="15" y="3"/>
                      </a:lnTo>
                      <a:lnTo>
                        <a:pt x="25" y="1"/>
                      </a:lnTo>
                      <a:lnTo>
                        <a:pt x="34" y="0"/>
                      </a:lnTo>
                      <a:lnTo>
                        <a:pt x="31" y="2"/>
                      </a:lnTo>
                      <a:lnTo>
                        <a:pt x="27" y="4"/>
                      </a:lnTo>
                      <a:lnTo>
                        <a:pt x="22" y="6"/>
                      </a:lnTo>
                      <a:lnTo>
                        <a:pt x="18" y="7"/>
                      </a:lnTo>
                      <a:lnTo>
                        <a:pt x="12" y="8"/>
                      </a:lnTo>
                      <a:lnTo>
                        <a:pt x="8" y="8"/>
                      </a:lnTo>
                      <a:lnTo>
                        <a:pt x="4" y="8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49" name="Freeform 538">
                  <a:extLst>
                    <a:ext uri="{FF2B5EF4-FFF2-40B4-BE49-F238E27FC236}">
                      <a16:creationId xmlns:a16="http://schemas.microsoft.com/office/drawing/2014/main" id="{57387E6C-52AC-4F8F-AF09-4FC3AC22726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43" y="1948"/>
                  <a:ext cx="2" cy="8"/>
                </a:xfrm>
                <a:custGeom>
                  <a:avLst/>
                  <a:gdLst>
                    <a:gd name="T0" fmla="*/ 0 w 13"/>
                    <a:gd name="T1" fmla="*/ 3 h 24"/>
                    <a:gd name="T2" fmla="*/ 0 w 13"/>
                    <a:gd name="T3" fmla="*/ 0 h 24"/>
                    <a:gd name="T4" fmla="*/ 1 w 13"/>
                    <a:gd name="T5" fmla="*/ 1 h 24"/>
                    <a:gd name="T6" fmla="*/ 0 w 13"/>
                    <a:gd name="T7" fmla="*/ 3 h 24"/>
                    <a:gd name="T8" fmla="*/ 0 60000 65536"/>
                    <a:gd name="T9" fmla="*/ 0 60000 65536"/>
                    <a:gd name="T10" fmla="*/ 0 60000 65536"/>
                    <a:gd name="T11" fmla="*/ 0 60000 65536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0" t="0" r="r" b="b"/>
                  <a:pathLst>
                    <a:path w="13" h="24">
                      <a:moveTo>
                        <a:pt x="0" y="24"/>
                      </a:moveTo>
                      <a:lnTo>
                        <a:pt x="0" y="0"/>
                      </a:lnTo>
                      <a:lnTo>
                        <a:pt x="13" y="12"/>
                      </a:lnTo>
                      <a:lnTo>
                        <a:pt x="0" y="24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50" name="Freeform 539">
                  <a:extLst>
                    <a:ext uri="{FF2B5EF4-FFF2-40B4-BE49-F238E27FC236}">
                      <a16:creationId xmlns:a16="http://schemas.microsoft.com/office/drawing/2014/main" id="{8593AF3C-C3A8-43E2-9575-D86982FA44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13" y="1834"/>
                  <a:ext cx="34" cy="23"/>
                </a:xfrm>
                <a:custGeom>
                  <a:avLst/>
                  <a:gdLst>
                    <a:gd name="T0" fmla="*/ 0 w 107"/>
                    <a:gd name="T1" fmla="*/ 1 h 69"/>
                    <a:gd name="T2" fmla="*/ 0 w 107"/>
                    <a:gd name="T3" fmla="*/ 3 h 69"/>
                    <a:gd name="T4" fmla="*/ 0 w 107"/>
                    <a:gd name="T5" fmla="*/ 5 h 69"/>
                    <a:gd name="T6" fmla="*/ 0 w 107"/>
                    <a:gd name="T7" fmla="*/ 7 h 69"/>
                    <a:gd name="T8" fmla="*/ 0 w 107"/>
                    <a:gd name="T9" fmla="*/ 8 h 69"/>
                    <a:gd name="T10" fmla="*/ 2 w 107"/>
                    <a:gd name="T11" fmla="*/ 7 h 69"/>
                    <a:gd name="T12" fmla="*/ 5 w 107"/>
                    <a:gd name="T13" fmla="*/ 6 h 69"/>
                    <a:gd name="T14" fmla="*/ 9 w 107"/>
                    <a:gd name="T15" fmla="*/ 6 h 69"/>
                    <a:gd name="T16" fmla="*/ 11 w 107"/>
                    <a:gd name="T17" fmla="*/ 5 h 69"/>
                    <a:gd name="T18" fmla="*/ 10 w 107"/>
                    <a:gd name="T19" fmla="*/ 4 h 69"/>
                    <a:gd name="T20" fmla="*/ 10 w 107"/>
                    <a:gd name="T21" fmla="*/ 4 h 69"/>
                    <a:gd name="T22" fmla="*/ 9 w 107"/>
                    <a:gd name="T23" fmla="*/ 3 h 69"/>
                    <a:gd name="T24" fmla="*/ 8 w 107"/>
                    <a:gd name="T25" fmla="*/ 3 h 69"/>
                    <a:gd name="T26" fmla="*/ 7 w 107"/>
                    <a:gd name="T27" fmla="*/ 3 h 69"/>
                    <a:gd name="T28" fmla="*/ 7 w 107"/>
                    <a:gd name="T29" fmla="*/ 2 h 69"/>
                    <a:gd name="T30" fmla="*/ 6 w 107"/>
                    <a:gd name="T31" fmla="*/ 2 h 69"/>
                    <a:gd name="T32" fmla="*/ 6 w 107"/>
                    <a:gd name="T33" fmla="*/ 1 h 69"/>
                    <a:gd name="T34" fmla="*/ 6 w 107"/>
                    <a:gd name="T35" fmla="*/ 1 h 69"/>
                    <a:gd name="T36" fmla="*/ 6 w 107"/>
                    <a:gd name="T37" fmla="*/ 0 h 69"/>
                    <a:gd name="T38" fmla="*/ 5 w 107"/>
                    <a:gd name="T39" fmla="*/ 0 h 69"/>
                    <a:gd name="T40" fmla="*/ 4 w 107"/>
                    <a:gd name="T41" fmla="*/ 0 h 69"/>
                    <a:gd name="T42" fmla="*/ 2 w 107"/>
                    <a:gd name="T43" fmla="*/ 1 h 69"/>
                    <a:gd name="T44" fmla="*/ 0 w 107"/>
                    <a:gd name="T45" fmla="*/ 1 h 69"/>
                    <a:gd name="T46" fmla="*/ 0 60000 65536"/>
                    <a:gd name="T47" fmla="*/ 0 60000 6553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</a:gdLst>
                  <a:ahLst/>
                  <a:cxnLst>
                    <a:cxn ang="T46">
                      <a:pos x="T0" y="T1"/>
                    </a:cxn>
                    <a:cxn ang="T47">
                      <a:pos x="T2" y="T3"/>
                    </a:cxn>
                    <a:cxn ang="T48">
                      <a:pos x="T4" y="T5"/>
                    </a:cxn>
                    <a:cxn ang="T49">
                      <a:pos x="T6" y="T7"/>
                    </a:cxn>
                    <a:cxn ang="T50">
                      <a:pos x="T8" y="T9"/>
                    </a:cxn>
                    <a:cxn ang="T51">
                      <a:pos x="T10" y="T11"/>
                    </a:cxn>
                    <a:cxn ang="T52">
                      <a:pos x="T12" y="T13"/>
                    </a:cxn>
                    <a:cxn ang="T53">
                      <a:pos x="T14" y="T15"/>
                    </a:cxn>
                    <a:cxn ang="T54">
                      <a:pos x="T16" y="T17"/>
                    </a:cxn>
                    <a:cxn ang="T55">
                      <a:pos x="T18" y="T19"/>
                    </a:cxn>
                    <a:cxn ang="T56">
                      <a:pos x="T20" y="T21"/>
                    </a:cxn>
                    <a:cxn ang="T57">
                      <a:pos x="T22" y="T23"/>
                    </a:cxn>
                    <a:cxn ang="T58">
                      <a:pos x="T24" y="T25"/>
                    </a:cxn>
                    <a:cxn ang="T59">
                      <a:pos x="T26" y="T27"/>
                    </a:cxn>
                    <a:cxn ang="T60">
                      <a:pos x="T28" y="T29"/>
                    </a:cxn>
                    <a:cxn ang="T61">
                      <a:pos x="T30" y="T31"/>
                    </a:cxn>
                    <a:cxn ang="T62">
                      <a:pos x="T32" y="T33"/>
                    </a:cxn>
                    <a:cxn ang="T63">
                      <a:pos x="T34" y="T35"/>
                    </a:cxn>
                    <a:cxn ang="T64">
                      <a:pos x="T36" y="T37"/>
                    </a:cxn>
                    <a:cxn ang="T65">
                      <a:pos x="T38" y="T39"/>
                    </a:cxn>
                    <a:cxn ang="T66">
                      <a:pos x="T40" y="T41"/>
                    </a:cxn>
                    <a:cxn ang="T67">
                      <a:pos x="T42" y="T43"/>
                    </a:cxn>
                    <a:cxn ang="T68">
                      <a:pos x="T44" y="T45"/>
                    </a:cxn>
                  </a:cxnLst>
                  <a:rect l="0" t="0" r="r" b="b"/>
                  <a:pathLst>
                    <a:path w="107" h="69">
                      <a:moveTo>
                        <a:pt x="0" y="13"/>
                      </a:moveTo>
                      <a:lnTo>
                        <a:pt x="0" y="27"/>
                      </a:lnTo>
                      <a:lnTo>
                        <a:pt x="0" y="45"/>
                      </a:lnTo>
                      <a:lnTo>
                        <a:pt x="0" y="62"/>
                      </a:lnTo>
                      <a:lnTo>
                        <a:pt x="0" y="69"/>
                      </a:lnTo>
                      <a:lnTo>
                        <a:pt x="16" y="66"/>
                      </a:lnTo>
                      <a:lnTo>
                        <a:pt x="49" y="58"/>
                      </a:lnTo>
                      <a:lnTo>
                        <a:pt x="85" y="50"/>
                      </a:lnTo>
                      <a:lnTo>
                        <a:pt x="107" y="44"/>
                      </a:lnTo>
                      <a:lnTo>
                        <a:pt x="101" y="38"/>
                      </a:lnTo>
                      <a:lnTo>
                        <a:pt x="94" y="34"/>
                      </a:lnTo>
                      <a:lnTo>
                        <a:pt x="86" y="30"/>
                      </a:lnTo>
                      <a:lnTo>
                        <a:pt x="78" y="27"/>
                      </a:lnTo>
                      <a:lnTo>
                        <a:pt x="72" y="23"/>
                      </a:lnTo>
                      <a:lnTo>
                        <a:pt x="65" y="18"/>
                      </a:lnTo>
                      <a:lnTo>
                        <a:pt x="63" y="15"/>
                      </a:lnTo>
                      <a:lnTo>
                        <a:pt x="62" y="11"/>
                      </a:lnTo>
                      <a:lnTo>
                        <a:pt x="61" y="7"/>
                      </a:lnTo>
                      <a:lnTo>
                        <a:pt x="61" y="0"/>
                      </a:lnTo>
                      <a:lnTo>
                        <a:pt x="54" y="1"/>
                      </a:lnTo>
                      <a:lnTo>
                        <a:pt x="38" y="4"/>
                      </a:lnTo>
                      <a:lnTo>
                        <a:pt x="18" y="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C0C0C0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  <p:sp>
              <p:nvSpPr>
                <p:cNvPr id="951" name="Freeform 540">
                  <a:extLst>
                    <a:ext uri="{FF2B5EF4-FFF2-40B4-BE49-F238E27FC236}">
                      <a16:creationId xmlns:a16="http://schemas.microsoft.com/office/drawing/2014/main" id="{6E9C5093-BBF9-4182-A7CF-85BDCDA2AA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302" y="1830"/>
                  <a:ext cx="350" cy="128"/>
                </a:xfrm>
                <a:custGeom>
                  <a:avLst/>
                  <a:gdLst>
                    <a:gd name="T0" fmla="*/ 106 w 1070"/>
                    <a:gd name="T1" fmla="*/ 14 h 382"/>
                    <a:gd name="T2" fmla="*/ 104 w 1070"/>
                    <a:gd name="T3" fmla="*/ 12 h 382"/>
                    <a:gd name="T4" fmla="*/ 103 w 1070"/>
                    <a:gd name="T5" fmla="*/ 6 h 382"/>
                    <a:gd name="T6" fmla="*/ 100 w 1070"/>
                    <a:gd name="T7" fmla="*/ 4 h 382"/>
                    <a:gd name="T8" fmla="*/ 87 w 1070"/>
                    <a:gd name="T9" fmla="*/ 2 h 382"/>
                    <a:gd name="T10" fmla="*/ 78 w 1070"/>
                    <a:gd name="T11" fmla="*/ 6 h 382"/>
                    <a:gd name="T12" fmla="*/ 73 w 1070"/>
                    <a:gd name="T13" fmla="*/ 7 h 382"/>
                    <a:gd name="T14" fmla="*/ 68 w 1070"/>
                    <a:gd name="T15" fmla="*/ 7 h 382"/>
                    <a:gd name="T16" fmla="*/ 65 w 1070"/>
                    <a:gd name="T17" fmla="*/ 5 h 382"/>
                    <a:gd name="T18" fmla="*/ 60 w 1070"/>
                    <a:gd name="T19" fmla="*/ 4 h 382"/>
                    <a:gd name="T20" fmla="*/ 56 w 1070"/>
                    <a:gd name="T21" fmla="*/ 2 h 382"/>
                    <a:gd name="T22" fmla="*/ 52 w 1070"/>
                    <a:gd name="T23" fmla="*/ 2 h 382"/>
                    <a:gd name="T24" fmla="*/ 50 w 1070"/>
                    <a:gd name="T25" fmla="*/ 0 h 382"/>
                    <a:gd name="T26" fmla="*/ 42 w 1070"/>
                    <a:gd name="T27" fmla="*/ 2 h 382"/>
                    <a:gd name="T28" fmla="*/ 32 w 1070"/>
                    <a:gd name="T29" fmla="*/ 3 h 382"/>
                    <a:gd name="T30" fmla="*/ 27 w 1070"/>
                    <a:gd name="T31" fmla="*/ 5 h 382"/>
                    <a:gd name="T32" fmla="*/ 15 w 1070"/>
                    <a:gd name="T33" fmla="*/ 7 h 382"/>
                    <a:gd name="T34" fmla="*/ 19 w 1070"/>
                    <a:gd name="T35" fmla="*/ 8 h 382"/>
                    <a:gd name="T36" fmla="*/ 18 w 1070"/>
                    <a:gd name="T37" fmla="*/ 10 h 382"/>
                    <a:gd name="T38" fmla="*/ 12 w 1070"/>
                    <a:gd name="T39" fmla="*/ 10 h 382"/>
                    <a:gd name="T40" fmla="*/ 5 w 1070"/>
                    <a:gd name="T41" fmla="*/ 10 h 382"/>
                    <a:gd name="T42" fmla="*/ 1 w 1070"/>
                    <a:gd name="T43" fmla="*/ 12 h 382"/>
                    <a:gd name="T44" fmla="*/ 0 w 1070"/>
                    <a:gd name="T45" fmla="*/ 16 h 382"/>
                    <a:gd name="T46" fmla="*/ 2 w 1070"/>
                    <a:gd name="T47" fmla="*/ 19 h 382"/>
                    <a:gd name="T48" fmla="*/ 2 w 1070"/>
                    <a:gd name="T49" fmla="*/ 22 h 382"/>
                    <a:gd name="T50" fmla="*/ 2 w 1070"/>
                    <a:gd name="T51" fmla="*/ 23 h 382"/>
                    <a:gd name="T52" fmla="*/ 5 w 1070"/>
                    <a:gd name="T53" fmla="*/ 26 h 382"/>
                    <a:gd name="T54" fmla="*/ 6 w 1070"/>
                    <a:gd name="T55" fmla="*/ 29 h 382"/>
                    <a:gd name="T56" fmla="*/ 8 w 1070"/>
                    <a:gd name="T57" fmla="*/ 30 h 382"/>
                    <a:gd name="T58" fmla="*/ 10 w 1070"/>
                    <a:gd name="T59" fmla="*/ 33 h 382"/>
                    <a:gd name="T60" fmla="*/ 22 w 1070"/>
                    <a:gd name="T61" fmla="*/ 40 h 382"/>
                    <a:gd name="T62" fmla="*/ 27 w 1070"/>
                    <a:gd name="T63" fmla="*/ 42 h 382"/>
                    <a:gd name="T64" fmla="*/ 28 w 1070"/>
                    <a:gd name="T65" fmla="*/ 40 h 382"/>
                    <a:gd name="T66" fmla="*/ 30 w 1070"/>
                    <a:gd name="T67" fmla="*/ 38 h 382"/>
                    <a:gd name="T68" fmla="*/ 32 w 1070"/>
                    <a:gd name="T69" fmla="*/ 36 h 382"/>
                    <a:gd name="T70" fmla="*/ 36 w 1070"/>
                    <a:gd name="T71" fmla="*/ 36 h 382"/>
                    <a:gd name="T72" fmla="*/ 39 w 1070"/>
                    <a:gd name="T73" fmla="*/ 40 h 382"/>
                    <a:gd name="T74" fmla="*/ 43 w 1070"/>
                    <a:gd name="T75" fmla="*/ 42 h 382"/>
                    <a:gd name="T76" fmla="*/ 48 w 1070"/>
                    <a:gd name="T77" fmla="*/ 40 h 382"/>
                    <a:gd name="T78" fmla="*/ 53 w 1070"/>
                    <a:gd name="T79" fmla="*/ 38 h 382"/>
                    <a:gd name="T80" fmla="*/ 56 w 1070"/>
                    <a:gd name="T81" fmla="*/ 37 h 382"/>
                    <a:gd name="T82" fmla="*/ 60 w 1070"/>
                    <a:gd name="T83" fmla="*/ 37 h 382"/>
                    <a:gd name="T84" fmla="*/ 61 w 1070"/>
                    <a:gd name="T85" fmla="*/ 41 h 382"/>
                    <a:gd name="T86" fmla="*/ 63 w 1070"/>
                    <a:gd name="T87" fmla="*/ 42 h 382"/>
                    <a:gd name="T88" fmla="*/ 66 w 1070"/>
                    <a:gd name="T89" fmla="*/ 41 h 382"/>
                    <a:gd name="T90" fmla="*/ 69 w 1070"/>
                    <a:gd name="T91" fmla="*/ 38 h 382"/>
                    <a:gd name="T92" fmla="*/ 80 w 1070"/>
                    <a:gd name="T93" fmla="*/ 37 h 382"/>
                    <a:gd name="T94" fmla="*/ 89 w 1070"/>
                    <a:gd name="T95" fmla="*/ 36 h 382"/>
                    <a:gd name="T96" fmla="*/ 98 w 1070"/>
                    <a:gd name="T97" fmla="*/ 32 h 382"/>
                    <a:gd name="T98" fmla="*/ 103 w 1070"/>
                    <a:gd name="T99" fmla="*/ 32 h 382"/>
                    <a:gd name="T100" fmla="*/ 108 w 1070"/>
                    <a:gd name="T101" fmla="*/ 33 h 382"/>
                    <a:gd name="T102" fmla="*/ 113 w 1070"/>
                    <a:gd name="T103" fmla="*/ 35 h 382"/>
                    <a:gd name="T104" fmla="*/ 113 w 1070"/>
                    <a:gd name="T105" fmla="*/ 30 h 382"/>
                    <a:gd name="T106" fmla="*/ 110 w 1070"/>
                    <a:gd name="T107" fmla="*/ 24 h 382"/>
                    <a:gd name="T108" fmla="*/ 109 w 1070"/>
                    <a:gd name="T109" fmla="*/ 19 h 382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0" t="0" r="r" b="b"/>
                  <a:pathLst>
                    <a:path w="1070" h="382">
                      <a:moveTo>
                        <a:pt x="1011" y="142"/>
                      </a:moveTo>
                      <a:lnTo>
                        <a:pt x="1011" y="136"/>
                      </a:lnTo>
                      <a:lnTo>
                        <a:pt x="1011" y="123"/>
                      </a:lnTo>
                      <a:lnTo>
                        <a:pt x="1000" y="125"/>
                      </a:lnTo>
                      <a:lnTo>
                        <a:pt x="992" y="124"/>
                      </a:lnTo>
                      <a:lnTo>
                        <a:pt x="984" y="122"/>
                      </a:lnTo>
                      <a:lnTo>
                        <a:pt x="980" y="119"/>
                      </a:lnTo>
                      <a:lnTo>
                        <a:pt x="976" y="114"/>
                      </a:lnTo>
                      <a:lnTo>
                        <a:pt x="972" y="109"/>
                      </a:lnTo>
                      <a:lnTo>
                        <a:pt x="970" y="103"/>
                      </a:lnTo>
                      <a:lnTo>
                        <a:pt x="969" y="96"/>
                      </a:lnTo>
                      <a:lnTo>
                        <a:pt x="967" y="82"/>
                      </a:lnTo>
                      <a:lnTo>
                        <a:pt x="966" y="68"/>
                      </a:lnTo>
                      <a:lnTo>
                        <a:pt x="965" y="62"/>
                      </a:lnTo>
                      <a:lnTo>
                        <a:pt x="962" y="57"/>
                      </a:lnTo>
                      <a:lnTo>
                        <a:pt x="960" y="53"/>
                      </a:lnTo>
                      <a:lnTo>
                        <a:pt x="957" y="50"/>
                      </a:lnTo>
                      <a:lnTo>
                        <a:pt x="950" y="44"/>
                      </a:lnTo>
                      <a:lnTo>
                        <a:pt x="944" y="40"/>
                      </a:lnTo>
                      <a:lnTo>
                        <a:pt x="936" y="36"/>
                      </a:lnTo>
                      <a:lnTo>
                        <a:pt x="928" y="33"/>
                      </a:lnTo>
                      <a:lnTo>
                        <a:pt x="912" y="28"/>
                      </a:lnTo>
                      <a:lnTo>
                        <a:pt x="894" y="25"/>
                      </a:lnTo>
                      <a:lnTo>
                        <a:pt x="857" y="22"/>
                      </a:lnTo>
                      <a:lnTo>
                        <a:pt x="817" y="19"/>
                      </a:lnTo>
                      <a:lnTo>
                        <a:pt x="799" y="29"/>
                      </a:lnTo>
                      <a:lnTo>
                        <a:pt x="769" y="43"/>
                      </a:lnTo>
                      <a:lnTo>
                        <a:pt x="752" y="50"/>
                      </a:lnTo>
                      <a:lnTo>
                        <a:pt x="734" y="56"/>
                      </a:lnTo>
                      <a:lnTo>
                        <a:pt x="726" y="58"/>
                      </a:lnTo>
                      <a:lnTo>
                        <a:pt x="719" y="60"/>
                      </a:lnTo>
                      <a:lnTo>
                        <a:pt x="711" y="61"/>
                      </a:lnTo>
                      <a:lnTo>
                        <a:pt x="704" y="62"/>
                      </a:lnTo>
                      <a:lnTo>
                        <a:pt x="692" y="63"/>
                      </a:lnTo>
                      <a:lnTo>
                        <a:pt x="678" y="65"/>
                      </a:lnTo>
                      <a:lnTo>
                        <a:pt x="664" y="67"/>
                      </a:lnTo>
                      <a:lnTo>
                        <a:pt x="652" y="68"/>
                      </a:lnTo>
                      <a:lnTo>
                        <a:pt x="644" y="68"/>
                      </a:lnTo>
                      <a:lnTo>
                        <a:pt x="637" y="67"/>
                      </a:lnTo>
                      <a:lnTo>
                        <a:pt x="632" y="65"/>
                      </a:lnTo>
                      <a:lnTo>
                        <a:pt x="626" y="63"/>
                      </a:lnTo>
                      <a:lnTo>
                        <a:pt x="622" y="59"/>
                      </a:lnTo>
                      <a:lnTo>
                        <a:pt x="618" y="55"/>
                      </a:lnTo>
                      <a:lnTo>
                        <a:pt x="614" y="50"/>
                      </a:lnTo>
                      <a:lnTo>
                        <a:pt x="612" y="44"/>
                      </a:lnTo>
                      <a:lnTo>
                        <a:pt x="601" y="45"/>
                      </a:lnTo>
                      <a:lnTo>
                        <a:pt x="591" y="44"/>
                      </a:lnTo>
                      <a:lnTo>
                        <a:pt x="581" y="42"/>
                      </a:lnTo>
                      <a:lnTo>
                        <a:pt x="571" y="40"/>
                      </a:lnTo>
                      <a:lnTo>
                        <a:pt x="560" y="37"/>
                      </a:lnTo>
                      <a:lnTo>
                        <a:pt x="549" y="34"/>
                      </a:lnTo>
                      <a:lnTo>
                        <a:pt x="537" y="32"/>
                      </a:lnTo>
                      <a:lnTo>
                        <a:pt x="525" y="32"/>
                      </a:lnTo>
                      <a:lnTo>
                        <a:pt x="525" y="25"/>
                      </a:lnTo>
                      <a:lnTo>
                        <a:pt x="525" y="19"/>
                      </a:lnTo>
                      <a:lnTo>
                        <a:pt x="512" y="22"/>
                      </a:lnTo>
                      <a:lnTo>
                        <a:pt x="499" y="25"/>
                      </a:lnTo>
                      <a:lnTo>
                        <a:pt x="493" y="25"/>
                      </a:lnTo>
                      <a:lnTo>
                        <a:pt x="488" y="23"/>
                      </a:lnTo>
                      <a:lnTo>
                        <a:pt x="483" y="21"/>
                      </a:lnTo>
                      <a:lnTo>
                        <a:pt x="477" y="17"/>
                      </a:lnTo>
                      <a:lnTo>
                        <a:pt x="473" y="13"/>
                      </a:lnTo>
                      <a:lnTo>
                        <a:pt x="468" y="9"/>
                      </a:lnTo>
                      <a:lnTo>
                        <a:pt x="466" y="5"/>
                      </a:lnTo>
                      <a:lnTo>
                        <a:pt x="465" y="0"/>
                      </a:lnTo>
                      <a:lnTo>
                        <a:pt x="456" y="5"/>
                      </a:lnTo>
                      <a:lnTo>
                        <a:pt x="445" y="9"/>
                      </a:lnTo>
                      <a:lnTo>
                        <a:pt x="432" y="12"/>
                      </a:lnTo>
                      <a:lnTo>
                        <a:pt x="419" y="14"/>
                      </a:lnTo>
                      <a:lnTo>
                        <a:pt x="390" y="16"/>
                      </a:lnTo>
                      <a:lnTo>
                        <a:pt x="360" y="19"/>
                      </a:lnTo>
                      <a:lnTo>
                        <a:pt x="343" y="20"/>
                      </a:lnTo>
                      <a:lnTo>
                        <a:pt x="329" y="21"/>
                      </a:lnTo>
                      <a:lnTo>
                        <a:pt x="313" y="23"/>
                      </a:lnTo>
                      <a:lnTo>
                        <a:pt x="299" y="26"/>
                      </a:lnTo>
                      <a:lnTo>
                        <a:pt x="286" y="30"/>
                      </a:lnTo>
                      <a:lnTo>
                        <a:pt x="274" y="35"/>
                      </a:lnTo>
                      <a:lnTo>
                        <a:pt x="267" y="38"/>
                      </a:lnTo>
                      <a:lnTo>
                        <a:pt x="262" y="41"/>
                      </a:lnTo>
                      <a:lnTo>
                        <a:pt x="257" y="45"/>
                      </a:lnTo>
                      <a:lnTo>
                        <a:pt x="253" y="50"/>
                      </a:lnTo>
                      <a:lnTo>
                        <a:pt x="147" y="50"/>
                      </a:lnTo>
                      <a:lnTo>
                        <a:pt x="145" y="54"/>
                      </a:lnTo>
                      <a:lnTo>
                        <a:pt x="142" y="58"/>
                      </a:lnTo>
                      <a:lnTo>
                        <a:pt x="138" y="61"/>
                      </a:lnTo>
                      <a:lnTo>
                        <a:pt x="133" y="62"/>
                      </a:lnTo>
                      <a:lnTo>
                        <a:pt x="143" y="65"/>
                      </a:lnTo>
                      <a:lnTo>
                        <a:pt x="153" y="68"/>
                      </a:lnTo>
                      <a:lnTo>
                        <a:pt x="163" y="70"/>
                      </a:lnTo>
                      <a:lnTo>
                        <a:pt x="173" y="75"/>
                      </a:lnTo>
                      <a:lnTo>
                        <a:pt x="173" y="79"/>
                      </a:lnTo>
                      <a:lnTo>
                        <a:pt x="172" y="83"/>
                      </a:lnTo>
                      <a:lnTo>
                        <a:pt x="170" y="86"/>
                      </a:lnTo>
                      <a:lnTo>
                        <a:pt x="167" y="88"/>
                      </a:lnTo>
                      <a:lnTo>
                        <a:pt x="164" y="90"/>
                      </a:lnTo>
                      <a:lnTo>
                        <a:pt x="161" y="91"/>
                      </a:lnTo>
                      <a:lnTo>
                        <a:pt x="158" y="92"/>
                      </a:lnTo>
                      <a:lnTo>
                        <a:pt x="153" y="93"/>
                      </a:lnTo>
                      <a:lnTo>
                        <a:pt x="133" y="94"/>
                      </a:lnTo>
                      <a:lnTo>
                        <a:pt x="114" y="93"/>
                      </a:lnTo>
                      <a:lnTo>
                        <a:pt x="108" y="93"/>
                      </a:lnTo>
                      <a:lnTo>
                        <a:pt x="94" y="93"/>
                      </a:lnTo>
                      <a:lnTo>
                        <a:pt x="74" y="93"/>
                      </a:lnTo>
                      <a:lnTo>
                        <a:pt x="53" y="93"/>
                      </a:lnTo>
                      <a:lnTo>
                        <a:pt x="42" y="94"/>
                      </a:lnTo>
                      <a:lnTo>
                        <a:pt x="31" y="95"/>
                      </a:lnTo>
                      <a:lnTo>
                        <a:pt x="22" y="99"/>
                      </a:lnTo>
                      <a:lnTo>
                        <a:pt x="15" y="104"/>
                      </a:lnTo>
                      <a:lnTo>
                        <a:pt x="11" y="107"/>
                      </a:lnTo>
                      <a:lnTo>
                        <a:pt x="8" y="110"/>
                      </a:lnTo>
                      <a:lnTo>
                        <a:pt x="6" y="114"/>
                      </a:lnTo>
                      <a:lnTo>
                        <a:pt x="4" y="119"/>
                      </a:lnTo>
                      <a:lnTo>
                        <a:pt x="2" y="130"/>
                      </a:lnTo>
                      <a:lnTo>
                        <a:pt x="0" y="142"/>
                      </a:lnTo>
                      <a:lnTo>
                        <a:pt x="0" y="147"/>
                      </a:lnTo>
                      <a:lnTo>
                        <a:pt x="2" y="151"/>
                      </a:lnTo>
                      <a:lnTo>
                        <a:pt x="4" y="154"/>
                      </a:lnTo>
                      <a:lnTo>
                        <a:pt x="5" y="157"/>
                      </a:lnTo>
                      <a:lnTo>
                        <a:pt x="10" y="162"/>
                      </a:lnTo>
                      <a:lnTo>
                        <a:pt x="16" y="167"/>
                      </a:lnTo>
                      <a:lnTo>
                        <a:pt x="20" y="173"/>
                      </a:lnTo>
                      <a:lnTo>
                        <a:pt x="22" y="179"/>
                      </a:lnTo>
                      <a:lnTo>
                        <a:pt x="24" y="183"/>
                      </a:lnTo>
                      <a:lnTo>
                        <a:pt x="24" y="188"/>
                      </a:lnTo>
                      <a:lnTo>
                        <a:pt x="22" y="193"/>
                      </a:lnTo>
                      <a:lnTo>
                        <a:pt x="20" y="198"/>
                      </a:lnTo>
                      <a:lnTo>
                        <a:pt x="19" y="200"/>
                      </a:lnTo>
                      <a:lnTo>
                        <a:pt x="19" y="203"/>
                      </a:lnTo>
                      <a:lnTo>
                        <a:pt x="20" y="206"/>
                      </a:lnTo>
                      <a:lnTo>
                        <a:pt x="21" y="210"/>
                      </a:lnTo>
                      <a:lnTo>
                        <a:pt x="25" y="217"/>
                      </a:lnTo>
                      <a:lnTo>
                        <a:pt x="30" y="224"/>
                      </a:lnTo>
                      <a:lnTo>
                        <a:pt x="37" y="230"/>
                      </a:lnTo>
                      <a:lnTo>
                        <a:pt x="44" y="235"/>
                      </a:lnTo>
                      <a:lnTo>
                        <a:pt x="49" y="237"/>
                      </a:lnTo>
                      <a:lnTo>
                        <a:pt x="52" y="239"/>
                      </a:lnTo>
                      <a:lnTo>
                        <a:pt x="56" y="241"/>
                      </a:lnTo>
                      <a:lnTo>
                        <a:pt x="60" y="241"/>
                      </a:lnTo>
                      <a:lnTo>
                        <a:pt x="59" y="250"/>
                      </a:lnTo>
                      <a:lnTo>
                        <a:pt x="56" y="259"/>
                      </a:lnTo>
                      <a:lnTo>
                        <a:pt x="52" y="266"/>
                      </a:lnTo>
                      <a:lnTo>
                        <a:pt x="47" y="271"/>
                      </a:lnTo>
                      <a:lnTo>
                        <a:pt x="56" y="271"/>
                      </a:lnTo>
                      <a:lnTo>
                        <a:pt x="66" y="271"/>
                      </a:lnTo>
                      <a:lnTo>
                        <a:pt x="74" y="271"/>
                      </a:lnTo>
                      <a:lnTo>
                        <a:pt x="81" y="271"/>
                      </a:lnTo>
                      <a:lnTo>
                        <a:pt x="82" y="275"/>
                      </a:lnTo>
                      <a:lnTo>
                        <a:pt x="84" y="280"/>
                      </a:lnTo>
                      <a:lnTo>
                        <a:pt x="89" y="284"/>
                      </a:lnTo>
                      <a:lnTo>
                        <a:pt x="96" y="290"/>
                      </a:lnTo>
                      <a:lnTo>
                        <a:pt x="112" y="302"/>
                      </a:lnTo>
                      <a:lnTo>
                        <a:pt x="131" y="313"/>
                      </a:lnTo>
                      <a:lnTo>
                        <a:pt x="170" y="334"/>
                      </a:lnTo>
                      <a:lnTo>
                        <a:pt x="193" y="345"/>
                      </a:lnTo>
                      <a:lnTo>
                        <a:pt x="205" y="352"/>
                      </a:lnTo>
                      <a:lnTo>
                        <a:pt x="218" y="360"/>
                      </a:lnTo>
                      <a:lnTo>
                        <a:pt x="226" y="364"/>
                      </a:lnTo>
                      <a:lnTo>
                        <a:pt x="234" y="367"/>
                      </a:lnTo>
                      <a:lnTo>
                        <a:pt x="243" y="370"/>
                      </a:lnTo>
                      <a:lnTo>
                        <a:pt x="253" y="370"/>
                      </a:lnTo>
                      <a:lnTo>
                        <a:pt x="255" y="370"/>
                      </a:lnTo>
                      <a:lnTo>
                        <a:pt x="257" y="367"/>
                      </a:lnTo>
                      <a:lnTo>
                        <a:pt x="261" y="365"/>
                      </a:lnTo>
                      <a:lnTo>
                        <a:pt x="264" y="361"/>
                      </a:lnTo>
                      <a:lnTo>
                        <a:pt x="267" y="358"/>
                      </a:lnTo>
                      <a:lnTo>
                        <a:pt x="271" y="355"/>
                      </a:lnTo>
                      <a:lnTo>
                        <a:pt x="275" y="353"/>
                      </a:lnTo>
                      <a:lnTo>
                        <a:pt x="279" y="352"/>
                      </a:lnTo>
                      <a:lnTo>
                        <a:pt x="277" y="344"/>
                      </a:lnTo>
                      <a:lnTo>
                        <a:pt x="277" y="338"/>
                      </a:lnTo>
                      <a:lnTo>
                        <a:pt x="278" y="332"/>
                      </a:lnTo>
                      <a:lnTo>
                        <a:pt x="280" y="326"/>
                      </a:lnTo>
                      <a:lnTo>
                        <a:pt x="284" y="322"/>
                      </a:lnTo>
                      <a:lnTo>
                        <a:pt x="289" y="318"/>
                      </a:lnTo>
                      <a:lnTo>
                        <a:pt x="297" y="316"/>
                      </a:lnTo>
                      <a:lnTo>
                        <a:pt x="306" y="315"/>
                      </a:lnTo>
                      <a:lnTo>
                        <a:pt x="316" y="315"/>
                      </a:lnTo>
                      <a:lnTo>
                        <a:pt x="323" y="317"/>
                      </a:lnTo>
                      <a:lnTo>
                        <a:pt x="329" y="320"/>
                      </a:lnTo>
                      <a:lnTo>
                        <a:pt x="334" y="323"/>
                      </a:lnTo>
                      <a:lnTo>
                        <a:pt x="343" y="332"/>
                      </a:lnTo>
                      <a:lnTo>
                        <a:pt x="350" y="342"/>
                      </a:lnTo>
                      <a:lnTo>
                        <a:pt x="353" y="347"/>
                      </a:lnTo>
                      <a:lnTo>
                        <a:pt x="357" y="353"/>
                      </a:lnTo>
                      <a:lnTo>
                        <a:pt x="362" y="358"/>
                      </a:lnTo>
                      <a:lnTo>
                        <a:pt x="367" y="362"/>
                      </a:lnTo>
                      <a:lnTo>
                        <a:pt x="373" y="365"/>
                      </a:lnTo>
                      <a:lnTo>
                        <a:pt x="380" y="368"/>
                      </a:lnTo>
                      <a:lnTo>
                        <a:pt x="389" y="370"/>
                      </a:lnTo>
                      <a:lnTo>
                        <a:pt x="399" y="370"/>
                      </a:lnTo>
                      <a:lnTo>
                        <a:pt x="409" y="370"/>
                      </a:lnTo>
                      <a:lnTo>
                        <a:pt x="418" y="369"/>
                      </a:lnTo>
                      <a:lnTo>
                        <a:pt x="425" y="367"/>
                      </a:lnTo>
                      <a:lnTo>
                        <a:pt x="433" y="365"/>
                      </a:lnTo>
                      <a:lnTo>
                        <a:pt x="447" y="359"/>
                      </a:lnTo>
                      <a:lnTo>
                        <a:pt x="459" y="352"/>
                      </a:lnTo>
                      <a:lnTo>
                        <a:pt x="472" y="345"/>
                      </a:lnTo>
                      <a:lnTo>
                        <a:pt x="483" y="339"/>
                      </a:lnTo>
                      <a:lnTo>
                        <a:pt x="488" y="336"/>
                      </a:lnTo>
                      <a:lnTo>
                        <a:pt x="493" y="335"/>
                      </a:lnTo>
                      <a:lnTo>
                        <a:pt x="499" y="333"/>
                      </a:lnTo>
                      <a:lnTo>
                        <a:pt x="506" y="333"/>
                      </a:lnTo>
                      <a:lnTo>
                        <a:pt x="512" y="332"/>
                      </a:lnTo>
                      <a:lnTo>
                        <a:pt x="521" y="329"/>
                      </a:lnTo>
                      <a:lnTo>
                        <a:pt x="525" y="327"/>
                      </a:lnTo>
                      <a:lnTo>
                        <a:pt x="529" y="325"/>
                      </a:lnTo>
                      <a:lnTo>
                        <a:pt x="531" y="323"/>
                      </a:lnTo>
                      <a:lnTo>
                        <a:pt x="532" y="321"/>
                      </a:lnTo>
                      <a:lnTo>
                        <a:pt x="565" y="321"/>
                      </a:lnTo>
                      <a:lnTo>
                        <a:pt x="564" y="326"/>
                      </a:lnTo>
                      <a:lnTo>
                        <a:pt x="563" y="333"/>
                      </a:lnTo>
                      <a:lnTo>
                        <a:pt x="564" y="341"/>
                      </a:lnTo>
                      <a:lnTo>
                        <a:pt x="565" y="349"/>
                      </a:lnTo>
                      <a:lnTo>
                        <a:pt x="566" y="358"/>
                      </a:lnTo>
                      <a:lnTo>
                        <a:pt x="567" y="367"/>
                      </a:lnTo>
                      <a:lnTo>
                        <a:pt x="567" y="375"/>
                      </a:lnTo>
                      <a:lnTo>
                        <a:pt x="565" y="382"/>
                      </a:lnTo>
                      <a:lnTo>
                        <a:pt x="575" y="381"/>
                      </a:lnTo>
                      <a:lnTo>
                        <a:pt x="582" y="379"/>
                      </a:lnTo>
                      <a:lnTo>
                        <a:pt x="590" y="377"/>
                      </a:lnTo>
                      <a:lnTo>
                        <a:pt x="596" y="375"/>
                      </a:lnTo>
                      <a:lnTo>
                        <a:pt x="601" y="372"/>
                      </a:lnTo>
                      <a:lnTo>
                        <a:pt x="605" y="369"/>
                      </a:lnTo>
                      <a:lnTo>
                        <a:pt x="610" y="366"/>
                      </a:lnTo>
                      <a:lnTo>
                        <a:pt x="613" y="362"/>
                      </a:lnTo>
                      <a:lnTo>
                        <a:pt x="623" y="345"/>
                      </a:lnTo>
                      <a:lnTo>
                        <a:pt x="632" y="327"/>
                      </a:lnTo>
                      <a:lnTo>
                        <a:pt x="636" y="331"/>
                      </a:lnTo>
                      <a:lnTo>
                        <a:pt x="641" y="334"/>
                      </a:lnTo>
                      <a:lnTo>
                        <a:pt x="647" y="336"/>
                      </a:lnTo>
                      <a:lnTo>
                        <a:pt x="654" y="337"/>
                      </a:lnTo>
                      <a:lnTo>
                        <a:pt x="669" y="338"/>
                      </a:lnTo>
                      <a:lnTo>
                        <a:pt x="687" y="336"/>
                      </a:lnTo>
                      <a:lnTo>
                        <a:pt x="721" y="330"/>
                      </a:lnTo>
                      <a:lnTo>
                        <a:pt x="752" y="327"/>
                      </a:lnTo>
                      <a:lnTo>
                        <a:pt x="767" y="327"/>
                      </a:lnTo>
                      <a:lnTo>
                        <a:pt x="781" y="325"/>
                      </a:lnTo>
                      <a:lnTo>
                        <a:pt x="794" y="324"/>
                      </a:lnTo>
                      <a:lnTo>
                        <a:pt x="808" y="321"/>
                      </a:lnTo>
                      <a:lnTo>
                        <a:pt x="831" y="315"/>
                      </a:lnTo>
                      <a:lnTo>
                        <a:pt x="853" y="307"/>
                      </a:lnTo>
                      <a:lnTo>
                        <a:pt x="873" y="299"/>
                      </a:lnTo>
                      <a:lnTo>
                        <a:pt x="895" y="290"/>
                      </a:lnTo>
                      <a:lnTo>
                        <a:pt x="906" y="287"/>
                      </a:lnTo>
                      <a:lnTo>
                        <a:pt x="918" y="283"/>
                      </a:lnTo>
                      <a:lnTo>
                        <a:pt x="930" y="280"/>
                      </a:lnTo>
                      <a:lnTo>
                        <a:pt x="944" y="278"/>
                      </a:lnTo>
                      <a:lnTo>
                        <a:pt x="951" y="279"/>
                      </a:lnTo>
                      <a:lnTo>
                        <a:pt x="961" y="284"/>
                      </a:lnTo>
                      <a:lnTo>
                        <a:pt x="967" y="286"/>
                      </a:lnTo>
                      <a:lnTo>
                        <a:pt x="972" y="288"/>
                      </a:lnTo>
                      <a:lnTo>
                        <a:pt x="979" y="289"/>
                      </a:lnTo>
                      <a:lnTo>
                        <a:pt x="983" y="290"/>
                      </a:lnTo>
                      <a:lnTo>
                        <a:pt x="995" y="290"/>
                      </a:lnTo>
                      <a:lnTo>
                        <a:pt x="1005" y="293"/>
                      </a:lnTo>
                      <a:lnTo>
                        <a:pt x="1015" y="295"/>
                      </a:lnTo>
                      <a:lnTo>
                        <a:pt x="1024" y="300"/>
                      </a:lnTo>
                      <a:lnTo>
                        <a:pt x="1034" y="303"/>
                      </a:lnTo>
                      <a:lnTo>
                        <a:pt x="1045" y="306"/>
                      </a:lnTo>
                      <a:lnTo>
                        <a:pt x="1056" y="308"/>
                      </a:lnTo>
                      <a:lnTo>
                        <a:pt x="1070" y="309"/>
                      </a:lnTo>
                      <a:lnTo>
                        <a:pt x="1068" y="297"/>
                      </a:lnTo>
                      <a:lnTo>
                        <a:pt x="1063" y="286"/>
                      </a:lnTo>
                      <a:lnTo>
                        <a:pt x="1060" y="276"/>
                      </a:lnTo>
                      <a:lnTo>
                        <a:pt x="1056" y="268"/>
                      </a:lnTo>
                      <a:lnTo>
                        <a:pt x="1047" y="254"/>
                      </a:lnTo>
                      <a:lnTo>
                        <a:pt x="1038" y="241"/>
                      </a:lnTo>
                      <a:lnTo>
                        <a:pt x="1034" y="233"/>
                      </a:lnTo>
                      <a:lnTo>
                        <a:pt x="1030" y="226"/>
                      </a:lnTo>
                      <a:lnTo>
                        <a:pt x="1026" y="219"/>
                      </a:lnTo>
                      <a:lnTo>
                        <a:pt x="1024" y="211"/>
                      </a:lnTo>
                      <a:lnTo>
                        <a:pt x="1021" y="202"/>
                      </a:lnTo>
                      <a:lnTo>
                        <a:pt x="1018" y="192"/>
                      </a:lnTo>
                      <a:lnTo>
                        <a:pt x="1017" y="179"/>
                      </a:lnTo>
                      <a:lnTo>
                        <a:pt x="1017" y="167"/>
                      </a:lnTo>
                      <a:lnTo>
                        <a:pt x="1014" y="152"/>
                      </a:lnTo>
                      <a:lnTo>
                        <a:pt x="1011" y="142"/>
                      </a:lnTo>
                    </a:path>
                  </a:pathLst>
                </a:custGeom>
                <a:solidFill>
                  <a:srgbClr val="0872A6"/>
                </a:solidFill>
                <a:ln w="9525" cap="flat" cmpd="sng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pPr marL="0" marR="0" lvl="0" indent="0" algn="l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MS PGothic" panose="020B0600070205080204" pitchFamily="34" charset="-128"/>
                    <a:cs typeface="Arial"/>
                  </a:endParaRPr>
                </a:p>
              </p:txBody>
            </p:sp>
          </p:grpSp>
          <p:sp>
            <p:nvSpPr>
              <p:cNvPr id="934" name="Freeform 541">
                <a:extLst>
                  <a:ext uri="{FF2B5EF4-FFF2-40B4-BE49-F238E27FC236}">
                    <a16:creationId xmlns:a16="http://schemas.microsoft.com/office/drawing/2014/main" id="{EE8A8F22-BF73-4011-8B9B-3094B390C43F}"/>
                  </a:ext>
                </a:extLst>
              </p:cNvPr>
              <p:cNvSpPr>
                <a:spLocks/>
              </p:cNvSpPr>
              <p:nvPr>
                <p:custDataLst>
                  <p:tags r:id="rId372"/>
                </p:custDataLst>
              </p:nvPr>
            </p:nvSpPr>
            <p:spPr bwMode="auto">
              <a:xfrm>
                <a:off x="2275892" y="4303174"/>
                <a:ext cx="119449" cy="137122"/>
              </a:xfrm>
              <a:custGeom>
                <a:avLst/>
                <a:gdLst>
                  <a:gd name="T0" fmla="*/ 12337887 w 226"/>
                  <a:gd name="T1" fmla="*/ 62779789 h 237"/>
                  <a:gd name="T2" fmla="*/ 13316775 w 226"/>
                  <a:gd name="T3" fmla="*/ 63045925 h 237"/>
                  <a:gd name="T4" fmla="*/ 14687750 w 226"/>
                  <a:gd name="T5" fmla="*/ 62513652 h 237"/>
                  <a:gd name="T6" fmla="*/ 16254325 w 226"/>
                  <a:gd name="T7" fmla="*/ 62248032 h 237"/>
                  <a:gd name="T8" fmla="*/ 17429699 w 226"/>
                  <a:gd name="T9" fmla="*/ 61184003 h 237"/>
                  <a:gd name="T10" fmla="*/ 18800231 w 226"/>
                  <a:gd name="T11" fmla="*/ 59321565 h 237"/>
                  <a:gd name="T12" fmla="*/ 19387918 w 226"/>
                  <a:gd name="T13" fmla="*/ 56927370 h 237"/>
                  <a:gd name="T14" fmla="*/ 24088087 w 226"/>
                  <a:gd name="T15" fmla="*/ 55597204 h 237"/>
                  <a:gd name="T16" fmla="*/ 32509093 w 226"/>
                  <a:gd name="T17" fmla="*/ 54533175 h 237"/>
                  <a:gd name="T18" fmla="*/ 38188150 w 226"/>
                  <a:gd name="T19" fmla="*/ 52671253 h 237"/>
                  <a:gd name="T20" fmla="*/ 40930099 w 226"/>
                  <a:gd name="T21" fmla="*/ 50809331 h 237"/>
                  <a:gd name="T22" fmla="*/ 43084361 w 226"/>
                  <a:gd name="T23" fmla="*/ 48149000 h 237"/>
                  <a:gd name="T24" fmla="*/ 44063250 w 226"/>
                  <a:gd name="T25" fmla="*/ 44690776 h 237"/>
                  <a:gd name="T26" fmla="*/ 44259293 w 226"/>
                  <a:gd name="T27" fmla="*/ 40700279 h 237"/>
                  <a:gd name="T28" fmla="*/ 43671606 w 226"/>
                  <a:gd name="T29" fmla="*/ 37242571 h 237"/>
                  <a:gd name="T30" fmla="*/ 42105030 w 226"/>
                  <a:gd name="T31" fmla="*/ 32719802 h 237"/>
                  <a:gd name="T32" fmla="*/ 39755168 w 226"/>
                  <a:gd name="T33" fmla="*/ 26601763 h 237"/>
                  <a:gd name="T34" fmla="*/ 38384193 w 226"/>
                  <a:gd name="T35" fmla="*/ 22345646 h 237"/>
                  <a:gd name="T36" fmla="*/ 37796506 w 226"/>
                  <a:gd name="T37" fmla="*/ 19685315 h 237"/>
                  <a:gd name="T38" fmla="*/ 38188150 w 226"/>
                  <a:gd name="T39" fmla="*/ 15694818 h 237"/>
                  <a:gd name="T40" fmla="*/ 39167480 w 226"/>
                  <a:gd name="T41" fmla="*/ 11438701 h 237"/>
                  <a:gd name="T42" fmla="*/ 41713387 w 226"/>
                  <a:gd name="T43" fmla="*/ 6650312 h 237"/>
                  <a:gd name="T44" fmla="*/ 41713387 w 226"/>
                  <a:gd name="T45" fmla="*/ 3724360 h 237"/>
                  <a:gd name="T46" fmla="*/ 37404862 w 226"/>
                  <a:gd name="T47" fmla="*/ 1861922 h 237"/>
                  <a:gd name="T48" fmla="*/ 30158787 w 226"/>
                  <a:gd name="T49" fmla="*/ 532273 h 237"/>
                  <a:gd name="T50" fmla="*/ 3916881 w 226"/>
                  <a:gd name="T51" fmla="*/ 1596302 h 237"/>
                  <a:gd name="T52" fmla="*/ 3525237 w 226"/>
                  <a:gd name="T53" fmla="*/ 8246613 h 237"/>
                  <a:gd name="T54" fmla="*/ 1958219 w 226"/>
                  <a:gd name="T55" fmla="*/ 14364653 h 237"/>
                  <a:gd name="T56" fmla="*/ 587687 w 226"/>
                  <a:gd name="T57" fmla="*/ 21015480 h 237"/>
                  <a:gd name="T58" fmla="*/ 0 w 226"/>
                  <a:gd name="T59" fmla="*/ 29527714 h 237"/>
                  <a:gd name="T60" fmla="*/ 587687 w 226"/>
                  <a:gd name="T61" fmla="*/ 34582240 h 237"/>
                  <a:gd name="T62" fmla="*/ 1958219 w 226"/>
                  <a:gd name="T63" fmla="*/ 38838357 h 237"/>
                  <a:gd name="T64" fmla="*/ 5875100 w 226"/>
                  <a:gd name="T65" fmla="*/ 46020941 h 237"/>
                  <a:gd name="T66" fmla="*/ 9987581 w 226"/>
                  <a:gd name="T67" fmla="*/ 52937389 h 237"/>
                  <a:gd name="T68" fmla="*/ 11162955 w 226"/>
                  <a:gd name="T69" fmla="*/ 57459642 h 237"/>
                  <a:gd name="T70" fmla="*/ 11946243 w 226"/>
                  <a:gd name="T71" fmla="*/ 62248032 h 23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226" h="237">
                    <a:moveTo>
                      <a:pt x="61" y="234"/>
                    </a:moveTo>
                    <a:lnTo>
                      <a:pt x="63" y="236"/>
                    </a:lnTo>
                    <a:lnTo>
                      <a:pt x="65" y="237"/>
                    </a:lnTo>
                    <a:lnTo>
                      <a:pt x="68" y="237"/>
                    </a:lnTo>
                    <a:lnTo>
                      <a:pt x="70" y="237"/>
                    </a:lnTo>
                    <a:lnTo>
                      <a:pt x="75" y="235"/>
                    </a:lnTo>
                    <a:lnTo>
                      <a:pt x="80" y="234"/>
                    </a:lnTo>
                    <a:lnTo>
                      <a:pt x="83" y="234"/>
                    </a:lnTo>
                    <a:lnTo>
                      <a:pt x="86" y="232"/>
                    </a:lnTo>
                    <a:lnTo>
                      <a:pt x="89" y="230"/>
                    </a:lnTo>
                    <a:lnTo>
                      <a:pt x="92" y="227"/>
                    </a:lnTo>
                    <a:lnTo>
                      <a:pt x="96" y="223"/>
                    </a:lnTo>
                    <a:lnTo>
                      <a:pt x="98" y="219"/>
                    </a:lnTo>
                    <a:lnTo>
                      <a:pt x="99" y="214"/>
                    </a:lnTo>
                    <a:lnTo>
                      <a:pt x="100" y="209"/>
                    </a:lnTo>
                    <a:lnTo>
                      <a:pt x="123" y="209"/>
                    </a:lnTo>
                    <a:lnTo>
                      <a:pt x="145" y="208"/>
                    </a:lnTo>
                    <a:lnTo>
                      <a:pt x="166" y="205"/>
                    </a:lnTo>
                    <a:lnTo>
                      <a:pt x="186" y="201"/>
                    </a:lnTo>
                    <a:lnTo>
                      <a:pt x="195" y="198"/>
                    </a:lnTo>
                    <a:lnTo>
                      <a:pt x="202" y="195"/>
                    </a:lnTo>
                    <a:lnTo>
                      <a:pt x="209" y="191"/>
                    </a:lnTo>
                    <a:lnTo>
                      <a:pt x="215" y="186"/>
                    </a:lnTo>
                    <a:lnTo>
                      <a:pt x="220" y="181"/>
                    </a:lnTo>
                    <a:lnTo>
                      <a:pt x="223" y="175"/>
                    </a:lnTo>
                    <a:lnTo>
                      <a:pt x="225" y="168"/>
                    </a:lnTo>
                    <a:lnTo>
                      <a:pt x="226" y="161"/>
                    </a:lnTo>
                    <a:lnTo>
                      <a:pt x="226" y="153"/>
                    </a:lnTo>
                    <a:lnTo>
                      <a:pt x="225" y="147"/>
                    </a:lnTo>
                    <a:lnTo>
                      <a:pt x="223" y="140"/>
                    </a:lnTo>
                    <a:lnTo>
                      <a:pt x="221" y="134"/>
                    </a:lnTo>
                    <a:lnTo>
                      <a:pt x="215" y="123"/>
                    </a:lnTo>
                    <a:lnTo>
                      <a:pt x="210" y="112"/>
                    </a:lnTo>
                    <a:lnTo>
                      <a:pt x="203" y="100"/>
                    </a:lnTo>
                    <a:lnTo>
                      <a:pt x="198" y="90"/>
                    </a:lnTo>
                    <a:lnTo>
                      <a:pt x="196" y="84"/>
                    </a:lnTo>
                    <a:lnTo>
                      <a:pt x="195" y="79"/>
                    </a:lnTo>
                    <a:lnTo>
                      <a:pt x="193" y="74"/>
                    </a:lnTo>
                    <a:lnTo>
                      <a:pt x="193" y="68"/>
                    </a:lnTo>
                    <a:lnTo>
                      <a:pt x="195" y="59"/>
                    </a:lnTo>
                    <a:lnTo>
                      <a:pt x="197" y="51"/>
                    </a:lnTo>
                    <a:lnTo>
                      <a:pt x="200" y="43"/>
                    </a:lnTo>
                    <a:lnTo>
                      <a:pt x="204" y="36"/>
                    </a:lnTo>
                    <a:lnTo>
                      <a:pt x="213" y="25"/>
                    </a:lnTo>
                    <a:lnTo>
                      <a:pt x="220" y="19"/>
                    </a:lnTo>
                    <a:lnTo>
                      <a:pt x="213" y="14"/>
                    </a:lnTo>
                    <a:lnTo>
                      <a:pt x="203" y="11"/>
                    </a:lnTo>
                    <a:lnTo>
                      <a:pt x="191" y="7"/>
                    </a:lnTo>
                    <a:lnTo>
                      <a:pt x="179" y="5"/>
                    </a:lnTo>
                    <a:lnTo>
                      <a:pt x="154" y="2"/>
                    </a:lnTo>
                    <a:lnTo>
                      <a:pt x="133" y="0"/>
                    </a:lnTo>
                    <a:lnTo>
                      <a:pt x="20" y="6"/>
                    </a:lnTo>
                    <a:lnTo>
                      <a:pt x="20" y="19"/>
                    </a:lnTo>
                    <a:lnTo>
                      <a:pt x="18" y="31"/>
                    </a:lnTo>
                    <a:lnTo>
                      <a:pt x="14" y="42"/>
                    </a:lnTo>
                    <a:lnTo>
                      <a:pt x="10" y="54"/>
                    </a:lnTo>
                    <a:lnTo>
                      <a:pt x="7" y="66"/>
                    </a:lnTo>
                    <a:lnTo>
                      <a:pt x="3" y="79"/>
                    </a:lnTo>
                    <a:lnTo>
                      <a:pt x="1" y="93"/>
                    </a:lnTo>
                    <a:lnTo>
                      <a:pt x="0" y="111"/>
                    </a:lnTo>
                    <a:lnTo>
                      <a:pt x="1" y="121"/>
                    </a:lnTo>
                    <a:lnTo>
                      <a:pt x="3" y="130"/>
                    </a:lnTo>
                    <a:lnTo>
                      <a:pt x="6" y="138"/>
                    </a:lnTo>
                    <a:lnTo>
                      <a:pt x="10" y="146"/>
                    </a:lnTo>
                    <a:lnTo>
                      <a:pt x="19" y="159"/>
                    </a:lnTo>
                    <a:lnTo>
                      <a:pt x="30" y="173"/>
                    </a:lnTo>
                    <a:lnTo>
                      <a:pt x="41" y="185"/>
                    </a:lnTo>
                    <a:lnTo>
                      <a:pt x="51" y="199"/>
                    </a:lnTo>
                    <a:lnTo>
                      <a:pt x="55" y="207"/>
                    </a:lnTo>
                    <a:lnTo>
                      <a:pt x="57" y="216"/>
                    </a:lnTo>
                    <a:lnTo>
                      <a:pt x="59" y="225"/>
                    </a:lnTo>
                    <a:lnTo>
                      <a:pt x="61" y="23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35" name="Freeform 542">
                <a:extLst>
                  <a:ext uri="{FF2B5EF4-FFF2-40B4-BE49-F238E27FC236}">
                    <a16:creationId xmlns:a16="http://schemas.microsoft.com/office/drawing/2014/main" id="{768F1616-B982-4CA6-A10A-6B649DB393FA}"/>
                  </a:ext>
                </a:extLst>
              </p:cNvPr>
              <p:cNvSpPr>
                <a:spLocks/>
              </p:cNvSpPr>
              <p:nvPr>
                <p:custDataLst>
                  <p:tags r:id="rId373"/>
                </p:custDataLst>
              </p:nvPr>
            </p:nvSpPr>
            <p:spPr bwMode="auto">
              <a:xfrm>
                <a:off x="7032114" y="3670303"/>
                <a:ext cx="251566" cy="515087"/>
              </a:xfrm>
              <a:custGeom>
                <a:avLst/>
                <a:gdLst>
                  <a:gd name="T0" fmla="*/ 54324199 w 478"/>
                  <a:gd name="T1" fmla="*/ 29966459 h 875"/>
                  <a:gd name="T2" fmla="*/ 47320926 w 478"/>
                  <a:gd name="T3" fmla="*/ 37938884 h 875"/>
                  <a:gd name="T4" fmla="*/ 37667226 w 478"/>
                  <a:gd name="T5" fmla="*/ 54159530 h 875"/>
                  <a:gd name="T6" fmla="*/ 37477972 w 478"/>
                  <a:gd name="T7" fmla="*/ 58558127 h 875"/>
                  <a:gd name="T8" fmla="*/ 38992440 w 478"/>
                  <a:gd name="T9" fmla="*/ 65706307 h 875"/>
                  <a:gd name="T10" fmla="*/ 41831687 w 478"/>
                  <a:gd name="T11" fmla="*/ 72853961 h 875"/>
                  <a:gd name="T12" fmla="*/ 45427950 w 478"/>
                  <a:gd name="T13" fmla="*/ 79177371 h 875"/>
                  <a:gd name="T14" fmla="*/ 49024214 w 478"/>
                  <a:gd name="T15" fmla="*/ 82751198 h 875"/>
                  <a:gd name="T16" fmla="*/ 52810166 w 478"/>
                  <a:gd name="T17" fmla="*/ 90448874 h 875"/>
                  <a:gd name="T18" fmla="*/ 55838667 w 478"/>
                  <a:gd name="T19" fmla="*/ 99246593 h 875"/>
                  <a:gd name="T20" fmla="*/ 57731208 w 478"/>
                  <a:gd name="T21" fmla="*/ 101445630 h 875"/>
                  <a:gd name="T22" fmla="*/ 82905922 w 478"/>
                  <a:gd name="T23" fmla="*/ 137185477 h 875"/>
                  <a:gd name="T24" fmla="*/ 89152613 w 478"/>
                  <a:gd name="T25" fmla="*/ 161928569 h 875"/>
                  <a:gd name="T26" fmla="*/ 90477392 w 478"/>
                  <a:gd name="T27" fmla="*/ 177873943 h 875"/>
                  <a:gd name="T28" fmla="*/ 90098884 w 478"/>
                  <a:gd name="T29" fmla="*/ 188870698 h 875"/>
                  <a:gd name="T30" fmla="*/ 90477392 w 478"/>
                  <a:gd name="T31" fmla="*/ 194644086 h 875"/>
                  <a:gd name="T32" fmla="*/ 84609644 w 478"/>
                  <a:gd name="T33" fmla="*/ 197393144 h 875"/>
                  <a:gd name="T34" fmla="*/ 79498913 w 478"/>
                  <a:gd name="T35" fmla="*/ 201516992 h 875"/>
                  <a:gd name="T36" fmla="*/ 74009673 w 478"/>
                  <a:gd name="T37" fmla="*/ 207840402 h 875"/>
                  <a:gd name="T38" fmla="*/ 69088196 w 478"/>
                  <a:gd name="T39" fmla="*/ 216912869 h 875"/>
                  <a:gd name="T40" fmla="*/ 65870441 w 478"/>
                  <a:gd name="T41" fmla="*/ 215812827 h 875"/>
                  <a:gd name="T42" fmla="*/ 60381201 w 478"/>
                  <a:gd name="T43" fmla="*/ 216912869 h 875"/>
                  <a:gd name="T44" fmla="*/ 59245676 w 478"/>
                  <a:gd name="T45" fmla="*/ 221036718 h 875"/>
                  <a:gd name="T46" fmla="*/ 54702707 w 478"/>
                  <a:gd name="T47" fmla="*/ 230383933 h 875"/>
                  <a:gd name="T48" fmla="*/ 48456451 w 478"/>
                  <a:gd name="T49" fmla="*/ 238631631 h 875"/>
                  <a:gd name="T50" fmla="*/ 45238696 w 478"/>
                  <a:gd name="T51" fmla="*/ 240555919 h 875"/>
                  <a:gd name="T52" fmla="*/ 43913917 w 478"/>
                  <a:gd name="T53" fmla="*/ 238631631 h 875"/>
                  <a:gd name="T54" fmla="*/ 42588703 w 478"/>
                  <a:gd name="T55" fmla="*/ 232033473 h 875"/>
                  <a:gd name="T56" fmla="*/ 43724228 w 478"/>
                  <a:gd name="T57" fmla="*/ 219936675 h 875"/>
                  <a:gd name="T58" fmla="*/ 47888689 w 478"/>
                  <a:gd name="T59" fmla="*/ 213063769 h 875"/>
                  <a:gd name="T60" fmla="*/ 52431658 w 478"/>
                  <a:gd name="T61" fmla="*/ 208939920 h 875"/>
                  <a:gd name="T62" fmla="*/ 55838667 w 478"/>
                  <a:gd name="T63" fmla="*/ 207015632 h 875"/>
                  <a:gd name="T64" fmla="*/ 57731208 w 478"/>
                  <a:gd name="T65" fmla="*/ 204266574 h 875"/>
                  <a:gd name="T66" fmla="*/ 59434931 w 478"/>
                  <a:gd name="T67" fmla="*/ 196293626 h 875"/>
                  <a:gd name="T68" fmla="*/ 62463432 w 478"/>
                  <a:gd name="T69" fmla="*/ 188595949 h 875"/>
                  <a:gd name="T70" fmla="*/ 69088196 w 478"/>
                  <a:gd name="T71" fmla="*/ 176774425 h 875"/>
                  <a:gd name="T72" fmla="*/ 70224156 w 478"/>
                  <a:gd name="T73" fmla="*/ 147357462 h 875"/>
                  <a:gd name="T74" fmla="*/ 68898942 w 478"/>
                  <a:gd name="T75" fmla="*/ 130587319 h 875"/>
                  <a:gd name="T76" fmla="*/ 64545662 w 478"/>
                  <a:gd name="T77" fmla="*/ 117391527 h 875"/>
                  <a:gd name="T78" fmla="*/ 56217175 w 478"/>
                  <a:gd name="T79" fmla="*/ 103645190 h 875"/>
                  <a:gd name="T80" fmla="*/ 41453179 w 478"/>
                  <a:gd name="T81" fmla="*/ 84675486 h 875"/>
                  <a:gd name="T82" fmla="*/ 30474699 w 478"/>
                  <a:gd name="T83" fmla="*/ 70104904 h 875"/>
                  <a:gd name="T84" fmla="*/ 20442491 w 478"/>
                  <a:gd name="T85" fmla="*/ 54434279 h 875"/>
                  <a:gd name="T86" fmla="*/ 13628472 w 478"/>
                  <a:gd name="T87" fmla="*/ 40138445 h 875"/>
                  <a:gd name="T88" fmla="*/ 7949978 w 478"/>
                  <a:gd name="T89" fmla="*/ 28591668 h 875"/>
                  <a:gd name="T90" fmla="*/ 8706995 w 478"/>
                  <a:gd name="T91" fmla="*/ 11271504 h 875"/>
                  <a:gd name="T92" fmla="*/ 24417697 w 478"/>
                  <a:gd name="T93" fmla="*/ 5223367 h 875"/>
                  <a:gd name="T94" fmla="*/ 28013961 w 478"/>
                  <a:gd name="T95" fmla="*/ 1374791 h 875"/>
                  <a:gd name="T96" fmla="*/ 33124692 w 478"/>
                  <a:gd name="T97" fmla="*/ 4398597 h 875"/>
                  <a:gd name="T98" fmla="*/ 41831687 w 478"/>
                  <a:gd name="T99" fmla="*/ 9622488 h 875"/>
                  <a:gd name="T100" fmla="*/ 50917190 w 478"/>
                  <a:gd name="T101" fmla="*/ 18419683 h 875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478" h="875">
                    <a:moveTo>
                      <a:pt x="299" y="104"/>
                    </a:moveTo>
                    <a:lnTo>
                      <a:pt x="295" y="106"/>
                    </a:lnTo>
                    <a:lnTo>
                      <a:pt x="287" y="109"/>
                    </a:lnTo>
                    <a:lnTo>
                      <a:pt x="277" y="116"/>
                    </a:lnTo>
                    <a:lnTo>
                      <a:pt x="264" y="126"/>
                    </a:lnTo>
                    <a:lnTo>
                      <a:pt x="250" y="138"/>
                    </a:lnTo>
                    <a:lnTo>
                      <a:pt x="233" y="154"/>
                    </a:lnTo>
                    <a:lnTo>
                      <a:pt x="217" y="173"/>
                    </a:lnTo>
                    <a:lnTo>
                      <a:pt x="199" y="197"/>
                    </a:lnTo>
                    <a:lnTo>
                      <a:pt x="197" y="201"/>
                    </a:lnTo>
                    <a:lnTo>
                      <a:pt x="197" y="207"/>
                    </a:lnTo>
                    <a:lnTo>
                      <a:pt x="198" y="213"/>
                    </a:lnTo>
                    <a:lnTo>
                      <a:pt x="199" y="221"/>
                    </a:lnTo>
                    <a:lnTo>
                      <a:pt x="202" y="229"/>
                    </a:lnTo>
                    <a:lnTo>
                      <a:pt x="206" y="239"/>
                    </a:lnTo>
                    <a:lnTo>
                      <a:pt x="210" y="248"/>
                    </a:lnTo>
                    <a:lnTo>
                      <a:pt x="214" y="256"/>
                    </a:lnTo>
                    <a:lnTo>
                      <a:pt x="221" y="265"/>
                    </a:lnTo>
                    <a:lnTo>
                      <a:pt x="226" y="273"/>
                    </a:lnTo>
                    <a:lnTo>
                      <a:pt x="233" y="281"/>
                    </a:lnTo>
                    <a:lnTo>
                      <a:pt x="240" y="288"/>
                    </a:lnTo>
                    <a:lnTo>
                      <a:pt x="246" y="294"/>
                    </a:lnTo>
                    <a:lnTo>
                      <a:pt x="253" y="298"/>
                    </a:lnTo>
                    <a:lnTo>
                      <a:pt x="259" y="301"/>
                    </a:lnTo>
                    <a:lnTo>
                      <a:pt x="266" y="302"/>
                    </a:lnTo>
                    <a:lnTo>
                      <a:pt x="271" y="314"/>
                    </a:lnTo>
                    <a:lnTo>
                      <a:pt x="279" y="329"/>
                    </a:lnTo>
                    <a:lnTo>
                      <a:pt x="286" y="346"/>
                    </a:lnTo>
                    <a:lnTo>
                      <a:pt x="292" y="357"/>
                    </a:lnTo>
                    <a:lnTo>
                      <a:pt x="295" y="361"/>
                    </a:lnTo>
                    <a:lnTo>
                      <a:pt x="298" y="365"/>
                    </a:lnTo>
                    <a:lnTo>
                      <a:pt x="302" y="367"/>
                    </a:lnTo>
                    <a:lnTo>
                      <a:pt x="305" y="369"/>
                    </a:lnTo>
                    <a:lnTo>
                      <a:pt x="313" y="372"/>
                    </a:lnTo>
                    <a:lnTo>
                      <a:pt x="319" y="376"/>
                    </a:lnTo>
                    <a:lnTo>
                      <a:pt x="438" y="499"/>
                    </a:lnTo>
                    <a:lnTo>
                      <a:pt x="453" y="535"/>
                    </a:lnTo>
                    <a:lnTo>
                      <a:pt x="466" y="571"/>
                    </a:lnTo>
                    <a:lnTo>
                      <a:pt x="471" y="589"/>
                    </a:lnTo>
                    <a:lnTo>
                      <a:pt x="475" y="607"/>
                    </a:lnTo>
                    <a:lnTo>
                      <a:pt x="477" y="627"/>
                    </a:lnTo>
                    <a:lnTo>
                      <a:pt x="478" y="647"/>
                    </a:lnTo>
                    <a:lnTo>
                      <a:pt x="477" y="666"/>
                    </a:lnTo>
                    <a:lnTo>
                      <a:pt x="476" y="680"/>
                    </a:lnTo>
                    <a:lnTo>
                      <a:pt x="476" y="687"/>
                    </a:lnTo>
                    <a:lnTo>
                      <a:pt x="476" y="693"/>
                    </a:lnTo>
                    <a:lnTo>
                      <a:pt x="476" y="700"/>
                    </a:lnTo>
                    <a:lnTo>
                      <a:pt x="478" y="708"/>
                    </a:lnTo>
                    <a:lnTo>
                      <a:pt x="467" y="711"/>
                    </a:lnTo>
                    <a:lnTo>
                      <a:pt x="457" y="714"/>
                    </a:lnTo>
                    <a:lnTo>
                      <a:pt x="447" y="718"/>
                    </a:lnTo>
                    <a:lnTo>
                      <a:pt x="437" y="722"/>
                    </a:lnTo>
                    <a:lnTo>
                      <a:pt x="428" y="727"/>
                    </a:lnTo>
                    <a:lnTo>
                      <a:pt x="420" y="733"/>
                    </a:lnTo>
                    <a:lnTo>
                      <a:pt x="412" y="739"/>
                    </a:lnTo>
                    <a:lnTo>
                      <a:pt x="404" y="744"/>
                    </a:lnTo>
                    <a:lnTo>
                      <a:pt x="391" y="756"/>
                    </a:lnTo>
                    <a:lnTo>
                      <a:pt x="380" y="767"/>
                    </a:lnTo>
                    <a:lnTo>
                      <a:pt x="371" y="778"/>
                    </a:lnTo>
                    <a:lnTo>
                      <a:pt x="365" y="789"/>
                    </a:lnTo>
                    <a:lnTo>
                      <a:pt x="360" y="786"/>
                    </a:lnTo>
                    <a:lnTo>
                      <a:pt x="354" y="785"/>
                    </a:lnTo>
                    <a:lnTo>
                      <a:pt x="348" y="785"/>
                    </a:lnTo>
                    <a:lnTo>
                      <a:pt x="342" y="786"/>
                    </a:lnTo>
                    <a:lnTo>
                      <a:pt x="330" y="788"/>
                    </a:lnTo>
                    <a:lnTo>
                      <a:pt x="319" y="789"/>
                    </a:lnTo>
                    <a:lnTo>
                      <a:pt x="318" y="793"/>
                    </a:lnTo>
                    <a:lnTo>
                      <a:pt x="316" y="798"/>
                    </a:lnTo>
                    <a:lnTo>
                      <a:pt x="313" y="804"/>
                    </a:lnTo>
                    <a:lnTo>
                      <a:pt x="310" y="810"/>
                    </a:lnTo>
                    <a:lnTo>
                      <a:pt x="300" y="824"/>
                    </a:lnTo>
                    <a:lnTo>
                      <a:pt x="289" y="838"/>
                    </a:lnTo>
                    <a:lnTo>
                      <a:pt x="276" y="853"/>
                    </a:lnTo>
                    <a:lnTo>
                      <a:pt x="263" y="864"/>
                    </a:lnTo>
                    <a:lnTo>
                      <a:pt x="256" y="868"/>
                    </a:lnTo>
                    <a:lnTo>
                      <a:pt x="250" y="872"/>
                    </a:lnTo>
                    <a:lnTo>
                      <a:pt x="244" y="874"/>
                    </a:lnTo>
                    <a:lnTo>
                      <a:pt x="239" y="875"/>
                    </a:lnTo>
                    <a:lnTo>
                      <a:pt x="236" y="874"/>
                    </a:lnTo>
                    <a:lnTo>
                      <a:pt x="234" y="872"/>
                    </a:lnTo>
                    <a:lnTo>
                      <a:pt x="232" y="868"/>
                    </a:lnTo>
                    <a:lnTo>
                      <a:pt x="230" y="864"/>
                    </a:lnTo>
                    <a:lnTo>
                      <a:pt x="226" y="854"/>
                    </a:lnTo>
                    <a:lnTo>
                      <a:pt x="225" y="844"/>
                    </a:lnTo>
                    <a:lnTo>
                      <a:pt x="226" y="830"/>
                    </a:lnTo>
                    <a:lnTo>
                      <a:pt x="229" y="816"/>
                    </a:lnTo>
                    <a:lnTo>
                      <a:pt x="231" y="800"/>
                    </a:lnTo>
                    <a:lnTo>
                      <a:pt x="232" y="782"/>
                    </a:lnTo>
                    <a:lnTo>
                      <a:pt x="244" y="779"/>
                    </a:lnTo>
                    <a:lnTo>
                      <a:pt x="253" y="775"/>
                    </a:lnTo>
                    <a:lnTo>
                      <a:pt x="262" y="770"/>
                    </a:lnTo>
                    <a:lnTo>
                      <a:pt x="269" y="765"/>
                    </a:lnTo>
                    <a:lnTo>
                      <a:pt x="277" y="760"/>
                    </a:lnTo>
                    <a:lnTo>
                      <a:pt x="285" y="756"/>
                    </a:lnTo>
                    <a:lnTo>
                      <a:pt x="289" y="754"/>
                    </a:lnTo>
                    <a:lnTo>
                      <a:pt x="295" y="753"/>
                    </a:lnTo>
                    <a:lnTo>
                      <a:pt x="300" y="752"/>
                    </a:lnTo>
                    <a:lnTo>
                      <a:pt x="305" y="752"/>
                    </a:lnTo>
                    <a:lnTo>
                      <a:pt x="305" y="743"/>
                    </a:lnTo>
                    <a:lnTo>
                      <a:pt x="308" y="733"/>
                    </a:lnTo>
                    <a:lnTo>
                      <a:pt x="311" y="723"/>
                    </a:lnTo>
                    <a:lnTo>
                      <a:pt x="314" y="714"/>
                    </a:lnTo>
                    <a:lnTo>
                      <a:pt x="319" y="705"/>
                    </a:lnTo>
                    <a:lnTo>
                      <a:pt x="324" y="695"/>
                    </a:lnTo>
                    <a:lnTo>
                      <a:pt x="330" y="686"/>
                    </a:lnTo>
                    <a:lnTo>
                      <a:pt x="336" y="677"/>
                    </a:lnTo>
                    <a:lnTo>
                      <a:pt x="349" y="659"/>
                    </a:lnTo>
                    <a:lnTo>
                      <a:pt x="365" y="643"/>
                    </a:lnTo>
                    <a:lnTo>
                      <a:pt x="378" y="629"/>
                    </a:lnTo>
                    <a:lnTo>
                      <a:pt x="392" y="616"/>
                    </a:lnTo>
                    <a:lnTo>
                      <a:pt x="371" y="536"/>
                    </a:lnTo>
                    <a:lnTo>
                      <a:pt x="371" y="514"/>
                    </a:lnTo>
                    <a:lnTo>
                      <a:pt x="368" y="493"/>
                    </a:lnTo>
                    <a:lnTo>
                      <a:pt x="364" y="475"/>
                    </a:lnTo>
                    <a:lnTo>
                      <a:pt x="357" y="458"/>
                    </a:lnTo>
                    <a:lnTo>
                      <a:pt x="349" y="442"/>
                    </a:lnTo>
                    <a:lnTo>
                      <a:pt x="341" y="427"/>
                    </a:lnTo>
                    <a:lnTo>
                      <a:pt x="331" y="414"/>
                    </a:lnTo>
                    <a:lnTo>
                      <a:pt x="321" y="402"/>
                    </a:lnTo>
                    <a:lnTo>
                      <a:pt x="297" y="377"/>
                    </a:lnTo>
                    <a:lnTo>
                      <a:pt x="271" y="355"/>
                    </a:lnTo>
                    <a:lnTo>
                      <a:pt x="245" y="332"/>
                    </a:lnTo>
                    <a:lnTo>
                      <a:pt x="219" y="308"/>
                    </a:lnTo>
                    <a:lnTo>
                      <a:pt x="199" y="292"/>
                    </a:lnTo>
                    <a:lnTo>
                      <a:pt x="179" y="273"/>
                    </a:lnTo>
                    <a:lnTo>
                      <a:pt x="161" y="255"/>
                    </a:lnTo>
                    <a:lnTo>
                      <a:pt x="142" y="237"/>
                    </a:lnTo>
                    <a:lnTo>
                      <a:pt x="124" y="217"/>
                    </a:lnTo>
                    <a:lnTo>
                      <a:pt x="108" y="198"/>
                    </a:lnTo>
                    <a:lnTo>
                      <a:pt x="92" y="179"/>
                    </a:lnTo>
                    <a:lnTo>
                      <a:pt x="79" y="160"/>
                    </a:lnTo>
                    <a:lnTo>
                      <a:pt x="72" y="146"/>
                    </a:lnTo>
                    <a:lnTo>
                      <a:pt x="63" y="133"/>
                    </a:lnTo>
                    <a:lnTo>
                      <a:pt x="53" y="118"/>
                    </a:lnTo>
                    <a:lnTo>
                      <a:pt x="42" y="104"/>
                    </a:lnTo>
                    <a:lnTo>
                      <a:pt x="21" y="77"/>
                    </a:lnTo>
                    <a:lnTo>
                      <a:pt x="0" y="49"/>
                    </a:lnTo>
                    <a:lnTo>
                      <a:pt x="46" y="41"/>
                    </a:lnTo>
                    <a:lnTo>
                      <a:pt x="91" y="32"/>
                    </a:lnTo>
                    <a:lnTo>
                      <a:pt x="111" y="26"/>
                    </a:lnTo>
                    <a:lnTo>
                      <a:pt x="129" y="19"/>
                    </a:lnTo>
                    <a:lnTo>
                      <a:pt x="136" y="15"/>
                    </a:lnTo>
                    <a:lnTo>
                      <a:pt x="143" y="11"/>
                    </a:lnTo>
                    <a:lnTo>
                      <a:pt x="148" y="5"/>
                    </a:lnTo>
                    <a:lnTo>
                      <a:pt x="153" y="0"/>
                    </a:lnTo>
                    <a:lnTo>
                      <a:pt x="163" y="9"/>
                    </a:lnTo>
                    <a:lnTo>
                      <a:pt x="175" y="16"/>
                    </a:lnTo>
                    <a:lnTo>
                      <a:pt x="186" y="21"/>
                    </a:lnTo>
                    <a:lnTo>
                      <a:pt x="198" y="26"/>
                    </a:lnTo>
                    <a:lnTo>
                      <a:pt x="221" y="35"/>
                    </a:lnTo>
                    <a:lnTo>
                      <a:pt x="239" y="43"/>
                    </a:lnTo>
                    <a:lnTo>
                      <a:pt x="256" y="55"/>
                    </a:lnTo>
                    <a:lnTo>
                      <a:pt x="269" y="67"/>
                    </a:lnTo>
                    <a:lnTo>
                      <a:pt x="282" y="82"/>
                    </a:lnTo>
                    <a:lnTo>
                      <a:pt x="299" y="104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36" name="Freeform 543">
                <a:extLst>
                  <a:ext uri="{FF2B5EF4-FFF2-40B4-BE49-F238E27FC236}">
                    <a16:creationId xmlns:a16="http://schemas.microsoft.com/office/drawing/2014/main" id="{BA8E62BD-DA41-4257-820E-86A306BC76CA}"/>
                  </a:ext>
                </a:extLst>
              </p:cNvPr>
              <p:cNvSpPr>
                <a:spLocks/>
              </p:cNvSpPr>
              <p:nvPr>
                <p:custDataLst>
                  <p:tags r:id="rId374"/>
                </p:custDataLst>
              </p:nvPr>
            </p:nvSpPr>
            <p:spPr bwMode="auto">
              <a:xfrm>
                <a:off x="7137084" y="4440295"/>
                <a:ext cx="30768" cy="65046"/>
              </a:xfrm>
              <a:custGeom>
                <a:avLst/>
                <a:gdLst>
                  <a:gd name="T0" fmla="*/ 10934915 w 59"/>
                  <a:gd name="T1" fmla="*/ 20391489 h 31"/>
                  <a:gd name="T2" fmla="*/ 10564247 w 59"/>
                  <a:gd name="T3" fmla="*/ 37385318 h 31"/>
                  <a:gd name="T4" fmla="*/ 9822912 w 59"/>
                  <a:gd name="T5" fmla="*/ 50979644 h 31"/>
                  <a:gd name="T6" fmla="*/ 9081576 w 59"/>
                  <a:gd name="T7" fmla="*/ 64573969 h 31"/>
                  <a:gd name="T8" fmla="*/ 8340241 w 59"/>
                  <a:gd name="T9" fmla="*/ 81567798 h 31"/>
                  <a:gd name="T10" fmla="*/ 7413356 w 59"/>
                  <a:gd name="T11" fmla="*/ 91764465 h 31"/>
                  <a:gd name="T12" fmla="*/ 6672020 w 59"/>
                  <a:gd name="T13" fmla="*/ 98561627 h 31"/>
                  <a:gd name="T14" fmla="*/ 5560017 w 59"/>
                  <a:gd name="T15" fmla="*/ 105358790 h 31"/>
                  <a:gd name="T16" fmla="*/ 4818681 w 59"/>
                  <a:gd name="T17" fmla="*/ 105358790 h 31"/>
                  <a:gd name="T18" fmla="*/ 3892227 w 59"/>
                  <a:gd name="T19" fmla="*/ 105358790 h 31"/>
                  <a:gd name="T20" fmla="*/ 3150892 w 59"/>
                  <a:gd name="T21" fmla="*/ 101959287 h 31"/>
                  <a:gd name="T22" fmla="*/ 2594675 w 59"/>
                  <a:gd name="T23" fmla="*/ 98561627 h 31"/>
                  <a:gd name="T24" fmla="*/ 2038888 w 59"/>
                  <a:gd name="T25" fmla="*/ 91764465 h 31"/>
                  <a:gd name="T26" fmla="*/ 741336 w 59"/>
                  <a:gd name="T27" fmla="*/ 67973473 h 31"/>
                  <a:gd name="T28" fmla="*/ 0 w 59"/>
                  <a:gd name="T29" fmla="*/ 40784821 h 31"/>
                  <a:gd name="T30" fmla="*/ 185549 w 59"/>
                  <a:gd name="T31" fmla="*/ 30588155 h 31"/>
                  <a:gd name="T32" fmla="*/ 556217 w 59"/>
                  <a:gd name="T33" fmla="*/ 20391489 h 31"/>
                  <a:gd name="T34" fmla="*/ 926885 w 59"/>
                  <a:gd name="T35" fmla="*/ 13594326 h 31"/>
                  <a:gd name="T36" fmla="*/ 1482671 w 59"/>
                  <a:gd name="T37" fmla="*/ 10196666 h 31"/>
                  <a:gd name="T38" fmla="*/ 2965342 w 59"/>
                  <a:gd name="T39" fmla="*/ 3399503 h 31"/>
                  <a:gd name="T40" fmla="*/ 4448014 w 59"/>
                  <a:gd name="T41" fmla="*/ 0 h 31"/>
                  <a:gd name="T42" fmla="*/ 6301353 w 59"/>
                  <a:gd name="T43" fmla="*/ 0 h 31"/>
                  <a:gd name="T44" fmla="*/ 7784024 w 59"/>
                  <a:gd name="T45" fmla="*/ 6797163 h 31"/>
                  <a:gd name="T46" fmla="*/ 9452244 w 59"/>
                  <a:gd name="T47" fmla="*/ 13594326 h 31"/>
                  <a:gd name="T48" fmla="*/ 10934915 w 59"/>
                  <a:gd name="T49" fmla="*/ 20391489 h 31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0" t="0" r="r" b="b"/>
                <a:pathLst>
                  <a:path w="59" h="31">
                    <a:moveTo>
                      <a:pt x="59" y="6"/>
                    </a:moveTo>
                    <a:lnTo>
                      <a:pt x="57" y="11"/>
                    </a:lnTo>
                    <a:lnTo>
                      <a:pt x="53" y="15"/>
                    </a:lnTo>
                    <a:lnTo>
                      <a:pt x="49" y="19"/>
                    </a:lnTo>
                    <a:lnTo>
                      <a:pt x="45" y="24"/>
                    </a:lnTo>
                    <a:lnTo>
                      <a:pt x="40" y="27"/>
                    </a:lnTo>
                    <a:lnTo>
                      <a:pt x="36" y="29"/>
                    </a:lnTo>
                    <a:lnTo>
                      <a:pt x="30" y="31"/>
                    </a:lnTo>
                    <a:lnTo>
                      <a:pt x="26" y="31"/>
                    </a:lnTo>
                    <a:lnTo>
                      <a:pt x="21" y="31"/>
                    </a:lnTo>
                    <a:lnTo>
                      <a:pt x="17" y="30"/>
                    </a:lnTo>
                    <a:lnTo>
                      <a:pt x="14" y="29"/>
                    </a:lnTo>
                    <a:lnTo>
                      <a:pt x="11" y="27"/>
                    </a:lnTo>
                    <a:lnTo>
                      <a:pt x="4" y="20"/>
                    </a:lnTo>
                    <a:lnTo>
                      <a:pt x="0" y="12"/>
                    </a:lnTo>
                    <a:lnTo>
                      <a:pt x="1" y="9"/>
                    </a:lnTo>
                    <a:lnTo>
                      <a:pt x="3" y="6"/>
                    </a:lnTo>
                    <a:lnTo>
                      <a:pt x="5" y="4"/>
                    </a:lnTo>
                    <a:lnTo>
                      <a:pt x="8" y="3"/>
                    </a:lnTo>
                    <a:lnTo>
                      <a:pt x="16" y="1"/>
                    </a:lnTo>
                    <a:lnTo>
                      <a:pt x="24" y="0"/>
                    </a:lnTo>
                    <a:lnTo>
                      <a:pt x="34" y="0"/>
                    </a:lnTo>
                    <a:lnTo>
                      <a:pt x="42" y="2"/>
                    </a:lnTo>
                    <a:lnTo>
                      <a:pt x="51" y="4"/>
                    </a:lnTo>
                    <a:lnTo>
                      <a:pt x="59" y="6"/>
                    </a:lnTo>
                  </a:path>
                </a:pathLst>
              </a:custGeom>
              <a:solidFill>
                <a:srgbClr val="C0C0C0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37" name="Freeform 544">
                <a:extLst>
                  <a:ext uri="{FF2B5EF4-FFF2-40B4-BE49-F238E27FC236}">
                    <a16:creationId xmlns:a16="http://schemas.microsoft.com/office/drawing/2014/main" id="{0DDDD83F-1B72-41ED-8212-3757CE08C706}"/>
                  </a:ext>
                </a:extLst>
              </p:cNvPr>
              <p:cNvSpPr>
                <a:spLocks/>
              </p:cNvSpPr>
              <p:nvPr>
                <p:custDataLst>
                  <p:tags r:id="rId375"/>
                </p:custDataLst>
              </p:nvPr>
            </p:nvSpPr>
            <p:spPr bwMode="auto">
              <a:xfrm>
                <a:off x="5560726" y="3607016"/>
                <a:ext cx="209940" cy="305887"/>
              </a:xfrm>
              <a:custGeom>
                <a:avLst/>
                <a:gdLst>
                  <a:gd name="T0" fmla="*/ 38308523 w 399"/>
                  <a:gd name="T1" fmla="*/ 2196851 h 518"/>
                  <a:gd name="T2" fmla="*/ 38691911 w 399"/>
                  <a:gd name="T3" fmla="*/ 6041864 h 518"/>
                  <a:gd name="T4" fmla="*/ 39841197 w 399"/>
                  <a:gd name="T5" fmla="*/ 9886877 h 518"/>
                  <a:gd name="T6" fmla="*/ 40990483 w 399"/>
                  <a:gd name="T7" fmla="*/ 13457283 h 518"/>
                  <a:gd name="T8" fmla="*/ 42905669 w 399"/>
                  <a:gd name="T9" fmla="*/ 17302296 h 518"/>
                  <a:gd name="T10" fmla="*/ 45012548 w 399"/>
                  <a:gd name="T11" fmla="*/ 20597572 h 518"/>
                  <a:gd name="T12" fmla="*/ 47694508 w 399"/>
                  <a:gd name="T13" fmla="*/ 23618766 h 518"/>
                  <a:gd name="T14" fmla="*/ 50567286 w 399"/>
                  <a:gd name="T15" fmla="*/ 26090747 h 518"/>
                  <a:gd name="T16" fmla="*/ 60527476 w 399"/>
                  <a:gd name="T17" fmla="*/ 29111417 h 518"/>
                  <a:gd name="T18" fmla="*/ 69913460 w 399"/>
                  <a:gd name="T19" fmla="*/ 32681824 h 518"/>
                  <a:gd name="T20" fmla="*/ 72786676 w 399"/>
                  <a:gd name="T21" fmla="*/ 34878675 h 518"/>
                  <a:gd name="T22" fmla="*/ 75084811 w 399"/>
                  <a:gd name="T23" fmla="*/ 37625262 h 518"/>
                  <a:gd name="T24" fmla="*/ 76234097 w 399"/>
                  <a:gd name="T25" fmla="*/ 41470275 h 518"/>
                  <a:gd name="T26" fmla="*/ 76234097 w 399"/>
                  <a:gd name="T27" fmla="*/ 47786745 h 518"/>
                  <a:gd name="T28" fmla="*/ 74701862 w 399"/>
                  <a:gd name="T29" fmla="*/ 54927558 h 518"/>
                  <a:gd name="T30" fmla="*/ 70679359 w 399"/>
                  <a:gd name="T31" fmla="*/ 65638254 h 518"/>
                  <a:gd name="T32" fmla="*/ 65890958 w 399"/>
                  <a:gd name="T33" fmla="*/ 75799737 h 518"/>
                  <a:gd name="T34" fmla="*/ 62826049 w 399"/>
                  <a:gd name="T35" fmla="*/ 83215156 h 518"/>
                  <a:gd name="T36" fmla="*/ 60144526 w 399"/>
                  <a:gd name="T37" fmla="*/ 90630052 h 518"/>
                  <a:gd name="T38" fmla="*/ 58803984 w 399"/>
                  <a:gd name="T39" fmla="*/ 98869290 h 518"/>
                  <a:gd name="T40" fmla="*/ 56888361 w 399"/>
                  <a:gd name="T41" fmla="*/ 103538122 h 518"/>
                  <a:gd name="T42" fmla="*/ 51333623 w 399"/>
                  <a:gd name="T43" fmla="*/ 106284186 h 518"/>
                  <a:gd name="T44" fmla="*/ 47119865 w 399"/>
                  <a:gd name="T45" fmla="*/ 109579986 h 518"/>
                  <a:gd name="T46" fmla="*/ 45012548 w 399"/>
                  <a:gd name="T47" fmla="*/ 112051967 h 518"/>
                  <a:gd name="T48" fmla="*/ 43480312 w 399"/>
                  <a:gd name="T49" fmla="*/ 114523424 h 518"/>
                  <a:gd name="T50" fmla="*/ 42905669 w 399"/>
                  <a:gd name="T51" fmla="*/ 117270012 h 518"/>
                  <a:gd name="T52" fmla="*/ 40798790 w 399"/>
                  <a:gd name="T53" fmla="*/ 120290682 h 518"/>
                  <a:gd name="T54" fmla="*/ 36009951 w 399"/>
                  <a:gd name="T55" fmla="*/ 123586482 h 518"/>
                  <a:gd name="T56" fmla="*/ 33137173 w 399"/>
                  <a:gd name="T57" fmla="*/ 125234120 h 518"/>
                  <a:gd name="T58" fmla="*/ 31796193 w 399"/>
                  <a:gd name="T59" fmla="*/ 128255314 h 518"/>
                  <a:gd name="T60" fmla="*/ 30263957 w 399"/>
                  <a:gd name="T61" fmla="*/ 132100327 h 518"/>
                  <a:gd name="T62" fmla="*/ 27965384 w 399"/>
                  <a:gd name="T63" fmla="*/ 134571784 h 518"/>
                  <a:gd name="T64" fmla="*/ 25092168 w 399"/>
                  <a:gd name="T65" fmla="*/ 135670733 h 518"/>
                  <a:gd name="T66" fmla="*/ 19537430 w 399"/>
                  <a:gd name="T67" fmla="*/ 136769159 h 518"/>
                  <a:gd name="T68" fmla="*/ 13982692 w 399"/>
                  <a:gd name="T69" fmla="*/ 138416797 h 518"/>
                  <a:gd name="T70" fmla="*/ 10534833 w 399"/>
                  <a:gd name="T71" fmla="*/ 140614172 h 518"/>
                  <a:gd name="T72" fmla="*/ 8810904 w 399"/>
                  <a:gd name="T73" fmla="*/ 141163384 h 518"/>
                  <a:gd name="T74" fmla="*/ 8236260 w 399"/>
                  <a:gd name="T75" fmla="*/ 138966010 h 518"/>
                  <a:gd name="T76" fmla="*/ 7278668 w 399"/>
                  <a:gd name="T77" fmla="*/ 136494552 h 518"/>
                  <a:gd name="T78" fmla="*/ 6512331 w 399"/>
                  <a:gd name="T79" fmla="*/ 133747965 h 518"/>
                  <a:gd name="T80" fmla="*/ 6321075 w 399"/>
                  <a:gd name="T81" fmla="*/ 128529920 h 518"/>
                  <a:gd name="T82" fmla="*/ 5554738 w 399"/>
                  <a:gd name="T83" fmla="*/ 122213450 h 518"/>
                  <a:gd name="T84" fmla="*/ 3256165 w 399"/>
                  <a:gd name="T85" fmla="*/ 114798031 h 518"/>
                  <a:gd name="T86" fmla="*/ 0 w 399"/>
                  <a:gd name="T87" fmla="*/ 98320078 h 518"/>
                  <a:gd name="T88" fmla="*/ 37159237 w 399"/>
                  <a:gd name="T89" fmla="*/ 50807939 h 518"/>
                  <a:gd name="T90" fmla="*/ 38308523 w 399"/>
                  <a:gd name="T91" fmla="*/ 0 h 518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0" t="0" r="r" b="b"/>
                <a:pathLst>
                  <a:path w="399" h="518">
                    <a:moveTo>
                      <a:pt x="200" y="0"/>
                    </a:moveTo>
                    <a:lnTo>
                      <a:pt x="200" y="8"/>
                    </a:lnTo>
                    <a:lnTo>
                      <a:pt x="201" y="15"/>
                    </a:lnTo>
                    <a:lnTo>
                      <a:pt x="202" y="22"/>
                    </a:lnTo>
                    <a:lnTo>
                      <a:pt x="205" y="29"/>
                    </a:lnTo>
                    <a:lnTo>
                      <a:pt x="208" y="36"/>
                    </a:lnTo>
                    <a:lnTo>
                      <a:pt x="211" y="42"/>
                    </a:lnTo>
                    <a:lnTo>
                      <a:pt x="214" y="49"/>
                    </a:lnTo>
                    <a:lnTo>
                      <a:pt x="219" y="56"/>
                    </a:lnTo>
                    <a:lnTo>
                      <a:pt x="224" y="63"/>
                    </a:lnTo>
                    <a:lnTo>
                      <a:pt x="230" y="69"/>
                    </a:lnTo>
                    <a:lnTo>
                      <a:pt x="235" y="75"/>
                    </a:lnTo>
                    <a:lnTo>
                      <a:pt x="242" y="81"/>
                    </a:lnTo>
                    <a:lnTo>
                      <a:pt x="249" y="86"/>
                    </a:lnTo>
                    <a:lnTo>
                      <a:pt x="256" y="91"/>
                    </a:lnTo>
                    <a:lnTo>
                      <a:pt x="264" y="95"/>
                    </a:lnTo>
                    <a:lnTo>
                      <a:pt x="273" y="98"/>
                    </a:lnTo>
                    <a:lnTo>
                      <a:pt x="316" y="106"/>
                    </a:lnTo>
                    <a:lnTo>
                      <a:pt x="356" y="116"/>
                    </a:lnTo>
                    <a:lnTo>
                      <a:pt x="365" y="119"/>
                    </a:lnTo>
                    <a:lnTo>
                      <a:pt x="374" y="123"/>
                    </a:lnTo>
                    <a:lnTo>
                      <a:pt x="380" y="127"/>
                    </a:lnTo>
                    <a:lnTo>
                      <a:pt x="387" y="132"/>
                    </a:lnTo>
                    <a:lnTo>
                      <a:pt x="392" y="137"/>
                    </a:lnTo>
                    <a:lnTo>
                      <a:pt x="396" y="144"/>
                    </a:lnTo>
                    <a:lnTo>
                      <a:pt x="398" y="151"/>
                    </a:lnTo>
                    <a:lnTo>
                      <a:pt x="399" y="160"/>
                    </a:lnTo>
                    <a:lnTo>
                      <a:pt x="398" y="174"/>
                    </a:lnTo>
                    <a:lnTo>
                      <a:pt x="396" y="187"/>
                    </a:lnTo>
                    <a:lnTo>
                      <a:pt x="390" y="200"/>
                    </a:lnTo>
                    <a:lnTo>
                      <a:pt x="385" y="213"/>
                    </a:lnTo>
                    <a:lnTo>
                      <a:pt x="369" y="239"/>
                    </a:lnTo>
                    <a:lnTo>
                      <a:pt x="353" y="263"/>
                    </a:lnTo>
                    <a:lnTo>
                      <a:pt x="344" y="276"/>
                    </a:lnTo>
                    <a:lnTo>
                      <a:pt x="335" y="290"/>
                    </a:lnTo>
                    <a:lnTo>
                      <a:pt x="328" y="303"/>
                    </a:lnTo>
                    <a:lnTo>
                      <a:pt x="321" y="316"/>
                    </a:lnTo>
                    <a:lnTo>
                      <a:pt x="314" y="330"/>
                    </a:lnTo>
                    <a:lnTo>
                      <a:pt x="310" y="345"/>
                    </a:lnTo>
                    <a:lnTo>
                      <a:pt x="307" y="360"/>
                    </a:lnTo>
                    <a:lnTo>
                      <a:pt x="306" y="376"/>
                    </a:lnTo>
                    <a:lnTo>
                      <a:pt x="297" y="377"/>
                    </a:lnTo>
                    <a:lnTo>
                      <a:pt x="284" y="381"/>
                    </a:lnTo>
                    <a:lnTo>
                      <a:pt x="268" y="387"/>
                    </a:lnTo>
                    <a:lnTo>
                      <a:pt x="254" y="395"/>
                    </a:lnTo>
                    <a:lnTo>
                      <a:pt x="246" y="399"/>
                    </a:lnTo>
                    <a:lnTo>
                      <a:pt x="241" y="403"/>
                    </a:lnTo>
                    <a:lnTo>
                      <a:pt x="235" y="408"/>
                    </a:lnTo>
                    <a:lnTo>
                      <a:pt x="231" y="413"/>
                    </a:lnTo>
                    <a:lnTo>
                      <a:pt x="227" y="417"/>
                    </a:lnTo>
                    <a:lnTo>
                      <a:pt x="225" y="422"/>
                    </a:lnTo>
                    <a:lnTo>
                      <a:pt x="224" y="427"/>
                    </a:lnTo>
                    <a:lnTo>
                      <a:pt x="227" y="431"/>
                    </a:lnTo>
                    <a:lnTo>
                      <a:pt x="213" y="438"/>
                    </a:lnTo>
                    <a:lnTo>
                      <a:pt x="197" y="446"/>
                    </a:lnTo>
                    <a:lnTo>
                      <a:pt x="188" y="450"/>
                    </a:lnTo>
                    <a:lnTo>
                      <a:pt x="179" y="454"/>
                    </a:lnTo>
                    <a:lnTo>
                      <a:pt x="173" y="456"/>
                    </a:lnTo>
                    <a:lnTo>
                      <a:pt x="166" y="456"/>
                    </a:lnTo>
                    <a:lnTo>
                      <a:pt x="166" y="467"/>
                    </a:lnTo>
                    <a:lnTo>
                      <a:pt x="163" y="475"/>
                    </a:lnTo>
                    <a:lnTo>
                      <a:pt x="158" y="481"/>
                    </a:lnTo>
                    <a:lnTo>
                      <a:pt x="153" y="486"/>
                    </a:lnTo>
                    <a:lnTo>
                      <a:pt x="146" y="490"/>
                    </a:lnTo>
                    <a:lnTo>
                      <a:pt x="139" y="493"/>
                    </a:lnTo>
                    <a:lnTo>
                      <a:pt x="131" y="494"/>
                    </a:lnTo>
                    <a:lnTo>
                      <a:pt x="122" y="496"/>
                    </a:lnTo>
                    <a:lnTo>
                      <a:pt x="102" y="498"/>
                    </a:lnTo>
                    <a:lnTo>
                      <a:pt x="83" y="501"/>
                    </a:lnTo>
                    <a:lnTo>
                      <a:pt x="73" y="504"/>
                    </a:lnTo>
                    <a:lnTo>
                      <a:pt x="64" y="507"/>
                    </a:lnTo>
                    <a:lnTo>
                      <a:pt x="55" y="512"/>
                    </a:lnTo>
                    <a:lnTo>
                      <a:pt x="46" y="518"/>
                    </a:lnTo>
                    <a:lnTo>
                      <a:pt x="46" y="514"/>
                    </a:lnTo>
                    <a:lnTo>
                      <a:pt x="45" y="510"/>
                    </a:lnTo>
                    <a:lnTo>
                      <a:pt x="43" y="506"/>
                    </a:lnTo>
                    <a:lnTo>
                      <a:pt x="40" y="501"/>
                    </a:lnTo>
                    <a:lnTo>
                      <a:pt x="38" y="497"/>
                    </a:lnTo>
                    <a:lnTo>
                      <a:pt x="36" y="492"/>
                    </a:lnTo>
                    <a:lnTo>
                      <a:pt x="34" y="487"/>
                    </a:lnTo>
                    <a:lnTo>
                      <a:pt x="33" y="481"/>
                    </a:lnTo>
                    <a:lnTo>
                      <a:pt x="33" y="468"/>
                    </a:lnTo>
                    <a:lnTo>
                      <a:pt x="31" y="456"/>
                    </a:lnTo>
                    <a:lnTo>
                      <a:pt x="29" y="445"/>
                    </a:lnTo>
                    <a:lnTo>
                      <a:pt x="26" y="436"/>
                    </a:lnTo>
                    <a:lnTo>
                      <a:pt x="17" y="418"/>
                    </a:lnTo>
                    <a:lnTo>
                      <a:pt x="7" y="401"/>
                    </a:lnTo>
                    <a:lnTo>
                      <a:pt x="0" y="358"/>
                    </a:lnTo>
                    <a:lnTo>
                      <a:pt x="113" y="332"/>
                    </a:lnTo>
                    <a:lnTo>
                      <a:pt x="194" y="185"/>
                    </a:lnTo>
                    <a:lnTo>
                      <a:pt x="166" y="136"/>
                    </a:lnTo>
                    <a:lnTo>
                      <a:pt x="200" y="0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38" name="Freeform 545">
                <a:extLst>
                  <a:ext uri="{FF2B5EF4-FFF2-40B4-BE49-F238E27FC236}">
                    <a16:creationId xmlns:a16="http://schemas.microsoft.com/office/drawing/2014/main" id="{6885EF06-951C-43F5-A9F3-4D517010D420}"/>
                  </a:ext>
                </a:extLst>
              </p:cNvPr>
              <p:cNvSpPr>
                <a:spLocks/>
              </p:cNvSpPr>
              <p:nvPr>
                <p:custDataLst>
                  <p:tags r:id="rId376"/>
                </p:custDataLst>
              </p:nvPr>
            </p:nvSpPr>
            <p:spPr bwMode="auto">
              <a:xfrm>
                <a:off x="4024183" y="3668546"/>
                <a:ext cx="454267" cy="432461"/>
              </a:xfrm>
              <a:custGeom>
                <a:avLst/>
                <a:gdLst>
                  <a:gd name="T0" fmla="*/ 43601466 w 866"/>
                  <a:gd name="T1" fmla="*/ 73373496 h 740"/>
                  <a:gd name="T2" fmla="*/ 46243821 w 866"/>
                  <a:gd name="T3" fmla="*/ 71742870 h 740"/>
                  <a:gd name="T4" fmla="*/ 51340412 w 866"/>
                  <a:gd name="T5" fmla="*/ 73917212 h 740"/>
                  <a:gd name="T6" fmla="*/ 123443427 w 866"/>
                  <a:gd name="T7" fmla="*/ 271597 h 740"/>
                  <a:gd name="T8" fmla="*/ 128162043 w 866"/>
                  <a:gd name="T9" fmla="*/ 1630626 h 740"/>
                  <a:gd name="T10" fmla="*/ 134201835 w 866"/>
                  <a:gd name="T11" fmla="*/ 5706671 h 740"/>
                  <a:gd name="T12" fmla="*/ 137788261 w 866"/>
                  <a:gd name="T13" fmla="*/ 9511640 h 740"/>
                  <a:gd name="T14" fmla="*/ 143450947 w 866"/>
                  <a:gd name="T15" fmla="*/ 15489908 h 740"/>
                  <a:gd name="T16" fmla="*/ 149302187 w 866"/>
                  <a:gd name="T17" fmla="*/ 16033624 h 740"/>
                  <a:gd name="T18" fmla="*/ 156852145 w 866"/>
                  <a:gd name="T19" fmla="*/ 11685461 h 740"/>
                  <a:gd name="T20" fmla="*/ 161193654 w 866"/>
                  <a:gd name="T21" fmla="*/ 45111217 h 740"/>
                  <a:gd name="T22" fmla="*/ 163458467 w 866"/>
                  <a:gd name="T23" fmla="*/ 55709246 h 740"/>
                  <a:gd name="T24" fmla="*/ 160438571 w 866"/>
                  <a:gd name="T25" fmla="*/ 81797704 h 740"/>
                  <a:gd name="T26" fmla="*/ 160061029 w 866"/>
                  <a:gd name="T27" fmla="*/ 102179492 h 740"/>
                  <a:gd name="T28" fmla="*/ 157418240 w 866"/>
                  <a:gd name="T29" fmla="*/ 114408147 h 740"/>
                  <a:gd name="T30" fmla="*/ 151378447 w 866"/>
                  <a:gd name="T31" fmla="*/ 126908921 h 740"/>
                  <a:gd name="T32" fmla="*/ 146659832 w 866"/>
                  <a:gd name="T33" fmla="*/ 135605248 h 740"/>
                  <a:gd name="T34" fmla="*/ 143073406 w 866"/>
                  <a:gd name="T35" fmla="*/ 154084290 h 740"/>
                  <a:gd name="T36" fmla="*/ 134201835 w 866"/>
                  <a:gd name="T37" fmla="*/ 170933227 h 740"/>
                  <a:gd name="T38" fmla="*/ 128350596 w 866"/>
                  <a:gd name="T39" fmla="*/ 175552988 h 740"/>
                  <a:gd name="T40" fmla="*/ 121555720 w 866"/>
                  <a:gd name="T41" fmla="*/ 173378646 h 740"/>
                  <a:gd name="T42" fmla="*/ 115326939 w 866"/>
                  <a:gd name="T43" fmla="*/ 169846317 h 740"/>
                  <a:gd name="T44" fmla="*/ 106833345 w 866"/>
                  <a:gd name="T45" fmla="*/ 172020138 h 740"/>
                  <a:gd name="T46" fmla="*/ 100038035 w 866"/>
                  <a:gd name="T47" fmla="*/ 179085838 h 740"/>
                  <a:gd name="T48" fmla="*/ 96451609 w 866"/>
                  <a:gd name="T49" fmla="*/ 184792509 h 740"/>
                  <a:gd name="T50" fmla="*/ 92676630 w 866"/>
                  <a:gd name="T51" fmla="*/ 185879420 h 740"/>
                  <a:gd name="T52" fmla="*/ 88713097 w 866"/>
                  <a:gd name="T53" fmla="*/ 181531256 h 740"/>
                  <a:gd name="T54" fmla="*/ 84183035 w 866"/>
                  <a:gd name="T55" fmla="*/ 173650764 h 740"/>
                  <a:gd name="T56" fmla="*/ 79464420 w 866"/>
                  <a:gd name="T57" fmla="*/ 172563854 h 740"/>
                  <a:gd name="T58" fmla="*/ 76444089 w 866"/>
                  <a:gd name="T59" fmla="*/ 175824585 h 740"/>
                  <a:gd name="T60" fmla="*/ 72480556 w 866"/>
                  <a:gd name="T61" fmla="*/ 177183614 h 740"/>
                  <a:gd name="T62" fmla="*/ 66062788 w 866"/>
                  <a:gd name="T63" fmla="*/ 173378646 h 740"/>
                  <a:gd name="T64" fmla="*/ 57757746 w 866"/>
                  <a:gd name="T65" fmla="*/ 165226035 h 740"/>
                  <a:gd name="T66" fmla="*/ 51151424 w 866"/>
                  <a:gd name="T67" fmla="*/ 164139125 h 740"/>
                  <a:gd name="T68" fmla="*/ 44734090 w 866"/>
                  <a:gd name="T69" fmla="*/ 168487288 h 740"/>
                  <a:gd name="T70" fmla="*/ 39448945 w 866"/>
                  <a:gd name="T71" fmla="*/ 177455212 h 740"/>
                  <a:gd name="T72" fmla="*/ 35862520 w 866"/>
                  <a:gd name="T73" fmla="*/ 188053762 h 740"/>
                  <a:gd name="T74" fmla="*/ 33597706 w 866"/>
                  <a:gd name="T75" fmla="*/ 195391059 h 740"/>
                  <a:gd name="T76" fmla="*/ 28124008 w 866"/>
                  <a:gd name="T77" fmla="*/ 190771299 h 740"/>
                  <a:gd name="T78" fmla="*/ 18874896 w 866"/>
                  <a:gd name="T79" fmla="*/ 201097731 h 740"/>
                  <a:gd name="T80" fmla="*/ 12457562 w 866"/>
                  <a:gd name="T81" fmla="*/ 189955986 h 740"/>
                  <a:gd name="T82" fmla="*/ 12080020 w 866"/>
                  <a:gd name="T83" fmla="*/ 175009272 h 740"/>
                  <a:gd name="T84" fmla="*/ 9437665 w 866"/>
                  <a:gd name="T85" fmla="*/ 166585064 h 740"/>
                  <a:gd name="T86" fmla="*/ 3774979 w 866"/>
                  <a:gd name="T87" fmla="*/ 159519364 h 740"/>
                  <a:gd name="T88" fmla="*/ 943636 w 866"/>
                  <a:gd name="T89" fmla="*/ 151638351 h 740"/>
                  <a:gd name="T90" fmla="*/ 10003760 w 866"/>
                  <a:gd name="T91" fmla="*/ 144029456 h 740"/>
                  <a:gd name="T92" fmla="*/ 14345269 w 866"/>
                  <a:gd name="T93" fmla="*/ 140768203 h 740"/>
                  <a:gd name="T94" fmla="*/ 26236301 w 866"/>
                  <a:gd name="T95" fmla="*/ 138594382 h 740"/>
                  <a:gd name="T96" fmla="*/ 34352789 w 866"/>
                  <a:gd name="T97" fmla="*/ 135876845 h 740"/>
                  <a:gd name="T98" fmla="*/ 37938780 w 866"/>
                  <a:gd name="T99" fmla="*/ 129082742 h 740"/>
                  <a:gd name="T100" fmla="*/ 41336652 w 866"/>
                  <a:gd name="T101" fmla="*/ 115223460 h 740"/>
                  <a:gd name="T102" fmla="*/ 42280288 w 866"/>
                  <a:gd name="T103" fmla="*/ 99733552 h 740"/>
                  <a:gd name="T104" fmla="*/ 41336652 w 866"/>
                  <a:gd name="T105" fmla="*/ 86961181 h 740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866" h="740">
                    <a:moveTo>
                      <a:pt x="219" y="283"/>
                    </a:moveTo>
                    <a:lnTo>
                      <a:pt x="223" y="278"/>
                    </a:lnTo>
                    <a:lnTo>
                      <a:pt x="227" y="273"/>
                    </a:lnTo>
                    <a:lnTo>
                      <a:pt x="231" y="270"/>
                    </a:lnTo>
                    <a:lnTo>
                      <a:pt x="234" y="267"/>
                    </a:lnTo>
                    <a:lnTo>
                      <a:pt x="238" y="266"/>
                    </a:lnTo>
                    <a:lnTo>
                      <a:pt x="242" y="264"/>
                    </a:lnTo>
                    <a:lnTo>
                      <a:pt x="245" y="264"/>
                    </a:lnTo>
                    <a:lnTo>
                      <a:pt x="250" y="264"/>
                    </a:lnTo>
                    <a:lnTo>
                      <a:pt x="256" y="265"/>
                    </a:lnTo>
                    <a:lnTo>
                      <a:pt x="264" y="268"/>
                    </a:lnTo>
                    <a:lnTo>
                      <a:pt x="272" y="272"/>
                    </a:lnTo>
                    <a:lnTo>
                      <a:pt x="279" y="277"/>
                    </a:lnTo>
                    <a:lnTo>
                      <a:pt x="645" y="6"/>
                    </a:lnTo>
                    <a:lnTo>
                      <a:pt x="649" y="3"/>
                    </a:lnTo>
                    <a:lnTo>
                      <a:pt x="654" y="1"/>
                    </a:lnTo>
                    <a:lnTo>
                      <a:pt x="658" y="0"/>
                    </a:lnTo>
                    <a:lnTo>
                      <a:pt x="663" y="0"/>
                    </a:lnTo>
                    <a:lnTo>
                      <a:pt x="671" y="2"/>
                    </a:lnTo>
                    <a:lnTo>
                      <a:pt x="679" y="6"/>
                    </a:lnTo>
                    <a:lnTo>
                      <a:pt x="689" y="11"/>
                    </a:lnTo>
                    <a:lnTo>
                      <a:pt x="699" y="17"/>
                    </a:lnTo>
                    <a:lnTo>
                      <a:pt x="704" y="19"/>
                    </a:lnTo>
                    <a:lnTo>
                      <a:pt x="711" y="21"/>
                    </a:lnTo>
                    <a:lnTo>
                      <a:pt x="717" y="23"/>
                    </a:lnTo>
                    <a:lnTo>
                      <a:pt x="724" y="25"/>
                    </a:lnTo>
                    <a:lnTo>
                      <a:pt x="726" y="30"/>
                    </a:lnTo>
                    <a:lnTo>
                      <a:pt x="730" y="35"/>
                    </a:lnTo>
                    <a:lnTo>
                      <a:pt x="736" y="42"/>
                    </a:lnTo>
                    <a:lnTo>
                      <a:pt x="744" y="47"/>
                    </a:lnTo>
                    <a:lnTo>
                      <a:pt x="752" y="53"/>
                    </a:lnTo>
                    <a:lnTo>
                      <a:pt x="760" y="57"/>
                    </a:lnTo>
                    <a:lnTo>
                      <a:pt x="769" y="60"/>
                    </a:lnTo>
                    <a:lnTo>
                      <a:pt x="778" y="61"/>
                    </a:lnTo>
                    <a:lnTo>
                      <a:pt x="784" y="60"/>
                    </a:lnTo>
                    <a:lnTo>
                      <a:pt x="791" y="59"/>
                    </a:lnTo>
                    <a:lnTo>
                      <a:pt x="798" y="57"/>
                    </a:lnTo>
                    <a:lnTo>
                      <a:pt x="804" y="54"/>
                    </a:lnTo>
                    <a:lnTo>
                      <a:pt x="816" y="48"/>
                    </a:lnTo>
                    <a:lnTo>
                      <a:pt x="831" y="43"/>
                    </a:lnTo>
                    <a:lnTo>
                      <a:pt x="824" y="122"/>
                    </a:lnTo>
                    <a:lnTo>
                      <a:pt x="836" y="140"/>
                    </a:lnTo>
                    <a:lnTo>
                      <a:pt x="846" y="154"/>
                    </a:lnTo>
                    <a:lnTo>
                      <a:pt x="854" y="166"/>
                    </a:lnTo>
                    <a:lnTo>
                      <a:pt x="859" y="177"/>
                    </a:lnTo>
                    <a:lnTo>
                      <a:pt x="862" y="188"/>
                    </a:lnTo>
                    <a:lnTo>
                      <a:pt x="865" y="197"/>
                    </a:lnTo>
                    <a:lnTo>
                      <a:pt x="866" y="205"/>
                    </a:lnTo>
                    <a:lnTo>
                      <a:pt x="865" y="211"/>
                    </a:lnTo>
                    <a:lnTo>
                      <a:pt x="857" y="234"/>
                    </a:lnTo>
                    <a:lnTo>
                      <a:pt x="850" y="259"/>
                    </a:lnTo>
                    <a:lnTo>
                      <a:pt x="850" y="301"/>
                    </a:lnTo>
                    <a:lnTo>
                      <a:pt x="850" y="334"/>
                    </a:lnTo>
                    <a:lnTo>
                      <a:pt x="850" y="350"/>
                    </a:lnTo>
                    <a:lnTo>
                      <a:pt x="849" y="364"/>
                    </a:lnTo>
                    <a:lnTo>
                      <a:pt x="848" y="376"/>
                    </a:lnTo>
                    <a:lnTo>
                      <a:pt x="846" y="388"/>
                    </a:lnTo>
                    <a:lnTo>
                      <a:pt x="843" y="399"/>
                    </a:lnTo>
                    <a:lnTo>
                      <a:pt x="839" y="411"/>
                    </a:lnTo>
                    <a:lnTo>
                      <a:pt x="834" y="421"/>
                    </a:lnTo>
                    <a:lnTo>
                      <a:pt x="828" y="432"/>
                    </a:lnTo>
                    <a:lnTo>
                      <a:pt x="821" y="443"/>
                    </a:lnTo>
                    <a:lnTo>
                      <a:pt x="813" y="454"/>
                    </a:lnTo>
                    <a:lnTo>
                      <a:pt x="802" y="467"/>
                    </a:lnTo>
                    <a:lnTo>
                      <a:pt x="791" y="480"/>
                    </a:lnTo>
                    <a:lnTo>
                      <a:pt x="786" y="486"/>
                    </a:lnTo>
                    <a:lnTo>
                      <a:pt x="781" y="493"/>
                    </a:lnTo>
                    <a:lnTo>
                      <a:pt x="777" y="499"/>
                    </a:lnTo>
                    <a:lnTo>
                      <a:pt x="773" y="506"/>
                    </a:lnTo>
                    <a:lnTo>
                      <a:pt x="768" y="522"/>
                    </a:lnTo>
                    <a:lnTo>
                      <a:pt x="764" y="537"/>
                    </a:lnTo>
                    <a:lnTo>
                      <a:pt x="758" y="567"/>
                    </a:lnTo>
                    <a:lnTo>
                      <a:pt x="755" y="593"/>
                    </a:lnTo>
                    <a:lnTo>
                      <a:pt x="731" y="585"/>
                    </a:lnTo>
                    <a:lnTo>
                      <a:pt x="698" y="591"/>
                    </a:lnTo>
                    <a:lnTo>
                      <a:pt x="711" y="629"/>
                    </a:lnTo>
                    <a:lnTo>
                      <a:pt x="719" y="636"/>
                    </a:lnTo>
                    <a:lnTo>
                      <a:pt x="704" y="641"/>
                    </a:lnTo>
                    <a:lnTo>
                      <a:pt x="692" y="645"/>
                    </a:lnTo>
                    <a:lnTo>
                      <a:pt x="680" y="646"/>
                    </a:lnTo>
                    <a:lnTo>
                      <a:pt x="670" y="646"/>
                    </a:lnTo>
                    <a:lnTo>
                      <a:pt x="661" y="644"/>
                    </a:lnTo>
                    <a:lnTo>
                      <a:pt x="653" y="641"/>
                    </a:lnTo>
                    <a:lnTo>
                      <a:pt x="644" y="638"/>
                    </a:lnTo>
                    <a:lnTo>
                      <a:pt x="636" y="634"/>
                    </a:lnTo>
                    <a:lnTo>
                      <a:pt x="629" y="631"/>
                    </a:lnTo>
                    <a:lnTo>
                      <a:pt x="620" y="628"/>
                    </a:lnTo>
                    <a:lnTo>
                      <a:pt x="611" y="625"/>
                    </a:lnTo>
                    <a:lnTo>
                      <a:pt x="601" y="624"/>
                    </a:lnTo>
                    <a:lnTo>
                      <a:pt x="591" y="625"/>
                    </a:lnTo>
                    <a:lnTo>
                      <a:pt x="579" y="628"/>
                    </a:lnTo>
                    <a:lnTo>
                      <a:pt x="566" y="633"/>
                    </a:lnTo>
                    <a:lnTo>
                      <a:pt x="552" y="641"/>
                    </a:lnTo>
                    <a:lnTo>
                      <a:pt x="543" y="646"/>
                    </a:lnTo>
                    <a:lnTo>
                      <a:pt x="536" y="652"/>
                    </a:lnTo>
                    <a:lnTo>
                      <a:pt x="530" y="659"/>
                    </a:lnTo>
                    <a:lnTo>
                      <a:pt x="525" y="666"/>
                    </a:lnTo>
                    <a:lnTo>
                      <a:pt x="520" y="673"/>
                    </a:lnTo>
                    <a:lnTo>
                      <a:pt x="514" y="678"/>
                    </a:lnTo>
                    <a:lnTo>
                      <a:pt x="511" y="680"/>
                    </a:lnTo>
                    <a:lnTo>
                      <a:pt x="508" y="683"/>
                    </a:lnTo>
                    <a:lnTo>
                      <a:pt x="503" y="684"/>
                    </a:lnTo>
                    <a:lnTo>
                      <a:pt x="499" y="684"/>
                    </a:lnTo>
                    <a:lnTo>
                      <a:pt x="491" y="684"/>
                    </a:lnTo>
                    <a:lnTo>
                      <a:pt x="486" y="682"/>
                    </a:lnTo>
                    <a:lnTo>
                      <a:pt x="481" y="679"/>
                    </a:lnTo>
                    <a:lnTo>
                      <a:pt x="477" y="676"/>
                    </a:lnTo>
                    <a:lnTo>
                      <a:pt x="470" y="668"/>
                    </a:lnTo>
                    <a:lnTo>
                      <a:pt x="465" y="659"/>
                    </a:lnTo>
                    <a:lnTo>
                      <a:pt x="458" y="650"/>
                    </a:lnTo>
                    <a:lnTo>
                      <a:pt x="451" y="642"/>
                    </a:lnTo>
                    <a:lnTo>
                      <a:pt x="446" y="639"/>
                    </a:lnTo>
                    <a:lnTo>
                      <a:pt x="441" y="637"/>
                    </a:lnTo>
                    <a:lnTo>
                      <a:pt x="433" y="635"/>
                    </a:lnTo>
                    <a:lnTo>
                      <a:pt x="425" y="635"/>
                    </a:lnTo>
                    <a:lnTo>
                      <a:pt x="421" y="635"/>
                    </a:lnTo>
                    <a:lnTo>
                      <a:pt x="417" y="638"/>
                    </a:lnTo>
                    <a:lnTo>
                      <a:pt x="412" y="640"/>
                    </a:lnTo>
                    <a:lnTo>
                      <a:pt x="409" y="644"/>
                    </a:lnTo>
                    <a:lnTo>
                      <a:pt x="405" y="647"/>
                    </a:lnTo>
                    <a:lnTo>
                      <a:pt x="401" y="650"/>
                    </a:lnTo>
                    <a:lnTo>
                      <a:pt x="397" y="652"/>
                    </a:lnTo>
                    <a:lnTo>
                      <a:pt x="392" y="653"/>
                    </a:lnTo>
                    <a:lnTo>
                      <a:pt x="384" y="652"/>
                    </a:lnTo>
                    <a:lnTo>
                      <a:pt x="376" y="651"/>
                    </a:lnTo>
                    <a:lnTo>
                      <a:pt x="369" y="648"/>
                    </a:lnTo>
                    <a:lnTo>
                      <a:pt x="363" y="645"/>
                    </a:lnTo>
                    <a:lnTo>
                      <a:pt x="350" y="638"/>
                    </a:lnTo>
                    <a:lnTo>
                      <a:pt x="339" y="629"/>
                    </a:lnTo>
                    <a:lnTo>
                      <a:pt x="327" y="619"/>
                    </a:lnTo>
                    <a:lnTo>
                      <a:pt x="312" y="611"/>
                    </a:lnTo>
                    <a:lnTo>
                      <a:pt x="306" y="608"/>
                    </a:lnTo>
                    <a:lnTo>
                      <a:pt x="297" y="606"/>
                    </a:lnTo>
                    <a:lnTo>
                      <a:pt x="289" y="604"/>
                    </a:lnTo>
                    <a:lnTo>
                      <a:pt x="279" y="603"/>
                    </a:lnTo>
                    <a:lnTo>
                      <a:pt x="271" y="604"/>
                    </a:lnTo>
                    <a:lnTo>
                      <a:pt x="262" y="606"/>
                    </a:lnTo>
                    <a:lnTo>
                      <a:pt x="253" y="610"/>
                    </a:lnTo>
                    <a:lnTo>
                      <a:pt x="245" y="615"/>
                    </a:lnTo>
                    <a:lnTo>
                      <a:pt x="237" y="620"/>
                    </a:lnTo>
                    <a:lnTo>
                      <a:pt x="229" y="628"/>
                    </a:lnTo>
                    <a:lnTo>
                      <a:pt x="222" y="636"/>
                    </a:lnTo>
                    <a:lnTo>
                      <a:pt x="216" y="644"/>
                    </a:lnTo>
                    <a:lnTo>
                      <a:pt x="209" y="653"/>
                    </a:lnTo>
                    <a:lnTo>
                      <a:pt x="204" y="662"/>
                    </a:lnTo>
                    <a:lnTo>
                      <a:pt x="198" y="671"/>
                    </a:lnTo>
                    <a:lnTo>
                      <a:pt x="194" y="682"/>
                    </a:lnTo>
                    <a:lnTo>
                      <a:pt x="190" y="692"/>
                    </a:lnTo>
                    <a:lnTo>
                      <a:pt x="188" y="702"/>
                    </a:lnTo>
                    <a:lnTo>
                      <a:pt x="187" y="711"/>
                    </a:lnTo>
                    <a:lnTo>
                      <a:pt x="186" y="720"/>
                    </a:lnTo>
                    <a:lnTo>
                      <a:pt x="178" y="719"/>
                    </a:lnTo>
                    <a:lnTo>
                      <a:pt x="172" y="717"/>
                    </a:lnTo>
                    <a:lnTo>
                      <a:pt x="164" y="712"/>
                    </a:lnTo>
                    <a:lnTo>
                      <a:pt x="156" y="708"/>
                    </a:lnTo>
                    <a:lnTo>
                      <a:pt x="149" y="702"/>
                    </a:lnTo>
                    <a:lnTo>
                      <a:pt x="141" y="697"/>
                    </a:lnTo>
                    <a:lnTo>
                      <a:pt x="134" y="693"/>
                    </a:lnTo>
                    <a:lnTo>
                      <a:pt x="127" y="690"/>
                    </a:lnTo>
                    <a:lnTo>
                      <a:pt x="100" y="740"/>
                    </a:lnTo>
                    <a:lnTo>
                      <a:pt x="73" y="740"/>
                    </a:lnTo>
                    <a:lnTo>
                      <a:pt x="70" y="725"/>
                    </a:lnTo>
                    <a:lnTo>
                      <a:pt x="67" y="712"/>
                    </a:lnTo>
                    <a:lnTo>
                      <a:pt x="66" y="699"/>
                    </a:lnTo>
                    <a:lnTo>
                      <a:pt x="66" y="686"/>
                    </a:lnTo>
                    <a:lnTo>
                      <a:pt x="66" y="672"/>
                    </a:lnTo>
                    <a:lnTo>
                      <a:pt x="66" y="658"/>
                    </a:lnTo>
                    <a:lnTo>
                      <a:pt x="64" y="644"/>
                    </a:lnTo>
                    <a:lnTo>
                      <a:pt x="60" y="629"/>
                    </a:lnTo>
                    <a:lnTo>
                      <a:pt x="58" y="622"/>
                    </a:lnTo>
                    <a:lnTo>
                      <a:pt x="53" y="618"/>
                    </a:lnTo>
                    <a:lnTo>
                      <a:pt x="50" y="613"/>
                    </a:lnTo>
                    <a:lnTo>
                      <a:pt x="46" y="609"/>
                    </a:lnTo>
                    <a:lnTo>
                      <a:pt x="36" y="601"/>
                    </a:lnTo>
                    <a:lnTo>
                      <a:pt x="25" y="592"/>
                    </a:lnTo>
                    <a:lnTo>
                      <a:pt x="20" y="587"/>
                    </a:lnTo>
                    <a:lnTo>
                      <a:pt x="16" y="581"/>
                    </a:lnTo>
                    <a:lnTo>
                      <a:pt x="11" y="575"/>
                    </a:lnTo>
                    <a:lnTo>
                      <a:pt x="8" y="566"/>
                    </a:lnTo>
                    <a:lnTo>
                      <a:pt x="5" y="558"/>
                    </a:lnTo>
                    <a:lnTo>
                      <a:pt x="3" y="548"/>
                    </a:lnTo>
                    <a:lnTo>
                      <a:pt x="0" y="537"/>
                    </a:lnTo>
                    <a:lnTo>
                      <a:pt x="0" y="524"/>
                    </a:lnTo>
                    <a:lnTo>
                      <a:pt x="53" y="530"/>
                    </a:lnTo>
                    <a:lnTo>
                      <a:pt x="59" y="526"/>
                    </a:lnTo>
                    <a:lnTo>
                      <a:pt x="64" y="522"/>
                    </a:lnTo>
                    <a:lnTo>
                      <a:pt x="71" y="520"/>
                    </a:lnTo>
                    <a:lnTo>
                      <a:pt x="76" y="518"/>
                    </a:lnTo>
                    <a:lnTo>
                      <a:pt x="91" y="514"/>
                    </a:lnTo>
                    <a:lnTo>
                      <a:pt x="106" y="512"/>
                    </a:lnTo>
                    <a:lnTo>
                      <a:pt x="121" y="511"/>
                    </a:lnTo>
                    <a:lnTo>
                      <a:pt x="139" y="510"/>
                    </a:lnTo>
                    <a:lnTo>
                      <a:pt x="155" y="508"/>
                    </a:lnTo>
                    <a:lnTo>
                      <a:pt x="173" y="505"/>
                    </a:lnTo>
                    <a:lnTo>
                      <a:pt x="177" y="503"/>
                    </a:lnTo>
                    <a:lnTo>
                      <a:pt x="182" y="500"/>
                    </a:lnTo>
                    <a:lnTo>
                      <a:pt x="185" y="497"/>
                    </a:lnTo>
                    <a:lnTo>
                      <a:pt x="189" y="494"/>
                    </a:lnTo>
                    <a:lnTo>
                      <a:pt x="196" y="485"/>
                    </a:lnTo>
                    <a:lnTo>
                      <a:pt x="201" y="475"/>
                    </a:lnTo>
                    <a:lnTo>
                      <a:pt x="207" y="464"/>
                    </a:lnTo>
                    <a:lnTo>
                      <a:pt x="211" y="451"/>
                    </a:lnTo>
                    <a:lnTo>
                      <a:pt x="216" y="438"/>
                    </a:lnTo>
                    <a:lnTo>
                      <a:pt x="219" y="424"/>
                    </a:lnTo>
                    <a:lnTo>
                      <a:pt x="221" y="410"/>
                    </a:lnTo>
                    <a:lnTo>
                      <a:pt x="223" y="395"/>
                    </a:lnTo>
                    <a:lnTo>
                      <a:pt x="224" y="381"/>
                    </a:lnTo>
                    <a:lnTo>
                      <a:pt x="224" y="367"/>
                    </a:lnTo>
                    <a:lnTo>
                      <a:pt x="224" y="354"/>
                    </a:lnTo>
                    <a:lnTo>
                      <a:pt x="223" y="341"/>
                    </a:lnTo>
                    <a:lnTo>
                      <a:pt x="221" y="330"/>
                    </a:lnTo>
                    <a:lnTo>
                      <a:pt x="219" y="320"/>
                    </a:lnTo>
                    <a:lnTo>
                      <a:pt x="219" y="283"/>
                    </a:lnTo>
                  </a:path>
                </a:pathLst>
              </a:custGeom>
              <a:solidFill>
                <a:srgbClr val="0872A6"/>
              </a:solidFill>
              <a:ln w="9525" cmpd="sng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39" name="Freeform 546">
                <a:extLst>
                  <a:ext uri="{FF2B5EF4-FFF2-40B4-BE49-F238E27FC236}">
                    <a16:creationId xmlns:a16="http://schemas.microsoft.com/office/drawing/2014/main" id="{D9857D15-0A1A-474B-819C-3AFDCD72D19F}"/>
                  </a:ext>
                </a:extLst>
              </p:cNvPr>
              <p:cNvSpPr>
                <a:spLocks/>
              </p:cNvSpPr>
              <p:nvPr>
                <p:custDataLst>
                  <p:tags r:id="rId377"/>
                </p:custDataLst>
              </p:nvPr>
            </p:nvSpPr>
            <p:spPr bwMode="auto">
              <a:xfrm>
                <a:off x="3626022" y="3237842"/>
                <a:ext cx="361965" cy="291823"/>
              </a:xfrm>
              <a:custGeom>
                <a:avLst/>
                <a:gdLst>
                  <a:gd name="T0" fmla="*/ 120077618 w 697"/>
                  <a:gd name="T1" fmla="*/ 14369758 h 500"/>
                  <a:gd name="T2" fmla="*/ 121745261 w 697"/>
                  <a:gd name="T3" fmla="*/ 43651843 h 500"/>
                  <a:gd name="T4" fmla="*/ 122486532 w 697"/>
                  <a:gd name="T5" fmla="*/ 45278510 h 500"/>
                  <a:gd name="T6" fmla="*/ 125451613 w 697"/>
                  <a:gd name="T7" fmla="*/ 47989795 h 500"/>
                  <a:gd name="T8" fmla="*/ 128601797 w 697"/>
                  <a:gd name="T9" fmla="*/ 51243128 h 500"/>
                  <a:gd name="T10" fmla="*/ 129157534 w 697"/>
                  <a:gd name="T11" fmla="*/ 53683649 h 500"/>
                  <a:gd name="T12" fmla="*/ 128601797 w 697"/>
                  <a:gd name="T13" fmla="*/ 57208268 h 500"/>
                  <a:gd name="T14" fmla="*/ 126933723 w 697"/>
                  <a:gd name="T15" fmla="*/ 58834934 h 500"/>
                  <a:gd name="T16" fmla="*/ 121374626 w 697"/>
                  <a:gd name="T17" fmla="*/ 59106219 h 500"/>
                  <a:gd name="T18" fmla="*/ 112109608 w 697"/>
                  <a:gd name="T19" fmla="*/ 61817504 h 500"/>
                  <a:gd name="T20" fmla="*/ 105067970 w 697"/>
                  <a:gd name="T21" fmla="*/ 67782123 h 500"/>
                  <a:gd name="T22" fmla="*/ 101732253 w 697"/>
                  <a:gd name="T23" fmla="*/ 72391359 h 500"/>
                  <a:gd name="T24" fmla="*/ 99879508 w 697"/>
                  <a:gd name="T25" fmla="*/ 78085213 h 500"/>
                  <a:gd name="T26" fmla="*/ 96543791 w 697"/>
                  <a:gd name="T27" fmla="*/ 81880596 h 500"/>
                  <a:gd name="T28" fmla="*/ 90984694 w 697"/>
                  <a:gd name="T29" fmla="*/ 87845735 h 500"/>
                  <a:gd name="T30" fmla="*/ 84313691 w 697"/>
                  <a:gd name="T31" fmla="*/ 95437020 h 500"/>
                  <a:gd name="T32" fmla="*/ 77828221 w 697"/>
                  <a:gd name="T33" fmla="*/ 100317541 h 500"/>
                  <a:gd name="T34" fmla="*/ 68933408 w 697"/>
                  <a:gd name="T35" fmla="*/ 102215493 h 500"/>
                  <a:gd name="T36" fmla="*/ 63744946 w 697"/>
                  <a:gd name="T37" fmla="*/ 103028826 h 500"/>
                  <a:gd name="T38" fmla="*/ 58556484 w 697"/>
                  <a:gd name="T39" fmla="*/ 107366778 h 500"/>
                  <a:gd name="T40" fmla="*/ 53738226 w 697"/>
                  <a:gd name="T41" fmla="*/ 113060632 h 500"/>
                  <a:gd name="T42" fmla="*/ 49105932 w 697"/>
                  <a:gd name="T43" fmla="*/ 115500633 h 500"/>
                  <a:gd name="T44" fmla="*/ 926373 w 697"/>
                  <a:gd name="T45" fmla="*/ 134479627 h 500"/>
                  <a:gd name="T46" fmla="*/ 5929732 w 697"/>
                  <a:gd name="T47" fmla="*/ 132039627 h 500"/>
                  <a:gd name="T48" fmla="*/ 15750919 w 697"/>
                  <a:gd name="T49" fmla="*/ 128243724 h 500"/>
                  <a:gd name="T50" fmla="*/ 17233460 w 697"/>
                  <a:gd name="T51" fmla="*/ 124447821 h 500"/>
                  <a:gd name="T52" fmla="*/ 18345365 w 697"/>
                  <a:gd name="T53" fmla="*/ 118754487 h 500"/>
                  <a:gd name="T54" fmla="*/ 22051286 w 697"/>
                  <a:gd name="T55" fmla="*/ 114416015 h 500"/>
                  <a:gd name="T56" fmla="*/ 29648662 w 697"/>
                  <a:gd name="T57" fmla="*/ 108180111 h 500"/>
                  <a:gd name="T58" fmla="*/ 33540116 w 697"/>
                  <a:gd name="T59" fmla="*/ 103570875 h 500"/>
                  <a:gd name="T60" fmla="*/ 35578394 w 697"/>
                  <a:gd name="T61" fmla="*/ 96792923 h 500"/>
                  <a:gd name="T62" fmla="*/ 35763927 w 697"/>
                  <a:gd name="T63" fmla="*/ 85676499 h 500"/>
                  <a:gd name="T64" fmla="*/ 36134562 w 697"/>
                  <a:gd name="T65" fmla="*/ 68866741 h 500"/>
                  <a:gd name="T66" fmla="*/ 35578394 w 697"/>
                  <a:gd name="T67" fmla="*/ 52056462 h 500"/>
                  <a:gd name="T68" fmla="*/ 39655381 w 697"/>
                  <a:gd name="T69" fmla="*/ 51243128 h 500"/>
                  <a:gd name="T70" fmla="*/ 42249397 w 697"/>
                  <a:gd name="T71" fmla="*/ 48531844 h 500"/>
                  <a:gd name="T72" fmla="*/ 44658310 w 697"/>
                  <a:gd name="T73" fmla="*/ 44736461 h 500"/>
                  <a:gd name="T74" fmla="*/ 46697019 w 697"/>
                  <a:gd name="T75" fmla="*/ 41211322 h 500"/>
                  <a:gd name="T76" fmla="*/ 52070583 w 697"/>
                  <a:gd name="T77" fmla="*/ 39584655 h 500"/>
                  <a:gd name="T78" fmla="*/ 58185848 w 697"/>
                  <a:gd name="T79" fmla="*/ 38771322 h 500"/>
                  <a:gd name="T80" fmla="*/ 63003675 w 697"/>
                  <a:gd name="T81" fmla="*/ 35517988 h 500"/>
                  <a:gd name="T82" fmla="*/ 66709597 w 697"/>
                  <a:gd name="T83" fmla="*/ 29282085 h 500"/>
                  <a:gd name="T84" fmla="*/ 71898489 w 697"/>
                  <a:gd name="T85" fmla="*/ 13014376 h 500"/>
                  <a:gd name="T86" fmla="*/ 75419308 w 697"/>
                  <a:gd name="T87" fmla="*/ 3253334 h 500"/>
                  <a:gd name="T88" fmla="*/ 78939696 w 697"/>
                  <a:gd name="T89" fmla="*/ 2169236 h 500"/>
                  <a:gd name="T90" fmla="*/ 83201786 w 697"/>
                  <a:gd name="T91" fmla="*/ 5422570 h 500"/>
                  <a:gd name="T92" fmla="*/ 94876148 w 697"/>
                  <a:gd name="T93" fmla="*/ 4880521 h 500"/>
                  <a:gd name="T94" fmla="*/ 109330059 w 697"/>
                  <a:gd name="T95" fmla="*/ 3524618 h 500"/>
                  <a:gd name="T96" fmla="*/ 110627067 w 697"/>
                  <a:gd name="T97" fmla="*/ 4609236 h 500"/>
                  <a:gd name="T98" fmla="*/ 112109608 w 697"/>
                  <a:gd name="T99" fmla="*/ 9760522 h 500"/>
                  <a:gd name="T100" fmla="*/ 113221513 w 697"/>
                  <a:gd name="T101" fmla="*/ 13827709 h 500"/>
                  <a:gd name="T102" fmla="*/ 114518521 w 697"/>
                  <a:gd name="T103" fmla="*/ 13556425 h 50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0" t="0" r="r" b="b"/>
                <a:pathLst>
                  <a:path w="697" h="500">
                    <a:moveTo>
                      <a:pt x="631" y="50"/>
                    </a:moveTo>
                    <a:lnTo>
                      <a:pt x="635" y="51"/>
                    </a:lnTo>
                    <a:lnTo>
                      <a:pt x="648" y="53"/>
                    </a:lnTo>
                    <a:lnTo>
                      <a:pt x="659" y="55"/>
                    </a:lnTo>
                    <a:lnTo>
                      <a:pt x="664" y="56"/>
                    </a:lnTo>
                    <a:lnTo>
                      <a:pt x="657" y="161"/>
                    </a:lnTo>
                    <a:lnTo>
                      <a:pt x="657" y="163"/>
                    </a:lnTo>
                    <a:lnTo>
                      <a:pt x="659" y="165"/>
                    </a:lnTo>
                    <a:lnTo>
                      <a:pt x="661" y="167"/>
                    </a:lnTo>
                    <a:lnTo>
                      <a:pt x="664" y="169"/>
                    </a:lnTo>
                    <a:lnTo>
                      <a:pt x="669" y="173"/>
                    </a:lnTo>
                    <a:lnTo>
                      <a:pt x="677" y="177"/>
                    </a:lnTo>
                    <a:lnTo>
                      <a:pt x="685" y="181"/>
                    </a:lnTo>
                    <a:lnTo>
                      <a:pt x="691" y="185"/>
                    </a:lnTo>
                    <a:lnTo>
                      <a:pt x="694" y="189"/>
                    </a:lnTo>
                    <a:lnTo>
                      <a:pt x="696" y="192"/>
                    </a:lnTo>
                    <a:lnTo>
                      <a:pt x="697" y="195"/>
                    </a:lnTo>
                    <a:lnTo>
                      <a:pt x="697" y="198"/>
                    </a:lnTo>
                    <a:lnTo>
                      <a:pt x="697" y="203"/>
                    </a:lnTo>
                    <a:lnTo>
                      <a:pt x="696" y="208"/>
                    </a:lnTo>
                    <a:lnTo>
                      <a:pt x="694" y="211"/>
                    </a:lnTo>
                    <a:lnTo>
                      <a:pt x="691" y="214"/>
                    </a:lnTo>
                    <a:lnTo>
                      <a:pt x="688" y="216"/>
                    </a:lnTo>
                    <a:lnTo>
                      <a:pt x="685" y="217"/>
                    </a:lnTo>
                    <a:lnTo>
                      <a:pt x="680" y="218"/>
                    </a:lnTo>
                    <a:lnTo>
                      <a:pt x="676" y="219"/>
                    </a:lnTo>
                    <a:lnTo>
                      <a:pt x="655" y="218"/>
                    </a:lnTo>
                    <a:lnTo>
                      <a:pt x="631" y="216"/>
                    </a:lnTo>
                    <a:lnTo>
                      <a:pt x="619" y="221"/>
                    </a:lnTo>
                    <a:lnTo>
                      <a:pt x="605" y="228"/>
                    </a:lnTo>
                    <a:lnTo>
                      <a:pt x="589" y="235"/>
                    </a:lnTo>
                    <a:lnTo>
                      <a:pt x="574" y="245"/>
                    </a:lnTo>
                    <a:lnTo>
                      <a:pt x="567" y="250"/>
                    </a:lnTo>
                    <a:lnTo>
                      <a:pt x="560" y="256"/>
                    </a:lnTo>
                    <a:lnTo>
                      <a:pt x="554" y="261"/>
                    </a:lnTo>
                    <a:lnTo>
                      <a:pt x="549" y="267"/>
                    </a:lnTo>
                    <a:lnTo>
                      <a:pt x="544" y="274"/>
                    </a:lnTo>
                    <a:lnTo>
                      <a:pt x="541" y="281"/>
                    </a:lnTo>
                    <a:lnTo>
                      <a:pt x="539" y="288"/>
                    </a:lnTo>
                    <a:lnTo>
                      <a:pt x="538" y="296"/>
                    </a:lnTo>
                    <a:lnTo>
                      <a:pt x="529" y="299"/>
                    </a:lnTo>
                    <a:lnTo>
                      <a:pt x="521" y="302"/>
                    </a:lnTo>
                    <a:lnTo>
                      <a:pt x="514" y="306"/>
                    </a:lnTo>
                    <a:lnTo>
                      <a:pt x="506" y="312"/>
                    </a:lnTo>
                    <a:lnTo>
                      <a:pt x="491" y="324"/>
                    </a:lnTo>
                    <a:lnTo>
                      <a:pt x="475" y="339"/>
                    </a:lnTo>
                    <a:lnTo>
                      <a:pt x="465" y="346"/>
                    </a:lnTo>
                    <a:lnTo>
                      <a:pt x="455" y="352"/>
                    </a:lnTo>
                    <a:lnTo>
                      <a:pt x="445" y="360"/>
                    </a:lnTo>
                    <a:lnTo>
                      <a:pt x="433" y="365"/>
                    </a:lnTo>
                    <a:lnTo>
                      <a:pt x="420" y="370"/>
                    </a:lnTo>
                    <a:lnTo>
                      <a:pt x="406" y="373"/>
                    </a:lnTo>
                    <a:lnTo>
                      <a:pt x="389" y="376"/>
                    </a:lnTo>
                    <a:lnTo>
                      <a:pt x="372" y="377"/>
                    </a:lnTo>
                    <a:lnTo>
                      <a:pt x="361" y="377"/>
                    </a:lnTo>
                    <a:lnTo>
                      <a:pt x="352" y="378"/>
                    </a:lnTo>
                    <a:lnTo>
                      <a:pt x="344" y="380"/>
                    </a:lnTo>
                    <a:lnTo>
                      <a:pt x="337" y="382"/>
                    </a:lnTo>
                    <a:lnTo>
                      <a:pt x="326" y="389"/>
                    </a:lnTo>
                    <a:lnTo>
                      <a:pt x="316" y="396"/>
                    </a:lnTo>
                    <a:lnTo>
                      <a:pt x="306" y="404"/>
                    </a:lnTo>
                    <a:lnTo>
                      <a:pt x="296" y="413"/>
                    </a:lnTo>
                    <a:lnTo>
                      <a:pt x="290" y="417"/>
                    </a:lnTo>
                    <a:lnTo>
                      <a:pt x="283" y="420"/>
                    </a:lnTo>
                    <a:lnTo>
                      <a:pt x="274" y="423"/>
                    </a:lnTo>
                    <a:lnTo>
                      <a:pt x="265" y="426"/>
                    </a:lnTo>
                    <a:lnTo>
                      <a:pt x="272" y="494"/>
                    </a:lnTo>
                    <a:lnTo>
                      <a:pt x="0" y="500"/>
                    </a:lnTo>
                    <a:lnTo>
                      <a:pt x="5" y="496"/>
                    </a:lnTo>
                    <a:lnTo>
                      <a:pt x="13" y="492"/>
                    </a:lnTo>
                    <a:lnTo>
                      <a:pt x="22" y="490"/>
                    </a:lnTo>
                    <a:lnTo>
                      <a:pt x="32" y="487"/>
                    </a:lnTo>
                    <a:lnTo>
                      <a:pt x="55" y="483"/>
                    </a:lnTo>
                    <a:lnTo>
                      <a:pt x="80" y="475"/>
                    </a:lnTo>
                    <a:lnTo>
                      <a:pt x="85" y="473"/>
                    </a:lnTo>
                    <a:lnTo>
                      <a:pt x="90" y="469"/>
                    </a:lnTo>
                    <a:lnTo>
                      <a:pt x="92" y="465"/>
                    </a:lnTo>
                    <a:lnTo>
                      <a:pt x="93" y="459"/>
                    </a:lnTo>
                    <a:lnTo>
                      <a:pt x="93" y="451"/>
                    </a:lnTo>
                    <a:lnTo>
                      <a:pt x="93" y="444"/>
                    </a:lnTo>
                    <a:lnTo>
                      <a:pt x="99" y="438"/>
                    </a:lnTo>
                    <a:lnTo>
                      <a:pt x="104" y="432"/>
                    </a:lnTo>
                    <a:lnTo>
                      <a:pt x="112" y="427"/>
                    </a:lnTo>
                    <a:lnTo>
                      <a:pt x="119" y="422"/>
                    </a:lnTo>
                    <a:lnTo>
                      <a:pt x="136" y="414"/>
                    </a:lnTo>
                    <a:lnTo>
                      <a:pt x="152" y="404"/>
                    </a:lnTo>
                    <a:lnTo>
                      <a:pt x="160" y="399"/>
                    </a:lnTo>
                    <a:lnTo>
                      <a:pt x="168" y="394"/>
                    </a:lnTo>
                    <a:lnTo>
                      <a:pt x="174" y="388"/>
                    </a:lnTo>
                    <a:lnTo>
                      <a:pt x="181" y="382"/>
                    </a:lnTo>
                    <a:lnTo>
                      <a:pt x="185" y="375"/>
                    </a:lnTo>
                    <a:lnTo>
                      <a:pt x="189" y="366"/>
                    </a:lnTo>
                    <a:lnTo>
                      <a:pt x="192" y="357"/>
                    </a:lnTo>
                    <a:lnTo>
                      <a:pt x="192" y="345"/>
                    </a:lnTo>
                    <a:lnTo>
                      <a:pt x="193" y="332"/>
                    </a:lnTo>
                    <a:lnTo>
                      <a:pt x="193" y="316"/>
                    </a:lnTo>
                    <a:lnTo>
                      <a:pt x="194" y="296"/>
                    </a:lnTo>
                    <a:lnTo>
                      <a:pt x="195" y="275"/>
                    </a:lnTo>
                    <a:lnTo>
                      <a:pt x="195" y="254"/>
                    </a:lnTo>
                    <a:lnTo>
                      <a:pt x="195" y="232"/>
                    </a:lnTo>
                    <a:lnTo>
                      <a:pt x="194" y="211"/>
                    </a:lnTo>
                    <a:lnTo>
                      <a:pt x="192" y="192"/>
                    </a:lnTo>
                    <a:lnTo>
                      <a:pt x="201" y="192"/>
                    </a:lnTo>
                    <a:lnTo>
                      <a:pt x="207" y="190"/>
                    </a:lnTo>
                    <a:lnTo>
                      <a:pt x="214" y="189"/>
                    </a:lnTo>
                    <a:lnTo>
                      <a:pt x="219" y="185"/>
                    </a:lnTo>
                    <a:lnTo>
                      <a:pt x="224" y="182"/>
                    </a:lnTo>
                    <a:lnTo>
                      <a:pt x="228" y="179"/>
                    </a:lnTo>
                    <a:lnTo>
                      <a:pt x="232" y="176"/>
                    </a:lnTo>
                    <a:lnTo>
                      <a:pt x="236" y="172"/>
                    </a:lnTo>
                    <a:lnTo>
                      <a:pt x="241" y="165"/>
                    </a:lnTo>
                    <a:lnTo>
                      <a:pt x="247" y="158"/>
                    </a:lnTo>
                    <a:lnTo>
                      <a:pt x="249" y="155"/>
                    </a:lnTo>
                    <a:lnTo>
                      <a:pt x="252" y="152"/>
                    </a:lnTo>
                    <a:lnTo>
                      <a:pt x="256" y="150"/>
                    </a:lnTo>
                    <a:lnTo>
                      <a:pt x="259" y="149"/>
                    </a:lnTo>
                    <a:lnTo>
                      <a:pt x="281" y="146"/>
                    </a:lnTo>
                    <a:lnTo>
                      <a:pt x="297" y="145"/>
                    </a:lnTo>
                    <a:lnTo>
                      <a:pt x="306" y="144"/>
                    </a:lnTo>
                    <a:lnTo>
                      <a:pt x="314" y="143"/>
                    </a:lnTo>
                    <a:lnTo>
                      <a:pt x="323" y="140"/>
                    </a:lnTo>
                    <a:lnTo>
                      <a:pt x="331" y="137"/>
                    </a:lnTo>
                    <a:lnTo>
                      <a:pt x="340" y="131"/>
                    </a:lnTo>
                    <a:lnTo>
                      <a:pt x="348" y="124"/>
                    </a:lnTo>
                    <a:lnTo>
                      <a:pt x="354" y="116"/>
                    </a:lnTo>
                    <a:lnTo>
                      <a:pt x="360" y="108"/>
                    </a:lnTo>
                    <a:lnTo>
                      <a:pt x="371" y="89"/>
                    </a:lnTo>
                    <a:lnTo>
                      <a:pt x="380" y="68"/>
                    </a:lnTo>
                    <a:lnTo>
                      <a:pt x="388" y="48"/>
                    </a:lnTo>
                    <a:lnTo>
                      <a:pt x="397" y="29"/>
                    </a:lnTo>
                    <a:lnTo>
                      <a:pt x="402" y="21"/>
                    </a:lnTo>
                    <a:lnTo>
                      <a:pt x="407" y="12"/>
                    </a:lnTo>
                    <a:lnTo>
                      <a:pt x="413" y="6"/>
                    </a:lnTo>
                    <a:lnTo>
                      <a:pt x="418" y="0"/>
                    </a:lnTo>
                    <a:lnTo>
                      <a:pt x="426" y="8"/>
                    </a:lnTo>
                    <a:lnTo>
                      <a:pt x="433" y="14"/>
                    </a:lnTo>
                    <a:lnTo>
                      <a:pt x="441" y="17"/>
                    </a:lnTo>
                    <a:lnTo>
                      <a:pt x="449" y="20"/>
                    </a:lnTo>
                    <a:lnTo>
                      <a:pt x="465" y="20"/>
                    </a:lnTo>
                    <a:lnTo>
                      <a:pt x="485" y="20"/>
                    </a:lnTo>
                    <a:lnTo>
                      <a:pt x="512" y="18"/>
                    </a:lnTo>
                    <a:lnTo>
                      <a:pt x="543" y="16"/>
                    </a:lnTo>
                    <a:lnTo>
                      <a:pt x="571" y="14"/>
                    </a:lnTo>
                    <a:lnTo>
                      <a:pt x="590" y="13"/>
                    </a:lnTo>
                    <a:lnTo>
                      <a:pt x="594" y="13"/>
                    </a:lnTo>
                    <a:lnTo>
                      <a:pt x="595" y="15"/>
                    </a:lnTo>
                    <a:lnTo>
                      <a:pt x="597" y="17"/>
                    </a:lnTo>
                    <a:lnTo>
                      <a:pt x="599" y="21"/>
                    </a:lnTo>
                    <a:lnTo>
                      <a:pt x="601" y="28"/>
                    </a:lnTo>
                    <a:lnTo>
                      <a:pt x="605" y="36"/>
                    </a:lnTo>
                    <a:lnTo>
                      <a:pt x="607" y="44"/>
                    </a:lnTo>
                    <a:lnTo>
                      <a:pt x="609" y="49"/>
                    </a:lnTo>
                    <a:lnTo>
                      <a:pt x="611" y="51"/>
                    </a:lnTo>
                    <a:lnTo>
                      <a:pt x="613" y="52"/>
                    </a:lnTo>
                    <a:lnTo>
                      <a:pt x="615" y="51"/>
                    </a:lnTo>
                    <a:lnTo>
                      <a:pt x="618" y="50"/>
                    </a:lnTo>
                    <a:lnTo>
                      <a:pt x="631" y="50"/>
                    </a:lnTo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40" name="Freeform 547">
                <a:extLst>
                  <a:ext uri="{FF2B5EF4-FFF2-40B4-BE49-F238E27FC236}">
                    <a16:creationId xmlns:a16="http://schemas.microsoft.com/office/drawing/2014/main" id="{D285A1C4-C4FA-4306-9ECE-65D9642A1D0A}"/>
                  </a:ext>
                </a:extLst>
              </p:cNvPr>
              <p:cNvSpPr>
                <a:spLocks/>
              </p:cNvSpPr>
              <p:nvPr>
                <p:custDataLst>
                  <p:tags r:id="rId378"/>
                </p:custDataLst>
              </p:nvPr>
            </p:nvSpPr>
            <p:spPr bwMode="auto">
              <a:xfrm>
                <a:off x="4471211" y="2035389"/>
                <a:ext cx="284142" cy="101962"/>
              </a:xfrm>
              <a:custGeom>
                <a:avLst/>
                <a:gdLst>
                  <a:gd name="T0" fmla="*/ 13888101 w 546"/>
                  <a:gd name="T1" fmla="*/ 5381864 h 173"/>
                  <a:gd name="T2" fmla="*/ 17641501 w 546"/>
                  <a:gd name="T3" fmla="*/ 9631151 h 173"/>
                  <a:gd name="T4" fmla="*/ 20644568 w 546"/>
                  <a:gd name="T5" fmla="*/ 7648079 h 173"/>
                  <a:gd name="T6" fmla="*/ 24773568 w 546"/>
                  <a:gd name="T7" fmla="*/ 7648079 h 173"/>
                  <a:gd name="T8" fmla="*/ 30216085 w 546"/>
                  <a:gd name="T9" fmla="*/ 12463655 h 173"/>
                  <a:gd name="T10" fmla="*/ 39224853 w 546"/>
                  <a:gd name="T11" fmla="*/ 5381864 h 173"/>
                  <a:gd name="T12" fmla="*/ 45605720 w 546"/>
                  <a:gd name="T13" fmla="*/ 5381864 h 173"/>
                  <a:gd name="T14" fmla="*/ 48796370 w 546"/>
                  <a:gd name="T15" fmla="*/ 4532432 h 173"/>
                  <a:gd name="T16" fmla="*/ 50485487 w 546"/>
                  <a:gd name="T17" fmla="*/ 3965612 h 173"/>
                  <a:gd name="T18" fmla="*/ 52362187 w 546"/>
                  <a:gd name="T19" fmla="*/ 3115648 h 173"/>
                  <a:gd name="T20" fmla="*/ 53675704 w 546"/>
                  <a:gd name="T21" fmla="*/ 849964 h 173"/>
                  <a:gd name="T22" fmla="*/ 60244588 w 546"/>
                  <a:gd name="T23" fmla="*/ 1416252 h 173"/>
                  <a:gd name="T24" fmla="*/ 62496888 w 546"/>
                  <a:gd name="T25" fmla="*/ 3399324 h 173"/>
                  <a:gd name="T26" fmla="*/ 65311938 w 546"/>
                  <a:gd name="T27" fmla="*/ 1983072 h 173"/>
                  <a:gd name="T28" fmla="*/ 66250288 w 546"/>
                  <a:gd name="T29" fmla="*/ 0 h 173"/>
                  <a:gd name="T30" fmla="*/ 68877755 w 546"/>
                  <a:gd name="T31" fmla="*/ 1983072 h 173"/>
                  <a:gd name="T32" fmla="*/ 73006755 w 546"/>
                  <a:gd name="T33" fmla="*/ 1983072 h 173"/>
                  <a:gd name="T34" fmla="*/ 81827506 w 546"/>
                  <a:gd name="T35" fmla="*/ 283144 h 173"/>
                  <a:gd name="T36" fmla="*/ 90460673 w 546"/>
                  <a:gd name="T37" fmla="*/ 1699396 h 173"/>
                  <a:gd name="T38" fmla="*/ 99093840 w 546"/>
                  <a:gd name="T39" fmla="*/ 3399324 h 173"/>
                  <a:gd name="T40" fmla="*/ 102284491 w 546"/>
                  <a:gd name="T41" fmla="*/ 13879907 h 173"/>
                  <a:gd name="T42" fmla="*/ 100782957 w 546"/>
                  <a:gd name="T43" fmla="*/ 16996087 h 173"/>
                  <a:gd name="T44" fmla="*/ 96278790 w 546"/>
                  <a:gd name="T45" fmla="*/ 17562375 h 173"/>
                  <a:gd name="T46" fmla="*/ 90648256 w 546"/>
                  <a:gd name="T47" fmla="*/ 15296159 h 173"/>
                  <a:gd name="T48" fmla="*/ 77510922 w 546"/>
                  <a:gd name="T49" fmla="*/ 12463655 h 173"/>
                  <a:gd name="T50" fmla="*/ 82202673 w 546"/>
                  <a:gd name="T51" fmla="*/ 22944238 h 173"/>
                  <a:gd name="T52" fmla="*/ 88396390 w 546"/>
                  <a:gd name="T53" fmla="*/ 28892922 h 173"/>
                  <a:gd name="T54" fmla="*/ 92524957 w 546"/>
                  <a:gd name="T55" fmla="*/ 33708498 h 173"/>
                  <a:gd name="T56" fmla="*/ 89147156 w 546"/>
                  <a:gd name="T57" fmla="*/ 38524074 h 173"/>
                  <a:gd name="T58" fmla="*/ 84267389 w 546"/>
                  <a:gd name="T59" fmla="*/ 40223469 h 173"/>
                  <a:gd name="T60" fmla="*/ 79950806 w 546"/>
                  <a:gd name="T61" fmla="*/ 39940325 h 173"/>
                  <a:gd name="T62" fmla="*/ 77323339 w 546"/>
                  <a:gd name="T63" fmla="*/ 37957253 h 173"/>
                  <a:gd name="T64" fmla="*/ 74883455 w 546"/>
                  <a:gd name="T65" fmla="*/ 36824146 h 173"/>
                  <a:gd name="T66" fmla="*/ 72255988 w 546"/>
                  <a:gd name="T67" fmla="*/ 34274786 h 173"/>
                  <a:gd name="T68" fmla="*/ 70379288 w 546"/>
                  <a:gd name="T69" fmla="*/ 29459210 h 173"/>
                  <a:gd name="T70" fmla="*/ 68502588 w 546"/>
                  <a:gd name="T71" fmla="*/ 26060418 h 173"/>
                  <a:gd name="T72" fmla="*/ 64561171 w 546"/>
                  <a:gd name="T73" fmla="*/ 23794202 h 173"/>
                  <a:gd name="T74" fmla="*/ 60995354 w 546"/>
                  <a:gd name="T75" fmla="*/ 21527987 h 173"/>
                  <a:gd name="T76" fmla="*/ 56866354 w 546"/>
                  <a:gd name="T77" fmla="*/ 24644166 h 173"/>
                  <a:gd name="T78" fmla="*/ 48420770 w 546"/>
                  <a:gd name="T79" fmla="*/ 37957253 h 173"/>
                  <a:gd name="T80" fmla="*/ 44291770 w 546"/>
                  <a:gd name="T81" fmla="*/ 46172153 h 173"/>
                  <a:gd name="T82" fmla="*/ 41289136 w 546"/>
                  <a:gd name="T83" fmla="*/ 48721513 h 173"/>
                  <a:gd name="T84" fmla="*/ 35283436 w 546"/>
                  <a:gd name="T85" fmla="*/ 47305261 h 173"/>
                  <a:gd name="T86" fmla="*/ 30966852 w 546"/>
                  <a:gd name="T87" fmla="*/ 43905937 h 173"/>
                  <a:gd name="T88" fmla="*/ 21207751 w 546"/>
                  <a:gd name="T89" fmla="*/ 29742886 h 173"/>
                  <a:gd name="T90" fmla="*/ 17829518 w 546"/>
                  <a:gd name="T91" fmla="*/ 25777274 h 173"/>
                  <a:gd name="T92" fmla="*/ 11260634 w 546"/>
                  <a:gd name="T93" fmla="*/ 21527987 h 173"/>
                  <a:gd name="T94" fmla="*/ 3002634 w 546"/>
                  <a:gd name="T95" fmla="*/ 16429267 h 173"/>
                  <a:gd name="T96" fmla="*/ 2064284 w 546"/>
                  <a:gd name="T97" fmla="*/ 9631151 h 173"/>
                  <a:gd name="T98" fmla="*/ 5254934 w 546"/>
                  <a:gd name="T99" fmla="*/ 5381864 h 173"/>
                  <a:gd name="T100" fmla="*/ 8820751 w 546"/>
                  <a:gd name="T101" fmla="*/ 3399324 h 173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0" t="0" r="r" b="b"/>
                <a:pathLst>
                  <a:path w="546" h="173">
                    <a:moveTo>
                      <a:pt x="47" y="12"/>
                    </a:moveTo>
                    <a:lnTo>
                      <a:pt x="61" y="15"/>
                    </a:lnTo>
                    <a:lnTo>
                      <a:pt x="74" y="19"/>
                    </a:lnTo>
                    <a:lnTo>
                      <a:pt x="61" y="38"/>
                    </a:lnTo>
                    <a:lnTo>
                      <a:pt x="87" y="38"/>
                    </a:lnTo>
                    <a:lnTo>
                      <a:pt x="94" y="34"/>
                    </a:lnTo>
                    <a:lnTo>
                      <a:pt x="102" y="31"/>
                    </a:lnTo>
                    <a:lnTo>
                      <a:pt x="107" y="29"/>
                    </a:lnTo>
                    <a:lnTo>
                      <a:pt x="110" y="27"/>
                    </a:lnTo>
                    <a:lnTo>
                      <a:pt x="112" y="23"/>
                    </a:lnTo>
                    <a:lnTo>
                      <a:pt x="113" y="19"/>
                    </a:lnTo>
                    <a:lnTo>
                      <a:pt x="132" y="27"/>
                    </a:lnTo>
                    <a:lnTo>
                      <a:pt x="142" y="32"/>
                    </a:lnTo>
                    <a:lnTo>
                      <a:pt x="150" y="36"/>
                    </a:lnTo>
                    <a:lnTo>
                      <a:pt x="161" y="44"/>
                    </a:lnTo>
                    <a:lnTo>
                      <a:pt x="161" y="19"/>
                    </a:lnTo>
                    <a:lnTo>
                      <a:pt x="188" y="19"/>
                    </a:lnTo>
                    <a:lnTo>
                      <a:pt x="209" y="19"/>
                    </a:lnTo>
                    <a:lnTo>
                      <a:pt x="224" y="19"/>
                    </a:lnTo>
                    <a:lnTo>
                      <a:pt x="233" y="19"/>
                    </a:lnTo>
                    <a:lnTo>
                      <a:pt x="243" y="19"/>
                    </a:lnTo>
                    <a:lnTo>
                      <a:pt x="253" y="19"/>
                    </a:lnTo>
                    <a:lnTo>
                      <a:pt x="256" y="17"/>
                    </a:lnTo>
                    <a:lnTo>
                      <a:pt x="260" y="16"/>
                    </a:lnTo>
                    <a:lnTo>
                      <a:pt x="264" y="14"/>
                    </a:lnTo>
                    <a:lnTo>
                      <a:pt x="266" y="12"/>
                    </a:lnTo>
                    <a:lnTo>
                      <a:pt x="269" y="14"/>
                    </a:lnTo>
                    <a:lnTo>
                      <a:pt x="273" y="14"/>
                    </a:lnTo>
                    <a:lnTo>
                      <a:pt x="276" y="13"/>
                    </a:lnTo>
                    <a:lnTo>
                      <a:pt x="279" y="11"/>
                    </a:lnTo>
                    <a:lnTo>
                      <a:pt x="281" y="8"/>
                    </a:lnTo>
                    <a:lnTo>
                      <a:pt x="285" y="6"/>
                    </a:lnTo>
                    <a:lnTo>
                      <a:pt x="286" y="3"/>
                    </a:lnTo>
                    <a:lnTo>
                      <a:pt x="287" y="0"/>
                    </a:lnTo>
                    <a:lnTo>
                      <a:pt x="320" y="0"/>
                    </a:lnTo>
                    <a:lnTo>
                      <a:pt x="321" y="5"/>
                    </a:lnTo>
                    <a:lnTo>
                      <a:pt x="324" y="9"/>
                    </a:lnTo>
                    <a:lnTo>
                      <a:pt x="329" y="11"/>
                    </a:lnTo>
                    <a:lnTo>
                      <a:pt x="333" y="12"/>
                    </a:lnTo>
                    <a:lnTo>
                      <a:pt x="338" y="11"/>
                    </a:lnTo>
                    <a:lnTo>
                      <a:pt x="345" y="9"/>
                    </a:lnTo>
                    <a:lnTo>
                      <a:pt x="348" y="7"/>
                    </a:lnTo>
                    <a:lnTo>
                      <a:pt x="351" y="5"/>
                    </a:lnTo>
                    <a:lnTo>
                      <a:pt x="353" y="3"/>
                    </a:lnTo>
                    <a:lnTo>
                      <a:pt x="353" y="0"/>
                    </a:lnTo>
                    <a:lnTo>
                      <a:pt x="358" y="3"/>
                    </a:lnTo>
                    <a:lnTo>
                      <a:pt x="363" y="6"/>
                    </a:lnTo>
                    <a:lnTo>
                      <a:pt x="367" y="7"/>
                    </a:lnTo>
                    <a:lnTo>
                      <a:pt x="371" y="8"/>
                    </a:lnTo>
                    <a:lnTo>
                      <a:pt x="380" y="8"/>
                    </a:lnTo>
                    <a:lnTo>
                      <a:pt x="389" y="7"/>
                    </a:lnTo>
                    <a:lnTo>
                      <a:pt x="404" y="3"/>
                    </a:lnTo>
                    <a:lnTo>
                      <a:pt x="420" y="0"/>
                    </a:lnTo>
                    <a:lnTo>
                      <a:pt x="436" y="1"/>
                    </a:lnTo>
                    <a:lnTo>
                      <a:pt x="453" y="2"/>
                    </a:lnTo>
                    <a:lnTo>
                      <a:pt x="467" y="4"/>
                    </a:lnTo>
                    <a:lnTo>
                      <a:pt x="482" y="6"/>
                    </a:lnTo>
                    <a:lnTo>
                      <a:pt x="498" y="9"/>
                    </a:lnTo>
                    <a:lnTo>
                      <a:pt x="513" y="11"/>
                    </a:lnTo>
                    <a:lnTo>
                      <a:pt x="528" y="12"/>
                    </a:lnTo>
                    <a:lnTo>
                      <a:pt x="546" y="12"/>
                    </a:lnTo>
                    <a:lnTo>
                      <a:pt x="546" y="44"/>
                    </a:lnTo>
                    <a:lnTo>
                      <a:pt x="545" y="49"/>
                    </a:lnTo>
                    <a:lnTo>
                      <a:pt x="542" y="55"/>
                    </a:lnTo>
                    <a:lnTo>
                      <a:pt x="539" y="58"/>
                    </a:lnTo>
                    <a:lnTo>
                      <a:pt x="537" y="60"/>
                    </a:lnTo>
                    <a:lnTo>
                      <a:pt x="535" y="61"/>
                    </a:lnTo>
                    <a:lnTo>
                      <a:pt x="533" y="62"/>
                    </a:lnTo>
                    <a:lnTo>
                      <a:pt x="513" y="62"/>
                    </a:lnTo>
                    <a:lnTo>
                      <a:pt x="498" y="60"/>
                    </a:lnTo>
                    <a:lnTo>
                      <a:pt x="490" y="57"/>
                    </a:lnTo>
                    <a:lnTo>
                      <a:pt x="483" y="54"/>
                    </a:lnTo>
                    <a:lnTo>
                      <a:pt x="478" y="50"/>
                    </a:lnTo>
                    <a:lnTo>
                      <a:pt x="472" y="44"/>
                    </a:lnTo>
                    <a:lnTo>
                      <a:pt x="413" y="44"/>
                    </a:lnTo>
                    <a:lnTo>
                      <a:pt x="421" y="58"/>
                    </a:lnTo>
                    <a:lnTo>
                      <a:pt x="428" y="70"/>
                    </a:lnTo>
                    <a:lnTo>
                      <a:pt x="438" y="81"/>
                    </a:lnTo>
                    <a:lnTo>
                      <a:pt x="448" y="89"/>
                    </a:lnTo>
                    <a:lnTo>
                      <a:pt x="459" y="96"/>
                    </a:lnTo>
                    <a:lnTo>
                      <a:pt x="471" y="102"/>
                    </a:lnTo>
                    <a:lnTo>
                      <a:pt x="484" y="107"/>
                    </a:lnTo>
                    <a:lnTo>
                      <a:pt x="499" y="111"/>
                    </a:lnTo>
                    <a:lnTo>
                      <a:pt x="493" y="119"/>
                    </a:lnTo>
                    <a:lnTo>
                      <a:pt x="488" y="126"/>
                    </a:lnTo>
                    <a:lnTo>
                      <a:pt x="481" y="132"/>
                    </a:lnTo>
                    <a:lnTo>
                      <a:pt x="475" y="136"/>
                    </a:lnTo>
                    <a:lnTo>
                      <a:pt x="466" y="139"/>
                    </a:lnTo>
                    <a:lnTo>
                      <a:pt x="458" y="141"/>
                    </a:lnTo>
                    <a:lnTo>
                      <a:pt x="449" y="142"/>
                    </a:lnTo>
                    <a:lnTo>
                      <a:pt x="439" y="142"/>
                    </a:lnTo>
                    <a:lnTo>
                      <a:pt x="432" y="142"/>
                    </a:lnTo>
                    <a:lnTo>
                      <a:pt x="426" y="141"/>
                    </a:lnTo>
                    <a:lnTo>
                      <a:pt x="421" y="139"/>
                    </a:lnTo>
                    <a:lnTo>
                      <a:pt x="416" y="136"/>
                    </a:lnTo>
                    <a:lnTo>
                      <a:pt x="412" y="134"/>
                    </a:lnTo>
                    <a:lnTo>
                      <a:pt x="409" y="132"/>
                    </a:lnTo>
                    <a:lnTo>
                      <a:pt x="404" y="131"/>
                    </a:lnTo>
                    <a:lnTo>
                      <a:pt x="399" y="130"/>
                    </a:lnTo>
                    <a:lnTo>
                      <a:pt x="394" y="128"/>
                    </a:lnTo>
                    <a:lnTo>
                      <a:pt x="390" y="125"/>
                    </a:lnTo>
                    <a:lnTo>
                      <a:pt x="385" y="121"/>
                    </a:lnTo>
                    <a:lnTo>
                      <a:pt x="381" y="116"/>
                    </a:lnTo>
                    <a:lnTo>
                      <a:pt x="378" y="110"/>
                    </a:lnTo>
                    <a:lnTo>
                      <a:pt x="375" y="104"/>
                    </a:lnTo>
                    <a:lnTo>
                      <a:pt x="374" y="98"/>
                    </a:lnTo>
                    <a:lnTo>
                      <a:pt x="372" y="93"/>
                    </a:lnTo>
                    <a:lnTo>
                      <a:pt x="365" y="92"/>
                    </a:lnTo>
                    <a:lnTo>
                      <a:pt x="358" y="90"/>
                    </a:lnTo>
                    <a:lnTo>
                      <a:pt x="351" y="87"/>
                    </a:lnTo>
                    <a:lnTo>
                      <a:pt x="344" y="84"/>
                    </a:lnTo>
                    <a:lnTo>
                      <a:pt x="337" y="81"/>
                    </a:lnTo>
                    <a:lnTo>
                      <a:pt x="331" y="78"/>
                    </a:lnTo>
                    <a:lnTo>
                      <a:pt x="325" y="76"/>
                    </a:lnTo>
                    <a:lnTo>
                      <a:pt x="320" y="75"/>
                    </a:lnTo>
                    <a:lnTo>
                      <a:pt x="314" y="78"/>
                    </a:lnTo>
                    <a:lnTo>
                      <a:pt x="303" y="87"/>
                    </a:lnTo>
                    <a:lnTo>
                      <a:pt x="289" y="101"/>
                    </a:lnTo>
                    <a:lnTo>
                      <a:pt x="274" y="117"/>
                    </a:lnTo>
                    <a:lnTo>
                      <a:pt x="258" y="134"/>
                    </a:lnTo>
                    <a:lnTo>
                      <a:pt x="246" y="150"/>
                    </a:lnTo>
                    <a:lnTo>
                      <a:pt x="241" y="157"/>
                    </a:lnTo>
                    <a:lnTo>
                      <a:pt x="236" y="163"/>
                    </a:lnTo>
                    <a:lnTo>
                      <a:pt x="234" y="169"/>
                    </a:lnTo>
                    <a:lnTo>
                      <a:pt x="233" y="173"/>
                    </a:lnTo>
                    <a:lnTo>
                      <a:pt x="220" y="172"/>
                    </a:lnTo>
                    <a:lnTo>
                      <a:pt x="209" y="171"/>
                    </a:lnTo>
                    <a:lnTo>
                      <a:pt x="198" y="169"/>
                    </a:lnTo>
                    <a:lnTo>
                      <a:pt x="188" y="167"/>
                    </a:lnTo>
                    <a:lnTo>
                      <a:pt x="180" y="163"/>
                    </a:lnTo>
                    <a:lnTo>
                      <a:pt x="172" y="160"/>
                    </a:lnTo>
                    <a:lnTo>
                      <a:pt x="165" y="155"/>
                    </a:lnTo>
                    <a:lnTo>
                      <a:pt x="158" y="151"/>
                    </a:lnTo>
                    <a:lnTo>
                      <a:pt x="136" y="128"/>
                    </a:lnTo>
                    <a:lnTo>
                      <a:pt x="113" y="105"/>
                    </a:lnTo>
                    <a:lnTo>
                      <a:pt x="108" y="100"/>
                    </a:lnTo>
                    <a:lnTo>
                      <a:pt x="101" y="95"/>
                    </a:lnTo>
                    <a:lnTo>
                      <a:pt x="95" y="91"/>
                    </a:lnTo>
                    <a:lnTo>
                      <a:pt x="88" y="87"/>
                    </a:lnTo>
                    <a:lnTo>
                      <a:pt x="74" y="81"/>
                    </a:lnTo>
                    <a:lnTo>
                      <a:pt x="60" y="76"/>
                    </a:lnTo>
                    <a:lnTo>
                      <a:pt x="45" y="70"/>
                    </a:lnTo>
                    <a:lnTo>
                      <a:pt x="31" y="64"/>
                    </a:lnTo>
                    <a:lnTo>
                      <a:pt x="16" y="58"/>
                    </a:lnTo>
                    <a:lnTo>
                      <a:pt x="0" y="50"/>
                    </a:lnTo>
                    <a:lnTo>
                      <a:pt x="6" y="41"/>
                    </a:lnTo>
                    <a:lnTo>
                      <a:pt x="11" y="34"/>
                    </a:lnTo>
                    <a:lnTo>
                      <a:pt x="16" y="28"/>
                    </a:lnTo>
                    <a:lnTo>
                      <a:pt x="21" y="22"/>
                    </a:lnTo>
                    <a:lnTo>
                      <a:pt x="28" y="19"/>
                    </a:lnTo>
                    <a:lnTo>
                      <a:pt x="33" y="15"/>
                    </a:lnTo>
                    <a:lnTo>
                      <a:pt x="40" y="13"/>
                    </a:lnTo>
                    <a:lnTo>
                      <a:pt x="47" y="12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41" name="Freeform 548">
                <a:extLst>
                  <a:ext uri="{FF2B5EF4-FFF2-40B4-BE49-F238E27FC236}">
                    <a16:creationId xmlns:a16="http://schemas.microsoft.com/office/drawing/2014/main" id="{FD9B69E2-D86A-430E-AAE9-EE0F748DCF8D}"/>
                  </a:ext>
                </a:extLst>
              </p:cNvPr>
              <p:cNvSpPr>
                <a:spLocks/>
              </p:cNvSpPr>
              <p:nvPr>
                <p:custDataLst>
                  <p:tags r:id="rId379"/>
                </p:custDataLst>
              </p:nvPr>
            </p:nvSpPr>
            <p:spPr bwMode="auto">
              <a:xfrm>
                <a:off x="5086552" y="2016052"/>
                <a:ext cx="130307" cy="68560"/>
              </a:xfrm>
              <a:custGeom>
                <a:avLst/>
                <a:gdLst>
                  <a:gd name="T0" fmla="*/ 5199153 w 246"/>
                  <a:gd name="T1" fmla="*/ 74267257 h 42"/>
                  <a:gd name="T2" fmla="*/ 6932496 w 246"/>
                  <a:gd name="T3" fmla="*/ 74267257 h 42"/>
                  <a:gd name="T4" fmla="*/ 8665401 w 246"/>
                  <a:gd name="T5" fmla="*/ 72204716 h 42"/>
                  <a:gd name="T6" fmla="*/ 10206102 w 246"/>
                  <a:gd name="T7" fmla="*/ 68078199 h 42"/>
                  <a:gd name="T8" fmla="*/ 11361079 w 246"/>
                  <a:gd name="T9" fmla="*/ 63953118 h 42"/>
                  <a:gd name="T10" fmla="*/ 12709138 w 246"/>
                  <a:gd name="T11" fmla="*/ 61889141 h 42"/>
                  <a:gd name="T12" fmla="*/ 13864554 w 246"/>
                  <a:gd name="T13" fmla="*/ 59826601 h 42"/>
                  <a:gd name="T14" fmla="*/ 15405255 w 246"/>
                  <a:gd name="T15" fmla="*/ 59826601 h 42"/>
                  <a:gd name="T16" fmla="*/ 16752875 w 246"/>
                  <a:gd name="T17" fmla="*/ 61889141 h 42"/>
                  <a:gd name="T18" fmla="*/ 16752875 w 246"/>
                  <a:gd name="T19" fmla="*/ 86645372 h 42"/>
                  <a:gd name="T20" fmla="*/ 29654655 w 246"/>
                  <a:gd name="T21" fmla="*/ 86645372 h 42"/>
                  <a:gd name="T22" fmla="*/ 29654655 w 246"/>
                  <a:gd name="T23" fmla="*/ 80456314 h 42"/>
                  <a:gd name="T24" fmla="*/ 30039940 w 246"/>
                  <a:gd name="T25" fmla="*/ 74267257 h 42"/>
                  <a:gd name="T26" fmla="*/ 30617867 w 246"/>
                  <a:gd name="T27" fmla="*/ 68078199 h 42"/>
                  <a:gd name="T28" fmla="*/ 31387998 w 246"/>
                  <a:gd name="T29" fmla="*/ 63953118 h 42"/>
                  <a:gd name="T30" fmla="*/ 33698830 w 246"/>
                  <a:gd name="T31" fmla="*/ 53637543 h 42"/>
                  <a:gd name="T32" fmla="*/ 36587151 w 246"/>
                  <a:gd name="T33" fmla="*/ 47448485 h 42"/>
                  <a:gd name="T34" fmla="*/ 42556435 w 246"/>
                  <a:gd name="T35" fmla="*/ 35070370 h 42"/>
                  <a:gd name="T36" fmla="*/ 47370742 w 246"/>
                  <a:gd name="T37" fmla="*/ 24756231 h 42"/>
                  <a:gd name="T38" fmla="*/ 40823530 w 246"/>
                  <a:gd name="T39" fmla="*/ 26818771 h 42"/>
                  <a:gd name="T40" fmla="*/ 35817020 w 246"/>
                  <a:gd name="T41" fmla="*/ 28881312 h 42"/>
                  <a:gd name="T42" fmla="*/ 34276319 w 246"/>
                  <a:gd name="T43" fmla="*/ 30945289 h 42"/>
                  <a:gd name="T44" fmla="*/ 32928261 w 246"/>
                  <a:gd name="T45" fmla="*/ 30945289 h 42"/>
                  <a:gd name="T46" fmla="*/ 32350772 w 246"/>
                  <a:gd name="T47" fmla="*/ 28881312 h 42"/>
                  <a:gd name="T48" fmla="*/ 32158129 w 246"/>
                  <a:gd name="T49" fmla="*/ 24756231 h 42"/>
                  <a:gd name="T50" fmla="*/ 30617867 w 246"/>
                  <a:gd name="T51" fmla="*/ 33007829 h 42"/>
                  <a:gd name="T52" fmla="*/ 29269809 w 246"/>
                  <a:gd name="T53" fmla="*/ 35070370 h 42"/>
                  <a:gd name="T54" fmla="*/ 28307035 w 246"/>
                  <a:gd name="T55" fmla="*/ 35070370 h 42"/>
                  <a:gd name="T56" fmla="*/ 27151619 w 246"/>
                  <a:gd name="T57" fmla="*/ 30945289 h 42"/>
                  <a:gd name="T58" fmla="*/ 26381049 w 246"/>
                  <a:gd name="T59" fmla="*/ 24756231 h 42"/>
                  <a:gd name="T60" fmla="*/ 25610918 w 246"/>
                  <a:gd name="T61" fmla="*/ 18567173 h 42"/>
                  <a:gd name="T62" fmla="*/ 24840787 w 246"/>
                  <a:gd name="T63" fmla="*/ 10315575 h 42"/>
                  <a:gd name="T64" fmla="*/ 24262860 w 246"/>
                  <a:gd name="T65" fmla="*/ 0 h 42"/>
                  <a:gd name="T66" fmla="*/ 23300086 w 246"/>
                  <a:gd name="T67" fmla="*/ 4126517 h 42"/>
                  <a:gd name="T68" fmla="*/ 21759824 w 246"/>
                  <a:gd name="T69" fmla="*/ 8251598 h 42"/>
                  <a:gd name="T70" fmla="*/ 19834277 w 246"/>
                  <a:gd name="T71" fmla="*/ 10315575 h 42"/>
                  <a:gd name="T72" fmla="*/ 17908291 w 246"/>
                  <a:gd name="T73" fmla="*/ 10315575 h 42"/>
                  <a:gd name="T74" fmla="*/ 14249839 w 246"/>
                  <a:gd name="T75" fmla="*/ 12378115 h 42"/>
                  <a:gd name="T76" fmla="*/ 11553722 w 246"/>
                  <a:gd name="T77" fmla="*/ 12378115 h 42"/>
                  <a:gd name="T78" fmla="*/ 11168876 w 246"/>
                  <a:gd name="T79" fmla="*/ 18567173 h 42"/>
                  <a:gd name="T80" fmla="*/ 10783591 w 246"/>
                  <a:gd name="T81" fmla="*/ 24756231 h 42"/>
                  <a:gd name="T82" fmla="*/ 10398306 w 246"/>
                  <a:gd name="T83" fmla="*/ 30945289 h 42"/>
                  <a:gd name="T84" fmla="*/ 9628175 w 246"/>
                  <a:gd name="T85" fmla="*/ 35070370 h 42"/>
                  <a:gd name="T86" fmla="*/ 8087474 w 246"/>
                  <a:gd name="T87" fmla="*/ 41259427 h 42"/>
                  <a:gd name="T88" fmla="*/ 6354569 w 246"/>
                  <a:gd name="T89" fmla="*/ 45385945 h 42"/>
                  <a:gd name="T90" fmla="*/ 2695678 w 246"/>
                  <a:gd name="T91" fmla="*/ 49511026 h 42"/>
                  <a:gd name="T92" fmla="*/ 0 w 246"/>
                  <a:gd name="T93" fmla="*/ 49511026 h 42"/>
                  <a:gd name="T94" fmla="*/ 192642 w 246"/>
                  <a:gd name="T95" fmla="*/ 55700083 h 42"/>
                  <a:gd name="T96" fmla="*/ 577489 w 246"/>
                  <a:gd name="T97" fmla="*/ 59826601 h 42"/>
                  <a:gd name="T98" fmla="*/ 962774 w 246"/>
                  <a:gd name="T99" fmla="*/ 63953118 h 42"/>
                  <a:gd name="T100" fmla="*/ 1732905 w 246"/>
                  <a:gd name="T101" fmla="*/ 68078199 h 42"/>
                  <a:gd name="T102" fmla="*/ 3273606 w 246"/>
                  <a:gd name="T103" fmla="*/ 72204716 h 42"/>
                  <a:gd name="T104" fmla="*/ 5199153 w 246"/>
                  <a:gd name="T105" fmla="*/ 74267257 h 4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0" t="0" r="r" b="b"/>
                <a:pathLst>
                  <a:path w="246" h="42">
                    <a:moveTo>
                      <a:pt x="27" y="36"/>
                    </a:moveTo>
                    <a:lnTo>
                      <a:pt x="36" y="36"/>
                    </a:lnTo>
                    <a:lnTo>
                      <a:pt x="45" y="35"/>
                    </a:lnTo>
                    <a:lnTo>
                      <a:pt x="53" y="33"/>
                    </a:lnTo>
                    <a:lnTo>
                      <a:pt x="59" y="31"/>
                    </a:lnTo>
                    <a:lnTo>
                      <a:pt x="66" y="30"/>
                    </a:lnTo>
                    <a:lnTo>
                      <a:pt x="72" y="29"/>
                    </a:lnTo>
                    <a:lnTo>
                      <a:pt x="80" y="29"/>
                    </a:lnTo>
                    <a:lnTo>
                      <a:pt x="87" y="30"/>
                    </a:lnTo>
                    <a:lnTo>
                      <a:pt x="87" y="42"/>
                    </a:lnTo>
                    <a:lnTo>
                      <a:pt x="154" y="42"/>
                    </a:lnTo>
                    <a:lnTo>
                      <a:pt x="154" y="39"/>
                    </a:lnTo>
                    <a:lnTo>
                      <a:pt x="156" y="36"/>
                    </a:lnTo>
                    <a:lnTo>
                      <a:pt x="159" y="33"/>
                    </a:lnTo>
                    <a:lnTo>
                      <a:pt x="163" y="31"/>
                    </a:lnTo>
                    <a:lnTo>
                      <a:pt x="175" y="26"/>
                    </a:lnTo>
                    <a:lnTo>
                      <a:pt x="190" y="23"/>
                    </a:lnTo>
                    <a:lnTo>
                      <a:pt x="221" y="17"/>
                    </a:lnTo>
                    <a:lnTo>
                      <a:pt x="246" y="12"/>
                    </a:lnTo>
                    <a:lnTo>
                      <a:pt x="212" y="13"/>
                    </a:lnTo>
                    <a:lnTo>
                      <a:pt x="186" y="14"/>
                    </a:lnTo>
                    <a:lnTo>
                      <a:pt x="178" y="15"/>
                    </a:lnTo>
                    <a:lnTo>
                      <a:pt x="171" y="15"/>
                    </a:lnTo>
                    <a:lnTo>
                      <a:pt x="168" y="14"/>
                    </a:lnTo>
                    <a:lnTo>
                      <a:pt x="167" y="12"/>
                    </a:lnTo>
                    <a:lnTo>
                      <a:pt x="159" y="16"/>
                    </a:lnTo>
                    <a:lnTo>
                      <a:pt x="152" y="17"/>
                    </a:lnTo>
                    <a:lnTo>
                      <a:pt x="147" y="17"/>
                    </a:lnTo>
                    <a:lnTo>
                      <a:pt x="141" y="15"/>
                    </a:lnTo>
                    <a:lnTo>
                      <a:pt x="137" y="12"/>
                    </a:lnTo>
                    <a:lnTo>
                      <a:pt x="133" y="9"/>
                    </a:lnTo>
                    <a:lnTo>
                      <a:pt x="129" y="5"/>
                    </a:lnTo>
                    <a:lnTo>
                      <a:pt x="126" y="0"/>
                    </a:lnTo>
                    <a:lnTo>
                      <a:pt x="121" y="2"/>
                    </a:lnTo>
                    <a:lnTo>
                      <a:pt x="113" y="4"/>
                    </a:lnTo>
                    <a:lnTo>
                      <a:pt x="103" y="5"/>
                    </a:lnTo>
                    <a:lnTo>
                      <a:pt x="93" y="5"/>
                    </a:lnTo>
                    <a:lnTo>
                      <a:pt x="74" y="6"/>
                    </a:lnTo>
                    <a:lnTo>
                      <a:pt x="60" y="6"/>
                    </a:lnTo>
                    <a:lnTo>
                      <a:pt x="58" y="9"/>
                    </a:lnTo>
                    <a:lnTo>
                      <a:pt x="56" y="12"/>
                    </a:lnTo>
                    <a:lnTo>
                      <a:pt x="54" y="15"/>
                    </a:lnTo>
                    <a:lnTo>
                      <a:pt x="50" y="17"/>
                    </a:lnTo>
                    <a:lnTo>
                      <a:pt x="42" y="20"/>
                    </a:lnTo>
                    <a:lnTo>
                      <a:pt x="33" y="22"/>
                    </a:lnTo>
                    <a:lnTo>
                      <a:pt x="14" y="24"/>
                    </a:lnTo>
                    <a:lnTo>
                      <a:pt x="0" y="24"/>
                    </a:lnTo>
                    <a:lnTo>
                      <a:pt x="1" y="27"/>
                    </a:lnTo>
                    <a:lnTo>
                      <a:pt x="3" y="29"/>
                    </a:lnTo>
                    <a:lnTo>
                      <a:pt x="5" y="31"/>
                    </a:lnTo>
                    <a:lnTo>
                      <a:pt x="9" y="33"/>
                    </a:lnTo>
                    <a:lnTo>
                      <a:pt x="17" y="35"/>
                    </a:lnTo>
                    <a:lnTo>
                      <a:pt x="27" y="36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42" name="Freeform 549">
                <a:extLst>
                  <a:ext uri="{FF2B5EF4-FFF2-40B4-BE49-F238E27FC236}">
                    <a16:creationId xmlns:a16="http://schemas.microsoft.com/office/drawing/2014/main" id="{527ECA8A-E5FB-4D6F-820F-0F0A62AD8718}"/>
                  </a:ext>
                </a:extLst>
              </p:cNvPr>
              <p:cNvSpPr>
                <a:spLocks/>
              </p:cNvSpPr>
              <p:nvPr>
                <p:custDataLst>
                  <p:tags r:id="rId380"/>
                </p:custDataLst>
              </p:nvPr>
            </p:nvSpPr>
            <p:spPr bwMode="auto">
              <a:xfrm>
                <a:off x="5260295" y="1996713"/>
                <a:ext cx="76013" cy="65046"/>
              </a:xfrm>
              <a:custGeom>
                <a:avLst/>
                <a:gdLst>
                  <a:gd name="T0" fmla="*/ 18707356 w 149"/>
                  <a:gd name="T1" fmla="*/ 0 h 61"/>
                  <a:gd name="T2" fmla="*/ 21431889 w 149"/>
                  <a:gd name="T3" fmla="*/ 877861 h 61"/>
                  <a:gd name="T4" fmla="*/ 24337547 w 149"/>
                  <a:gd name="T5" fmla="*/ 2633584 h 61"/>
                  <a:gd name="T6" fmla="*/ 26335453 w 149"/>
                  <a:gd name="T7" fmla="*/ 4388370 h 61"/>
                  <a:gd name="T8" fmla="*/ 27062081 w 149"/>
                  <a:gd name="T9" fmla="*/ 5266232 h 61"/>
                  <a:gd name="T10" fmla="*/ 27062081 w 149"/>
                  <a:gd name="T11" fmla="*/ 7021955 h 61"/>
                  <a:gd name="T12" fmla="*/ 26698980 w 149"/>
                  <a:gd name="T13" fmla="*/ 8777678 h 61"/>
                  <a:gd name="T14" fmla="*/ 26335453 w 149"/>
                  <a:gd name="T15" fmla="*/ 10533401 h 61"/>
                  <a:gd name="T16" fmla="*/ 25609252 w 149"/>
                  <a:gd name="T17" fmla="*/ 11411262 h 61"/>
                  <a:gd name="T18" fmla="*/ 24882624 w 149"/>
                  <a:gd name="T19" fmla="*/ 12288187 h 61"/>
                  <a:gd name="T20" fmla="*/ 23974446 w 149"/>
                  <a:gd name="T21" fmla="*/ 12288187 h 61"/>
                  <a:gd name="T22" fmla="*/ 23066268 w 149"/>
                  <a:gd name="T23" fmla="*/ 12288187 h 61"/>
                  <a:gd name="T24" fmla="*/ 22339641 w 149"/>
                  <a:gd name="T25" fmla="*/ 10533401 h 61"/>
                  <a:gd name="T26" fmla="*/ 22339641 w 149"/>
                  <a:gd name="T27" fmla="*/ 20188003 h 61"/>
                  <a:gd name="T28" fmla="*/ 22339641 w 149"/>
                  <a:gd name="T29" fmla="*/ 28965681 h 61"/>
                  <a:gd name="T30" fmla="*/ 22339641 w 149"/>
                  <a:gd name="T31" fmla="*/ 35987636 h 61"/>
                  <a:gd name="T32" fmla="*/ 22339641 w 149"/>
                  <a:gd name="T33" fmla="*/ 43009591 h 61"/>
                  <a:gd name="T34" fmla="*/ 21068362 w 149"/>
                  <a:gd name="T35" fmla="*/ 43887452 h 61"/>
                  <a:gd name="T36" fmla="*/ 19797084 w 149"/>
                  <a:gd name="T37" fmla="*/ 44765314 h 61"/>
                  <a:gd name="T38" fmla="*/ 18888906 w 149"/>
                  <a:gd name="T39" fmla="*/ 46521037 h 61"/>
                  <a:gd name="T40" fmla="*/ 18162279 w 149"/>
                  <a:gd name="T41" fmla="*/ 48276760 h 61"/>
                  <a:gd name="T42" fmla="*/ 17072550 w 149"/>
                  <a:gd name="T43" fmla="*/ 50031546 h 61"/>
                  <a:gd name="T44" fmla="*/ 16164799 w 149"/>
                  <a:gd name="T45" fmla="*/ 51787269 h 61"/>
                  <a:gd name="T46" fmla="*/ 15074644 w 149"/>
                  <a:gd name="T47" fmla="*/ 53542992 h 61"/>
                  <a:gd name="T48" fmla="*/ 13803366 w 149"/>
                  <a:gd name="T49" fmla="*/ 53542992 h 61"/>
                  <a:gd name="T50" fmla="*/ 12168987 w 149"/>
                  <a:gd name="T51" fmla="*/ 52665130 h 61"/>
                  <a:gd name="T52" fmla="*/ 9626003 w 149"/>
                  <a:gd name="T53" fmla="*/ 50031546 h 61"/>
                  <a:gd name="T54" fmla="*/ 7083446 w 149"/>
                  <a:gd name="T55" fmla="*/ 47398898 h 61"/>
                  <a:gd name="T56" fmla="*/ 4540463 w 149"/>
                  <a:gd name="T57" fmla="*/ 43009591 h 61"/>
                  <a:gd name="T58" fmla="*/ 2179456 w 149"/>
                  <a:gd name="T59" fmla="*/ 39499082 h 61"/>
                  <a:gd name="T60" fmla="*/ 545077 w 149"/>
                  <a:gd name="T61" fmla="*/ 35987636 h 61"/>
                  <a:gd name="T62" fmla="*/ 181550 w 149"/>
                  <a:gd name="T63" fmla="*/ 34232850 h 61"/>
                  <a:gd name="T64" fmla="*/ 0 w 149"/>
                  <a:gd name="T65" fmla="*/ 33354989 h 61"/>
                  <a:gd name="T66" fmla="*/ 0 w 149"/>
                  <a:gd name="T67" fmla="*/ 32477127 h 61"/>
                  <a:gd name="T68" fmla="*/ 545077 w 149"/>
                  <a:gd name="T69" fmla="*/ 32477127 h 61"/>
                  <a:gd name="T70" fmla="*/ 3450735 w 149"/>
                  <a:gd name="T71" fmla="*/ 31599266 h 61"/>
                  <a:gd name="T72" fmla="*/ 6356819 w 149"/>
                  <a:gd name="T73" fmla="*/ 30721404 h 61"/>
                  <a:gd name="T74" fmla="*/ 8717826 w 149"/>
                  <a:gd name="T75" fmla="*/ 28087820 h 61"/>
                  <a:gd name="T76" fmla="*/ 10897282 w 149"/>
                  <a:gd name="T77" fmla="*/ 23699449 h 61"/>
                  <a:gd name="T78" fmla="*/ 13077164 w 149"/>
                  <a:gd name="T79" fmla="*/ 19310142 h 61"/>
                  <a:gd name="T80" fmla="*/ 14893094 w 149"/>
                  <a:gd name="T81" fmla="*/ 14043910 h 61"/>
                  <a:gd name="T82" fmla="*/ 16891000 w 149"/>
                  <a:gd name="T83" fmla="*/ 7021955 h 61"/>
                  <a:gd name="T84" fmla="*/ 18707356 w 149"/>
                  <a:gd name="T85" fmla="*/ 0 h 61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0" t="0" r="r" b="b"/>
                <a:pathLst>
                  <a:path w="149" h="61">
                    <a:moveTo>
                      <a:pt x="103" y="0"/>
                    </a:moveTo>
                    <a:lnTo>
                      <a:pt x="118" y="1"/>
                    </a:lnTo>
                    <a:lnTo>
                      <a:pt x="134" y="3"/>
                    </a:lnTo>
                    <a:lnTo>
                      <a:pt x="145" y="5"/>
                    </a:lnTo>
                    <a:lnTo>
                      <a:pt x="149" y="6"/>
                    </a:lnTo>
                    <a:lnTo>
                      <a:pt x="149" y="8"/>
                    </a:lnTo>
                    <a:lnTo>
                      <a:pt x="147" y="10"/>
                    </a:lnTo>
                    <a:lnTo>
                      <a:pt x="145" y="12"/>
                    </a:lnTo>
                    <a:lnTo>
                      <a:pt x="141" y="13"/>
                    </a:lnTo>
                    <a:lnTo>
                      <a:pt x="137" y="14"/>
                    </a:lnTo>
                    <a:lnTo>
                      <a:pt x="132" y="14"/>
                    </a:lnTo>
                    <a:lnTo>
                      <a:pt x="127" y="14"/>
                    </a:lnTo>
                    <a:lnTo>
                      <a:pt x="123" y="12"/>
                    </a:lnTo>
                    <a:lnTo>
                      <a:pt x="123" y="23"/>
                    </a:lnTo>
                    <a:lnTo>
                      <a:pt x="123" y="33"/>
                    </a:lnTo>
                    <a:lnTo>
                      <a:pt x="123" y="41"/>
                    </a:lnTo>
                    <a:lnTo>
                      <a:pt x="123" y="49"/>
                    </a:lnTo>
                    <a:lnTo>
                      <a:pt x="116" y="50"/>
                    </a:lnTo>
                    <a:lnTo>
                      <a:pt x="109" y="51"/>
                    </a:lnTo>
                    <a:lnTo>
                      <a:pt x="104" y="53"/>
                    </a:lnTo>
                    <a:lnTo>
                      <a:pt x="100" y="55"/>
                    </a:lnTo>
                    <a:lnTo>
                      <a:pt x="94" y="57"/>
                    </a:lnTo>
                    <a:lnTo>
                      <a:pt x="89" y="59"/>
                    </a:lnTo>
                    <a:lnTo>
                      <a:pt x="83" y="61"/>
                    </a:lnTo>
                    <a:lnTo>
                      <a:pt x="76" y="61"/>
                    </a:lnTo>
                    <a:lnTo>
                      <a:pt x="67" y="60"/>
                    </a:lnTo>
                    <a:lnTo>
                      <a:pt x="53" y="57"/>
                    </a:lnTo>
                    <a:lnTo>
                      <a:pt x="39" y="54"/>
                    </a:lnTo>
                    <a:lnTo>
                      <a:pt x="25" y="49"/>
                    </a:lnTo>
                    <a:lnTo>
                      <a:pt x="12" y="45"/>
                    </a:lnTo>
                    <a:lnTo>
                      <a:pt x="3" y="41"/>
                    </a:lnTo>
                    <a:lnTo>
                      <a:pt x="1" y="39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3" y="37"/>
                    </a:lnTo>
                    <a:lnTo>
                      <a:pt x="19" y="36"/>
                    </a:lnTo>
                    <a:lnTo>
                      <a:pt x="35" y="35"/>
                    </a:lnTo>
                    <a:lnTo>
                      <a:pt x="48" y="32"/>
                    </a:lnTo>
                    <a:lnTo>
                      <a:pt x="60" y="27"/>
                    </a:lnTo>
                    <a:lnTo>
                      <a:pt x="72" y="22"/>
                    </a:lnTo>
                    <a:lnTo>
                      <a:pt x="82" y="16"/>
                    </a:lnTo>
                    <a:lnTo>
                      <a:pt x="93" y="8"/>
                    </a:lnTo>
                    <a:lnTo>
                      <a:pt x="103" y="0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43" name="Freeform 550">
                <a:extLst>
                  <a:ext uri="{FF2B5EF4-FFF2-40B4-BE49-F238E27FC236}">
                    <a16:creationId xmlns:a16="http://schemas.microsoft.com/office/drawing/2014/main" id="{E08BB7B0-9F0C-4834-BC25-DFC04CA90E4F}"/>
                  </a:ext>
                </a:extLst>
              </p:cNvPr>
              <p:cNvSpPr>
                <a:spLocks/>
              </p:cNvSpPr>
              <p:nvPr>
                <p:custDataLst>
                  <p:tags r:id="rId381"/>
                </p:custDataLst>
              </p:nvPr>
            </p:nvSpPr>
            <p:spPr bwMode="auto">
              <a:xfrm>
                <a:off x="5303731" y="2005504"/>
                <a:ext cx="157454" cy="65044"/>
              </a:xfrm>
              <a:custGeom>
                <a:avLst/>
                <a:gdLst>
                  <a:gd name="T0" fmla="*/ 25209542 w 299"/>
                  <a:gd name="T1" fmla="*/ 42943591 h 74"/>
                  <a:gd name="T2" fmla="*/ 29190111 w 299"/>
                  <a:gd name="T3" fmla="*/ 38768552 h 74"/>
                  <a:gd name="T4" fmla="*/ 33738835 w 299"/>
                  <a:gd name="T5" fmla="*/ 32207886 h 74"/>
                  <a:gd name="T6" fmla="*/ 37719404 w 299"/>
                  <a:gd name="T7" fmla="*/ 25050235 h 74"/>
                  <a:gd name="T8" fmla="*/ 39235790 w 299"/>
                  <a:gd name="T9" fmla="*/ 23857808 h 74"/>
                  <a:gd name="T10" fmla="*/ 39994201 w 299"/>
                  <a:gd name="T11" fmla="*/ 27436634 h 74"/>
                  <a:gd name="T12" fmla="*/ 41699972 w 299"/>
                  <a:gd name="T13" fmla="*/ 30418474 h 74"/>
                  <a:gd name="T14" fmla="*/ 46059311 w 299"/>
                  <a:gd name="T15" fmla="*/ 32804100 h 74"/>
                  <a:gd name="T16" fmla="*/ 50987675 w 299"/>
                  <a:gd name="T17" fmla="*/ 32804100 h 74"/>
                  <a:gd name="T18" fmla="*/ 54209833 w 299"/>
                  <a:gd name="T19" fmla="*/ 32804100 h 74"/>
                  <a:gd name="T20" fmla="*/ 55536835 w 299"/>
                  <a:gd name="T21" fmla="*/ 27436634 h 74"/>
                  <a:gd name="T22" fmla="*/ 56484630 w 299"/>
                  <a:gd name="T23" fmla="*/ 18489570 h 74"/>
                  <a:gd name="T24" fmla="*/ 52883267 w 299"/>
                  <a:gd name="T25" fmla="*/ 14910744 h 74"/>
                  <a:gd name="T26" fmla="*/ 46249131 w 299"/>
                  <a:gd name="T27" fmla="*/ 14910744 h 74"/>
                  <a:gd name="T28" fmla="*/ 42647768 w 299"/>
                  <a:gd name="T29" fmla="*/ 14910744 h 74"/>
                  <a:gd name="T30" fmla="*/ 40562791 w 299"/>
                  <a:gd name="T31" fmla="*/ 16103943 h 74"/>
                  <a:gd name="T32" fmla="*/ 38667199 w 299"/>
                  <a:gd name="T33" fmla="*/ 19682769 h 74"/>
                  <a:gd name="T34" fmla="*/ 32601654 w 299"/>
                  <a:gd name="T35" fmla="*/ 22068395 h 74"/>
                  <a:gd name="T36" fmla="*/ 33360065 w 299"/>
                  <a:gd name="T37" fmla="*/ 16700157 h 74"/>
                  <a:gd name="T38" fmla="*/ 34118040 w 299"/>
                  <a:gd name="T39" fmla="*/ 12525118 h 74"/>
                  <a:gd name="T40" fmla="*/ 36771608 w 299"/>
                  <a:gd name="T41" fmla="*/ 7753865 h 74"/>
                  <a:gd name="T42" fmla="*/ 39804380 w 299"/>
                  <a:gd name="T43" fmla="*/ 5368239 h 74"/>
                  <a:gd name="T44" fmla="*/ 42647768 w 299"/>
                  <a:gd name="T45" fmla="*/ 0 h 74"/>
                  <a:gd name="T46" fmla="*/ 35065836 w 299"/>
                  <a:gd name="T47" fmla="*/ 1789413 h 74"/>
                  <a:gd name="T48" fmla="*/ 29758702 w 299"/>
                  <a:gd name="T49" fmla="*/ 6560666 h 74"/>
                  <a:gd name="T50" fmla="*/ 25398928 w 299"/>
                  <a:gd name="T51" fmla="*/ 14910744 h 74"/>
                  <a:gd name="T52" fmla="*/ 21608179 w 299"/>
                  <a:gd name="T53" fmla="*/ 23857808 h 74"/>
                  <a:gd name="T54" fmla="*/ 18954612 w 299"/>
                  <a:gd name="T55" fmla="*/ 31611673 h 74"/>
                  <a:gd name="T56" fmla="*/ 16490430 w 299"/>
                  <a:gd name="T57" fmla="*/ 35190499 h 74"/>
                  <a:gd name="T58" fmla="*/ 12131091 w 299"/>
                  <a:gd name="T59" fmla="*/ 37576125 h 74"/>
                  <a:gd name="T60" fmla="*/ 6065545 w 299"/>
                  <a:gd name="T61" fmla="*/ 38172339 h 74"/>
                  <a:gd name="T62" fmla="*/ 2274362 w 299"/>
                  <a:gd name="T63" fmla="*/ 39961751 h 74"/>
                  <a:gd name="T64" fmla="*/ 379205 w 299"/>
                  <a:gd name="T65" fmla="*/ 41751164 h 74"/>
                  <a:gd name="T66" fmla="*/ 7392111 w 299"/>
                  <a:gd name="T67" fmla="*/ 44136791 h 74"/>
                  <a:gd name="T68" fmla="*/ 19333817 w 299"/>
                  <a:gd name="T69" fmla="*/ 44136791 h 74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0" t="0" r="r" b="b"/>
                <a:pathLst>
                  <a:path w="299" h="74">
                    <a:moveTo>
                      <a:pt x="126" y="74"/>
                    </a:moveTo>
                    <a:lnTo>
                      <a:pt x="133" y="72"/>
                    </a:lnTo>
                    <a:lnTo>
                      <a:pt x="142" y="69"/>
                    </a:lnTo>
                    <a:lnTo>
                      <a:pt x="154" y="65"/>
                    </a:lnTo>
                    <a:lnTo>
                      <a:pt x="166" y="60"/>
                    </a:lnTo>
                    <a:lnTo>
                      <a:pt x="178" y="54"/>
                    </a:lnTo>
                    <a:lnTo>
                      <a:pt x="189" y="48"/>
                    </a:lnTo>
                    <a:lnTo>
                      <a:pt x="199" y="42"/>
                    </a:lnTo>
                    <a:lnTo>
                      <a:pt x="205" y="37"/>
                    </a:lnTo>
                    <a:lnTo>
                      <a:pt x="207" y="40"/>
                    </a:lnTo>
                    <a:lnTo>
                      <a:pt x="209" y="43"/>
                    </a:lnTo>
                    <a:lnTo>
                      <a:pt x="211" y="46"/>
                    </a:lnTo>
                    <a:lnTo>
                      <a:pt x="214" y="48"/>
                    </a:lnTo>
                    <a:lnTo>
                      <a:pt x="220" y="51"/>
                    </a:lnTo>
                    <a:lnTo>
                      <a:pt x="227" y="53"/>
                    </a:lnTo>
                    <a:lnTo>
                      <a:pt x="243" y="55"/>
                    </a:lnTo>
                    <a:lnTo>
                      <a:pt x="259" y="55"/>
                    </a:lnTo>
                    <a:lnTo>
                      <a:pt x="269" y="55"/>
                    </a:lnTo>
                    <a:lnTo>
                      <a:pt x="278" y="55"/>
                    </a:lnTo>
                    <a:lnTo>
                      <a:pt x="286" y="55"/>
                    </a:lnTo>
                    <a:lnTo>
                      <a:pt x="292" y="55"/>
                    </a:lnTo>
                    <a:lnTo>
                      <a:pt x="293" y="46"/>
                    </a:lnTo>
                    <a:lnTo>
                      <a:pt x="295" y="38"/>
                    </a:lnTo>
                    <a:lnTo>
                      <a:pt x="298" y="31"/>
                    </a:lnTo>
                    <a:lnTo>
                      <a:pt x="299" y="25"/>
                    </a:lnTo>
                    <a:lnTo>
                      <a:pt x="279" y="25"/>
                    </a:lnTo>
                    <a:lnTo>
                      <a:pt x="260" y="25"/>
                    </a:lnTo>
                    <a:lnTo>
                      <a:pt x="244" y="25"/>
                    </a:lnTo>
                    <a:lnTo>
                      <a:pt x="232" y="25"/>
                    </a:lnTo>
                    <a:lnTo>
                      <a:pt x="225" y="25"/>
                    </a:lnTo>
                    <a:lnTo>
                      <a:pt x="220" y="26"/>
                    </a:lnTo>
                    <a:lnTo>
                      <a:pt x="214" y="27"/>
                    </a:lnTo>
                    <a:lnTo>
                      <a:pt x="211" y="29"/>
                    </a:lnTo>
                    <a:lnTo>
                      <a:pt x="204" y="33"/>
                    </a:lnTo>
                    <a:lnTo>
                      <a:pt x="199" y="37"/>
                    </a:lnTo>
                    <a:lnTo>
                      <a:pt x="172" y="37"/>
                    </a:lnTo>
                    <a:lnTo>
                      <a:pt x="174" y="32"/>
                    </a:lnTo>
                    <a:lnTo>
                      <a:pt x="176" y="28"/>
                    </a:lnTo>
                    <a:lnTo>
                      <a:pt x="178" y="24"/>
                    </a:lnTo>
                    <a:lnTo>
                      <a:pt x="180" y="21"/>
                    </a:lnTo>
                    <a:lnTo>
                      <a:pt x="187" y="16"/>
                    </a:lnTo>
                    <a:lnTo>
                      <a:pt x="194" y="13"/>
                    </a:lnTo>
                    <a:lnTo>
                      <a:pt x="202" y="11"/>
                    </a:lnTo>
                    <a:lnTo>
                      <a:pt x="210" y="9"/>
                    </a:lnTo>
                    <a:lnTo>
                      <a:pt x="217" y="5"/>
                    </a:lnTo>
                    <a:lnTo>
                      <a:pt x="225" y="0"/>
                    </a:lnTo>
                    <a:lnTo>
                      <a:pt x="199" y="0"/>
                    </a:lnTo>
                    <a:lnTo>
                      <a:pt x="185" y="3"/>
                    </a:lnTo>
                    <a:lnTo>
                      <a:pt x="170" y="7"/>
                    </a:lnTo>
                    <a:lnTo>
                      <a:pt x="157" y="11"/>
                    </a:lnTo>
                    <a:lnTo>
                      <a:pt x="145" y="18"/>
                    </a:lnTo>
                    <a:lnTo>
                      <a:pt x="134" y="25"/>
                    </a:lnTo>
                    <a:lnTo>
                      <a:pt x="123" y="32"/>
                    </a:lnTo>
                    <a:lnTo>
                      <a:pt x="114" y="40"/>
                    </a:lnTo>
                    <a:lnTo>
                      <a:pt x="105" y="49"/>
                    </a:lnTo>
                    <a:lnTo>
                      <a:pt x="100" y="53"/>
                    </a:lnTo>
                    <a:lnTo>
                      <a:pt x="95" y="56"/>
                    </a:lnTo>
                    <a:lnTo>
                      <a:pt x="87" y="59"/>
                    </a:lnTo>
                    <a:lnTo>
                      <a:pt x="80" y="61"/>
                    </a:lnTo>
                    <a:lnTo>
                      <a:pt x="64" y="63"/>
                    </a:lnTo>
                    <a:lnTo>
                      <a:pt x="47" y="64"/>
                    </a:lnTo>
                    <a:lnTo>
                      <a:pt x="32" y="64"/>
                    </a:lnTo>
                    <a:lnTo>
                      <a:pt x="18" y="65"/>
                    </a:lnTo>
                    <a:lnTo>
                      <a:pt x="12" y="67"/>
                    </a:lnTo>
                    <a:lnTo>
                      <a:pt x="7" y="68"/>
                    </a:lnTo>
                    <a:lnTo>
                      <a:pt x="2" y="70"/>
                    </a:lnTo>
                    <a:lnTo>
                      <a:pt x="0" y="74"/>
                    </a:lnTo>
                    <a:lnTo>
                      <a:pt x="39" y="74"/>
                    </a:lnTo>
                    <a:lnTo>
                      <a:pt x="73" y="74"/>
                    </a:lnTo>
                    <a:lnTo>
                      <a:pt x="102" y="74"/>
                    </a:lnTo>
                    <a:lnTo>
                      <a:pt x="126" y="74"/>
                    </a:lnTo>
                  </a:path>
                </a:pathLst>
              </a:custGeom>
              <a:solidFill>
                <a:srgbClr val="C0C0C0"/>
              </a:solidFill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marL="0" marR="0" lvl="0" indent="0" algn="l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Arial"/>
                </a:endParaRPr>
              </a:p>
            </p:txBody>
          </p:sp>
          <p:sp>
            <p:nvSpPr>
              <p:cNvPr id="944" name="Rectangle 2065">
                <a:extLst>
                  <a:ext uri="{FF2B5EF4-FFF2-40B4-BE49-F238E27FC236}">
                    <a16:creationId xmlns:a16="http://schemas.microsoft.com/office/drawing/2014/main" id="{95CC8EB0-F969-47B6-8E77-7DFD8617B0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82840" y="2088318"/>
                <a:ext cx="1065797" cy="204446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1" i="0" u="dbl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LATIN AMERIC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Cub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Ecuador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El Salvador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Nicaragu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C0000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Panam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Paraguay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Uruguay</a:t>
                </a:r>
              </a:p>
            </p:txBody>
          </p:sp>
          <p:sp>
            <p:nvSpPr>
              <p:cNvPr id="945" name="Rectangle 2068">
                <a:extLst>
                  <a:ext uri="{FF2B5EF4-FFF2-40B4-BE49-F238E27FC236}">
                    <a16:creationId xmlns:a16="http://schemas.microsoft.com/office/drawing/2014/main" id="{823B7242-2E9D-49FE-A045-B05033BDE8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05872" y="3756704"/>
                <a:ext cx="1455378" cy="13958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1" i="0" u="dbl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MENA</a:t>
                </a:r>
                <a:endParaRPr kumimoji="0" lang="en-US" altLang="en-US" sz="1600" b="1" i="0" u="dbl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endParaRP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Egypt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Jordan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Lebanon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Sudan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70C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Tunisia</a:t>
                </a:r>
              </a:p>
            </p:txBody>
          </p:sp>
          <p:sp>
            <p:nvSpPr>
              <p:cNvPr id="946" name="Rectangle 2069">
                <a:extLst>
                  <a:ext uri="{FF2B5EF4-FFF2-40B4-BE49-F238E27FC236}">
                    <a16:creationId xmlns:a16="http://schemas.microsoft.com/office/drawing/2014/main" id="{BFABF2A2-5D9A-4888-955E-B9DE2C91B9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31290" y="2965355"/>
                <a:ext cx="1429720" cy="336984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800" b="1" i="0" u="dbl" strike="noStrike" kern="1200" cap="none" spc="0" normalizeH="0" baseline="0" noProof="0" dirty="0">
                    <a:ln>
                      <a:noFill/>
                    </a:ln>
                    <a:solidFill>
                      <a:srgbClr val="FFFFFF">
                        <a:lumMod val="50000"/>
                      </a:srgbClr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SS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Benin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Botswan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Eswatini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Gabon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Gambi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Liberi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Mali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Mozambique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Niger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Nigeri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Rwand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South Afric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Ugand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Zambia</a:t>
                </a:r>
              </a:p>
              <a:p>
                <a:pPr marL="0" marR="0" lvl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Calibri" panose="020F0502020204030204" pitchFamily="34" charset="0"/>
                    <a:ea typeface="MS PGothic" panose="020B0600070205080204" pitchFamily="34" charset="-128"/>
                    <a:cs typeface="Arial"/>
                  </a:rPr>
                  <a:t>Zimbabwe</a:t>
                </a:r>
              </a:p>
            </p:txBody>
          </p:sp>
        </p:grpSp>
        <p:sp>
          <p:nvSpPr>
            <p:cNvPr id="562" name="Rectangle 1683">
              <a:extLst>
                <a:ext uri="{FF2B5EF4-FFF2-40B4-BE49-F238E27FC236}">
                  <a16:creationId xmlns:a16="http://schemas.microsoft.com/office/drawing/2014/main" id="{680F5163-F3BA-4EA3-AE69-BAEFF9F4FB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308043" y="4265238"/>
              <a:ext cx="1227846" cy="23296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800" b="1" i="0" u="dbl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ASIA</a:t>
              </a:r>
              <a:endParaRPr kumimoji="0" lang="en-US" altLang="en-US" sz="1600" b="1" i="0" u="dbl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endParaRP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Azerbaijan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Bhutan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Cambodia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Indonesia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Kazakhstan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Kyrgyzstan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Mongolia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Myanmar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Philippines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Thailand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 panose="020F0502020204030204" pitchFamily="34" charset="0"/>
                  <a:ea typeface="MS PGothic" panose="020B0600070205080204" pitchFamily="34" charset="-128"/>
                  <a:cs typeface="Arial"/>
                </a:rPr>
                <a:t>Uzbekistan</a:t>
              </a:r>
            </a:p>
          </p:txBody>
        </p:sp>
      </p:grpSp>
      <p:sp>
        <p:nvSpPr>
          <p:cNvPr id="1113" name="Rectangle 2068">
            <a:extLst>
              <a:ext uri="{FF2B5EF4-FFF2-40B4-BE49-F238E27FC236}">
                <a16:creationId xmlns:a16="http://schemas.microsoft.com/office/drawing/2014/main" id="{6813EADE-B485-4B6B-B5CA-4DF3E2327F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36627" y="815769"/>
            <a:ext cx="1453457" cy="17697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dbl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EUROPE</a:t>
            </a:r>
            <a:endParaRPr kumimoji="0" lang="en-US" altLang="en-US" sz="1600" b="1" i="0" u="dbl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Albani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Belarus</a:t>
            </a:r>
            <a:endParaRPr kumimoji="0" lang="en-US" altLang="en-US" sz="1400" b="1" i="0" u="none" strike="noStrike" kern="1200" cap="none" spc="0" normalizeH="0" baseline="0" noProof="0" dirty="0">
              <a:ln>
                <a:noFill/>
              </a:ln>
              <a:solidFill>
                <a:srgbClr val="0D8CE3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D8CE3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Georgi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N. Macedoni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D8CE3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Turkey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114" name="Slide Number Placeholder 3">
            <a:extLst>
              <a:ext uri="{FF2B5EF4-FFF2-40B4-BE49-F238E27FC236}">
                <a16:creationId xmlns:a16="http://schemas.microsoft.com/office/drawing/2014/main" id="{8E7F01B9-2F51-4D2B-BBA3-305DBAD478AE}"/>
              </a:ext>
            </a:extLst>
          </p:cNvPr>
          <p:cNvSpPr txBox="1">
            <a:spLocks/>
          </p:cNvSpPr>
          <p:nvPr/>
        </p:nvSpPr>
        <p:spPr bwMode="auto">
          <a:xfrm>
            <a:off x="10667328" y="6329783"/>
            <a:ext cx="4889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indent="-319088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indent="-255588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indent="-255588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indent="-255588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03488" indent="-255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60688" indent="-255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17888" indent="-255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75088" indent="-2555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11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Calibri" panose="020F0502020204030204" pitchFamily="34" charset="0"/>
            </a:endParaRPr>
          </a:p>
        </p:txBody>
      </p:sp>
      <p:graphicFrame>
        <p:nvGraphicFramePr>
          <p:cNvPr id="1115" name="Table 1114">
            <a:extLst>
              <a:ext uri="{FF2B5EF4-FFF2-40B4-BE49-F238E27FC236}">
                <a16:creationId xmlns:a16="http://schemas.microsoft.com/office/drawing/2014/main" id="{B30D4F0F-43AE-4B7C-AE0F-03CE298882E0}"/>
              </a:ext>
            </a:extLst>
          </p:cNvPr>
          <p:cNvGraphicFramePr>
            <a:graphicFrameLocks noGrp="1"/>
          </p:cNvGraphicFramePr>
          <p:nvPr/>
        </p:nvGraphicFramePr>
        <p:xfrm>
          <a:off x="10113271" y="1220844"/>
          <a:ext cx="1963994" cy="49377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63994">
                  <a:extLst>
                    <a:ext uri="{9D8B030D-6E8A-4147-A177-3AD203B41FA5}">
                      <a16:colId xmlns:a16="http://schemas.microsoft.com/office/drawing/2014/main" val="3068701112"/>
                    </a:ext>
                  </a:extLst>
                </a:gridCol>
              </a:tblGrid>
              <a:tr h="273812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800" b="1" u="dbl" kern="1200" baseline="0">
                          <a:solidFill>
                            <a:schemeClr val="bg1">
                              <a:lumMod val="50000"/>
                            </a:schemeClr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SIDS</a:t>
                      </a:r>
                      <a:endParaRPr lang="en-US" altLang="en-US" sz="1600" b="1" u="dbl" kern="1200" baseline="0">
                        <a:solidFill>
                          <a:schemeClr val="bg1">
                            <a:lumMod val="50000"/>
                          </a:schemeClr>
                        </a:solidFill>
                        <a:latin typeface="Calibri" panose="020F0502020204030204" pitchFamily="34" charset="0"/>
                        <a:ea typeface="MS PGothic" panose="020B0600070205080204" pitchFamily="34" charset="-128"/>
                        <a:cs typeface="+mn-cs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7784435"/>
                  </a:ext>
                </a:extLst>
              </a:tr>
              <a:tr h="1212415"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Antigua &amp; Barbuda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0D7FF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Bahamas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Barbados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Belize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0D7FF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Dominica</a:t>
                      </a:r>
                    </a:p>
                    <a:p>
                      <a:pPr marL="0" marR="0" lvl="0" indent="0" algn="ctr" defTabSz="10235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en-US" sz="1400" b="1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</a:rPr>
                        <a:t>Dominican Republic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Fiji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Grenada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Guyana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Nauru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0D7FF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Palau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Papua New Guinea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Saint Kitts &amp; Nevis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Saint Lucia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Samoa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Sao Tome &amp; Principe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00B05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Seychelles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St Vincent &amp; Grenadines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7030A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Tonga</a:t>
                      </a: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en-US" sz="1400" b="1" kern="1200" dirty="0">
                          <a:solidFill>
                            <a:srgbClr val="C00000"/>
                          </a:solidFill>
                          <a:latin typeface="Calibri" panose="020F0502020204030204" pitchFamily="34" charset="0"/>
                          <a:ea typeface="MS PGothic" panose="020B0600070205080204" pitchFamily="34" charset="-128"/>
                          <a:cs typeface="+mn-cs"/>
                        </a:rPr>
                        <a:t>Vanuatu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53040520"/>
                  </a:ext>
                </a:extLst>
              </a:tr>
            </a:tbl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384">
            <p14:nvContentPartPr>
              <p14:cNvPr id="56" name="Ink 55">
                <a:extLst>
                  <a:ext uri="{FF2B5EF4-FFF2-40B4-BE49-F238E27FC236}">
                    <a16:creationId xmlns:a16="http://schemas.microsoft.com/office/drawing/2014/main" id="{D45F63E1-7BA5-454C-8A6E-83846F1815C2}"/>
                  </a:ext>
                </a:extLst>
              </p14:cNvPr>
              <p14:cNvContentPartPr/>
              <p14:nvPr/>
            </p14:nvContentPartPr>
            <p14:xfrm>
              <a:off x="6208196" y="3548894"/>
              <a:ext cx="340200" cy="315398"/>
            </p14:xfrm>
          </p:contentPart>
        </mc:Choice>
        <mc:Fallback xmlns="">
          <p:pic>
            <p:nvPicPr>
              <p:cNvPr id="56" name="Ink 55">
                <a:extLst>
                  <a:ext uri="{FF2B5EF4-FFF2-40B4-BE49-F238E27FC236}">
                    <a16:creationId xmlns:a16="http://schemas.microsoft.com/office/drawing/2014/main" id="{D45F63E1-7BA5-454C-8A6E-83846F1815C2}"/>
                  </a:ext>
                </a:extLst>
              </p:cNvPr>
              <p:cNvPicPr/>
              <p:nvPr/>
            </p:nvPicPr>
            <p:blipFill>
              <a:blip r:embed="rId385"/>
              <a:stretch>
                <a:fillRect/>
              </a:stretch>
            </p:blipFill>
            <p:spPr>
              <a:xfrm>
                <a:off x="6203881" y="3544578"/>
                <a:ext cx="353506" cy="32870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386">
            <p14:nvContentPartPr>
              <p14:cNvPr id="57" name="Ink 56">
                <a:extLst>
                  <a:ext uri="{FF2B5EF4-FFF2-40B4-BE49-F238E27FC236}">
                    <a16:creationId xmlns:a16="http://schemas.microsoft.com/office/drawing/2014/main" id="{991F0413-3D18-42F0-886D-310CF3E87343}"/>
                  </a:ext>
                </a:extLst>
              </p14:cNvPr>
              <p14:cNvContentPartPr/>
              <p14:nvPr/>
            </p14:nvContentPartPr>
            <p14:xfrm>
              <a:off x="402950" y="6048802"/>
              <a:ext cx="360" cy="360"/>
            </p14:xfrm>
          </p:contentPart>
        </mc:Choice>
        <mc:Fallback xmlns="">
          <p:pic>
            <p:nvPicPr>
              <p:cNvPr id="57" name="Ink 56">
                <a:extLst>
                  <a:ext uri="{FF2B5EF4-FFF2-40B4-BE49-F238E27FC236}">
                    <a16:creationId xmlns:a16="http://schemas.microsoft.com/office/drawing/2014/main" id="{991F0413-3D18-42F0-886D-310CF3E87343}"/>
                  </a:ext>
                </a:extLst>
              </p:cNvPr>
              <p:cNvPicPr/>
              <p:nvPr/>
            </p:nvPicPr>
            <p:blipFill>
              <a:blip r:embed="rId387"/>
              <a:stretch>
                <a:fillRect/>
              </a:stretch>
            </p:blipFill>
            <p:spPr>
              <a:xfrm>
                <a:off x="398630" y="6044482"/>
                <a:ext cx="9000" cy="9000"/>
              </a:xfrm>
              <a:prstGeom prst="rect">
                <a:avLst/>
              </a:prstGeom>
            </p:spPr>
          </p:pic>
        </mc:Fallback>
      </mc:AlternateContent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E88E555-6395-461E-AD73-A362A15EEC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683203" y="6344070"/>
            <a:ext cx="450850" cy="306388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E2F8765-B852-1248-A10E-BC6B672CEE44}" type="slidenum">
              <a:rPr kumimoji="0" lang="de-DE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srgbClr val="646464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rial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altLang="en-US" sz="1100" b="0" i="0" u="none" strike="noStrike" kern="1200" cap="none" spc="0" normalizeH="0" baseline="0" noProof="0">
              <a:ln>
                <a:noFill/>
              </a:ln>
              <a:solidFill>
                <a:srgbClr val="646464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rial"/>
            </a:endParaRPr>
          </a:p>
        </p:txBody>
      </p:sp>
      <p:sp>
        <p:nvSpPr>
          <p:cNvPr id="1112" name="Rectangle 2238">
            <a:extLst>
              <a:ext uri="{FF2B5EF4-FFF2-40B4-BE49-F238E27FC236}">
                <a16:creationId xmlns:a16="http://schemas.microsoft.com/office/drawing/2014/main" id="{700300FB-D604-4AD5-88C0-9D7A470D77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013" y="5595470"/>
            <a:ext cx="3985806" cy="1167894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>
            <a:lvl1pPr marL="2857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03488" indent="-2174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60688" indent="-2174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17888" indent="-2174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75088" indent="-21748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Input to NDC already provided (1)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Ongoing Implementation of Support (27)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Scope and work plan firmed-up (5)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D8CE3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Work plan under development (12)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Arial"/>
              </a:rPr>
              <a:t>Scoping/Initial Discussions (20)</a:t>
            </a:r>
          </a:p>
        </p:txBody>
      </p:sp>
      <p:sp>
        <p:nvSpPr>
          <p:cNvPr id="1117" name="TextBox 1116">
            <a:extLst>
              <a:ext uri="{FF2B5EF4-FFF2-40B4-BE49-F238E27FC236}">
                <a16:creationId xmlns:a16="http://schemas.microsoft.com/office/drawing/2014/main" id="{17986532-0C2C-4025-8231-186D7FAE8377}"/>
              </a:ext>
            </a:extLst>
          </p:cNvPr>
          <p:cNvSpPr txBox="1"/>
          <p:nvPr/>
        </p:nvSpPr>
        <p:spPr>
          <a:xfrm>
            <a:off x="292433" y="897611"/>
            <a:ext cx="3108960" cy="3983078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DC Enhancement Support</a:t>
            </a:r>
            <a:endParaRPr kumimoji="0" lang="en-US" sz="1500" b="0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ata and Statistic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source Assessment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Long Term Energy Planning (LTEP)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ower System Flexibility (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lexToo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newable Energy Roadmaps (REmap)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newable Readiness Assessment (RRA)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 Policy – Capacity Building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 Technology – Capacity Building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prstClr val="white"/>
              </a:buClr>
              <a:buSzPct val="120000"/>
              <a:buFontTx/>
              <a:buNone/>
              <a:tabLst/>
              <a:defRPr/>
            </a:pPr>
            <a:r>
              <a:rPr kumimoji="0" lang="en-GB" sz="1500" b="1" i="0" u="sng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NDC Implementation Support</a:t>
            </a:r>
            <a:endParaRPr kumimoji="0" lang="en-US" sz="1500" b="0" i="0" u="sng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Calibri" panose="020F0502020204030204" pitchFamily="34" charset="0"/>
            </a:endParaRPr>
          </a:p>
          <a:p>
            <a:pPr marL="442913" marR="0" lvl="0" indent="-442913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Technical Assistance</a:t>
            </a:r>
          </a:p>
          <a:p>
            <a:pPr marL="442913" marR="0" lvl="0" indent="-442913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Project Facilitation Support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1116" name="Rectangle 1115">
            <a:extLst>
              <a:ext uri="{FF2B5EF4-FFF2-40B4-BE49-F238E27FC236}">
                <a16:creationId xmlns:a16="http://schemas.microsoft.com/office/drawing/2014/main" id="{B5A16C42-2695-44BE-A496-4500AF06EEA6}"/>
              </a:ext>
            </a:extLst>
          </p:cNvPr>
          <p:cNvSpPr/>
          <p:nvPr/>
        </p:nvSpPr>
        <p:spPr>
          <a:xfrm>
            <a:off x="0" y="201702"/>
            <a:ext cx="8773703" cy="598497"/>
          </a:xfrm>
          <a:prstGeom prst="rect">
            <a:avLst/>
          </a:prstGeom>
          <a:solidFill>
            <a:srgbClr val="065278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3000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Arial" panose="020B0604020202020204" pitchFamily="34" charset="0"/>
              </a:rPr>
              <a:t>IRENA’s NDC Engagement</a:t>
            </a:r>
          </a:p>
        </p:txBody>
      </p:sp>
      <p:pic>
        <p:nvPicPr>
          <p:cNvPr id="1118" name="Picture 1117">
            <a:extLst>
              <a:ext uri="{FF2B5EF4-FFF2-40B4-BE49-F238E27FC236}">
                <a16:creationId xmlns:a16="http://schemas.microsoft.com/office/drawing/2014/main" id="{374E4CF0-5811-4945-96E9-0141E88F5276}"/>
              </a:ext>
            </a:extLst>
          </p:cNvPr>
          <p:cNvPicPr>
            <a:picLocks noChangeAspect="1"/>
          </p:cNvPicPr>
          <p:nvPr/>
        </p:nvPicPr>
        <p:blipFill>
          <a:blip r:embed="rId38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814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 bwMode="auto">
          <a:xfrm>
            <a:off x="3575743" y="2877678"/>
            <a:ext cx="5904633" cy="484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pitchFamily="34" charset="0"/>
                <a:ea typeface="MS PGothic" panose="020B0600070205080204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872A6"/>
                </a:solidFill>
                <a:latin typeface="ITC Avant Garde Gothic" charset="0"/>
                <a:ea typeface="MS PGothic" panose="020B0600070205080204" pitchFamily="34" charset="-128"/>
                <a:cs typeface="Arial" charset="0"/>
              </a:defRPr>
            </a:lvl5pPr>
            <a:lvl6pPr marL="511761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6pPr>
            <a:lvl7pPr marL="1023523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7pPr>
            <a:lvl8pPr marL="1535285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8pPr>
            <a:lvl9pPr marL="2047046" algn="l" rtl="0" fontAlgn="base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E10019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altLang="en-US" sz="7200" kern="0" dirty="0">
                <a:latin typeface="Garamond" panose="02020404030301010803" pitchFamily="18" charset="0"/>
              </a:rPr>
              <a:t>THANK YOU</a:t>
            </a:r>
          </a:p>
        </p:txBody>
      </p:sp>
      <p:pic>
        <p:nvPicPr>
          <p:cNvPr id="6" name="Picture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19324" y="5517232"/>
            <a:ext cx="7753350" cy="80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9613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201702"/>
            <a:ext cx="8773703" cy="598497"/>
          </a:xfrm>
          <a:prstGeom prst="rect">
            <a:avLst/>
          </a:prstGeom>
          <a:solidFill>
            <a:srgbClr val="065278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3000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Arial" panose="020B0604020202020204" pitchFamily="34" charset="0"/>
              </a:rPr>
              <a:t>Electricity Demand Projections</a:t>
            </a:r>
            <a:endParaRPr lang="en-US" sz="3000" dirty="0">
              <a:solidFill>
                <a:srgbClr val="0872A6"/>
              </a:solidFill>
              <a:latin typeface="Garamond" panose="02020404030301010803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0202914-B1E2-4B27-9797-B62EA960746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69"/>
          <a:stretch/>
        </p:blipFill>
        <p:spPr>
          <a:xfrm>
            <a:off x="407368" y="1349026"/>
            <a:ext cx="5040560" cy="3017705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4EC7D4D-8960-4E60-B19F-9C6584B7BBC7}"/>
              </a:ext>
            </a:extLst>
          </p:cNvPr>
          <p:cNvSpPr/>
          <p:nvPr/>
        </p:nvSpPr>
        <p:spPr>
          <a:xfrm>
            <a:off x="1748865" y="882447"/>
            <a:ext cx="26826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just">
              <a:buNone/>
            </a:pPr>
            <a:r>
              <a:rPr lang="en-US" sz="2000" b="1" dirty="0">
                <a:solidFill>
                  <a:srgbClr val="0872A6"/>
                </a:solidFill>
                <a:latin typeface="Garamond" panose="02020404030301010803" pitchFamily="18" charset="0"/>
              </a:rPr>
              <a:t>West Africa (2030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9269FD4-47D6-4A24-A9AC-56892FBFF0AD}"/>
              </a:ext>
            </a:extLst>
          </p:cNvPr>
          <p:cNvSpPr/>
          <p:nvPr/>
        </p:nvSpPr>
        <p:spPr>
          <a:xfrm>
            <a:off x="6501048" y="912363"/>
            <a:ext cx="480652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2000" b="1" dirty="0">
                <a:solidFill>
                  <a:srgbClr val="0872A6"/>
                </a:solidFill>
                <a:latin typeface="Garamond" panose="02020404030301010803" pitchFamily="18" charset="0"/>
              </a:rPr>
              <a:t>Eastern &amp; Southern Africa (2040)</a:t>
            </a:r>
          </a:p>
        </p:txBody>
      </p:sp>
      <p:pic>
        <p:nvPicPr>
          <p:cNvPr id="7" name="Picture 6" descr="A close up of a map&#10;&#10;Description generated with high confidence">
            <a:extLst>
              <a:ext uri="{FF2B5EF4-FFF2-40B4-BE49-F238E27FC236}">
                <a16:creationId xmlns:a16="http://schemas.microsoft.com/office/drawing/2014/main" id="{8E622DC1-99AD-4BD7-BE4D-FBDA12956C0B}"/>
              </a:ext>
            </a:extLst>
          </p:cNvPr>
          <p:cNvPicPr/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65" r="1923" b="996"/>
          <a:stretch/>
        </p:blipFill>
        <p:spPr bwMode="auto">
          <a:xfrm>
            <a:off x="6225624" y="1349026"/>
            <a:ext cx="5357375" cy="2975653"/>
          </a:xfrm>
          <a:prstGeom prst="rect">
            <a:avLst/>
          </a:prstGeom>
          <a:ln>
            <a:solidFill>
              <a:schemeClr val="bg2">
                <a:lumMod val="50000"/>
              </a:schemeClr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ACDC4ACC-4578-45C5-AD49-58FE6E7405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68692171"/>
              </p:ext>
            </p:extLst>
          </p:nvPr>
        </p:nvGraphicFramePr>
        <p:xfrm>
          <a:off x="2482344" y="4527342"/>
          <a:ext cx="6421968" cy="21289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29428939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/>
          <p:cNvSpPr/>
          <p:nvPr/>
        </p:nvSpPr>
        <p:spPr>
          <a:xfrm>
            <a:off x="0" y="201702"/>
            <a:ext cx="8773703" cy="598497"/>
          </a:xfrm>
          <a:prstGeom prst="rect">
            <a:avLst/>
          </a:prstGeom>
          <a:solidFill>
            <a:srgbClr val="065278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3000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Arial" panose="020B0604020202020204" pitchFamily="34" charset="0"/>
              </a:rPr>
              <a:t>Clean Energy Corridors in Africa</a:t>
            </a: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263353" y="1133838"/>
            <a:ext cx="7124654" cy="5452715"/>
          </a:xfrm>
          <a:prstGeom prst="rect">
            <a:avLst/>
          </a:prstGeom>
        </p:spPr>
        <p:txBody>
          <a:bodyPr/>
          <a:lstStyle>
            <a:lvl1pPr marL="383821" indent="-383821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1612" indent="-319851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1279403" indent="-255881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•"/>
              <a:defRPr sz="2700">
                <a:solidFill>
                  <a:schemeClr val="tx1"/>
                </a:solidFill>
                <a:latin typeface="+mn-lt"/>
                <a:cs typeface="+mn-cs"/>
              </a:defRPr>
            </a:lvl3pPr>
            <a:lvl4pPr marL="1791165" indent="-255881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  <a:cs typeface="+mn-cs"/>
              </a:defRPr>
            </a:lvl4pPr>
            <a:lvl5pPr marL="2302926" indent="-255881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+mn-lt"/>
                <a:cs typeface="+mn-cs"/>
              </a:defRPr>
            </a:lvl5pPr>
            <a:lvl6pPr marL="2814688" indent="-255881"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3326450" indent="-255881"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838210" indent="-255881"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4349972" indent="-255881"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>
              <a:buFontTx/>
              <a:buChar char="-"/>
            </a:pPr>
            <a:r>
              <a:rPr lang="en-US" sz="1700" b="1" dirty="0">
                <a:solidFill>
                  <a:srgbClr val="065278"/>
                </a:solidFill>
                <a:latin typeface="Garamond" panose="02020404030301010803" pitchFamily="18" charset="0"/>
              </a:rPr>
              <a:t>Key Objectives</a:t>
            </a:r>
          </a:p>
          <a:p>
            <a:pPr lvl="1" algn="just">
              <a:buFontTx/>
              <a:buChar char="-"/>
            </a:pPr>
            <a:r>
              <a:rPr lang="en-US" sz="1700" dirty="0">
                <a:latin typeface="Garamond" panose="02020404030301010803" pitchFamily="18" charset="0"/>
              </a:rPr>
              <a:t>Promote the development of cost-effective renewable power options</a:t>
            </a:r>
          </a:p>
          <a:p>
            <a:pPr lvl="1" algn="just">
              <a:buFontTx/>
              <a:buChar char="-"/>
            </a:pPr>
            <a:r>
              <a:rPr lang="en-US" sz="1700" dirty="0">
                <a:latin typeface="Garamond" panose="02020404030301010803" pitchFamily="18" charset="0"/>
              </a:rPr>
              <a:t>Strengthen cross-border trade of renewable power</a:t>
            </a:r>
          </a:p>
          <a:p>
            <a:pPr lvl="1" algn="just">
              <a:buFontTx/>
              <a:buChar char="-"/>
            </a:pPr>
            <a:r>
              <a:rPr lang="en-US" sz="1700" dirty="0">
                <a:latin typeface="Garamond" panose="02020404030301010803" pitchFamily="18" charset="0"/>
              </a:rPr>
              <a:t>Support regional efforts for the creation of regional power markets</a:t>
            </a:r>
          </a:p>
          <a:p>
            <a:pPr marL="0" indent="0" algn="just">
              <a:buNone/>
            </a:pPr>
            <a:endParaRPr lang="en-US" sz="1700" dirty="0">
              <a:latin typeface="Garamond" panose="02020404030301010803" pitchFamily="18" charset="0"/>
            </a:endParaRPr>
          </a:p>
          <a:p>
            <a:pPr algn="just">
              <a:buFontTx/>
              <a:buChar char="-"/>
            </a:pPr>
            <a:r>
              <a:rPr lang="en-US" sz="1700" b="1" dirty="0">
                <a:solidFill>
                  <a:srgbClr val="065278"/>
                </a:solidFill>
                <a:latin typeface="Garamond" panose="02020404030301010803" pitchFamily="18" charset="0"/>
              </a:rPr>
              <a:t>Implementation:</a:t>
            </a:r>
          </a:p>
          <a:p>
            <a:pPr lvl="1" algn="just">
              <a:buFontTx/>
              <a:buChar char="-"/>
            </a:pPr>
            <a:r>
              <a:rPr lang="en-US" sz="1700" dirty="0">
                <a:latin typeface="Garamond" panose="02020404030301010803" pitchFamily="18" charset="0"/>
              </a:rPr>
              <a:t>Africa Clean Energy Corridor: EAPP &amp; SAPP countries (2014)</a:t>
            </a:r>
            <a:endParaRPr lang="fr-FR" sz="1700" dirty="0">
              <a:latin typeface="Garamond" panose="02020404030301010803" pitchFamily="18" charset="0"/>
            </a:endParaRPr>
          </a:p>
          <a:p>
            <a:pPr lvl="1" algn="just">
              <a:buFontTx/>
              <a:buChar char="-"/>
            </a:pPr>
            <a:r>
              <a:rPr lang="en-US" sz="1700" dirty="0">
                <a:latin typeface="Garamond" panose="02020404030301010803" pitchFamily="18" charset="0"/>
              </a:rPr>
              <a:t>West Africa Clean Energy Corridor: WAPP countries (2016)</a:t>
            </a:r>
          </a:p>
          <a:p>
            <a:pPr marL="0" indent="0" algn="just">
              <a:buNone/>
            </a:pPr>
            <a:endParaRPr lang="en-US" sz="1700" b="1" dirty="0">
              <a:solidFill>
                <a:srgbClr val="065278"/>
              </a:solidFill>
              <a:latin typeface="Garamond" panose="02020404030301010803" pitchFamily="18" charset="0"/>
            </a:endParaRPr>
          </a:p>
          <a:p>
            <a:pPr algn="just">
              <a:buFontTx/>
              <a:buChar char="-"/>
            </a:pPr>
            <a:r>
              <a:rPr lang="en-US" sz="1700" b="1" dirty="0">
                <a:solidFill>
                  <a:srgbClr val="065278"/>
                </a:solidFill>
                <a:latin typeface="Garamond" panose="02020404030301010803" pitchFamily="18" charset="0"/>
              </a:rPr>
              <a:t>5 Implementation Pillars:</a:t>
            </a:r>
          </a:p>
          <a:p>
            <a:pPr lvl="1" algn="just">
              <a:buFontTx/>
              <a:buChar char="-"/>
            </a:pPr>
            <a:r>
              <a:rPr lang="en-US" sz="1700" dirty="0">
                <a:latin typeface="Garamond" panose="02020404030301010803" pitchFamily="18" charset="0"/>
              </a:rPr>
              <a:t>(</a:t>
            </a:r>
            <a:r>
              <a:rPr lang="en-US" sz="1700" dirty="0" err="1">
                <a:latin typeface="Garamond" panose="02020404030301010803" pitchFamily="18" charset="0"/>
              </a:rPr>
              <a:t>i</a:t>
            </a:r>
            <a:r>
              <a:rPr lang="en-US" sz="1700" dirty="0">
                <a:latin typeface="Garamond" panose="02020404030301010803" pitchFamily="18" charset="0"/>
              </a:rPr>
              <a:t>) Zoning and Resource Assessment</a:t>
            </a:r>
            <a:endParaRPr lang="fr-FR" sz="1700" dirty="0">
              <a:latin typeface="Garamond" panose="02020404030301010803" pitchFamily="18" charset="0"/>
            </a:endParaRPr>
          </a:p>
          <a:p>
            <a:pPr lvl="1" algn="just">
              <a:buFontTx/>
              <a:buChar char="-"/>
            </a:pPr>
            <a:r>
              <a:rPr lang="fr-FR" sz="1700" dirty="0">
                <a:latin typeface="Garamond" panose="02020404030301010803" pitchFamily="18" charset="0"/>
              </a:rPr>
              <a:t>(ii) National and </a:t>
            </a:r>
            <a:r>
              <a:rPr lang="fr-FR" sz="1700" dirty="0" err="1">
                <a:latin typeface="Garamond" panose="02020404030301010803" pitchFamily="18" charset="0"/>
              </a:rPr>
              <a:t>Regional</a:t>
            </a:r>
            <a:r>
              <a:rPr lang="fr-FR" sz="1700" dirty="0">
                <a:latin typeface="Garamond" panose="02020404030301010803" pitchFamily="18" charset="0"/>
              </a:rPr>
              <a:t> Planning</a:t>
            </a:r>
          </a:p>
          <a:p>
            <a:pPr lvl="1" algn="just">
              <a:buFontTx/>
              <a:buChar char="-"/>
            </a:pPr>
            <a:r>
              <a:rPr lang="fr-FR" sz="1700" dirty="0">
                <a:latin typeface="Garamond" panose="02020404030301010803" pitchFamily="18" charset="0"/>
              </a:rPr>
              <a:t>(iii) </a:t>
            </a:r>
            <a:r>
              <a:rPr lang="fr-FR" sz="1700" dirty="0" err="1">
                <a:latin typeface="Garamond" panose="02020404030301010803" pitchFamily="18" charset="0"/>
              </a:rPr>
              <a:t>Enabling</a:t>
            </a:r>
            <a:r>
              <a:rPr lang="fr-FR" sz="1700" dirty="0">
                <a:latin typeface="Garamond" panose="02020404030301010803" pitchFamily="18" charset="0"/>
              </a:rPr>
              <a:t> </a:t>
            </a:r>
            <a:r>
              <a:rPr lang="fr-FR" sz="1700" dirty="0" err="1">
                <a:latin typeface="Garamond" panose="02020404030301010803" pitchFamily="18" charset="0"/>
              </a:rPr>
              <a:t>Frameworks</a:t>
            </a:r>
            <a:r>
              <a:rPr lang="fr-FR" sz="1700" dirty="0">
                <a:latin typeface="Garamond" panose="02020404030301010803" pitchFamily="18" charset="0"/>
              </a:rPr>
              <a:t> for Investment</a:t>
            </a:r>
          </a:p>
          <a:p>
            <a:pPr lvl="1" algn="just">
              <a:buFontTx/>
              <a:buChar char="-"/>
            </a:pPr>
            <a:r>
              <a:rPr lang="fr-FR" sz="1700" dirty="0">
                <a:latin typeface="Garamond" panose="02020404030301010803" pitchFamily="18" charset="0"/>
              </a:rPr>
              <a:t>(iv) </a:t>
            </a:r>
            <a:r>
              <a:rPr lang="fr-FR" sz="1700" dirty="0" err="1">
                <a:latin typeface="Garamond" panose="02020404030301010803" pitchFamily="18" charset="0"/>
              </a:rPr>
              <a:t>Capacity</a:t>
            </a:r>
            <a:r>
              <a:rPr lang="fr-FR" sz="1700" dirty="0">
                <a:latin typeface="Garamond" panose="02020404030301010803" pitchFamily="18" charset="0"/>
              </a:rPr>
              <a:t> Building</a:t>
            </a:r>
          </a:p>
          <a:p>
            <a:pPr lvl="1" algn="just">
              <a:buFontTx/>
              <a:buChar char="-"/>
            </a:pPr>
            <a:r>
              <a:rPr lang="fr-FR" sz="1700" dirty="0">
                <a:latin typeface="Garamond" panose="02020404030301010803" pitchFamily="18" charset="0"/>
              </a:rPr>
              <a:t>(v) </a:t>
            </a:r>
            <a:r>
              <a:rPr lang="fr-FR" sz="1700" dirty="0" err="1">
                <a:latin typeface="Garamond" panose="02020404030301010803" pitchFamily="18" charset="0"/>
              </a:rPr>
              <a:t>Awareness-raising</a:t>
            </a:r>
            <a:r>
              <a:rPr lang="fr-FR" sz="1700" dirty="0">
                <a:latin typeface="Garamond" panose="02020404030301010803" pitchFamily="18" charset="0"/>
              </a:rPr>
              <a:t> and </a:t>
            </a:r>
            <a:r>
              <a:rPr lang="fr-FR" sz="1700" dirty="0" err="1">
                <a:latin typeface="Garamond" panose="02020404030301010803" pitchFamily="18" charset="0"/>
              </a:rPr>
              <a:t>Political</a:t>
            </a:r>
            <a:r>
              <a:rPr lang="fr-FR" sz="1700" dirty="0">
                <a:latin typeface="Garamond" panose="02020404030301010803" pitchFamily="18" charset="0"/>
              </a:rPr>
              <a:t> Support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7559378" y="1268760"/>
            <a:ext cx="3553964" cy="4824535"/>
            <a:chOff x="5675018" y="1484784"/>
            <a:chExt cx="3361479" cy="4586766"/>
          </a:xfrm>
        </p:grpSpPr>
        <p:grpSp>
          <p:nvGrpSpPr>
            <p:cNvPr id="7" name="Group 6"/>
            <p:cNvGrpSpPr/>
            <p:nvPr/>
          </p:nvGrpSpPr>
          <p:grpSpPr>
            <a:xfrm>
              <a:off x="6716476" y="4941169"/>
              <a:ext cx="2320020" cy="539291"/>
              <a:chOff x="6012460" y="5368388"/>
              <a:chExt cx="2624718" cy="610118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6012460" y="5368388"/>
                <a:ext cx="2617126" cy="273106"/>
              </a:xfrm>
              <a:prstGeom prst="rect">
                <a:avLst/>
              </a:prstGeom>
              <a:solidFill>
                <a:srgbClr val="66CCFF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50" dirty="0">
                    <a:latin typeface="Garamond" panose="02020404030301010803" pitchFamily="18" charset="0"/>
                  </a:rPr>
                  <a:t>Eastern Africa Power Pool (EAPP)</a:t>
                </a: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6012460" y="5713676"/>
                <a:ext cx="2624718" cy="264830"/>
              </a:xfrm>
              <a:prstGeom prst="rect">
                <a:avLst/>
              </a:prstGeom>
              <a:solidFill>
                <a:srgbClr val="FFC000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000" dirty="0">
                    <a:latin typeface="Garamond" panose="02020404030301010803" pitchFamily="18" charset="0"/>
                  </a:rPr>
                  <a:t>Southern Africa Power Pool (SAPP)</a:t>
                </a:r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5940406" y="1484784"/>
              <a:ext cx="3096090" cy="3245695"/>
              <a:chOff x="5637840" y="1567479"/>
              <a:chExt cx="3502712" cy="3671964"/>
            </a:xfrm>
          </p:grpSpPr>
          <p:sp>
            <p:nvSpPr>
              <p:cNvPr id="13" name="Freeform 2511"/>
              <p:cNvSpPr>
                <a:spLocks noChangeAspect="1"/>
              </p:cNvSpPr>
              <p:nvPr/>
            </p:nvSpPr>
            <p:spPr bwMode="auto">
              <a:xfrm>
                <a:off x="7375189" y="4570266"/>
                <a:ext cx="833256" cy="669177"/>
              </a:xfrm>
              <a:custGeom>
                <a:avLst/>
                <a:gdLst>
                  <a:gd name="T0" fmla="*/ 235 w 206"/>
                  <a:gd name="T1" fmla="*/ 85 h 197"/>
                  <a:gd name="T2" fmla="*/ 229 w 206"/>
                  <a:gd name="T3" fmla="*/ 95 h 197"/>
                  <a:gd name="T4" fmla="*/ 215 w 206"/>
                  <a:gd name="T5" fmla="*/ 86 h 197"/>
                  <a:gd name="T6" fmla="*/ 218 w 206"/>
                  <a:gd name="T7" fmla="*/ 71 h 197"/>
                  <a:gd name="T8" fmla="*/ 235 w 206"/>
                  <a:gd name="T9" fmla="*/ 72 h 197"/>
                  <a:gd name="T10" fmla="*/ 233 w 206"/>
                  <a:gd name="T11" fmla="*/ 62 h 197"/>
                  <a:gd name="T12" fmla="*/ 231 w 206"/>
                  <a:gd name="T13" fmla="*/ 36 h 197"/>
                  <a:gd name="T14" fmla="*/ 229 w 206"/>
                  <a:gd name="T15" fmla="*/ 19 h 197"/>
                  <a:gd name="T16" fmla="*/ 225 w 206"/>
                  <a:gd name="T17" fmla="*/ 5 h 197"/>
                  <a:gd name="T18" fmla="*/ 218 w 206"/>
                  <a:gd name="T19" fmla="*/ 2 h 197"/>
                  <a:gd name="T20" fmla="*/ 201 w 206"/>
                  <a:gd name="T21" fmla="*/ 1 h 197"/>
                  <a:gd name="T22" fmla="*/ 188 w 206"/>
                  <a:gd name="T23" fmla="*/ 4 h 197"/>
                  <a:gd name="T24" fmla="*/ 175 w 206"/>
                  <a:gd name="T25" fmla="*/ 12 h 197"/>
                  <a:gd name="T26" fmla="*/ 158 w 206"/>
                  <a:gd name="T27" fmla="*/ 36 h 197"/>
                  <a:gd name="T28" fmla="*/ 143 w 206"/>
                  <a:gd name="T29" fmla="*/ 46 h 197"/>
                  <a:gd name="T30" fmla="*/ 138 w 206"/>
                  <a:gd name="T31" fmla="*/ 63 h 197"/>
                  <a:gd name="T32" fmla="*/ 122 w 206"/>
                  <a:gd name="T33" fmla="*/ 66 h 197"/>
                  <a:gd name="T34" fmla="*/ 109 w 206"/>
                  <a:gd name="T35" fmla="*/ 56 h 197"/>
                  <a:gd name="T36" fmla="*/ 97 w 206"/>
                  <a:gd name="T37" fmla="*/ 59 h 197"/>
                  <a:gd name="T38" fmla="*/ 89 w 206"/>
                  <a:gd name="T39" fmla="*/ 74 h 197"/>
                  <a:gd name="T40" fmla="*/ 79 w 206"/>
                  <a:gd name="T41" fmla="*/ 84 h 197"/>
                  <a:gd name="T42" fmla="*/ 62 w 206"/>
                  <a:gd name="T43" fmla="*/ 85 h 197"/>
                  <a:gd name="T44" fmla="*/ 65 w 206"/>
                  <a:gd name="T45" fmla="*/ 69 h 197"/>
                  <a:gd name="T46" fmla="*/ 59 w 206"/>
                  <a:gd name="T47" fmla="*/ 53 h 197"/>
                  <a:gd name="T48" fmla="*/ 53 w 206"/>
                  <a:gd name="T49" fmla="*/ 115 h 197"/>
                  <a:gd name="T50" fmla="*/ 44 w 206"/>
                  <a:gd name="T51" fmla="*/ 121 h 197"/>
                  <a:gd name="T52" fmla="*/ 34 w 206"/>
                  <a:gd name="T53" fmla="*/ 122 h 197"/>
                  <a:gd name="T54" fmla="*/ 16 w 206"/>
                  <a:gd name="T55" fmla="*/ 121 h 197"/>
                  <a:gd name="T56" fmla="*/ 8 w 206"/>
                  <a:gd name="T57" fmla="*/ 108 h 197"/>
                  <a:gd name="T58" fmla="*/ 5 w 206"/>
                  <a:gd name="T59" fmla="*/ 117 h 197"/>
                  <a:gd name="T60" fmla="*/ 4 w 206"/>
                  <a:gd name="T61" fmla="*/ 129 h 197"/>
                  <a:gd name="T62" fmla="*/ 19 w 206"/>
                  <a:gd name="T63" fmla="*/ 168 h 197"/>
                  <a:gd name="T64" fmla="*/ 25 w 206"/>
                  <a:gd name="T65" fmla="*/ 195 h 197"/>
                  <a:gd name="T66" fmla="*/ 20 w 206"/>
                  <a:gd name="T67" fmla="*/ 199 h 197"/>
                  <a:gd name="T68" fmla="*/ 26 w 206"/>
                  <a:gd name="T69" fmla="*/ 217 h 197"/>
                  <a:gd name="T70" fmla="*/ 34 w 206"/>
                  <a:gd name="T71" fmla="*/ 224 h 197"/>
                  <a:gd name="T72" fmla="*/ 49 w 206"/>
                  <a:gd name="T73" fmla="*/ 235 h 197"/>
                  <a:gd name="T74" fmla="*/ 65 w 206"/>
                  <a:gd name="T75" fmla="*/ 225 h 197"/>
                  <a:gd name="T76" fmla="*/ 80 w 206"/>
                  <a:gd name="T77" fmla="*/ 222 h 197"/>
                  <a:gd name="T78" fmla="*/ 100 w 206"/>
                  <a:gd name="T79" fmla="*/ 222 h 197"/>
                  <a:gd name="T80" fmla="*/ 121 w 206"/>
                  <a:gd name="T81" fmla="*/ 222 h 197"/>
                  <a:gd name="T82" fmla="*/ 134 w 206"/>
                  <a:gd name="T83" fmla="*/ 218 h 197"/>
                  <a:gd name="T84" fmla="*/ 147 w 206"/>
                  <a:gd name="T85" fmla="*/ 213 h 197"/>
                  <a:gd name="T86" fmla="*/ 169 w 206"/>
                  <a:gd name="T87" fmla="*/ 200 h 197"/>
                  <a:gd name="T88" fmla="*/ 191 w 206"/>
                  <a:gd name="T89" fmla="*/ 177 h 197"/>
                  <a:gd name="T90" fmla="*/ 206 w 206"/>
                  <a:gd name="T91" fmla="*/ 161 h 197"/>
                  <a:gd name="T92" fmla="*/ 219 w 206"/>
                  <a:gd name="T93" fmla="*/ 133 h 197"/>
                  <a:gd name="T94" fmla="*/ 235 w 206"/>
                  <a:gd name="T95" fmla="*/ 121 h 197"/>
                  <a:gd name="T96" fmla="*/ 243 w 206"/>
                  <a:gd name="T97" fmla="*/ 97 h 197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206"/>
                  <a:gd name="T148" fmla="*/ 0 h 197"/>
                  <a:gd name="T149" fmla="*/ 206 w 206"/>
                  <a:gd name="T150" fmla="*/ 197 h 197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206" h="197">
                    <a:moveTo>
                      <a:pt x="206" y="72"/>
                    </a:moveTo>
                    <a:lnTo>
                      <a:pt x="196" y="71"/>
                    </a:lnTo>
                    <a:cubicBezTo>
                      <a:pt x="196" y="74"/>
                      <a:pt x="195" y="76"/>
                      <a:pt x="194" y="77"/>
                    </a:cubicBezTo>
                    <a:cubicBezTo>
                      <a:pt x="193" y="78"/>
                      <a:pt x="192" y="79"/>
                      <a:pt x="191" y="79"/>
                    </a:cubicBezTo>
                    <a:cubicBezTo>
                      <a:pt x="189" y="79"/>
                      <a:pt x="186" y="78"/>
                      <a:pt x="185" y="77"/>
                    </a:cubicBezTo>
                    <a:cubicBezTo>
                      <a:pt x="182" y="76"/>
                      <a:pt x="180" y="74"/>
                      <a:pt x="179" y="72"/>
                    </a:cubicBezTo>
                    <a:cubicBezTo>
                      <a:pt x="178" y="70"/>
                      <a:pt x="178" y="67"/>
                      <a:pt x="179" y="65"/>
                    </a:cubicBezTo>
                    <a:cubicBezTo>
                      <a:pt x="179" y="63"/>
                      <a:pt x="181" y="61"/>
                      <a:pt x="182" y="59"/>
                    </a:cubicBezTo>
                    <a:cubicBezTo>
                      <a:pt x="184" y="57"/>
                      <a:pt x="185" y="55"/>
                      <a:pt x="187" y="55"/>
                    </a:cubicBezTo>
                    <a:cubicBezTo>
                      <a:pt x="190" y="55"/>
                      <a:pt x="193" y="58"/>
                      <a:pt x="196" y="60"/>
                    </a:cubicBezTo>
                    <a:cubicBezTo>
                      <a:pt x="195" y="58"/>
                      <a:pt x="194" y="57"/>
                      <a:pt x="194" y="56"/>
                    </a:cubicBezTo>
                    <a:cubicBezTo>
                      <a:pt x="194" y="55"/>
                      <a:pt x="194" y="54"/>
                      <a:pt x="194" y="52"/>
                    </a:cubicBezTo>
                    <a:cubicBezTo>
                      <a:pt x="195" y="47"/>
                      <a:pt x="195" y="42"/>
                      <a:pt x="195" y="37"/>
                    </a:cubicBezTo>
                    <a:cubicBezTo>
                      <a:pt x="195" y="35"/>
                      <a:pt x="194" y="32"/>
                      <a:pt x="193" y="30"/>
                    </a:cubicBezTo>
                    <a:cubicBezTo>
                      <a:pt x="192" y="27"/>
                      <a:pt x="191" y="25"/>
                      <a:pt x="191" y="22"/>
                    </a:cubicBezTo>
                    <a:cubicBezTo>
                      <a:pt x="190" y="20"/>
                      <a:pt x="191" y="18"/>
                      <a:pt x="191" y="16"/>
                    </a:cubicBezTo>
                    <a:cubicBezTo>
                      <a:pt x="191" y="15"/>
                      <a:pt x="189" y="13"/>
                      <a:pt x="189" y="12"/>
                    </a:cubicBezTo>
                    <a:cubicBezTo>
                      <a:pt x="188" y="9"/>
                      <a:pt x="188" y="7"/>
                      <a:pt x="188" y="4"/>
                    </a:cubicBezTo>
                    <a:cubicBezTo>
                      <a:pt x="187" y="4"/>
                      <a:pt x="187" y="5"/>
                      <a:pt x="186" y="4"/>
                    </a:cubicBezTo>
                    <a:cubicBezTo>
                      <a:pt x="185" y="4"/>
                      <a:pt x="184" y="2"/>
                      <a:pt x="182" y="2"/>
                    </a:cubicBezTo>
                    <a:cubicBezTo>
                      <a:pt x="180" y="2"/>
                      <a:pt x="178" y="2"/>
                      <a:pt x="177" y="2"/>
                    </a:cubicBezTo>
                    <a:cubicBezTo>
                      <a:pt x="174" y="2"/>
                      <a:pt x="171" y="1"/>
                      <a:pt x="168" y="1"/>
                    </a:cubicBezTo>
                    <a:cubicBezTo>
                      <a:pt x="166" y="0"/>
                      <a:pt x="164" y="0"/>
                      <a:pt x="161" y="0"/>
                    </a:cubicBezTo>
                    <a:cubicBezTo>
                      <a:pt x="160" y="1"/>
                      <a:pt x="158" y="2"/>
                      <a:pt x="157" y="3"/>
                    </a:cubicBezTo>
                    <a:cubicBezTo>
                      <a:pt x="156" y="4"/>
                      <a:pt x="154" y="5"/>
                      <a:pt x="153" y="5"/>
                    </a:cubicBezTo>
                    <a:cubicBezTo>
                      <a:pt x="150" y="7"/>
                      <a:pt x="148" y="9"/>
                      <a:pt x="146" y="10"/>
                    </a:cubicBezTo>
                    <a:cubicBezTo>
                      <a:pt x="142" y="14"/>
                      <a:pt x="137" y="17"/>
                      <a:pt x="134" y="21"/>
                    </a:cubicBezTo>
                    <a:cubicBezTo>
                      <a:pt x="133" y="23"/>
                      <a:pt x="134" y="27"/>
                      <a:pt x="132" y="30"/>
                    </a:cubicBezTo>
                    <a:cubicBezTo>
                      <a:pt x="131" y="32"/>
                      <a:pt x="129" y="34"/>
                      <a:pt x="126" y="36"/>
                    </a:cubicBezTo>
                    <a:cubicBezTo>
                      <a:pt x="124" y="37"/>
                      <a:pt x="121" y="37"/>
                      <a:pt x="119" y="38"/>
                    </a:cubicBezTo>
                    <a:cubicBezTo>
                      <a:pt x="117" y="41"/>
                      <a:pt x="118" y="44"/>
                      <a:pt x="117" y="47"/>
                    </a:cubicBezTo>
                    <a:cubicBezTo>
                      <a:pt x="116" y="49"/>
                      <a:pt x="116" y="51"/>
                      <a:pt x="115" y="53"/>
                    </a:cubicBezTo>
                    <a:cubicBezTo>
                      <a:pt x="112" y="54"/>
                      <a:pt x="109" y="54"/>
                      <a:pt x="106" y="54"/>
                    </a:cubicBezTo>
                    <a:cubicBezTo>
                      <a:pt x="105" y="55"/>
                      <a:pt x="104" y="55"/>
                      <a:pt x="102" y="55"/>
                    </a:cubicBezTo>
                    <a:cubicBezTo>
                      <a:pt x="100" y="55"/>
                      <a:pt x="97" y="54"/>
                      <a:pt x="95" y="53"/>
                    </a:cubicBezTo>
                    <a:cubicBezTo>
                      <a:pt x="93" y="51"/>
                      <a:pt x="93" y="48"/>
                      <a:pt x="91" y="47"/>
                    </a:cubicBezTo>
                    <a:cubicBezTo>
                      <a:pt x="90" y="46"/>
                      <a:pt x="88" y="46"/>
                      <a:pt x="86" y="47"/>
                    </a:cubicBezTo>
                    <a:cubicBezTo>
                      <a:pt x="84" y="47"/>
                      <a:pt x="82" y="48"/>
                      <a:pt x="81" y="49"/>
                    </a:cubicBezTo>
                    <a:cubicBezTo>
                      <a:pt x="80" y="52"/>
                      <a:pt x="80" y="55"/>
                      <a:pt x="78" y="57"/>
                    </a:cubicBezTo>
                    <a:cubicBezTo>
                      <a:pt x="77" y="59"/>
                      <a:pt x="76" y="61"/>
                      <a:pt x="74" y="62"/>
                    </a:cubicBezTo>
                    <a:cubicBezTo>
                      <a:pt x="72" y="64"/>
                      <a:pt x="69" y="65"/>
                      <a:pt x="67" y="67"/>
                    </a:cubicBezTo>
                    <a:cubicBezTo>
                      <a:pt x="66" y="67"/>
                      <a:pt x="67" y="70"/>
                      <a:pt x="66" y="70"/>
                    </a:cubicBezTo>
                    <a:cubicBezTo>
                      <a:pt x="63" y="71"/>
                      <a:pt x="60" y="69"/>
                      <a:pt x="57" y="69"/>
                    </a:cubicBezTo>
                    <a:cubicBezTo>
                      <a:pt x="55" y="70"/>
                      <a:pt x="53" y="72"/>
                      <a:pt x="52" y="71"/>
                    </a:cubicBezTo>
                    <a:cubicBezTo>
                      <a:pt x="50" y="70"/>
                      <a:pt x="50" y="68"/>
                      <a:pt x="50" y="66"/>
                    </a:cubicBezTo>
                    <a:cubicBezTo>
                      <a:pt x="51" y="63"/>
                      <a:pt x="54" y="61"/>
                      <a:pt x="54" y="58"/>
                    </a:cubicBezTo>
                    <a:cubicBezTo>
                      <a:pt x="54" y="56"/>
                      <a:pt x="52" y="55"/>
                      <a:pt x="51" y="53"/>
                    </a:cubicBezTo>
                    <a:cubicBezTo>
                      <a:pt x="50" y="50"/>
                      <a:pt x="51" y="47"/>
                      <a:pt x="49" y="44"/>
                    </a:cubicBezTo>
                    <a:cubicBezTo>
                      <a:pt x="48" y="42"/>
                      <a:pt x="46" y="41"/>
                      <a:pt x="45" y="40"/>
                    </a:cubicBezTo>
                    <a:lnTo>
                      <a:pt x="44" y="96"/>
                    </a:lnTo>
                    <a:cubicBezTo>
                      <a:pt x="43" y="97"/>
                      <a:pt x="42" y="98"/>
                      <a:pt x="41" y="99"/>
                    </a:cubicBezTo>
                    <a:cubicBezTo>
                      <a:pt x="39" y="100"/>
                      <a:pt x="38" y="100"/>
                      <a:pt x="37" y="101"/>
                    </a:cubicBezTo>
                    <a:cubicBezTo>
                      <a:pt x="36" y="102"/>
                      <a:pt x="35" y="104"/>
                      <a:pt x="34" y="104"/>
                    </a:cubicBezTo>
                    <a:cubicBezTo>
                      <a:pt x="32" y="105"/>
                      <a:pt x="30" y="102"/>
                      <a:pt x="28" y="102"/>
                    </a:cubicBezTo>
                    <a:cubicBezTo>
                      <a:pt x="25" y="102"/>
                      <a:pt x="23" y="104"/>
                      <a:pt x="20" y="104"/>
                    </a:cubicBezTo>
                    <a:cubicBezTo>
                      <a:pt x="18" y="103"/>
                      <a:pt x="15" y="103"/>
                      <a:pt x="13" y="101"/>
                    </a:cubicBezTo>
                    <a:cubicBezTo>
                      <a:pt x="11" y="100"/>
                      <a:pt x="12" y="97"/>
                      <a:pt x="11" y="95"/>
                    </a:cubicBezTo>
                    <a:cubicBezTo>
                      <a:pt x="10" y="93"/>
                      <a:pt x="9" y="90"/>
                      <a:pt x="7" y="90"/>
                    </a:cubicBezTo>
                    <a:cubicBezTo>
                      <a:pt x="6" y="89"/>
                      <a:pt x="4" y="91"/>
                      <a:pt x="4" y="92"/>
                    </a:cubicBezTo>
                    <a:cubicBezTo>
                      <a:pt x="3" y="94"/>
                      <a:pt x="4" y="96"/>
                      <a:pt x="4" y="98"/>
                    </a:cubicBezTo>
                    <a:cubicBezTo>
                      <a:pt x="3" y="98"/>
                      <a:pt x="1" y="98"/>
                      <a:pt x="0" y="98"/>
                    </a:cubicBezTo>
                    <a:cubicBezTo>
                      <a:pt x="1" y="102"/>
                      <a:pt x="2" y="104"/>
                      <a:pt x="3" y="108"/>
                    </a:cubicBezTo>
                    <a:cubicBezTo>
                      <a:pt x="5" y="112"/>
                      <a:pt x="6" y="116"/>
                      <a:pt x="8" y="120"/>
                    </a:cubicBezTo>
                    <a:cubicBezTo>
                      <a:pt x="11" y="127"/>
                      <a:pt x="14" y="133"/>
                      <a:pt x="16" y="140"/>
                    </a:cubicBezTo>
                    <a:cubicBezTo>
                      <a:pt x="18" y="144"/>
                      <a:pt x="21" y="148"/>
                      <a:pt x="22" y="153"/>
                    </a:cubicBezTo>
                    <a:cubicBezTo>
                      <a:pt x="22" y="156"/>
                      <a:pt x="23" y="160"/>
                      <a:pt x="21" y="163"/>
                    </a:cubicBezTo>
                    <a:cubicBezTo>
                      <a:pt x="20" y="164"/>
                      <a:pt x="18" y="159"/>
                      <a:pt x="17" y="160"/>
                    </a:cubicBezTo>
                    <a:cubicBezTo>
                      <a:pt x="15" y="161"/>
                      <a:pt x="16" y="164"/>
                      <a:pt x="17" y="166"/>
                    </a:cubicBezTo>
                    <a:cubicBezTo>
                      <a:pt x="18" y="170"/>
                      <a:pt x="21" y="173"/>
                      <a:pt x="22" y="177"/>
                    </a:cubicBezTo>
                    <a:cubicBezTo>
                      <a:pt x="23" y="178"/>
                      <a:pt x="22" y="180"/>
                      <a:pt x="22" y="181"/>
                    </a:cubicBezTo>
                    <a:cubicBezTo>
                      <a:pt x="23" y="182"/>
                      <a:pt x="24" y="182"/>
                      <a:pt x="25" y="183"/>
                    </a:cubicBezTo>
                    <a:cubicBezTo>
                      <a:pt x="26" y="184"/>
                      <a:pt x="27" y="186"/>
                      <a:pt x="28" y="187"/>
                    </a:cubicBezTo>
                    <a:cubicBezTo>
                      <a:pt x="31" y="189"/>
                      <a:pt x="33" y="190"/>
                      <a:pt x="36" y="192"/>
                    </a:cubicBezTo>
                    <a:cubicBezTo>
                      <a:pt x="38" y="193"/>
                      <a:pt x="39" y="196"/>
                      <a:pt x="41" y="196"/>
                    </a:cubicBezTo>
                    <a:cubicBezTo>
                      <a:pt x="43" y="197"/>
                      <a:pt x="44" y="194"/>
                      <a:pt x="45" y="193"/>
                    </a:cubicBezTo>
                    <a:cubicBezTo>
                      <a:pt x="48" y="191"/>
                      <a:pt x="51" y="189"/>
                      <a:pt x="54" y="188"/>
                    </a:cubicBezTo>
                    <a:cubicBezTo>
                      <a:pt x="57" y="188"/>
                      <a:pt x="60" y="189"/>
                      <a:pt x="62" y="188"/>
                    </a:cubicBezTo>
                    <a:cubicBezTo>
                      <a:pt x="64" y="188"/>
                      <a:pt x="65" y="186"/>
                      <a:pt x="67" y="185"/>
                    </a:cubicBezTo>
                    <a:cubicBezTo>
                      <a:pt x="69" y="184"/>
                      <a:pt x="70" y="182"/>
                      <a:pt x="72" y="182"/>
                    </a:cubicBezTo>
                    <a:cubicBezTo>
                      <a:pt x="75" y="182"/>
                      <a:pt x="79" y="185"/>
                      <a:pt x="83" y="185"/>
                    </a:cubicBezTo>
                    <a:cubicBezTo>
                      <a:pt x="85" y="185"/>
                      <a:pt x="86" y="181"/>
                      <a:pt x="87" y="181"/>
                    </a:cubicBezTo>
                    <a:cubicBezTo>
                      <a:pt x="92" y="181"/>
                      <a:pt x="96" y="185"/>
                      <a:pt x="101" y="185"/>
                    </a:cubicBezTo>
                    <a:cubicBezTo>
                      <a:pt x="103" y="185"/>
                      <a:pt x="102" y="182"/>
                      <a:pt x="104" y="182"/>
                    </a:cubicBezTo>
                    <a:cubicBezTo>
                      <a:pt x="106" y="181"/>
                      <a:pt x="109" y="183"/>
                      <a:pt x="112" y="182"/>
                    </a:cubicBezTo>
                    <a:cubicBezTo>
                      <a:pt x="113" y="182"/>
                      <a:pt x="113" y="179"/>
                      <a:pt x="114" y="178"/>
                    </a:cubicBezTo>
                    <a:cubicBezTo>
                      <a:pt x="117" y="177"/>
                      <a:pt x="120" y="179"/>
                      <a:pt x="123" y="178"/>
                    </a:cubicBezTo>
                    <a:cubicBezTo>
                      <a:pt x="126" y="177"/>
                      <a:pt x="128" y="176"/>
                      <a:pt x="131" y="174"/>
                    </a:cubicBezTo>
                    <a:cubicBezTo>
                      <a:pt x="135" y="172"/>
                      <a:pt x="138" y="169"/>
                      <a:pt x="141" y="167"/>
                    </a:cubicBezTo>
                    <a:cubicBezTo>
                      <a:pt x="144" y="164"/>
                      <a:pt x="146" y="161"/>
                      <a:pt x="149" y="158"/>
                    </a:cubicBezTo>
                    <a:cubicBezTo>
                      <a:pt x="153" y="154"/>
                      <a:pt x="156" y="151"/>
                      <a:pt x="159" y="148"/>
                    </a:cubicBezTo>
                    <a:cubicBezTo>
                      <a:pt x="160" y="146"/>
                      <a:pt x="162" y="144"/>
                      <a:pt x="164" y="143"/>
                    </a:cubicBezTo>
                    <a:cubicBezTo>
                      <a:pt x="167" y="140"/>
                      <a:pt x="170" y="137"/>
                      <a:pt x="172" y="134"/>
                    </a:cubicBezTo>
                    <a:cubicBezTo>
                      <a:pt x="175" y="131"/>
                      <a:pt x="177" y="126"/>
                      <a:pt x="178" y="122"/>
                    </a:cubicBezTo>
                    <a:cubicBezTo>
                      <a:pt x="180" y="118"/>
                      <a:pt x="181" y="114"/>
                      <a:pt x="183" y="111"/>
                    </a:cubicBezTo>
                    <a:cubicBezTo>
                      <a:pt x="184" y="109"/>
                      <a:pt x="186" y="107"/>
                      <a:pt x="188" y="106"/>
                    </a:cubicBezTo>
                    <a:cubicBezTo>
                      <a:pt x="190" y="104"/>
                      <a:pt x="194" y="103"/>
                      <a:pt x="196" y="101"/>
                    </a:cubicBezTo>
                    <a:cubicBezTo>
                      <a:pt x="198" y="98"/>
                      <a:pt x="199" y="96"/>
                      <a:pt x="200" y="93"/>
                    </a:cubicBezTo>
                    <a:cubicBezTo>
                      <a:pt x="201" y="89"/>
                      <a:pt x="202" y="85"/>
                      <a:pt x="203" y="81"/>
                    </a:cubicBezTo>
                    <a:cubicBezTo>
                      <a:pt x="204" y="78"/>
                      <a:pt x="205" y="75"/>
                      <a:pt x="206" y="72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14" name="Freeform 2512"/>
              <p:cNvSpPr>
                <a:spLocks noChangeAspect="1"/>
              </p:cNvSpPr>
              <p:nvPr/>
            </p:nvSpPr>
            <p:spPr bwMode="auto">
              <a:xfrm>
                <a:off x="8093745" y="4757408"/>
                <a:ext cx="74216" cy="82229"/>
              </a:xfrm>
              <a:custGeom>
                <a:avLst/>
                <a:gdLst>
                  <a:gd name="T0" fmla="*/ 22 w 18"/>
                  <a:gd name="T1" fmla="*/ 19 h 24"/>
                  <a:gd name="T2" fmla="*/ 22 w 18"/>
                  <a:gd name="T3" fmla="*/ 13 h 24"/>
                  <a:gd name="T4" fmla="*/ 22 w 18"/>
                  <a:gd name="T5" fmla="*/ 6 h 24"/>
                  <a:gd name="T6" fmla="*/ 11 w 18"/>
                  <a:gd name="T7" fmla="*/ 0 h 24"/>
                  <a:gd name="T8" fmla="*/ 5 w 18"/>
                  <a:gd name="T9" fmla="*/ 5 h 24"/>
                  <a:gd name="T10" fmla="*/ 1 w 18"/>
                  <a:gd name="T11" fmla="*/ 12 h 24"/>
                  <a:gd name="T12" fmla="*/ 1 w 18"/>
                  <a:gd name="T13" fmla="*/ 21 h 24"/>
                  <a:gd name="T14" fmla="*/ 9 w 18"/>
                  <a:gd name="T15" fmla="*/ 27 h 24"/>
                  <a:gd name="T16" fmla="*/ 16 w 18"/>
                  <a:gd name="T17" fmla="*/ 29 h 24"/>
                  <a:gd name="T18" fmla="*/ 20 w 18"/>
                  <a:gd name="T19" fmla="*/ 27 h 24"/>
                  <a:gd name="T20" fmla="*/ 22 w 18"/>
                  <a:gd name="T21" fmla="*/ 19 h 2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8"/>
                  <a:gd name="T34" fmla="*/ 0 h 24"/>
                  <a:gd name="T35" fmla="*/ 18 w 18"/>
                  <a:gd name="T36" fmla="*/ 24 h 2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8" h="24">
                    <a:moveTo>
                      <a:pt x="18" y="16"/>
                    </a:moveTo>
                    <a:cubicBezTo>
                      <a:pt x="18" y="14"/>
                      <a:pt x="18" y="13"/>
                      <a:pt x="18" y="11"/>
                    </a:cubicBezTo>
                    <a:cubicBezTo>
                      <a:pt x="18" y="9"/>
                      <a:pt x="17" y="7"/>
                      <a:pt x="18" y="5"/>
                    </a:cubicBezTo>
                    <a:cubicBezTo>
                      <a:pt x="15" y="3"/>
                      <a:pt x="12" y="0"/>
                      <a:pt x="9" y="0"/>
                    </a:cubicBezTo>
                    <a:cubicBezTo>
                      <a:pt x="7" y="0"/>
                      <a:pt x="6" y="2"/>
                      <a:pt x="4" y="4"/>
                    </a:cubicBezTo>
                    <a:cubicBezTo>
                      <a:pt x="3" y="6"/>
                      <a:pt x="1" y="8"/>
                      <a:pt x="1" y="10"/>
                    </a:cubicBezTo>
                    <a:cubicBezTo>
                      <a:pt x="0" y="12"/>
                      <a:pt x="0" y="15"/>
                      <a:pt x="1" y="17"/>
                    </a:cubicBezTo>
                    <a:cubicBezTo>
                      <a:pt x="2" y="19"/>
                      <a:pt x="4" y="21"/>
                      <a:pt x="7" y="22"/>
                    </a:cubicBezTo>
                    <a:cubicBezTo>
                      <a:pt x="8" y="23"/>
                      <a:pt x="11" y="24"/>
                      <a:pt x="13" y="24"/>
                    </a:cubicBezTo>
                    <a:cubicBezTo>
                      <a:pt x="14" y="24"/>
                      <a:pt x="15" y="23"/>
                      <a:pt x="16" y="22"/>
                    </a:cubicBezTo>
                    <a:cubicBezTo>
                      <a:pt x="17" y="21"/>
                      <a:pt x="18" y="19"/>
                      <a:pt x="18" y="16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15" name="Freeform 2513"/>
              <p:cNvSpPr>
                <a:spLocks noChangeAspect="1"/>
              </p:cNvSpPr>
              <p:nvPr/>
            </p:nvSpPr>
            <p:spPr bwMode="auto">
              <a:xfrm>
                <a:off x="7135671" y="4306565"/>
                <a:ext cx="691568" cy="620974"/>
              </a:xfrm>
              <a:custGeom>
                <a:avLst/>
                <a:gdLst>
                  <a:gd name="T0" fmla="*/ 205 w 171"/>
                  <a:gd name="T1" fmla="*/ 18 h 182"/>
                  <a:gd name="T2" fmla="*/ 199 w 171"/>
                  <a:gd name="T3" fmla="*/ 17 h 182"/>
                  <a:gd name="T4" fmla="*/ 195 w 171"/>
                  <a:gd name="T5" fmla="*/ 20 h 182"/>
                  <a:gd name="T6" fmla="*/ 191 w 171"/>
                  <a:gd name="T7" fmla="*/ 18 h 182"/>
                  <a:gd name="T8" fmla="*/ 183 w 171"/>
                  <a:gd name="T9" fmla="*/ 28 h 182"/>
                  <a:gd name="T10" fmla="*/ 177 w 171"/>
                  <a:gd name="T11" fmla="*/ 28 h 182"/>
                  <a:gd name="T12" fmla="*/ 171 w 171"/>
                  <a:gd name="T13" fmla="*/ 20 h 182"/>
                  <a:gd name="T14" fmla="*/ 162 w 171"/>
                  <a:gd name="T15" fmla="*/ 22 h 182"/>
                  <a:gd name="T16" fmla="*/ 147 w 171"/>
                  <a:gd name="T17" fmla="*/ 25 h 182"/>
                  <a:gd name="T18" fmla="*/ 141 w 171"/>
                  <a:gd name="T19" fmla="*/ 25 h 182"/>
                  <a:gd name="T20" fmla="*/ 141 w 171"/>
                  <a:gd name="T21" fmla="*/ 90 h 182"/>
                  <a:gd name="T22" fmla="*/ 125 w 171"/>
                  <a:gd name="T23" fmla="*/ 90 h 182"/>
                  <a:gd name="T24" fmla="*/ 125 w 171"/>
                  <a:gd name="T25" fmla="*/ 141 h 182"/>
                  <a:gd name="T26" fmla="*/ 123 w 171"/>
                  <a:gd name="T27" fmla="*/ 208 h 182"/>
                  <a:gd name="T28" fmla="*/ 120 w 171"/>
                  <a:gd name="T29" fmla="*/ 212 h 182"/>
                  <a:gd name="T30" fmla="*/ 115 w 171"/>
                  <a:gd name="T31" fmla="*/ 214 h 182"/>
                  <a:gd name="T32" fmla="*/ 111 w 171"/>
                  <a:gd name="T33" fmla="*/ 218 h 182"/>
                  <a:gd name="T34" fmla="*/ 104 w 171"/>
                  <a:gd name="T35" fmla="*/ 215 h 182"/>
                  <a:gd name="T36" fmla="*/ 95 w 171"/>
                  <a:gd name="T37" fmla="*/ 218 h 182"/>
                  <a:gd name="T38" fmla="*/ 86 w 171"/>
                  <a:gd name="T39" fmla="*/ 214 h 182"/>
                  <a:gd name="T40" fmla="*/ 84 w 171"/>
                  <a:gd name="T41" fmla="*/ 207 h 182"/>
                  <a:gd name="T42" fmla="*/ 79 w 171"/>
                  <a:gd name="T43" fmla="*/ 201 h 182"/>
                  <a:gd name="T44" fmla="*/ 76 w 171"/>
                  <a:gd name="T45" fmla="*/ 203 h 182"/>
                  <a:gd name="T46" fmla="*/ 76 w 171"/>
                  <a:gd name="T47" fmla="*/ 211 h 182"/>
                  <a:gd name="T48" fmla="*/ 71 w 171"/>
                  <a:gd name="T49" fmla="*/ 211 h 182"/>
                  <a:gd name="T50" fmla="*/ 60 w 171"/>
                  <a:gd name="T51" fmla="*/ 202 h 182"/>
                  <a:gd name="T52" fmla="*/ 53 w 171"/>
                  <a:gd name="T53" fmla="*/ 185 h 182"/>
                  <a:gd name="T54" fmla="*/ 53 w 171"/>
                  <a:gd name="T55" fmla="*/ 176 h 182"/>
                  <a:gd name="T56" fmla="*/ 48 w 171"/>
                  <a:gd name="T57" fmla="*/ 168 h 182"/>
                  <a:gd name="T58" fmla="*/ 49 w 171"/>
                  <a:gd name="T59" fmla="*/ 162 h 182"/>
                  <a:gd name="T60" fmla="*/ 47 w 171"/>
                  <a:gd name="T61" fmla="*/ 156 h 182"/>
                  <a:gd name="T62" fmla="*/ 47 w 171"/>
                  <a:gd name="T63" fmla="*/ 148 h 182"/>
                  <a:gd name="T64" fmla="*/ 44 w 171"/>
                  <a:gd name="T65" fmla="*/ 137 h 182"/>
                  <a:gd name="T66" fmla="*/ 42 w 171"/>
                  <a:gd name="T67" fmla="*/ 124 h 182"/>
                  <a:gd name="T68" fmla="*/ 42 w 171"/>
                  <a:gd name="T69" fmla="*/ 111 h 182"/>
                  <a:gd name="T70" fmla="*/ 44 w 171"/>
                  <a:gd name="T71" fmla="*/ 102 h 182"/>
                  <a:gd name="T72" fmla="*/ 31 w 171"/>
                  <a:gd name="T73" fmla="*/ 85 h 182"/>
                  <a:gd name="T74" fmla="*/ 24 w 171"/>
                  <a:gd name="T75" fmla="*/ 71 h 182"/>
                  <a:gd name="T76" fmla="*/ 24 w 171"/>
                  <a:gd name="T77" fmla="*/ 59 h 182"/>
                  <a:gd name="T78" fmla="*/ 16 w 171"/>
                  <a:gd name="T79" fmla="*/ 49 h 182"/>
                  <a:gd name="T80" fmla="*/ 12 w 171"/>
                  <a:gd name="T81" fmla="*/ 37 h 182"/>
                  <a:gd name="T82" fmla="*/ 1 w 171"/>
                  <a:gd name="T83" fmla="*/ 23 h 182"/>
                  <a:gd name="T84" fmla="*/ 0 w 171"/>
                  <a:gd name="T85" fmla="*/ 12 h 182"/>
                  <a:gd name="T86" fmla="*/ 2 w 171"/>
                  <a:gd name="T87" fmla="*/ 5 h 182"/>
                  <a:gd name="T88" fmla="*/ 11 w 171"/>
                  <a:gd name="T89" fmla="*/ 5 h 182"/>
                  <a:gd name="T90" fmla="*/ 20 w 171"/>
                  <a:gd name="T91" fmla="*/ 0 h 182"/>
                  <a:gd name="T92" fmla="*/ 29 w 171"/>
                  <a:gd name="T93" fmla="*/ 2 h 182"/>
                  <a:gd name="T94" fmla="*/ 36 w 171"/>
                  <a:gd name="T95" fmla="*/ 7 h 182"/>
                  <a:gd name="T96" fmla="*/ 102 w 171"/>
                  <a:gd name="T97" fmla="*/ 7 h 182"/>
                  <a:gd name="T98" fmla="*/ 109 w 171"/>
                  <a:gd name="T99" fmla="*/ 14 h 182"/>
                  <a:gd name="T100" fmla="*/ 119 w 171"/>
                  <a:gd name="T101" fmla="*/ 17 h 182"/>
                  <a:gd name="T102" fmla="*/ 133 w 171"/>
                  <a:gd name="T103" fmla="*/ 19 h 182"/>
                  <a:gd name="T104" fmla="*/ 141 w 171"/>
                  <a:gd name="T105" fmla="*/ 17 h 182"/>
                  <a:gd name="T106" fmla="*/ 151 w 171"/>
                  <a:gd name="T107" fmla="*/ 19 h 182"/>
                  <a:gd name="T108" fmla="*/ 180 w 171"/>
                  <a:gd name="T109" fmla="*/ 13 h 182"/>
                  <a:gd name="T110" fmla="*/ 193 w 171"/>
                  <a:gd name="T111" fmla="*/ 10 h 182"/>
                  <a:gd name="T112" fmla="*/ 199 w 171"/>
                  <a:gd name="T113" fmla="*/ 11 h 182"/>
                  <a:gd name="T114" fmla="*/ 205 w 171"/>
                  <a:gd name="T115" fmla="*/ 18 h 182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71"/>
                  <a:gd name="T175" fmla="*/ 0 h 182"/>
                  <a:gd name="T176" fmla="*/ 171 w 171"/>
                  <a:gd name="T177" fmla="*/ 182 h 182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71" h="182">
                    <a:moveTo>
                      <a:pt x="171" y="15"/>
                    </a:moveTo>
                    <a:cubicBezTo>
                      <a:pt x="169" y="14"/>
                      <a:pt x="167" y="14"/>
                      <a:pt x="166" y="14"/>
                    </a:cubicBezTo>
                    <a:cubicBezTo>
                      <a:pt x="165" y="15"/>
                      <a:pt x="164" y="17"/>
                      <a:pt x="163" y="17"/>
                    </a:cubicBezTo>
                    <a:cubicBezTo>
                      <a:pt x="161" y="17"/>
                      <a:pt x="160" y="15"/>
                      <a:pt x="159" y="15"/>
                    </a:cubicBezTo>
                    <a:cubicBezTo>
                      <a:pt x="156" y="17"/>
                      <a:pt x="155" y="21"/>
                      <a:pt x="153" y="23"/>
                    </a:cubicBezTo>
                    <a:cubicBezTo>
                      <a:pt x="152" y="24"/>
                      <a:pt x="150" y="24"/>
                      <a:pt x="148" y="23"/>
                    </a:cubicBezTo>
                    <a:cubicBezTo>
                      <a:pt x="146" y="22"/>
                      <a:pt x="146" y="18"/>
                      <a:pt x="143" y="17"/>
                    </a:cubicBezTo>
                    <a:cubicBezTo>
                      <a:pt x="141" y="16"/>
                      <a:pt x="138" y="17"/>
                      <a:pt x="135" y="18"/>
                    </a:cubicBezTo>
                    <a:cubicBezTo>
                      <a:pt x="131" y="18"/>
                      <a:pt x="127" y="21"/>
                      <a:pt x="123" y="21"/>
                    </a:cubicBezTo>
                    <a:lnTo>
                      <a:pt x="118" y="21"/>
                    </a:lnTo>
                    <a:lnTo>
                      <a:pt x="118" y="75"/>
                    </a:lnTo>
                    <a:lnTo>
                      <a:pt x="104" y="75"/>
                    </a:lnTo>
                    <a:lnTo>
                      <a:pt x="104" y="117"/>
                    </a:lnTo>
                    <a:lnTo>
                      <a:pt x="103" y="173"/>
                    </a:lnTo>
                    <a:cubicBezTo>
                      <a:pt x="102" y="174"/>
                      <a:pt x="101" y="175"/>
                      <a:pt x="100" y="176"/>
                    </a:cubicBezTo>
                    <a:cubicBezTo>
                      <a:pt x="98" y="177"/>
                      <a:pt x="97" y="177"/>
                      <a:pt x="96" y="178"/>
                    </a:cubicBezTo>
                    <a:cubicBezTo>
                      <a:pt x="95" y="179"/>
                      <a:pt x="94" y="181"/>
                      <a:pt x="93" y="181"/>
                    </a:cubicBezTo>
                    <a:cubicBezTo>
                      <a:pt x="91" y="182"/>
                      <a:pt x="89" y="179"/>
                      <a:pt x="87" y="179"/>
                    </a:cubicBezTo>
                    <a:cubicBezTo>
                      <a:pt x="84" y="179"/>
                      <a:pt x="82" y="181"/>
                      <a:pt x="79" y="181"/>
                    </a:cubicBezTo>
                    <a:cubicBezTo>
                      <a:pt x="77" y="180"/>
                      <a:pt x="74" y="180"/>
                      <a:pt x="72" y="178"/>
                    </a:cubicBezTo>
                    <a:cubicBezTo>
                      <a:pt x="70" y="177"/>
                      <a:pt x="71" y="174"/>
                      <a:pt x="70" y="172"/>
                    </a:cubicBezTo>
                    <a:cubicBezTo>
                      <a:pt x="69" y="170"/>
                      <a:pt x="68" y="167"/>
                      <a:pt x="66" y="167"/>
                    </a:cubicBezTo>
                    <a:cubicBezTo>
                      <a:pt x="65" y="166"/>
                      <a:pt x="63" y="168"/>
                      <a:pt x="63" y="169"/>
                    </a:cubicBezTo>
                    <a:cubicBezTo>
                      <a:pt x="62" y="171"/>
                      <a:pt x="63" y="173"/>
                      <a:pt x="63" y="175"/>
                    </a:cubicBezTo>
                    <a:cubicBezTo>
                      <a:pt x="62" y="175"/>
                      <a:pt x="60" y="175"/>
                      <a:pt x="59" y="175"/>
                    </a:cubicBezTo>
                    <a:cubicBezTo>
                      <a:pt x="56" y="173"/>
                      <a:pt x="53" y="171"/>
                      <a:pt x="50" y="168"/>
                    </a:cubicBezTo>
                    <a:cubicBezTo>
                      <a:pt x="48" y="164"/>
                      <a:pt x="46" y="159"/>
                      <a:pt x="44" y="154"/>
                    </a:cubicBezTo>
                    <a:cubicBezTo>
                      <a:pt x="44" y="152"/>
                      <a:pt x="44" y="149"/>
                      <a:pt x="44" y="146"/>
                    </a:cubicBezTo>
                    <a:cubicBezTo>
                      <a:pt x="43" y="143"/>
                      <a:pt x="41" y="142"/>
                      <a:pt x="40" y="140"/>
                    </a:cubicBezTo>
                    <a:cubicBezTo>
                      <a:pt x="40" y="138"/>
                      <a:pt x="41" y="137"/>
                      <a:pt x="41" y="135"/>
                    </a:cubicBezTo>
                    <a:cubicBezTo>
                      <a:pt x="40" y="133"/>
                      <a:pt x="39" y="132"/>
                      <a:pt x="39" y="130"/>
                    </a:cubicBezTo>
                    <a:cubicBezTo>
                      <a:pt x="38" y="127"/>
                      <a:pt x="39" y="125"/>
                      <a:pt x="39" y="123"/>
                    </a:cubicBezTo>
                    <a:cubicBezTo>
                      <a:pt x="38" y="120"/>
                      <a:pt x="37" y="117"/>
                      <a:pt x="37" y="114"/>
                    </a:cubicBezTo>
                    <a:cubicBezTo>
                      <a:pt x="36" y="110"/>
                      <a:pt x="35" y="107"/>
                      <a:pt x="35" y="103"/>
                    </a:cubicBezTo>
                    <a:cubicBezTo>
                      <a:pt x="35" y="99"/>
                      <a:pt x="34" y="96"/>
                      <a:pt x="35" y="92"/>
                    </a:cubicBezTo>
                    <a:cubicBezTo>
                      <a:pt x="35" y="89"/>
                      <a:pt x="38" y="87"/>
                      <a:pt x="37" y="85"/>
                    </a:cubicBezTo>
                    <a:cubicBezTo>
                      <a:pt x="35" y="79"/>
                      <a:pt x="30" y="76"/>
                      <a:pt x="26" y="71"/>
                    </a:cubicBezTo>
                    <a:cubicBezTo>
                      <a:pt x="24" y="67"/>
                      <a:pt x="21" y="63"/>
                      <a:pt x="20" y="59"/>
                    </a:cubicBezTo>
                    <a:cubicBezTo>
                      <a:pt x="19" y="56"/>
                      <a:pt x="21" y="52"/>
                      <a:pt x="20" y="49"/>
                    </a:cubicBezTo>
                    <a:cubicBezTo>
                      <a:pt x="18" y="46"/>
                      <a:pt x="15" y="44"/>
                      <a:pt x="13" y="41"/>
                    </a:cubicBezTo>
                    <a:cubicBezTo>
                      <a:pt x="12" y="38"/>
                      <a:pt x="12" y="34"/>
                      <a:pt x="10" y="31"/>
                    </a:cubicBezTo>
                    <a:cubicBezTo>
                      <a:pt x="7" y="26"/>
                      <a:pt x="3" y="23"/>
                      <a:pt x="1" y="19"/>
                    </a:cubicBezTo>
                    <a:cubicBezTo>
                      <a:pt x="0" y="16"/>
                      <a:pt x="0" y="13"/>
                      <a:pt x="0" y="10"/>
                    </a:cubicBezTo>
                    <a:cubicBezTo>
                      <a:pt x="0" y="8"/>
                      <a:pt x="1" y="6"/>
                      <a:pt x="2" y="4"/>
                    </a:cubicBezTo>
                    <a:cubicBezTo>
                      <a:pt x="4" y="4"/>
                      <a:pt x="6" y="4"/>
                      <a:pt x="9" y="4"/>
                    </a:cubicBezTo>
                    <a:cubicBezTo>
                      <a:pt x="12" y="3"/>
                      <a:pt x="14" y="0"/>
                      <a:pt x="17" y="0"/>
                    </a:cubicBezTo>
                    <a:cubicBezTo>
                      <a:pt x="19" y="0"/>
                      <a:pt x="22" y="1"/>
                      <a:pt x="24" y="2"/>
                    </a:cubicBezTo>
                    <a:cubicBezTo>
                      <a:pt x="26" y="3"/>
                      <a:pt x="28" y="6"/>
                      <a:pt x="30" y="6"/>
                    </a:cubicBezTo>
                    <a:cubicBezTo>
                      <a:pt x="48" y="7"/>
                      <a:pt x="67" y="4"/>
                      <a:pt x="85" y="6"/>
                    </a:cubicBezTo>
                    <a:cubicBezTo>
                      <a:pt x="88" y="6"/>
                      <a:pt x="89" y="10"/>
                      <a:pt x="91" y="12"/>
                    </a:cubicBezTo>
                    <a:cubicBezTo>
                      <a:pt x="94" y="13"/>
                      <a:pt x="96" y="14"/>
                      <a:pt x="99" y="14"/>
                    </a:cubicBezTo>
                    <a:cubicBezTo>
                      <a:pt x="103" y="15"/>
                      <a:pt x="107" y="16"/>
                      <a:pt x="111" y="16"/>
                    </a:cubicBezTo>
                    <a:cubicBezTo>
                      <a:pt x="113" y="16"/>
                      <a:pt x="116" y="14"/>
                      <a:pt x="118" y="14"/>
                    </a:cubicBezTo>
                    <a:cubicBezTo>
                      <a:pt x="121" y="14"/>
                      <a:pt x="124" y="16"/>
                      <a:pt x="126" y="16"/>
                    </a:cubicBezTo>
                    <a:cubicBezTo>
                      <a:pt x="134" y="15"/>
                      <a:pt x="142" y="12"/>
                      <a:pt x="150" y="11"/>
                    </a:cubicBezTo>
                    <a:cubicBezTo>
                      <a:pt x="154" y="10"/>
                      <a:pt x="157" y="9"/>
                      <a:pt x="161" y="8"/>
                    </a:cubicBezTo>
                    <a:cubicBezTo>
                      <a:pt x="163" y="8"/>
                      <a:pt x="165" y="8"/>
                      <a:pt x="166" y="9"/>
                    </a:cubicBezTo>
                    <a:cubicBezTo>
                      <a:pt x="168" y="10"/>
                      <a:pt x="169" y="13"/>
                      <a:pt x="171" y="15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16" name="Freeform 2514"/>
              <p:cNvSpPr>
                <a:spLocks noChangeAspect="1"/>
              </p:cNvSpPr>
              <p:nvPr/>
            </p:nvSpPr>
            <p:spPr bwMode="auto">
              <a:xfrm>
                <a:off x="7557358" y="4354770"/>
                <a:ext cx="468917" cy="459350"/>
              </a:xfrm>
              <a:custGeom>
                <a:avLst/>
                <a:gdLst>
                  <a:gd name="T0" fmla="*/ 139 w 116"/>
                  <a:gd name="T1" fmla="*/ 76 h 135"/>
                  <a:gd name="T2" fmla="*/ 137 w 116"/>
                  <a:gd name="T3" fmla="*/ 73 h 135"/>
                  <a:gd name="T4" fmla="*/ 137 w 116"/>
                  <a:gd name="T5" fmla="*/ 70 h 135"/>
                  <a:gd name="T6" fmla="*/ 128 w 116"/>
                  <a:gd name="T7" fmla="*/ 66 h 135"/>
                  <a:gd name="T8" fmla="*/ 121 w 116"/>
                  <a:gd name="T9" fmla="*/ 65 h 135"/>
                  <a:gd name="T10" fmla="*/ 116 w 116"/>
                  <a:gd name="T11" fmla="*/ 58 h 135"/>
                  <a:gd name="T12" fmla="*/ 116 w 116"/>
                  <a:gd name="T13" fmla="*/ 47 h 135"/>
                  <a:gd name="T14" fmla="*/ 111 w 116"/>
                  <a:gd name="T15" fmla="*/ 47 h 135"/>
                  <a:gd name="T16" fmla="*/ 111 w 116"/>
                  <a:gd name="T17" fmla="*/ 40 h 135"/>
                  <a:gd name="T18" fmla="*/ 99 w 116"/>
                  <a:gd name="T19" fmla="*/ 32 h 135"/>
                  <a:gd name="T20" fmla="*/ 93 w 116"/>
                  <a:gd name="T21" fmla="*/ 30 h 135"/>
                  <a:gd name="T22" fmla="*/ 90 w 116"/>
                  <a:gd name="T23" fmla="*/ 18 h 135"/>
                  <a:gd name="T24" fmla="*/ 85 w 116"/>
                  <a:gd name="T25" fmla="*/ 11 h 135"/>
                  <a:gd name="T26" fmla="*/ 80 w 116"/>
                  <a:gd name="T27" fmla="*/ 1 h 135"/>
                  <a:gd name="T28" fmla="*/ 74 w 116"/>
                  <a:gd name="T29" fmla="*/ 0 h 135"/>
                  <a:gd name="T30" fmla="*/ 71 w 116"/>
                  <a:gd name="T31" fmla="*/ 4 h 135"/>
                  <a:gd name="T32" fmla="*/ 66 w 116"/>
                  <a:gd name="T33" fmla="*/ 1 h 135"/>
                  <a:gd name="T34" fmla="*/ 59 w 116"/>
                  <a:gd name="T35" fmla="*/ 11 h 135"/>
                  <a:gd name="T36" fmla="*/ 53 w 116"/>
                  <a:gd name="T37" fmla="*/ 11 h 135"/>
                  <a:gd name="T38" fmla="*/ 47 w 116"/>
                  <a:gd name="T39" fmla="*/ 4 h 135"/>
                  <a:gd name="T40" fmla="*/ 37 w 116"/>
                  <a:gd name="T41" fmla="*/ 5 h 135"/>
                  <a:gd name="T42" fmla="*/ 23 w 116"/>
                  <a:gd name="T43" fmla="*/ 8 h 135"/>
                  <a:gd name="T44" fmla="*/ 17 w 116"/>
                  <a:gd name="T45" fmla="*/ 8 h 135"/>
                  <a:gd name="T46" fmla="*/ 17 w 116"/>
                  <a:gd name="T47" fmla="*/ 73 h 135"/>
                  <a:gd name="T48" fmla="*/ 0 w 116"/>
                  <a:gd name="T49" fmla="*/ 73 h 135"/>
                  <a:gd name="T50" fmla="*/ 0 w 116"/>
                  <a:gd name="T51" fmla="*/ 124 h 135"/>
                  <a:gd name="T52" fmla="*/ 5 w 116"/>
                  <a:gd name="T53" fmla="*/ 128 h 135"/>
                  <a:gd name="T54" fmla="*/ 7 w 116"/>
                  <a:gd name="T55" fmla="*/ 139 h 135"/>
                  <a:gd name="T56" fmla="*/ 11 w 116"/>
                  <a:gd name="T57" fmla="*/ 145 h 135"/>
                  <a:gd name="T58" fmla="*/ 6 w 116"/>
                  <a:gd name="T59" fmla="*/ 155 h 135"/>
                  <a:gd name="T60" fmla="*/ 8 w 116"/>
                  <a:gd name="T61" fmla="*/ 161 h 135"/>
                  <a:gd name="T62" fmla="*/ 14 w 116"/>
                  <a:gd name="T63" fmla="*/ 158 h 135"/>
                  <a:gd name="T64" fmla="*/ 25 w 116"/>
                  <a:gd name="T65" fmla="*/ 160 h 135"/>
                  <a:gd name="T66" fmla="*/ 26 w 116"/>
                  <a:gd name="T67" fmla="*/ 156 h 135"/>
                  <a:gd name="T68" fmla="*/ 35 w 116"/>
                  <a:gd name="T69" fmla="*/ 150 h 135"/>
                  <a:gd name="T70" fmla="*/ 40 w 116"/>
                  <a:gd name="T71" fmla="*/ 144 h 135"/>
                  <a:gd name="T72" fmla="*/ 43 w 116"/>
                  <a:gd name="T73" fmla="*/ 134 h 135"/>
                  <a:gd name="T74" fmla="*/ 49 w 116"/>
                  <a:gd name="T75" fmla="*/ 132 h 135"/>
                  <a:gd name="T76" fmla="*/ 55 w 116"/>
                  <a:gd name="T77" fmla="*/ 132 h 135"/>
                  <a:gd name="T78" fmla="*/ 60 w 116"/>
                  <a:gd name="T79" fmla="*/ 139 h 135"/>
                  <a:gd name="T80" fmla="*/ 68 w 116"/>
                  <a:gd name="T81" fmla="*/ 142 h 135"/>
                  <a:gd name="T82" fmla="*/ 73 w 116"/>
                  <a:gd name="T83" fmla="*/ 140 h 135"/>
                  <a:gd name="T84" fmla="*/ 84 w 116"/>
                  <a:gd name="T85" fmla="*/ 139 h 135"/>
                  <a:gd name="T86" fmla="*/ 86 w 116"/>
                  <a:gd name="T87" fmla="*/ 132 h 135"/>
                  <a:gd name="T88" fmla="*/ 89 w 116"/>
                  <a:gd name="T89" fmla="*/ 121 h 135"/>
                  <a:gd name="T90" fmla="*/ 97 w 116"/>
                  <a:gd name="T91" fmla="*/ 119 h 135"/>
                  <a:gd name="T92" fmla="*/ 104 w 116"/>
                  <a:gd name="T93" fmla="*/ 112 h 135"/>
                  <a:gd name="T94" fmla="*/ 107 w 116"/>
                  <a:gd name="T95" fmla="*/ 101 h 135"/>
                  <a:gd name="T96" fmla="*/ 121 w 116"/>
                  <a:gd name="T97" fmla="*/ 88 h 135"/>
                  <a:gd name="T98" fmla="*/ 129 w 116"/>
                  <a:gd name="T99" fmla="*/ 82 h 135"/>
                  <a:gd name="T100" fmla="*/ 134 w 116"/>
                  <a:gd name="T101" fmla="*/ 79 h 135"/>
                  <a:gd name="T102" fmla="*/ 139 w 116"/>
                  <a:gd name="T103" fmla="*/ 76 h 13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16"/>
                  <a:gd name="T157" fmla="*/ 0 h 135"/>
                  <a:gd name="T158" fmla="*/ 116 w 116"/>
                  <a:gd name="T159" fmla="*/ 135 h 13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16" h="135">
                    <a:moveTo>
                      <a:pt x="116" y="63"/>
                    </a:moveTo>
                    <a:cubicBezTo>
                      <a:pt x="115" y="63"/>
                      <a:pt x="115" y="62"/>
                      <a:pt x="114" y="61"/>
                    </a:cubicBezTo>
                    <a:cubicBezTo>
                      <a:pt x="114" y="60"/>
                      <a:pt x="115" y="58"/>
                      <a:pt x="114" y="58"/>
                    </a:cubicBezTo>
                    <a:cubicBezTo>
                      <a:pt x="112" y="56"/>
                      <a:pt x="110" y="56"/>
                      <a:pt x="107" y="55"/>
                    </a:cubicBezTo>
                    <a:cubicBezTo>
                      <a:pt x="105" y="54"/>
                      <a:pt x="103" y="56"/>
                      <a:pt x="101" y="54"/>
                    </a:cubicBezTo>
                    <a:cubicBezTo>
                      <a:pt x="99" y="53"/>
                      <a:pt x="98" y="51"/>
                      <a:pt x="97" y="48"/>
                    </a:cubicBezTo>
                    <a:cubicBezTo>
                      <a:pt x="97" y="45"/>
                      <a:pt x="99" y="41"/>
                      <a:pt x="97" y="39"/>
                    </a:cubicBezTo>
                    <a:cubicBezTo>
                      <a:pt x="97" y="37"/>
                      <a:pt x="94" y="40"/>
                      <a:pt x="93" y="39"/>
                    </a:cubicBezTo>
                    <a:cubicBezTo>
                      <a:pt x="92" y="37"/>
                      <a:pt x="94" y="35"/>
                      <a:pt x="93" y="33"/>
                    </a:cubicBezTo>
                    <a:cubicBezTo>
                      <a:pt x="90" y="31"/>
                      <a:pt x="86" y="29"/>
                      <a:pt x="83" y="27"/>
                    </a:cubicBezTo>
                    <a:cubicBezTo>
                      <a:pt x="81" y="26"/>
                      <a:pt x="79" y="27"/>
                      <a:pt x="78" y="25"/>
                    </a:cubicBezTo>
                    <a:cubicBezTo>
                      <a:pt x="76" y="22"/>
                      <a:pt x="76" y="18"/>
                      <a:pt x="75" y="15"/>
                    </a:cubicBezTo>
                    <a:cubicBezTo>
                      <a:pt x="74" y="13"/>
                      <a:pt x="73" y="11"/>
                      <a:pt x="71" y="9"/>
                    </a:cubicBezTo>
                    <a:cubicBezTo>
                      <a:pt x="70" y="6"/>
                      <a:pt x="68" y="3"/>
                      <a:pt x="67" y="1"/>
                    </a:cubicBezTo>
                    <a:cubicBezTo>
                      <a:pt x="65" y="0"/>
                      <a:pt x="63" y="0"/>
                      <a:pt x="62" y="0"/>
                    </a:cubicBezTo>
                    <a:cubicBezTo>
                      <a:pt x="61" y="1"/>
                      <a:pt x="60" y="3"/>
                      <a:pt x="59" y="3"/>
                    </a:cubicBezTo>
                    <a:cubicBezTo>
                      <a:pt x="57" y="3"/>
                      <a:pt x="56" y="1"/>
                      <a:pt x="55" y="1"/>
                    </a:cubicBezTo>
                    <a:cubicBezTo>
                      <a:pt x="52" y="3"/>
                      <a:pt x="51" y="7"/>
                      <a:pt x="49" y="9"/>
                    </a:cubicBezTo>
                    <a:cubicBezTo>
                      <a:pt x="48" y="10"/>
                      <a:pt x="46" y="10"/>
                      <a:pt x="44" y="9"/>
                    </a:cubicBezTo>
                    <a:cubicBezTo>
                      <a:pt x="42" y="8"/>
                      <a:pt x="42" y="4"/>
                      <a:pt x="39" y="3"/>
                    </a:cubicBezTo>
                    <a:cubicBezTo>
                      <a:pt x="37" y="2"/>
                      <a:pt x="34" y="3"/>
                      <a:pt x="31" y="4"/>
                    </a:cubicBezTo>
                    <a:cubicBezTo>
                      <a:pt x="27" y="4"/>
                      <a:pt x="23" y="7"/>
                      <a:pt x="19" y="7"/>
                    </a:cubicBezTo>
                    <a:lnTo>
                      <a:pt x="14" y="7"/>
                    </a:lnTo>
                    <a:lnTo>
                      <a:pt x="14" y="61"/>
                    </a:lnTo>
                    <a:lnTo>
                      <a:pt x="0" y="61"/>
                    </a:lnTo>
                    <a:lnTo>
                      <a:pt x="0" y="103"/>
                    </a:lnTo>
                    <a:cubicBezTo>
                      <a:pt x="1" y="104"/>
                      <a:pt x="3" y="105"/>
                      <a:pt x="4" y="107"/>
                    </a:cubicBezTo>
                    <a:cubicBezTo>
                      <a:pt x="6" y="110"/>
                      <a:pt x="5" y="113"/>
                      <a:pt x="6" y="116"/>
                    </a:cubicBezTo>
                    <a:cubicBezTo>
                      <a:pt x="7" y="118"/>
                      <a:pt x="9" y="119"/>
                      <a:pt x="9" y="121"/>
                    </a:cubicBezTo>
                    <a:cubicBezTo>
                      <a:pt x="9" y="124"/>
                      <a:pt x="6" y="126"/>
                      <a:pt x="5" y="129"/>
                    </a:cubicBezTo>
                    <a:cubicBezTo>
                      <a:pt x="5" y="131"/>
                      <a:pt x="5" y="133"/>
                      <a:pt x="7" y="134"/>
                    </a:cubicBezTo>
                    <a:cubicBezTo>
                      <a:pt x="8" y="135"/>
                      <a:pt x="10" y="133"/>
                      <a:pt x="12" y="132"/>
                    </a:cubicBezTo>
                    <a:cubicBezTo>
                      <a:pt x="15" y="132"/>
                      <a:pt x="18" y="134"/>
                      <a:pt x="21" y="133"/>
                    </a:cubicBezTo>
                    <a:cubicBezTo>
                      <a:pt x="22" y="133"/>
                      <a:pt x="21" y="130"/>
                      <a:pt x="22" y="130"/>
                    </a:cubicBezTo>
                    <a:cubicBezTo>
                      <a:pt x="24" y="128"/>
                      <a:pt x="27" y="127"/>
                      <a:pt x="29" y="125"/>
                    </a:cubicBezTo>
                    <a:cubicBezTo>
                      <a:pt x="31" y="124"/>
                      <a:pt x="32" y="122"/>
                      <a:pt x="33" y="120"/>
                    </a:cubicBezTo>
                    <a:cubicBezTo>
                      <a:pt x="35" y="118"/>
                      <a:pt x="35" y="115"/>
                      <a:pt x="36" y="112"/>
                    </a:cubicBezTo>
                    <a:cubicBezTo>
                      <a:pt x="37" y="111"/>
                      <a:pt x="39" y="110"/>
                      <a:pt x="41" y="110"/>
                    </a:cubicBezTo>
                    <a:cubicBezTo>
                      <a:pt x="43" y="109"/>
                      <a:pt x="45" y="109"/>
                      <a:pt x="46" y="110"/>
                    </a:cubicBezTo>
                    <a:cubicBezTo>
                      <a:pt x="48" y="111"/>
                      <a:pt x="48" y="114"/>
                      <a:pt x="50" y="116"/>
                    </a:cubicBezTo>
                    <a:cubicBezTo>
                      <a:pt x="52" y="117"/>
                      <a:pt x="55" y="118"/>
                      <a:pt x="57" y="118"/>
                    </a:cubicBezTo>
                    <a:cubicBezTo>
                      <a:pt x="59" y="118"/>
                      <a:pt x="60" y="118"/>
                      <a:pt x="61" y="117"/>
                    </a:cubicBezTo>
                    <a:cubicBezTo>
                      <a:pt x="64" y="117"/>
                      <a:pt x="67" y="117"/>
                      <a:pt x="70" y="116"/>
                    </a:cubicBezTo>
                    <a:cubicBezTo>
                      <a:pt x="71" y="114"/>
                      <a:pt x="71" y="112"/>
                      <a:pt x="72" y="110"/>
                    </a:cubicBezTo>
                    <a:cubicBezTo>
                      <a:pt x="73" y="107"/>
                      <a:pt x="72" y="104"/>
                      <a:pt x="74" y="101"/>
                    </a:cubicBezTo>
                    <a:cubicBezTo>
                      <a:pt x="76" y="100"/>
                      <a:pt x="79" y="100"/>
                      <a:pt x="81" y="99"/>
                    </a:cubicBezTo>
                    <a:cubicBezTo>
                      <a:pt x="84" y="97"/>
                      <a:pt x="86" y="95"/>
                      <a:pt x="87" y="93"/>
                    </a:cubicBezTo>
                    <a:cubicBezTo>
                      <a:pt x="89" y="90"/>
                      <a:pt x="88" y="86"/>
                      <a:pt x="89" y="84"/>
                    </a:cubicBezTo>
                    <a:cubicBezTo>
                      <a:pt x="92" y="80"/>
                      <a:pt x="97" y="77"/>
                      <a:pt x="101" y="73"/>
                    </a:cubicBezTo>
                    <a:cubicBezTo>
                      <a:pt x="103" y="72"/>
                      <a:pt x="105" y="70"/>
                      <a:pt x="108" y="68"/>
                    </a:cubicBezTo>
                    <a:cubicBezTo>
                      <a:pt x="109" y="68"/>
                      <a:pt x="111" y="67"/>
                      <a:pt x="112" y="66"/>
                    </a:cubicBezTo>
                    <a:cubicBezTo>
                      <a:pt x="113" y="65"/>
                      <a:pt x="115" y="64"/>
                      <a:pt x="116" y="63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17" name="Freeform 2515"/>
              <p:cNvSpPr>
                <a:spLocks noChangeAspect="1"/>
              </p:cNvSpPr>
              <p:nvPr/>
            </p:nvSpPr>
            <p:spPr bwMode="auto">
              <a:xfrm>
                <a:off x="7827237" y="4238513"/>
                <a:ext cx="398072" cy="348768"/>
              </a:xfrm>
              <a:custGeom>
                <a:avLst/>
                <a:gdLst>
                  <a:gd name="T0" fmla="*/ 92 w 98"/>
                  <a:gd name="T1" fmla="*/ 122 h 102"/>
                  <a:gd name="T2" fmla="*/ 108 w 98"/>
                  <a:gd name="T3" fmla="*/ 103 h 102"/>
                  <a:gd name="T4" fmla="*/ 108 w 98"/>
                  <a:gd name="T5" fmla="*/ 92 h 102"/>
                  <a:gd name="T6" fmla="*/ 111 w 98"/>
                  <a:gd name="T7" fmla="*/ 88 h 102"/>
                  <a:gd name="T8" fmla="*/ 113 w 98"/>
                  <a:gd name="T9" fmla="*/ 82 h 102"/>
                  <a:gd name="T10" fmla="*/ 117 w 98"/>
                  <a:gd name="T11" fmla="*/ 76 h 102"/>
                  <a:gd name="T12" fmla="*/ 112 w 98"/>
                  <a:gd name="T13" fmla="*/ 72 h 102"/>
                  <a:gd name="T14" fmla="*/ 113 w 98"/>
                  <a:gd name="T15" fmla="*/ 68 h 102"/>
                  <a:gd name="T16" fmla="*/ 110 w 98"/>
                  <a:gd name="T17" fmla="*/ 62 h 102"/>
                  <a:gd name="T18" fmla="*/ 112 w 98"/>
                  <a:gd name="T19" fmla="*/ 59 h 102"/>
                  <a:gd name="T20" fmla="*/ 118 w 98"/>
                  <a:gd name="T21" fmla="*/ 52 h 102"/>
                  <a:gd name="T22" fmla="*/ 116 w 98"/>
                  <a:gd name="T23" fmla="*/ 45 h 102"/>
                  <a:gd name="T24" fmla="*/ 116 w 98"/>
                  <a:gd name="T25" fmla="*/ 33 h 102"/>
                  <a:gd name="T26" fmla="*/ 111 w 98"/>
                  <a:gd name="T27" fmla="*/ 22 h 102"/>
                  <a:gd name="T28" fmla="*/ 101 w 98"/>
                  <a:gd name="T29" fmla="*/ 19 h 102"/>
                  <a:gd name="T30" fmla="*/ 98 w 98"/>
                  <a:gd name="T31" fmla="*/ 14 h 102"/>
                  <a:gd name="T32" fmla="*/ 94 w 98"/>
                  <a:gd name="T33" fmla="*/ 10 h 102"/>
                  <a:gd name="T34" fmla="*/ 87 w 98"/>
                  <a:gd name="T35" fmla="*/ 7 h 102"/>
                  <a:gd name="T36" fmla="*/ 78 w 98"/>
                  <a:gd name="T37" fmla="*/ 7 h 102"/>
                  <a:gd name="T38" fmla="*/ 76 w 98"/>
                  <a:gd name="T39" fmla="*/ 5 h 102"/>
                  <a:gd name="T40" fmla="*/ 78 w 98"/>
                  <a:gd name="T41" fmla="*/ 1 h 102"/>
                  <a:gd name="T42" fmla="*/ 70 w 98"/>
                  <a:gd name="T43" fmla="*/ 1 h 102"/>
                  <a:gd name="T44" fmla="*/ 57 w 98"/>
                  <a:gd name="T45" fmla="*/ 8 h 102"/>
                  <a:gd name="T46" fmla="*/ 55 w 98"/>
                  <a:gd name="T47" fmla="*/ 17 h 102"/>
                  <a:gd name="T48" fmla="*/ 43 w 98"/>
                  <a:gd name="T49" fmla="*/ 24 h 102"/>
                  <a:gd name="T50" fmla="*/ 36 w 98"/>
                  <a:gd name="T51" fmla="*/ 30 h 102"/>
                  <a:gd name="T52" fmla="*/ 33 w 98"/>
                  <a:gd name="T53" fmla="*/ 37 h 102"/>
                  <a:gd name="T54" fmla="*/ 26 w 98"/>
                  <a:gd name="T55" fmla="*/ 43 h 102"/>
                  <a:gd name="T56" fmla="*/ 18 w 98"/>
                  <a:gd name="T57" fmla="*/ 45 h 102"/>
                  <a:gd name="T58" fmla="*/ 13 w 98"/>
                  <a:gd name="T59" fmla="*/ 42 h 102"/>
                  <a:gd name="T60" fmla="*/ 5 w 98"/>
                  <a:gd name="T61" fmla="*/ 41 h 102"/>
                  <a:gd name="T62" fmla="*/ 0 w 98"/>
                  <a:gd name="T63" fmla="*/ 42 h 102"/>
                  <a:gd name="T64" fmla="*/ 5 w 98"/>
                  <a:gd name="T65" fmla="*/ 52 h 102"/>
                  <a:gd name="T66" fmla="*/ 10 w 98"/>
                  <a:gd name="T67" fmla="*/ 59 h 102"/>
                  <a:gd name="T68" fmla="*/ 13 w 98"/>
                  <a:gd name="T69" fmla="*/ 71 h 102"/>
                  <a:gd name="T70" fmla="*/ 19 w 98"/>
                  <a:gd name="T71" fmla="*/ 74 h 102"/>
                  <a:gd name="T72" fmla="*/ 31 w 98"/>
                  <a:gd name="T73" fmla="*/ 81 h 102"/>
                  <a:gd name="T74" fmla="*/ 31 w 98"/>
                  <a:gd name="T75" fmla="*/ 88 h 102"/>
                  <a:gd name="T76" fmla="*/ 36 w 98"/>
                  <a:gd name="T77" fmla="*/ 88 h 102"/>
                  <a:gd name="T78" fmla="*/ 36 w 98"/>
                  <a:gd name="T79" fmla="*/ 99 h 102"/>
                  <a:gd name="T80" fmla="*/ 41 w 98"/>
                  <a:gd name="T81" fmla="*/ 106 h 102"/>
                  <a:gd name="T82" fmla="*/ 48 w 98"/>
                  <a:gd name="T83" fmla="*/ 107 h 102"/>
                  <a:gd name="T84" fmla="*/ 57 w 98"/>
                  <a:gd name="T85" fmla="*/ 111 h 102"/>
                  <a:gd name="T86" fmla="*/ 57 w 98"/>
                  <a:gd name="T87" fmla="*/ 115 h 102"/>
                  <a:gd name="T88" fmla="*/ 59 w 98"/>
                  <a:gd name="T89" fmla="*/ 117 h 102"/>
                  <a:gd name="T90" fmla="*/ 67 w 98"/>
                  <a:gd name="T91" fmla="*/ 118 h 102"/>
                  <a:gd name="T92" fmla="*/ 78 w 98"/>
                  <a:gd name="T93" fmla="*/ 119 h 102"/>
                  <a:gd name="T94" fmla="*/ 84 w 98"/>
                  <a:gd name="T95" fmla="*/ 119 h 102"/>
                  <a:gd name="T96" fmla="*/ 89 w 98"/>
                  <a:gd name="T97" fmla="*/ 122 h 102"/>
                  <a:gd name="T98" fmla="*/ 92 w 98"/>
                  <a:gd name="T99" fmla="*/ 122 h 10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98"/>
                  <a:gd name="T151" fmla="*/ 0 h 102"/>
                  <a:gd name="T152" fmla="*/ 98 w 98"/>
                  <a:gd name="T153" fmla="*/ 102 h 10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98" h="102">
                    <a:moveTo>
                      <a:pt x="76" y="101"/>
                    </a:moveTo>
                    <a:cubicBezTo>
                      <a:pt x="80" y="96"/>
                      <a:pt x="86" y="91"/>
                      <a:pt x="90" y="85"/>
                    </a:cubicBezTo>
                    <a:cubicBezTo>
                      <a:pt x="91" y="83"/>
                      <a:pt x="89" y="79"/>
                      <a:pt x="90" y="76"/>
                    </a:cubicBezTo>
                    <a:cubicBezTo>
                      <a:pt x="90" y="75"/>
                      <a:pt x="91" y="74"/>
                      <a:pt x="92" y="73"/>
                    </a:cubicBezTo>
                    <a:cubicBezTo>
                      <a:pt x="93" y="72"/>
                      <a:pt x="93" y="70"/>
                      <a:pt x="94" y="68"/>
                    </a:cubicBezTo>
                    <a:cubicBezTo>
                      <a:pt x="95" y="67"/>
                      <a:pt x="97" y="65"/>
                      <a:pt x="97" y="63"/>
                    </a:cubicBezTo>
                    <a:cubicBezTo>
                      <a:pt x="97" y="62"/>
                      <a:pt x="94" y="61"/>
                      <a:pt x="93" y="60"/>
                    </a:cubicBezTo>
                    <a:cubicBezTo>
                      <a:pt x="93" y="59"/>
                      <a:pt x="94" y="57"/>
                      <a:pt x="94" y="56"/>
                    </a:cubicBezTo>
                    <a:cubicBezTo>
                      <a:pt x="93" y="54"/>
                      <a:pt x="91" y="53"/>
                      <a:pt x="91" y="51"/>
                    </a:cubicBezTo>
                    <a:cubicBezTo>
                      <a:pt x="90" y="50"/>
                      <a:pt x="92" y="50"/>
                      <a:pt x="93" y="49"/>
                    </a:cubicBezTo>
                    <a:cubicBezTo>
                      <a:pt x="94" y="47"/>
                      <a:pt x="97" y="45"/>
                      <a:pt x="98" y="43"/>
                    </a:cubicBezTo>
                    <a:cubicBezTo>
                      <a:pt x="98" y="41"/>
                      <a:pt x="96" y="39"/>
                      <a:pt x="96" y="37"/>
                    </a:cubicBezTo>
                    <a:cubicBezTo>
                      <a:pt x="96" y="33"/>
                      <a:pt x="97" y="30"/>
                      <a:pt x="96" y="27"/>
                    </a:cubicBezTo>
                    <a:cubicBezTo>
                      <a:pt x="96" y="24"/>
                      <a:pt x="95" y="20"/>
                      <a:pt x="92" y="18"/>
                    </a:cubicBezTo>
                    <a:cubicBezTo>
                      <a:pt x="90" y="16"/>
                      <a:pt x="86" y="17"/>
                      <a:pt x="84" y="16"/>
                    </a:cubicBezTo>
                    <a:cubicBezTo>
                      <a:pt x="82" y="15"/>
                      <a:pt x="82" y="13"/>
                      <a:pt x="81" y="12"/>
                    </a:cubicBezTo>
                    <a:cubicBezTo>
                      <a:pt x="80" y="10"/>
                      <a:pt x="79" y="9"/>
                      <a:pt x="78" y="8"/>
                    </a:cubicBezTo>
                    <a:cubicBezTo>
                      <a:pt x="76" y="7"/>
                      <a:pt x="74" y="7"/>
                      <a:pt x="72" y="6"/>
                    </a:cubicBezTo>
                    <a:cubicBezTo>
                      <a:pt x="70" y="6"/>
                      <a:pt x="67" y="7"/>
                      <a:pt x="65" y="6"/>
                    </a:cubicBezTo>
                    <a:cubicBezTo>
                      <a:pt x="64" y="6"/>
                      <a:pt x="63" y="5"/>
                      <a:pt x="63" y="4"/>
                    </a:cubicBezTo>
                    <a:cubicBezTo>
                      <a:pt x="64" y="3"/>
                      <a:pt x="65" y="2"/>
                      <a:pt x="65" y="1"/>
                    </a:cubicBezTo>
                    <a:cubicBezTo>
                      <a:pt x="62" y="1"/>
                      <a:pt x="60" y="0"/>
                      <a:pt x="58" y="1"/>
                    </a:cubicBezTo>
                    <a:cubicBezTo>
                      <a:pt x="54" y="2"/>
                      <a:pt x="49" y="4"/>
                      <a:pt x="47" y="7"/>
                    </a:cubicBezTo>
                    <a:cubicBezTo>
                      <a:pt x="45" y="8"/>
                      <a:pt x="48" y="12"/>
                      <a:pt x="46" y="14"/>
                    </a:cubicBezTo>
                    <a:cubicBezTo>
                      <a:pt x="43" y="17"/>
                      <a:pt x="39" y="17"/>
                      <a:pt x="36" y="20"/>
                    </a:cubicBezTo>
                    <a:cubicBezTo>
                      <a:pt x="34" y="21"/>
                      <a:pt x="32" y="23"/>
                      <a:pt x="30" y="25"/>
                    </a:cubicBezTo>
                    <a:cubicBezTo>
                      <a:pt x="29" y="27"/>
                      <a:pt x="28" y="29"/>
                      <a:pt x="27" y="31"/>
                    </a:cubicBezTo>
                    <a:cubicBezTo>
                      <a:pt x="25" y="33"/>
                      <a:pt x="24" y="35"/>
                      <a:pt x="22" y="36"/>
                    </a:cubicBezTo>
                    <a:cubicBezTo>
                      <a:pt x="20" y="37"/>
                      <a:pt x="18" y="38"/>
                      <a:pt x="15" y="37"/>
                    </a:cubicBezTo>
                    <a:cubicBezTo>
                      <a:pt x="14" y="37"/>
                      <a:pt x="13" y="36"/>
                      <a:pt x="11" y="35"/>
                    </a:cubicBezTo>
                    <a:cubicBezTo>
                      <a:pt x="9" y="35"/>
                      <a:pt x="7" y="34"/>
                      <a:pt x="4" y="34"/>
                    </a:cubicBezTo>
                    <a:cubicBezTo>
                      <a:pt x="2" y="34"/>
                      <a:pt x="1" y="34"/>
                      <a:pt x="0" y="35"/>
                    </a:cubicBezTo>
                    <a:cubicBezTo>
                      <a:pt x="1" y="37"/>
                      <a:pt x="3" y="40"/>
                      <a:pt x="4" y="43"/>
                    </a:cubicBezTo>
                    <a:cubicBezTo>
                      <a:pt x="6" y="45"/>
                      <a:pt x="7" y="47"/>
                      <a:pt x="8" y="49"/>
                    </a:cubicBezTo>
                    <a:cubicBezTo>
                      <a:pt x="9" y="52"/>
                      <a:pt x="9" y="56"/>
                      <a:pt x="11" y="59"/>
                    </a:cubicBezTo>
                    <a:cubicBezTo>
                      <a:pt x="12" y="61"/>
                      <a:pt x="14" y="60"/>
                      <a:pt x="16" y="61"/>
                    </a:cubicBezTo>
                    <a:cubicBezTo>
                      <a:pt x="19" y="63"/>
                      <a:pt x="23" y="65"/>
                      <a:pt x="26" y="67"/>
                    </a:cubicBezTo>
                    <a:cubicBezTo>
                      <a:pt x="27" y="69"/>
                      <a:pt x="25" y="71"/>
                      <a:pt x="26" y="73"/>
                    </a:cubicBezTo>
                    <a:cubicBezTo>
                      <a:pt x="27" y="74"/>
                      <a:pt x="30" y="71"/>
                      <a:pt x="30" y="73"/>
                    </a:cubicBezTo>
                    <a:cubicBezTo>
                      <a:pt x="32" y="75"/>
                      <a:pt x="30" y="79"/>
                      <a:pt x="30" y="82"/>
                    </a:cubicBezTo>
                    <a:cubicBezTo>
                      <a:pt x="31" y="85"/>
                      <a:pt x="32" y="87"/>
                      <a:pt x="34" y="88"/>
                    </a:cubicBezTo>
                    <a:cubicBezTo>
                      <a:pt x="36" y="90"/>
                      <a:pt x="38" y="88"/>
                      <a:pt x="40" y="89"/>
                    </a:cubicBezTo>
                    <a:cubicBezTo>
                      <a:pt x="43" y="90"/>
                      <a:pt x="45" y="90"/>
                      <a:pt x="47" y="92"/>
                    </a:cubicBezTo>
                    <a:cubicBezTo>
                      <a:pt x="48" y="92"/>
                      <a:pt x="47" y="94"/>
                      <a:pt x="47" y="95"/>
                    </a:cubicBezTo>
                    <a:cubicBezTo>
                      <a:pt x="48" y="96"/>
                      <a:pt x="48" y="97"/>
                      <a:pt x="49" y="97"/>
                    </a:cubicBezTo>
                    <a:cubicBezTo>
                      <a:pt x="52" y="97"/>
                      <a:pt x="54" y="97"/>
                      <a:pt x="56" y="98"/>
                    </a:cubicBezTo>
                    <a:cubicBezTo>
                      <a:pt x="59" y="98"/>
                      <a:pt x="62" y="99"/>
                      <a:pt x="65" y="99"/>
                    </a:cubicBezTo>
                    <a:cubicBezTo>
                      <a:pt x="66" y="99"/>
                      <a:pt x="68" y="99"/>
                      <a:pt x="70" y="99"/>
                    </a:cubicBezTo>
                    <a:cubicBezTo>
                      <a:pt x="72" y="99"/>
                      <a:pt x="73" y="101"/>
                      <a:pt x="74" y="101"/>
                    </a:cubicBezTo>
                    <a:cubicBezTo>
                      <a:pt x="75" y="102"/>
                      <a:pt x="75" y="101"/>
                      <a:pt x="76" y="101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18" name="Freeform 2516"/>
              <p:cNvSpPr>
                <a:spLocks noChangeAspect="1"/>
              </p:cNvSpPr>
              <p:nvPr/>
            </p:nvSpPr>
            <p:spPr bwMode="auto">
              <a:xfrm>
                <a:off x="8083624" y="3974812"/>
                <a:ext cx="543134" cy="839306"/>
              </a:xfrm>
              <a:custGeom>
                <a:avLst/>
                <a:gdLst>
                  <a:gd name="T0" fmla="*/ 37 w 134"/>
                  <a:gd name="T1" fmla="*/ 290 h 247"/>
                  <a:gd name="T2" fmla="*/ 35 w 134"/>
                  <a:gd name="T3" fmla="*/ 276 h 247"/>
                  <a:gd name="T4" fmla="*/ 40 w 134"/>
                  <a:gd name="T5" fmla="*/ 270 h 247"/>
                  <a:gd name="T6" fmla="*/ 58 w 134"/>
                  <a:gd name="T7" fmla="*/ 260 h 247"/>
                  <a:gd name="T8" fmla="*/ 76 w 134"/>
                  <a:gd name="T9" fmla="*/ 248 h 247"/>
                  <a:gd name="T10" fmla="*/ 77 w 134"/>
                  <a:gd name="T11" fmla="*/ 231 h 247"/>
                  <a:gd name="T12" fmla="*/ 74 w 134"/>
                  <a:gd name="T13" fmla="*/ 207 h 247"/>
                  <a:gd name="T14" fmla="*/ 67 w 134"/>
                  <a:gd name="T15" fmla="*/ 191 h 247"/>
                  <a:gd name="T16" fmla="*/ 66 w 134"/>
                  <a:gd name="T17" fmla="*/ 173 h 247"/>
                  <a:gd name="T18" fmla="*/ 85 w 134"/>
                  <a:gd name="T19" fmla="*/ 153 h 247"/>
                  <a:gd name="T20" fmla="*/ 102 w 134"/>
                  <a:gd name="T21" fmla="*/ 134 h 247"/>
                  <a:gd name="T22" fmla="*/ 137 w 134"/>
                  <a:gd name="T23" fmla="*/ 114 h 247"/>
                  <a:gd name="T24" fmla="*/ 161 w 134"/>
                  <a:gd name="T25" fmla="*/ 80 h 247"/>
                  <a:gd name="T26" fmla="*/ 160 w 134"/>
                  <a:gd name="T27" fmla="*/ 73 h 247"/>
                  <a:gd name="T28" fmla="*/ 157 w 134"/>
                  <a:gd name="T29" fmla="*/ 53 h 247"/>
                  <a:gd name="T30" fmla="*/ 154 w 134"/>
                  <a:gd name="T31" fmla="*/ 22 h 247"/>
                  <a:gd name="T32" fmla="*/ 159 w 134"/>
                  <a:gd name="T33" fmla="*/ 6 h 247"/>
                  <a:gd name="T34" fmla="*/ 153 w 134"/>
                  <a:gd name="T35" fmla="*/ 2 h 247"/>
                  <a:gd name="T36" fmla="*/ 133 w 134"/>
                  <a:gd name="T37" fmla="*/ 16 h 247"/>
                  <a:gd name="T38" fmla="*/ 124 w 134"/>
                  <a:gd name="T39" fmla="*/ 17 h 247"/>
                  <a:gd name="T40" fmla="*/ 113 w 134"/>
                  <a:gd name="T41" fmla="*/ 23 h 247"/>
                  <a:gd name="T42" fmla="*/ 96 w 134"/>
                  <a:gd name="T43" fmla="*/ 24 h 247"/>
                  <a:gd name="T44" fmla="*/ 83 w 134"/>
                  <a:gd name="T45" fmla="*/ 22 h 247"/>
                  <a:gd name="T46" fmla="*/ 70 w 134"/>
                  <a:gd name="T47" fmla="*/ 19 h 247"/>
                  <a:gd name="T48" fmla="*/ 66 w 134"/>
                  <a:gd name="T49" fmla="*/ 35 h 247"/>
                  <a:gd name="T50" fmla="*/ 68 w 134"/>
                  <a:gd name="T51" fmla="*/ 53 h 247"/>
                  <a:gd name="T52" fmla="*/ 77 w 134"/>
                  <a:gd name="T53" fmla="*/ 66 h 247"/>
                  <a:gd name="T54" fmla="*/ 85 w 134"/>
                  <a:gd name="T55" fmla="*/ 81 h 247"/>
                  <a:gd name="T56" fmla="*/ 85 w 134"/>
                  <a:gd name="T57" fmla="*/ 102 h 247"/>
                  <a:gd name="T58" fmla="*/ 77 w 134"/>
                  <a:gd name="T59" fmla="*/ 109 h 247"/>
                  <a:gd name="T60" fmla="*/ 65 w 134"/>
                  <a:gd name="T61" fmla="*/ 107 h 247"/>
                  <a:gd name="T62" fmla="*/ 61 w 134"/>
                  <a:gd name="T63" fmla="*/ 97 h 247"/>
                  <a:gd name="T64" fmla="*/ 66 w 134"/>
                  <a:gd name="T65" fmla="*/ 79 h 247"/>
                  <a:gd name="T66" fmla="*/ 52 w 134"/>
                  <a:gd name="T67" fmla="*/ 75 h 247"/>
                  <a:gd name="T68" fmla="*/ 43 w 134"/>
                  <a:gd name="T69" fmla="*/ 67 h 247"/>
                  <a:gd name="T70" fmla="*/ 4 w 134"/>
                  <a:gd name="T71" fmla="*/ 91 h 247"/>
                  <a:gd name="T72" fmla="*/ 0 w 134"/>
                  <a:gd name="T73" fmla="*/ 98 h 247"/>
                  <a:gd name="T74" fmla="*/ 11 w 134"/>
                  <a:gd name="T75" fmla="*/ 101 h 247"/>
                  <a:gd name="T76" fmla="*/ 22 w 134"/>
                  <a:gd name="T77" fmla="*/ 108 h 247"/>
                  <a:gd name="T78" fmla="*/ 35 w 134"/>
                  <a:gd name="T79" fmla="*/ 115 h 247"/>
                  <a:gd name="T80" fmla="*/ 40 w 134"/>
                  <a:gd name="T81" fmla="*/ 138 h 247"/>
                  <a:gd name="T82" fmla="*/ 36 w 134"/>
                  <a:gd name="T83" fmla="*/ 152 h 247"/>
                  <a:gd name="T84" fmla="*/ 37 w 134"/>
                  <a:gd name="T85" fmla="*/ 161 h 247"/>
                  <a:gd name="T86" fmla="*/ 41 w 134"/>
                  <a:gd name="T87" fmla="*/ 169 h 247"/>
                  <a:gd name="T88" fmla="*/ 35 w 134"/>
                  <a:gd name="T89" fmla="*/ 181 h 247"/>
                  <a:gd name="T90" fmla="*/ 32 w 134"/>
                  <a:gd name="T91" fmla="*/ 195 h 247"/>
                  <a:gd name="T92" fmla="*/ 17 w 134"/>
                  <a:gd name="T93" fmla="*/ 224 h 247"/>
                  <a:gd name="T94" fmla="*/ 19 w 134"/>
                  <a:gd name="T95" fmla="*/ 236 h 247"/>
                  <a:gd name="T96" fmla="*/ 24 w 134"/>
                  <a:gd name="T97" fmla="*/ 254 h 247"/>
                  <a:gd name="T98" fmla="*/ 23 w 134"/>
                  <a:gd name="T99" fmla="*/ 277 h 247"/>
                  <a:gd name="T100" fmla="*/ 25 w 134"/>
                  <a:gd name="T101" fmla="*/ 289 h 247"/>
                  <a:gd name="T102" fmla="*/ 37 w 134"/>
                  <a:gd name="T103" fmla="*/ 296 h 247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34"/>
                  <a:gd name="T157" fmla="*/ 0 h 247"/>
                  <a:gd name="T158" fmla="*/ 134 w 134"/>
                  <a:gd name="T159" fmla="*/ 247 h 247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34" h="247">
                    <a:moveTo>
                      <a:pt x="31" y="247"/>
                    </a:moveTo>
                    <a:cubicBezTo>
                      <a:pt x="31" y="246"/>
                      <a:pt x="31" y="243"/>
                      <a:pt x="31" y="242"/>
                    </a:cubicBezTo>
                    <a:cubicBezTo>
                      <a:pt x="31" y="239"/>
                      <a:pt x="29" y="237"/>
                      <a:pt x="28" y="235"/>
                    </a:cubicBezTo>
                    <a:cubicBezTo>
                      <a:pt x="28" y="234"/>
                      <a:pt x="28" y="232"/>
                      <a:pt x="29" y="230"/>
                    </a:cubicBezTo>
                    <a:cubicBezTo>
                      <a:pt x="29" y="228"/>
                      <a:pt x="30" y="226"/>
                      <a:pt x="31" y="225"/>
                    </a:cubicBezTo>
                    <a:cubicBezTo>
                      <a:pt x="31" y="224"/>
                      <a:pt x="32" y="225"/>
                      <a:pt x="33" y="225"/>
                    </a:cubicBezTo>
                    <a:cubicBezTo>
                      <a:pt x="35" y="223"/>
                      <a:pt x="37" y="222"/>
                      <a:pt x="39" y="220"/>
                    </a:cubicBezTo>
                    <a:cubicBezTo>
                      <a:pt x="42" y="219"/>
                      <a:pt x="45" y="218"/>
                      <a:pt x="48" y="217"/>
                    </a:cubicBezTo>
                    <a:cubicBezTo>
                      <a:pt x="51" y="215"/>
                      <a:pt x="55" y="214"/>
                      <a:pt x="59" y="212"/>
                    </a:cubicBezTo>
                    <a:cubicBezTo>
                      <a:pt x="60" y="210"/>
                      <a:pt x="62" y="209"/>
                      <a:pt x="63" y="207"/>
                    </a:cubicBezTo>
                    <a:cubicBezTo>
                      <a:pt x="63" y="206"/>
                      <a:pt x="63" y="204"/>
                      <a:pt x="63" y="203"/>
                    </a:cubicBezTo>
                    <a:cubicBezTo>
                      <a:pt x="64" y="199"/>
                      <a:pt x="64" y="196"/>
                      <a:pt x="64" y="193"/>
                    </a:cubicBezTo>
                    <a:cubicBezTo>
                      <a:pt x="64" y="189"/>
                      <a:pt x="64" y="185"/>
                      <a:pt x="64" y="181"/>
                    </a:cubicBezTo>
                    <a:cubicBezTo>
                      <a:pt x="63" y="178"/>
                      <a:pt x="63" y="176"/>
                      <a:pt x="62" y="173"/>
                    </a:cubicBezTo>
                    <a:cubicBezTo>
                      <a:pt x="62" y="169"/>
                      <a:pt x="61" y="165"/>
                      <a:pt x="60" y="161"/>
                    </a:cubicBezTo>
                    <a:cubicBezTo>
                      <a:pt x="59" y="160"/>
                      <a:pt x="57" y="160"/>
                      <a:pt x="56" y="159"/>
                    </a:cubicBezTo>
                    <a:cubicBezTo>
                      <a:pt x="56" y="158"/>
                      <a:pt x="58" y="157"/>
                      <a:pt x="58" y="155"/>
                    </a:cubicBezTo>
                    <a:cubicBezTo>
                      <a:pt x="58" y="151"/>
                      <a:pt x="54" y="148"/>
                      <a:pt x="55" y="144"/>
                    </a:cubicBezTo>
                    <a:cubicBezTo>
                      <a:pt x="55" y="143"/>
                      <a:pt x="58" y="142"/>
                      <a:pt x="59" y="141"/>
                    </a:cubicBezTo>
                    <a:cubicBezTo>
                      <a:pt x="63" y="137"/>
                      <a:pt x="67" y="133"/>
                      <a:pt x="71" y="128"/>
                    </a:cubicBezTo>
                    <a:cubicBezTo>
                      <a:pt x="75" y="124"/>
                      <a:pt x="78" y="120"/>
                      <a:pt x="82" y="116"/>
                    </a:cubicBezTo>
                    <a:cubicBezTo>
                      <a:pt x="83" y="115"/>
                      <a:pt x="84" y="113"/>
                      <a:pt x="85" y="112"/>
                    </a:cubicBezTo>
                    <a:cubicBezTo>
                      <a:pt x="91" y="108"/>
                      <a:pt x="96" y="105"/>
                      <a:pt x="102" y="102"/>
                    </a:cubicBezTo>
                    <a:cubicBezTo>
                      <a:pt x="106" y="99"/>
                      <a:pt x="111" y="98"/>
                      <a:pt x="114" y="95"/>
                    </a:cubicBezTo>
                    <a:cubicBezTo>
                      <a:pt x="120" y="90"/>
                      <a:pt x="124" y="84"/>
                      <a:pt x="128" y="78"/>
                    </a:cubicBezTo>
                    <a:cubicBezTo>
                      <a:pt x="130" y="74"/>
                      <a:pt x="133" y="71"/>
                      <a:pt x="134" y="67"/>
                    </a:cubicBezTo>
                    <a:cubicBezTo>
                      <a:pt x="134" y="66"/>
                      <a:pt x="131" y="66"/>
                      <a:pt x="131" y="65"/>
                    </a:cubicBezTo>
                    <a:cubicBezTo>
                      <a:pt x="131" y="64"/>
                      <a:pt x="133" y="63"/>
                      <a:pt x="133" y="61"/>
                    </a:cubicBezTo>
                    <a:cubicBezTo>
                      <a:pt x="133" y="60"/>
                      <a:pt x="130" y="59"/>
                      <a:pt x="130" y="57"/>
                    </a:cubicBezTo>
                    <a:cubicBezTo>
                      <a:pt x="129" y="53"/>
                      <a:pt x="131" y="49"/>
                      <a:pt x="131" y="44"/>
                    </a:cubicBezTo>
                    <a:cubicBezTo>
                      <a:pt x="131" y="41"/>
                      <a:pt x="130" y="37"/>
                      <a:pt x="130" y="33"/>
                    </a:cubicBezTo>
                    <a:cubicBezTo>
                      <a:pt x="129" y="28"/>
                      <a:pt x="128" y="23"/>
                      <a:pt x="128" y="18"/>
                    </a:cubicBezTo>
                    <a:cubicBezTo>
                      <a:pt x="128" y="15"/>
                      <a:pt x="128" y="12"/>
                      <a:pt x="129" y="9"/>
                    </a:cubicBezTo>
                    <a:cubicBezTo>
                      <a:pt x="129" y="8"/>
                      <a:pt x="132" y="7"/>
                      <a:pt x="132" y="5"/>
                    </a:cubicBezTo>
                    <a:cubicBezTo>
                      <a:pt x="132" y="4"/>
                      <a:pt x="132" y="2"/>
                      <a:pt x="131" y="1"/>
                    </a:cubicBezTo>
                    <a:cubicBezTo>
                      <a:pt x="130" y="0"/>
                      <a:pt x="128" y="2"/>
                      <a:pt x="127" y="2"/>
                    </a:cubicBezTo>
                    <a:cubicBezTo>
                      <a:pt x="124" y="5"/>
                      <a:pt x="121" y="9"/>
                      <a:pt x="117" y="11"/>
                    </a:cubicBezTo>
                    <a:cubicBezTo>
                      <a:pt x="116" y="12"/>
                      <a:pt x="113" y="12"/>
                      <a:pt x="111" y="13"/>
                    </a:cubicBezTo>
                    <a:cubicBezTo>
                      <a:pt x="110" y="14"/>
                      <a:pt x="108" y="15"/>
                      <a:pt x="106" y="16"/>
                    </a:cubicBezTo>
                    <a:cubicBezTo>
                      <a:pt x="105" y="16"/>
                      <a:pt x="105" y="14"/>
                      <a:pt x="103" y="14"/>
                    </a:cubicBezTo>
                    <a:cubicBezTo>
                      <a:pt x="102" y="13"/>
                      <a:pt x="100" y="13"/>
                      <a:pt x="99" y="14"/>
                    </a:cubicBezTo>
                    <a:cubicBezTo>
                      <a:pt x="96" y="15"/>
                      <a:pt x="96" y="18"/>
                      <a:pt x="94" y="19"/>
                    </a:cubicBezTo>
                    <a:cubicBezTo>
                      <a:pt x="91" y="20"/>
                      <a:pt x="90" y="17"/>
                      <a:pt x="87" y="17"/>
                    </a:cubicBezTo>
                    <a:cubicBezTo>
                      <a:pt x="85" y="17"/>
                      <a:pt x="83" y="20"/>
                      <a:pt x="80" y="20"/>
                    </a:cubicBezTo>
                    <a:cubicBezTo>
                      <a:pt x="77" y="19"/>
                      <a:pt x="77" y="14"/>
                      <a:pt x="74" y="13"/>
                    </a:cubicBezTo>
                    <a:cubicBezTo>
                      <a:pt x="72" y="13"/>
                      <a:pt x="71" y="17"/>
                      <a:pt x="69" y="18"/>
                    </a:cubicBezTo>
                    <a:cubicBezTo>
                      <a:pt x="67" y="18"/>
                      <a:pt x="64" y="18"/>
                      <a:pt x="62" y="18"/>
                    </a:cubicBezTo>
                    <a:cubicBezTo>
                      <a:pt x="61" y="17"/>
                      <a:pt x="60" y="17"/>
                      <a:pt x="58" y="16"/>
                    </a:cubicBezTo>
                    <a:cubicBezTo>
                      <a:pt x="58" y="19"/>
                      <a:pt x="57" y="21"/>
                      <a:pt x="56" y="23"/>
                    </a:cubicBezTo>
                    <a:cubicBezTo>
                      <a:pt x="56" y="25"/>
                      <a:pt x="55" y="27"/>
                      <a:pt x="55" y="29"/>
                    </a:cubicBezTo>
                    <a:cubicBezTo>
                      <a:pt x="55" y="31"/>
                      <a:pt x="55" y="34"/>
                      <a:pt x="55" y="36"/>
                    </a:cubicBezTo>
                    <a:cubicBezTo>
                      <a:pt x="56" y="38"/>
                      <a:pt x="56" y="41"/>
                      <a:pt x="57" y="44"/>
                    </a:cubicBezTo>
                    <a:cubicBezTo>
                      <a:pt x="57" y="46"/>
                      <a:pt x="57" y="48"/>
                      <a:pt x="58" y="50"/>
                    </a:cubicBezTo>
                    <a:cubicBezTo>
                      <a:pt x="59" y="52"/>
                      <a:pt x="62" y="53"/>
                      <a:pt x="64" y="55"/>
                    </a:cubicBezTo>
                    <a:cubicBezTo>
                      <a:pt x="66" y="57"/>
                      <a:pt x="66" y="59"/>
                      <a:pt x="67" y="61"/>
                    </a:cubicBezTo>
                    <a:cubicBezTo>
                      <a:pt x="69" y="64"/>
                      <a:pt x="70" y="66"/>
                      <a:pt x="71" y="68"/>
                    </a:cubicBezTo>
                    <a:cubicBezTo>
                      <a:pt x="72" y="71"/>
                      <a:pt x="71" y="75"/>
                      <a:pt x="71" y="79"/>
                    </a:cubicBezTo>
                    <a:cubicBezTo>
                      <a:pt x="71" y="81"/>
                      <a:pt x="72" y="83"/>
                      <a:pt x="71" y="85"/>
                    </a:cubicBezTo>
                    <a:cubicBezTo>
                      <a:pt x="70" y="87"/>
                      <a:pt x="67" y="85"/>
                      <a:pt x="65" y="86"/>
                    </a:cubicBezTo>
                    <a:cubicBezTo>
                      <a:pt x="64" y="87"/>
                      <a:pt x="64" y="89"/>
                      <a:pt x="64" y="91"/>
                    </a:cubicBezTo>
                    <a:cubicBezTo>
                      <a:pt x="63" y="93"/>
                      <a:pt x="64" y="98"/>
                      <a:pt x="62" y="97"/>
                    </a:cubicBezTo>
                    <a:cubicBezTo>
                      <a:pt x="58" y="96"/>
                      <a:pt x="56" y="92"/>
                      <a:pt x="54" y="89"/>
                    </a:cubicBezTo>
                    <a:cubicBezTo>
                      <a:pt x="53" y="87"/>
                      <a:pt x="52" y="86"/>
                      <a:pt x="52" y="84"/>
                    </a:cubicBezTo>
                    <a:cubicBezTo>
                      <a:pt x="51" y="83"/>
                      <a:pt x="50" y="82"/>
                      <a:pt x="51" y="81"/>
                    </a:cubicBezTo>
                    <a:cubicBezTo>
                      <a:pt x="52" y="78"/>
                      <a:pt x="54" y="77"/>
                      <a:pt x="55" y="75"/>
                    </a:cubicBezTo>
                    <a:cubicBezTo>
                      <a:pt x="56" y="72"/>
                      <a:pt x="56" y="69"/>
                      <a:pt x="55" y="66"/>
                    </a:cubicBezTo>
                    <a:cubicBezTo>
                      <a:pt x="54" y="64"/>
                      <a:pt x="54" y="61"/>
                      <a:pt x="52" y="61"/>
                    </a:cubicBezTo>
                    <a:cubicBezTo>
                      <a:pt x="49" y="60"/>
                      <a:pt x="46" y="65"/>
                      <a:pt x="43" y="63"/>
                    </a:cubicBezTo>
                    <a:cubicBezTo>
                      <a:pt x="40" y="62"/>
                      <a:pt x="41" y="57"/>
                      <a:pt x="39" y="55"/>
                    </a:cubicBezTo>
                    <a:cubicBezTo>
                      <a:pt x="39" y="54"/>
                      <a:pt x="37" y="56"/>
                      <a:pt x="36" y="56"/>
                    </a:cubicBezTo>
                    <a:lnTo>
                      <a:pt x="1" y="70"/>
                    </a:lnTo>
                    <a:lnTo>
                      <a:pt x="3" y="76"/>
                    </a:lnTo>
                    <a:lnTo>
                      <a:pt x="2" y="79"/>
                    </a:lnTo>
                    <a:cubicBezTo>
                      <a:pt x="2" y="80"/>
                      <a:pt x="1" y="81"/>
                      <a:pt x="0" y="82"/>
                    </a:cubicBezTo>
                    <a:cubicBezTo>
                      <a:pt x="0" y="83"/>
                      <a:pt x="1" y="84"/>
                      <a:pt x="2" y="84"/>
                    </a:cubicBezTo>
                    <a:cubicBezTo>
                      <a:pt x="4" y="85"/>
                      <a:pt x="7" y="84"/>
                      <a:pt x="9" y="84"/>
                    </a:cubicBezTo>
                    <a:cubicBezTo>
                      <a:pt x="11" y="85"/>
                      <a:pt x="13" y="85"/>
                      <a:pt x="15" y="86"/>
                    </a:cubicBezTo>
                    <a:cubicBezTo>
                      <a:pt x="16" y="87"/>
                      <a:pt x="17" y="88"/>
                      <a:pt x="18" y="90"/>
                    </a:cubicBezTo>
                    <a:cubicBezTo>
                      <a:pt x="19" y="91"/>
                      <a:pt x="19" y="93"/>
                      <a:pt x="21" y="94"/>
                    </a:cubicBezTo>
                    <a:cubicBezTo>
                      <a:pt x="23" y="95"/>
                      <a:pt x="27" y="94"/>
                      <a:pt x="29" y="96"/>
                    </a:cubicBezTo>
                    <a:cubicBezTo>
                      <a:pt x="32" y="98"/>
                      <a:pt x="33" y="102"/>
                      <a:pt x="33" y="105"/>
                    </a:cubicBezTo>
                    <a:cubicBezTo>
                      <a:pt x="34" y="108"/>
                      <a:pt x="33" y="111"/>
                      <a:pt x="33" y="115"/>
                    </a:cubicBezTo>
                    <a:cubicBezTo>
                      <a:pt x="33" y="117"/>
                      <a:pt x="35" y="119"/>
                      <a:pt x="35" y="121"/>
                    </a:cubicBezTo>
                    <a:cubicBezTo>
                      <a:pt x="34" y="123"/>
                      <a:pt x="31" y="125"/>
                      <a:pt x="30" y="127"/>
                    </a:cubicBezTo>
                    <a:cubicBezTo>
                      <a:pt x="29" y="128"/>
                      <a:pt x="27" y="128"/>
                      <a:pt x="28" y="129"/>
                    </a:cubicBezTo>
                    <a:cubicBezTo>
                      <a:pt x="28" y="131"/>
                      <a:pt x="30" y="132"/>
                      <a:pt x="31" y="134"/>
                    </a:cubicBezTo>
                    <a:cubicBezTo>
                      <a:pt x="31" y="135"/>
                      <a:pt x="30" y="137"/>
                      <a:pt x="30" y="138"/>
                    </a:cubicBezTo>
                    <a:cubicBezTo>
                      <a:pt x="31" y="139"/>
                      <a:pt x="34" y="140"/>
                      <a:pt x="34" y="141"/>
                    </a:cubicBezTo>
                    <a:cubicBezTo>
                      <a:pt x="34" y="143"/>
                      <a:pt x="32" y="145"/>
                      <a:pt x="31" y="146"/>
                    </a:cubicBezTo>
                    <a:cubicBezTo>
                      <a:pt x="30" y="148"/>
                      <a:pt x="30" y="150"/>
                      <a:pt x="29" y="151"/>
                    </a:cubicBezTo>
                    <a:cubicBezTo>
                      <a:pt x="28" y="152"/>
                      <a:pt x="27" y="153"/>
                      <a:pt x="27" y="154"/>
                    </a:cubicBezTo>
                    <a:cubicBezTo>
                      <a:pt x="26" y="157"/>
                      <a:pt x="28" y="161"/>
                      <a:pt x="27" y="163"/>
                    </a:cubicBezTo>
                    <a:cubicBezTo>
                      <a:pt x="23" y="169"/>
                      <a:pt x="17" y="174"/>
                      <a:pt x="13" y="179"/>
                    </a:cubicBezTo>
                    <a:cubicBezTo>
                      <a:pt x="13" y="182"/>
                      <a:pt x="13" y="184"/>
                      <a:pt x="14" y="187"/>
                    </a:cubicBezTo>
                    <a:cubicBezTo>
                      <a:pt x="14" y="188"/>
                      <a:pt x="16" y="190"/>
                      <a:pt x="16" y="191"/>
                    </a:cubicBezTo>
                    <a:cubicBezTo>
                      <a:pt x="16" y="193"/>
                      <a:pt x="15" y="195"/>
                      <a:pt x="16" y="197"/>
                    </a:cubicBezTo>
                    <a:cubicBezTo>
                      <a:pt x="16" y="200"/>
                      <a:pt x="17" y="202"/>
                      <a:pt x="18" y="205"/>
                    </a:cubicBezTo>
                    <a:cubicBezTo>
                      <a:pt x="19" y="207"/>
                      <a:pt x="20" y="210"/>
                      <a:pt x="20" y="212"/>
                    </a:cubicBezTo>
                    <a:cubicBezTo>
                      <a:pt x="20" y="217"/>
                      <a:pt x="20" y="222"/>
                      <a:pt x="19" y="227"/>
                    </a:cubicBezTo>
                    <a:cubicBezTo>
                      <a:pt x="19" y="229"/>
                      <a:pt x="19" y="230"/>
                      <a:pt x="19" y="231"/>
                    </a:cubicBezTo>
                    <a:cubicBezTo>
                      <a:pt x="19" y="232"/>
                      <a:pt x="20" y="233"/>
                      <a:pt x="21" y="235"/>
                    </a:cubicBezTo>
                    <a:cubicBezTo>
                      <a:pt x="20" y="237"/>
                      <a:pt x="21" y="239"/>
                      <a:pt x="21" y="241"/>
                    </a:cubicBezTo>
                    <a:cubicBezTo>
                      <a:pt x="21" y="243"/>
                      <a:pt x="21" y="244"/>
                      <a:pt x="21" y="246"/>
                    </a:cubicBezTo>
                    <a:lnTo>
                      <a:pt x="31" y="247"/>
                    </a:lnTo>
                    <a:close/>
                  </a:path>
                </a:pathLst>
              </a:custGeom>
              <a:solidFill>
                <a:srgbClr val="FFC000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7030A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19" name="Freeform 2517"/>
              <p:cNvSpPr>
                <a:spLocks noChangeAspect="1"/>
              </p:cNvSpPr>
              <p:nvPr/>
            </p:nvSpPr>
            <p:spPr bwMode="auto">
              <a:xfrm>
                <a:off x="8208443" y="3923774"/>
                <a:ext cx="165301" cy="382793"/>
              </a:xfrm>
              <a:custGeom>
                <a:avLst/>
                <a:gdLst>
                  <a:gd name="T0" fmla="*/ 7 w 41"/>
                  <a:gd name="T1" fmla="*/ 0 h 113"/>
                  <a:gd name="T2" fmla="*/ 18 w 41"/>
                  <a:gd name="T3" fmla="*/ 6 h 113"/>
                  <a:gd name="T4" fmla="*/ 30 w 41"/>
                  <a:gd name="T5" fmla="*/ 18 h 113"/>
                  <a:gd name="T6" fmla="*/ 29 w 41"/>
                  <a:gd name="T7" fmla="*/ 30 h 113"/>
                  <a:gd name="T8" fmla="*/ 32 w 41"/>
                  <a:gd name="T9" fmla="*/ 37 h 113"/>
                  <a:gd name="T10" fmla="*/ 30 w 41"/>
                  <a:gd name="T11" fmla="*/ 45 h 113"/>
                  <a:gd name="T12" fmla="*/ 29 w 41"/>
                  <a:gd name="T13" fmla="*/ 53 h 113"/>
                  <a:gd name="T14" fmla="*/ 29 w 41"/>
                  <a:gd name="T15" fmla="*/ 61 h 113"/>
                  <a:gd name="T16" fmla="*/ 31 w 41"/>
                  <a:gd name="T17" fmla="*/ 70 h 113"/>
                  <a:gd name="T18" fmla="*/ 32 w 41"/>
                  <a:gd name="T19" fmla="*/ 78 h 113"/>
                  <a:gd name="T20" fmla="*/ 39 w 41"/>
                  <a:gd name="T21" fmla="*/ 84 h 113"/>
                  <a:gd name="T22" fmla="*/ 43 w 41"/>
                  <a:gd name="T23" fmla="*/ 91 h 113"/>
                  <a:gd name="T24" fmla="*/ 48 w 41"/>
                  <a:gd name="T25" fmla="*/ 99 h 113"/>
                  <a:gd name="T26" fmla="*/ 48 w 41"/>
                  <a:gd name="T27" fmla="*/ 112 h 113"/>
                  <a:gd name="T28" fmla="*/ 48 w 41"/>
                  <a:gd name="T29" fmla="*/ 119 h 113"/>
                  <a:gd name="T30" fmla="*/ 41 w 41"/>
                  <a:gd name="T31" fmla="*/ 121 h 113"/>
                  <a:gd name="T32" fmla="*/ 39 w 41"/>
                  <a:gd name="T33" fmla="*/ 127 h 113"/>
                  <a:gd name="T34" fmla="*/ 37 w 41"/>
                  <a:gd name="T35" fmla="*/ 134 h 113"/>
                  <a:gd name="T36" fmla="*/ 27 w 41"/>
                  <a:gd name="T37" fmla="*/ 124 h 113"/>
                  <a:gd name="T38" fmla="*/ 25 w 41"/>
                  <a:gd name="T39" fmla="*/ 118 h 113"/>
                  <a:gd name="T40" fmla="*/ 24 w 41"/>
                  <a:gd name="T41" fmla="*/ 115 h 113"/>
                  <a:gd name="T42" fmla="*/ 29 w 41"/>
                  <a:gd name="T43" fmla="*/ 108 h 113"/>
                  <a:gd name="T44" fmla="*/ 29 w 41"/>
                  <a:gd name="T45" fmla="*/ 97 h 113"/>
                  <a:gd name="T46" fmla="*/ 25 w 41"/>
                  <a:gd name="T47" fmla="*/ 91 h 113"/>
                  <a:gd name="T48" fmla="*/ 14 w 41"/>
                  <a:gd name="T49" fmla="*/ 93 h 113"/>
                  <a:gd name="T50" fmla="*/ 10 w 41"/>
                  <a:gd name="T51" fmla="*/ 84 h 113"/>
                  <a:gd name="T52" fmla="*/ 6 w 41"/>
                  <a:gd name="T53" fmla="*/ 85 h 113"/>
                  <a:gd name="T54" fmla="*/ 0 w 41"/>
                  <a:gd name="T55" fmla="*/ 79 h 113"/>
                  <a:gd name="T56" fmla="*/ 6 w 41"/>
                  <a:gd name="T57" fmla="*/ 69 h 113"/>
                  <a:gd name="T58" fmla="*/ 5 w 41"/>
                  <a:gd name="T59" fmla="*/ 59 h 113"/>
                  <a:gd name="T60" fmla="*/ 13 w 41"/>
                  <a:gd name="T61" fmla="*/ 55 h 113"/>
                  <a:gd name="T62" fmla="*/ 11 w 41"/>
                  <a:gd name="T63" fmla="*/ 53 h 113"/>
                  <a:gd name="T64" fmla="*/ 11 w 41"/>
                  <a:gd name="T65" fmla="*/ 41 h 113"/>
                  <a:gd name="T66" fmla="*/ 13 w 41"/>
                  <a:gd name="T67" fmla="*/ 33 h 113"/>
                  <a:gd name="T68" fmla="*/ 10 w 41"/>
                  <a:gd name="T69" fmla="*/ 27 h 113"/>
                  <a:gd name="T70" fmla="*/ 17 w 41"/>
                  <a:gd name="T71" fmla="*/ 24 h 113"/>
                  <a:gd name="T72" fmla="*/ 14 w 41"/>
                  <a:gd name="T73" fmla="*/ 16 h 113"/>
                  <a:gd name="T74" fmla="*/ 7 w 41"/>
                  <a:gd name="T75" fmla="*/ 7 h 113"/>
                  <a:gd name="T76" fmla="*/ 7 w 41"/>
                  <a:gd name="T77" fmla="*/ 0 h 113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41"/>
                  <a:gd name="T118" fmla="*/ 0 h 113"/>
                  <a:gd name="T119" fmla="*/ 41 w 41"/>
                  <a:gd name="T120" fmla="*/ 113 h 113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41" h="113">
                    <a:moveTo>
                      <a:pt x="6" y="0"/>
                    </a:moveTo>
                    <a:cubicBezTo>
                      <a:pt x="9" y="2"/>
                      <a:pt x="12" y="3"/>
                      <a:pt x="15" y="5"/>
                    </a:cubicBezTo>
                    <a:cubicBezTo>
                      <a:pt x="19" y="8"/>
                      <a:pt x="23" y="11"/>
                      <a:pt x="25" y="15"/>
                    </a:cubicBezTo>
                    <a:cubicBezTo>
                      <a:pt x="26" y="18"/>
                      <a:pt x="23" y="21"/>
                      <a:pt x="24" y="25"/>
                    </a:cubicBezTo>
                    <a:cubicBezTo>
                      <a:pt x="24" y="27"/>
                      <a:pt x="26" y="29"/>
                      <a:pt x="27" y="31"/>
                    </a:cubicBezTo>
                    <a:cubicBezTo>
                      <a:pt x="27" y="34"/>
                      <a:pt x="26" y="36"/>
                      <a:pt x="25" y="38"/>
                    </a:cubicBezTo>
                    <a:cubicBezTo>
                      <a:pt x="25" y="40"/>
                      <a:pt x="24" y="42"/>
                      <a:pt x="24" y="44"/>
                    </a:cubicBezTo>
                    <a:cubicBezTo>
                      <a:pt x="24" y="46"/>
                      <a:pt x="24" y="49"/>
                      <a:pt x="24" y="51"/>
                    </a:cubicBezTo>
                    <a:cubicBezTo>
                      <a:pt x="25" y="53"/>
                      <a:pt x="25" y="56"/>
                      <a:pt x="26" y="59"/>
                    </a:cubicBezTo>
                    <a:cubicBezTo>
                      <a:pt x="26" y="61"/>
                      <a:pt x="26" y="63"/>
                      <a:pt x="27" y="65"/>
                    </a:cubicBezTo>
                    <a:cubicBezTo>
                      <a:pt x="28" y="67"/>
                      <a:pt x="31" y="68"/>
                      <a:pt x="33" y="70"/>
                    </a:cubicBezTo>
                    <a:cubicBezTo>
                      <a:pt x="35" y="72"/>
                      <a:pt x="35" y="74"/>
                      <a:pt x="36" y="76"/>
                    </a:cubicBezTo>
                    <a:cubicBezTo>
                      <a:pt x="38" y="79"/>
                      <a:pt x="39" y="81"/>
                      <a:pt x="40" y="83"/>
                    </a:cubicBezTo>
                    <a:cubicBezTo>
                      <a:pt x="41" y="86"/>
                      <a:pt x="40" y="90"/>
                      <a:pt x="40" y="94"/>
                    </a:cubicBezTo>
                    <a:cubicBezTo>
                      <a:pt x="40" y="96"/>
                      <a:pt x="41" y="98"/>
                      <a:pt x="40" y="100"/>
                    </a:cubicBezTo>
                    <a:cubicBezTo>
                      <a:pt x="39" y="102"/>
                      <a:pt x="36" y="100"/>
                      <a:pt x="34" y="101"/>
                    </a:cubicBezTo>
                    <a:cubicBezTo>
                      <a:pt x="33" y="102"/>
                      <a:pt x="33" y="104"/>
                      <a:pt x="33" y="106"/>
                    </a:cubicBezTo>
                    <a:cubicBezTo>
                      <a:pt x="32" y="108"/>
                      <a:pt x="33" y="113"/>
                      <a:pt x="31" y="112"/>
                    </a:cubicBezTo>
                    <a:cubicBezTo>
                      <a:pt x="27" y="111"/>
                      <a:pt x="25" y="107"/>
                      <a:pt x="23" y="104"/>
                    </a:cubicBezTo>
                    <a:cubicBezTo>
                      <a:pt x="22" y="102"/>
                      <a:pt x="21" y="101"/>
                      <a:pt x="21" y="99"/>
                    </a:cubicBezTo>
                    <a:cubicBezTo>
                      <a:pt x="20" y="98"/>
                      <a:pt x="19" y="97"/>
                      <a:pt x="20" y="96"/>
                    </a:cubicBezTo>
                    <a:cubicBezTo>
                      <a:pt x="21" y="93"/>
                      <a:pt x="23" y="92"/>
                      <a:pt x="24" y="90"/>
                    </a:cubicBezTo>
                    <a:cubicBezTo>
                      <a:pt x="25" y="87"/>
                      <a:pt x="25" y="84"/>
                      <a:pt x="24" y="81"/>
                    </a:cubicBezTo>
                    <a:cubicBezTo>
                      <a:pt x="23" y="79"/>
                      <a:pt x="23" y="76"/>
                      <a:pt x="21" y="76"/>
                    </a:cubicBezTo>
                    <a:cubicBezTo>
                      <a:pt x="18" y="75"/>
                      <a:pt x="15" y="80"/>
                      <a:pt x="12" y="78"/>
                    </a:cubicBezTo>
                    <a:cubicBezTo>
                      <a:pt x="9" y="77"/>
                      <a:pt x="10" y="72"/>
                      <a:pt x="8" y="70"/>
                    </a:cubicBezTo>
                    <a:cubicBezTo>
                      <a:pt x="8" y="69"/>
                      <a:pt x="6" y="71"/>
                      <a:pt x="5" y="71"/>
                    </a:cubicBezTo>
                    <a:cubicBezTo>
                      <a:pt x="4" y="69"/>
                      <a:pt x="0" y="68"/>
                      <a:pt x="0" y="66"/>
                    </a:cubicBezTo>
                    <a:cubicBezTo>
                      <a:pt x="0" y="63"/>
                      <a:pt x="4" y="61"/>
                      <a:pt x="5" y="58"/>
                    </a:cubicBezTo>
                    <a:cubicBezTo>
                      <a:pt x="6" y="55"/>
                      <a:pt x="3" y="52"/>
                      <a:pt x="4" y="49"/>
                    </a:cubicBezTo>
                    <a:cubicBezTo>
                      <a:pt x="5" y="47"/>
                      <a:pt x="9" y="48"/>
                      <a:pt x="11" y="46"/>
                    </a:cubicBezTo>
                    <a:cubicBezTo>
                      <a:pt x="11" y="45"/>
                      <a:pt x="10" y="45"/>
                      <a:pt x="9" y="44"/>
                    </a:cubicBezTo>
                    <a:cubicBezTo>
                      <a:pt x="9" y="41"/>
                      <a:pt x="8" y="37"/>
                      <a:pt x="9" y="34"/>
                    </a:cubicBezTo>
                    <a:cubicBezTo>
                      <a:pt x="9" y="32"/>
                      <a:pt x="12" y="30"/>
                      <a:pt x="11" y="28"/>
                    </a:cubicBezTo>
                    <a:cubicBezTo>
                      <a:pt x="11" y="26"/>
                      <a:pt x="7" y="25"/>
                      <a:pt x="8" y="23"/>
                    </a:cubicBezTo>
                    <a:cubicBezTo>
                      <a:pt x="8" y="21"/>
                      <a:pt x="13" y="23"/>
                      <a:pt x="14" y="20"/>
                    </a:cubicBezTo>
                    <a:cubicBezTo>
                      <a:pt x="15" y="18"/>
                      <a:pt x="14" y="15"/>
                      <a:pt x="12" y="13"/>
                    </a:cubicBezTo>
                    <a:cubicBezTo>
                      <a:pt x="11" y="10"/>
                      <a:pt x="7" y="9"/>
                      <a:pt x="6" y="6"/>
                    </a:cubicBezTo>
                    <a:cubicBezTo>
                      <a:pt x="5" y="5"/>
                      <a:pt x="6" y="2"/>
                      <a:pt x="6" y="0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0" name="Freeform 2518"/>
              <p:cNvSpPr>
                <a:spLocks noChangeAspect="1"/>
              </p:cNvSpPr>
              <p:nvPr/>
            </p:nvSpPr>
            <p:spPr bwMode="auto">
              <a:xfrm>
                <a:off x="7665311" y="3869900"/>
                <a:ext cx="603857" cy="499045"/>
              </a:xfrm>
              <a:custGeom>
                <a:avLst/>
                <a:gdLst>
                  <a:gd name="T0" fmla="*/ 161 w 149"/>
                  <a:gd name="T1" fmla="*/ 19 h 147"/>
                  <a:gd name="T2" fmla="*/ 141 w 149"/>
                  <a:gd name="T3" fmla="*/ 10 h 147"/>
                  <a:gd name="T4" fmla="*/ 106 w 149"/>
                  <a:gd name="T5" fmla="*/ 4 h 147"/>
                  <a:gd name="T6" fmla="*/ 103 w 149"/>
                  <a:gd name="T7" fmla="*/ 29 h 147"/>
                  <a:gd name="T8" fmla="*/ 99 w 149"/>
                  <a:gd name="T9" fmla="*/ 53 h 147"/>
                  <a:gd name="T10" fmla="*/ 109 w 149"/>
                  <a:gd name="T11" fmla="*/ 73 h 147"/>
                  <a:gd name="T12" fmla="*/ 119 w 149"/>
                  <a:gd name="T13" fmla="*/ 72 h 147"/>
                  <a:gd name="T14" fmla="*/ 107 w 149"/>
                  <a:gd name="T15" fmla="*/ 93 h 147"/>
                  <a:gd name="T16" fmla="*/ 89 w 149"/>
                  <a:gd name="T17" fmla="*/ 72 h 147"/>
                  <a:gd name="T18" fmla="*/ 76 w 149"/>
                  <a:gd name="T19" fmla="*/ 59 h 147"/>
                  <a:gd name="T20" fmla="*/ 55 w 149"/>
                  <a:gd name="T21" fmla="*/ 62 h 147"/>
                  <a:gd name="T22" fmla="*/ 48 w 149"/>
                  <a:gd name="T23" fmla="*/ 54 h 147"/>
                  <a:gd name="T24" fmla="*/ 29 w 149"/>
                  <a:gd name="T25" fmla="*/ 51 h 147"/>
                  <a:gd name="T26" fmla="*/ 29 w 149"/>
                  <a:gd name="T27" fmla="*/ 67 h 147"/>
                  <a:gd name="T28" fmla="*/ 26 w 149"/>
                  <a:gd name="T29" fmla="*/ 79 h 147"/>
                  <a:gd name="T30" fmla="*/ 0 w 149"/>
                  <a:gd name="T31" fmla="*/ 84 h 147"/>
                  <a:gd name="T32" fmla="*/ 11 w 149"/>
                  <a:gd name="T33" fmla="*/ 156 h 147"/>
                  <a:gd name="T34" fmla="*/ 23 w 149"/>
                  <a:gd name="T35" fmla="*/ 168 h 147"/>
                  <a:gd name="T36" fmla="*/ 42 w 149"/>
                  <a:gd name="T37" fmla="*/ 165 h 147"/>
                  <a:gd name="T38" fmla="*/ 53 w 149"/>
                  <a:gd name="T39" fmla="*/ 171 h 147"/>
                  <a:gd name="T40" fmla="*/ 66 w 149"/>
                  <a:gd name="T41" fmla="*/ 175 h 147"/>
                  <a:gd name="T42" fmla="*/ 80 w 149"/>
                  <a:gd name="T43" fmla="*/ 168 h 147"/>
                  <a:gd name="T44" fmla="*/ 91 w 149"/>
                  <a:gd name="T45" fmla="*/ 154 h 147"/>
                  <a:gd name="T46" fmla="*/ 105 w 149"/>
                  <a:gd name="T47" fmla="*/ 139 h 147"/>
                  <a:gd name="T48" fmla="*/ 126 w 149"/>
                  <a:gd name="T49" fmla="*/ 132 h 147"/>
                  <a:gd name="T50" fmla="*/ 125 w 149"/>
                  <a:gd name="T51" fmla="*/ 121 h 147"/>
                  <a:gd name="T52" fmla="*/ 161 w 149"/>
                  <a:gd name="T53" fmla="*/ 98 h 147"/>
                  <a:gd name="T54" fmla="*/ 166 w 149"/>
                  <a:gd name="T55" fmla="*/ 78 h 147"/>
                  <a:gd name="T56" fmla="*/ 172 w 149"/>
                  <a:gd name="T57" fmla="*/ 72 h 147"/>
                  <a:gd name="T58" fmla="*/ 174 w 149"/>
                  <a:gd name="T59" fmla="*/ 53 h 147"/>
                  <a:gd name="T60" fmla="*/ 178 w 149"/>
                  <a:gd name="T61" fmla="*/ 43 h 147"/>
                  <a:gd name="T62" fmla="*/ 168 w 149"/>
                  <a:gd name="T63" fmla="*/ 26 h 14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49"/>
                  <a:gd name="T97" fmla="*/ 0 h 147"/>
                  <a:gd name="T98" fmla="*/ 149 w 149"/>
                  <a:gd name="T99" fmla="*/ 147 h 14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49" h="147">
                    <a:moveTo>
                      <a:pt x="140" y="16"/>
                    </a:moveTo>
                    <a:lnTo>
                      <a:pt x="134" y="16"/>
                    </a:lnTo>
                    <a:lnTo>
                      <a:pt x="126" y="13"/>
                    </a:lnTo>
                    <a:lnTo>
                      <a:pt x="117" y="8"/>
                    </a:lnTo>
                    <a:lnTo>
                      <a:pt x="111" y="2"/>
                    </a:lnTo>
                    <a:cubicBezTo>
                      <a:pt x="103" y="3"/>
                      <a:pt x="95" y="0"/>
                      <a:pt x="88" y="3"/>
                    </a:cubicBezTo>
                    <a:cubicBezTo>
                      <a:pt x="84" y="6"/>
                      <a:pt x="85" y="13"/>
                      <a:pt x="84" y="17"/>
                    </a:cubicBezTo>
                    <a:cubicBezTo>
                      <a:pt x="84" y="20"/>
                      <a:pt x="86" y="21"/>
                      <a:pt x="86" y="24"/>
                    </a:cubicBezTo>
                    <a:cubicBezTo>
                      <a:pt x="86" y="28"/>
                      <a:pt x="85" y="33"/>
                      <a:pt x="84" y="38"/>
                    </a:cubicBezTo>
                    <a:cubicBezTo>
                      <a:pt x="84" y="40"/>
                      <a:pt x="82" y="42"/>
                      <a:pt x="82" y="44"/>
                    </a:cubicBezTo>
                    <a:cubicBezTo>
                      <a:pt x="82" y="48"/>
                      <a:pt x="82" y="51"/>
                      <a:pt x="83" y="54"/>
                    </a:cubicBezTo>
                    <a:cubicBezTo>
                      <a:pt x="85" y="57"/>
                      <a:pt x="88" y="60"/>
                      <a:pt x="91" y="61"/>
                    </a:cubicBezTo>
                    <a:cubicBezTo>
                      <a:pt x="92" y="62"/>
                      <a:pt x="93" y="62"/>
                      <a:pt x="95" y="62"/>
                    </a:cubicBezTo>
                    <a:cubicBezTo>
                      <a:pt x="96" y="62"/>
                      <a:pt x="100" y="59"/>
                      <a:pt x="99" y="60"/>
                    </a:cubicBezTo>
                    <a:cubicBezTo>
                      <a:pt x="98" y="65"/>
                      <a:pt x="98" y="72"/>
                      <a:pt x="97" y="77"/>
                    </a:cubicBezTo>
                    <a:cubicBezTo>
                      <a:pt x="96" y="80"/>
                      <a:pt x="91" y="79"/>
                      <a:pt x="89" y="78"/>
                    </a:cubicBezTo>
                    <a:cubicBezTo>
                      <a:pt x="85" y="76"/>
                      <a:pt x="84" y="71"/>
                      <a:pt x="81" y="67"/>
                    </a:cubicBezTo>
                    <a:cubicBezTo>
                      <a:pt x="78" y="65"/>
                      <a:pt x="76" y="62"/>
                      <a:pt x="74" y="60"/>
                    </a:cubicBezTo>
                    <a:cubicBezTo>
                      <a:pt x="72" y="58"/>
                      <a:pt x="70" y="57"/>
                      <a:pt x="68" y="55"/>
                    </a:cubicBezTo>
                    <a:cubicBezTo>
                      <a:pt x="66" y="53"/>
                      <a:pt x="66" y="49"/>
                      <a:pt x="63" y="49"/>
                    </a:cubicBezTo>
                    <a:cubicBezTo>
                      <a:pt x="60" y="49"/>
                      <a:pt x="60" y="54"/>
                      <a:pt x="58" y="55"/>
                    </a:cubicBezTo>
                    <a:cubicBezTo>
                      <a:pt x="54" y="55"/>
                      <a:pt x="50" y="54"/>
                      <a:pt x="46" y="52"/>
                    </a:cubicBezTo>
                    <a:cubicBezTo>
                      <a:pt x="44" y="52"/>
                      <a:pt x="43" y="50"/>
                      <a:pt x="41" y="48"/>
                    </a:cubicBezTo>
                    <a:cubicBezTo>
                      <a:pt x="41" y="47"/>
                      <a:pt x="41" y="45"/>
                      <a:pt x="40" y="45"/>
                    </a:cubicBezTo>
                    <a:cubicBezTo>
                      <a:pt x="37" y="45"/>
                      <a:pt x="34" y="48"/>
                      <a:pt x="31" y="48"/>
                    </a:cubicBezTo>
                    <a:cubicBezTo>
                      <a:pt x="28" y="47"/>
                      <a:pt x="27" y="45"/>
                      <a:pt x="24" y="43"/>
                    </a:cubicBezTo>
                    <a:cubicBezTo>
                      <a:pt x="25" y="45"/>
                      <a:pt x="26" y="47"/>
                      <a:pt x="26" y="49"/>
                    </a:cubicBezTo>
                    <a:cubicBezTo>
                      <a:pt x="26" y="51"/>
                      <a:pt x="25" y="54"/>
                      <a:pt x="24" y="56"/>
                    </a:cubicBezTo>
                    <a:cubicBezTo>
                      <a:pt x="24" y="58"/>
                      <a:pt x="24" y="60"/>
                      <a:pt x="24" y="62"/>
                    </a:cubicBezTo>
                    <a:cubicBezTo>
                      <a:pt x="24" y="64"/>
                      <a:pt x="22" y="65"/>
                      <a:pt x="22" y="66"/>
                    </a:cubicBezTo>
                    <a:cubicBezTo>
                      <a:pt x="23" y="68"/>
                      <a:pt x="28" y="70"/>
                      <a:pt x="26" y="70"/>
                    </a:cubicBezTo>
                    <a:lnTo>
                      <a:pt x="0" y="70"/>
                    </a:lnTo>
                    <a:lnTo>
                      <a:pt x="0" y="119"/>
                    </a:lnTo>
                    <a:cubicBezTo>
                      <a:pt x="3" y="123"/>
                      <a:pt x="6" y="126"/>
                      <a:pt x="9" y="130"/>
                    </a:cubicBezTo>
                    <a:cubicBezTo>
                      <a:pt x="10" y="132"/>
                      <a:pt x="11" y="135"/>
                      <a:pt x="13" y="136"/>
                    </a:cubicBezTo>
                    <a:cubicBezTo>
                      <a:pt x="15" y="138"/>
                      <a:pt x="17" y="139"/>
                      <a:pt x="19" y="140"/>
                    </a:cubicBezTo>
                    <a:cubicBezTo>
                      <a:pt x="23" y="139"/>
                      <a:pt x="26" y="138"/>
                      <a:pt x="30" y="137"/>
                    </a:cubicBezTo>
                    <a:cubicBezTo>
                      <a:pt x="32" y="137"/>
                      <a:pt x="34" y="137"/>
                      <a:pt x="35" y="138"/>
                    </a:cubicBezTo>
                    <a:cubicBezTo>
                      <a:pt x="37" y="139"/>
                      <a:pt x="38" y="142"/>
                      <a:pt x="40" y="144"/>
                    </a:cubicBezTo>
                    <a:cubicBezTo>
                      <a:pt x="41" y="143"/>
                      <a:pt x="42" y="143"/>
                      <a:pt x="44" y="143"/>
                    </a:cubicBezTo>
                    <a:cubicBezTo>
                      <a:pt x="47" y="143"/>
                      <a:pt x="49" y="144"/>
                      <a:pt x="51" y="144"/>
                    </a:cubicBezTo>
                    <a:cubicBezTo>
                      <a:pt x="53" y="145"/>
                      <a:pt x="54" y="146"/>
                      <a:pt x="55" y="146"/>
                    </a:cubicBezTo>
                    <a:cubicBezTo>
                      <a:pt x="58" y="147"/>
                      <a:pt x="60" y="146"/>
                      <a:pt x="62" y="145"/>
                    </a:cubicBezTo>
                    <a:cubicBezTo>
                      <a:pt x="64" y="144"/>
                      <a:pt x="65" y="142"/>
                      <a:pt x="67" y="140"/>
                    </a:cubicBezTo>
                    <a:cubicBezTo>
                      <a:pt x="68" y="138"/>
                      <a:pt x="69" y="136"/>
                      <a:pt x="70" y="134"/>
                    </a:cubicBezTo>
                    <a:cubicBezTo>
                      <a:pt x="72" y="132"/>
                      <a:pt x="74" y="130"/>
                      <a:pt x="76" y="129"/>
                    </a:cubicBezTo>
                    <a:cubicBezTo>
                      <a:pt x="79" y="126"/>
                      <a:pt x="83" y="126"/>
                      <a:pt x="86" y="123"/>
                    </a:cubicBezTo>
                    <a:cubicBezTo>
                      <a:pt x="88" y="121"/>
                      <a:pt x="85" y="117"/>
                      <a:pt x="87" y="116"/>
                    </a:cubicBezTo>
                    <a:cubicBezTo>
                      <a:pt x="89" y="113"/>
                      <a:pt x="94" y="111"/>
                      <a:pt x="98" y="110"/>
                    </a:cubicBezTo>
                    <a:cubicBezTo>
                      <a:pt x="100" y="109"/>
                      <a:pt x="102" y="110"/>
                      <a:pt x="105" y="110"/>
                    </a:cubicBezTo>
                    <a:lnTo>
                      <a:pt x="106" y="107"/>
                    </a:lnTo>
                    <a:lnTo>
                      <a:pt x="104" y="101"/>
                    </a:lnTo>
                    <a:lnTo>
                      <a:pt x="139" y="87"/>
                    </a:lnTo>
                    <a:cubicBezTo>
                      <a:pt x="138" y="85"/>
                      <a:pt x="134" y="84"/>
                      <a:pt x="134" y="82"/>
                    </a:cubicBezTo>
                    <a:cubicBezTo>
                      <a:pt x="134" y="79"/>
                      <a:pt x="138" y="77"/>
                      <a:pt x="139" y="74"/>
                    </a:cubicBezTo>
                    <a:cubicBezTo>
                      <a:pt x="140" y="71"/>
                      <a:pt x="137" y="68"/>
                      <a:pt x="138" y="65"/>
                    </a:cubicBezTo>
                    <a:cubicBezTo>
                      <a:pt x="139" y="63"/>
                      <a:pt x="143" y="64"/>
                      <a:pt x="145" y="62"/>
                    </a:cubicBezTo>
                    <a:cubicBezTo>
                      <a:pt x="145" y="61"/>
                      <a:pt x="144" y="61"/>
                      <a:pt x="143" y="60"/>
                    </a:cubicBezTo>
                    <a:cubicBezTo>
                      <a:pt x="143" y="57"/>
                      <a:pt x="142" y="53"/>
                      <a:pt x="143" y="50"/>
                    </a:cubicBezTo>
                    <a:cubicBezTo>
                      <a:pt x="143" y="48"/>
                      <a:pt x="146" y="46"/>
                      <a:pt x="145" y="44"/>
                    </a:cubicBezTo>
                    <a:cubicBezTo>
                      <a:pt x="145" y="42"/>
                      <a:pt x="141" y="41"/>
                      <a:pt x="142" y="39"/>
                    </a:cubicBezTo>
                    <a:cubicBezTo>
                      <a:pt x="142" y="37"/>
                      <a:pt x="147" y="39"/>
                      <a:pt x="148" y="36"/>
                    </a:cubicBezTo>
                    <a:cubicBezTo>
                      <a:pt x="149" y="34"/>
                      <a:pt x="148" y="31"/>
                      <a:pt x="146" y="29"/>
                    </a:cubicBezTo>
                    <a:cubicBezTo>
                      <a:pt x="145" y="26"/>
                      <a:pt x="141" y="25"/>
                      <a:pt x="140" y="22"/>
                    </a:cubicBezTo>
                    <a:cubicBezTo>
                      <a:pt x="139" y="21"/>
                      <a:pt x="140" y="18"/>
                      <a:pt x="140" y="16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7030A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1" name="Freeform 2519"/>
              <p:cNvSpPr>
                <a:spLocks noChangeAspect="1"/>
              </p:cNvSpPr>
              <p:nvPr/>
            </p:nvSpPr>
            <p:spPr bwMode="auto">
              <a:xfrm>
                <a:off x="7142418" y="3750808"/>
                <a:ext cx="637591" cy="612465"/>
              </a:xfrm>
              <a:custGeom>
                <a:avLst/>
                <a:gdLst>
                  <a:gd name="T0" fmla="*/ 11 w 157"/>
                  <a:gd name="T1" fmla="*/ 6 h 180"/>
                  <a:gd name="T2" fmla="*/ 12 w 157"/>
                  <a:gd name="T3" fmla="*/ 16 h 180"/>
                  <a:gd name="T4" fmla="*/ 25 w 157"/>
                  <a:gd name="T5" fmla="*/ 48 h 180"/>
                  <a:gd name="T6" fmla="*/ 22 w 157"/>
                  <a:gd name="T7" fmla="*/ 64 h 180"/>
                  <a:gd name="T8" fmla="*/ 33 w 157"/>
                  <a:gd name="T9" fmla="*/ 94 h 180"/>
                  <a:gd name="T10" fmla="*/ 23 w 157"/>
                  <a:gd name="T11" fmla="*/ 120 h 180"/>
                  <a:gd name="T12" fmla="*/ 10 w 157"/>
                  <a:gd name="T13" fmla="*/ 144 h 180"/>
                  <a:gd name="T14" fmla="*/ 1 w 157"/>
                  <a:gd name="T15" fmla="*/ 180 h 180"/>
                  <a:gd name="T16" fmla="*/ 8 w 157"/>
                  <a:gd name="T17" fmla="*/ 202 h 180"/>
                  <a:gd name="T18" fmla="*/ 26 w 157"/>
                  <a:gd name="T19" fmla="*/ 199 h 180"/>
                  <a:gd name="T20" fmla="*/ 100 w 157"/>
                  <a:gd name="T21" fmla="*/ 204 h 180"/>
                  <a:gd name="T22" fmla="*/ 117 w 157"/>
                  <a:gd name="T23" fmla="*/ 214 h 180"/>
                  <a:gd name="T24" fmla="*/ 140 w 157"/>
                  <a:gd name="T25" fmla="*/ 214 h 180"/>
                  <a:gd name="T26" fmla="*/ 178 w 157"/>
                  <a:gd name="T27" fmla="*/ 210 h 180"/>
                  <a:gd name="T28" fmla="*/ 166 w 157"/>
                  <a:gd name="T29" fmla="*/ 198 h 180"/>
                  <a:gd name="T30" fmla="*/ 155 w 157"/>
                  <a:gd name="T31" fmla="*/ 126 h 180"/>
                  <a:gd name="T32" fmla="*/ 182 w 157"/>
                  <a:gd name="T33" fmla="*/ 121 h 180"/>
                  <a:gd name="T34" fmla="*/ 184 w 157"/>
                  <a:gd name="T35" fmla="*/ 109 h 180"/>
                  <a:gd name="T36" fmla="*/ 184 w 157"/>
                  <a:gd name="T37" fmla="*/ 94 h 180"/>
                  <a:gd name="T38" fmla="*/ 171 w 157"/>
                  <a:gd name="T39" fmla="*/ 94 h 180"/>
                  <a:gd name="T40" fmla="*/ 159 w 157"/>
                  <a:gd name="T41" fmla="*/ 92 h 180"/>
                  <a:gd name="T42" fmla="*/ 160 w 157"/>
                  <a:gd name="T43" fmla="*/ 73 h 180"/>
                  <a:gd name="T44" fmla="*/ 154 w 157"/>
                  <a:gd name="T45" fmla="*/ 44 h 180"/>
                  <a:gd name="T46" fmla="*/ 153 w 157"/>
                  <a:gd name="T47" fmla="*/ 31 h 180"/>
                  <a:gd name="T48" fmla="*/ 136 w 157"/>
                  <a:gd name="T49" fmla="*/ 25 h 180"/>
                  <a:gd name="T50" fmla="*/ 130 w 157"/>
                  <a:gd name="T51" fmla="*/ 22 h 180"/>
                  <a:gd name="T52" fmla="*/ 119 w 157"/>
                  <a:gd name="T53" fmla="*/ 31 h 180"/>
                  <a:gd name="T54" fmla="*/ 117 w 157"/>
                  <a:gd name="T55" fmla="*/ 40 h 180"/>
                  <a:gd name="T56" fmla="*/ 102 w 157"/>
                  <a:gd name="T57" fmla="*/ 40 h 180"/>
                  <a:gd name="T58" fmla="*/ 79 w 157"/>
                  <a:gd name="T59" fmla="*/ 26 h 180"/>
                  <a:gd name="T60" fmla="*/ 76 w 157"/>
                  <a:gd name="T61" fmla="*/ 7 h 180"/>
                  <a:gd name="T62" fmla="*/ 24 w 157"/>
                  <a:gd name="T63" fmla="*/ 1 h 180"/>
                  <a:gd name="T64" fmla="*/ 12 w 157"/>
                  <a:gd name="T65" fmla="*/ 4 h 1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57"/>
                  <a:gd name="T100" fmla="*/ 0 h 180"/>
                  <a:gd name="T101" fmla="*/ 157 w 157"/>
                  <a:gd name="T102" fmla="*/ 180 h 18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57" h="180">
                    <a:moveTo>
                      <a:pt x="6" y="0"/>
                    </a:moveTo>
                    <a:cubicBezTo>
                      <a:pt x="6" y="1"/>
                      <a:pt x="9" y="3"/>
                      <a:pt x="9" y="5"/>
                    </a:cubicBezTo>
                    <a:cubicBezTo>
                      <a:pt x="9" y="6"/>
                      <a:pt x="6" y="5"/>
                      <a:pt x="7" y="6"/>
                    </a:cubicBezTo>
                    <a:cubicBezTo>
                      <a:pt x="7" y="9"/>
                      <a:pt x="9" y="11"/>
                      <a:pt x="10" y="13"/>
                    </a:cubicBezTo>
                    <a:cubicBezTo>
                      <a:pt x="12" y="16"/>
                      <a:pt x="14" y="18"/>
                      <a:pt x="15" y="21"/>
                    </a:cubicBezTo>
                    <a:cubicBezTo>
                      <a:pt x="17" y="27"/>
                      <a:pt x="21" y="33"/>
                      <a:pt x="21" y="40"/>
                    </a:cubicBezTo>
                    <a:cubicBezTo>
                      <a:pt x="21" y="42"/>
                      <a:pt x="17" y="43"/>
                      <a:pt x="16" y="46"/>
                    </a:cubicBezTo>
                    <a:cubicBezTo>
                      <a:pt x="16" y="48"/>
                      <a:pt x="17" y="51"/>
                      <a:pt x="18" y="53"/>
                    </a:cubicBezTo>
                    <a:cubicBezTo>
                      <a:pt x="19" y="57"/>
                      <a:pt x="21" y="61"/>
                      <a:pt x="22" y="65"/>
                    </a:cubicBezTo>
                    <a:cubicBezTo>
                      <a:pt x="24" y="69"/>
                      <a:pt x="27" y="73"/>
                      <a:pt x="27" y="78"/>
                    </a:cubicBezTo>
                    <a:cubicBezTo>
                      <a:pt x="27" y="83"/>
                      <a:pt x="26" y="89"/>
                      <a:pt x="24" y="93"/>
                    </a:cubicBezTo>
                    <a:cubicBezTo>
                      <a:pt x="23" y="96"/>
                      <a:pt x="21" y="98"/>
                      <a:pt x="19" y="100"/>
                    </a:cubicBezTo>
                    <a:cubicBezTo>
                      <a:pt x="17" y="103"/>
                      <a:pt x="13" y="106"/>
                      <a:pt x="11" y="110"/>
                    </a:cubicBezTo>
                    <a:cubicBezTo>
                      <a:pt x="9" y="113"/>
                      <a:pt x="9" y="116"/>
                      <a:pt x="8" y="120"/>
                    </a:cubicBezTo>
                    <a:cubicBezTo>
                      <a:pt x="7" y="125"/>
                      <a:pt x="6" y="131"/>
                      <a:pt x="5" y="137"/>
                    </a:cubicBezTo>
                    <a:cubicBezTo>
                      <a:pt x="4" y="142"/>
                      <a:pt x="2" y="146"/>
                      <a:pt x="1" y="150"/>
                    </a:cubicBezTo>
                    <a:cubicBezTo>
                      <a:pt x="0" y="156"/>
                      <a:pt x="0" y="162"/>
                      <a:pt x="0" y="168"/>
                    </a:cubicBezTo>
                    <a:cubicBezTo>
                      <a:pt x="2" y="168"/>
                      <a:pt x="4" y="168"/>
                      <a:pt x="7" y="168"/>
                    </a:cubicBezTo>
                    <a:cubicBezTo>
                      <a:pt x="10" y="167"/>
                      <a:pt x="12" y="164"/>
                      <a:pt x="15" y="164"/>
                    </a:cubicBezTo>
                    <a:cubicBezTo>
                      <a:pt x="17" y="164"/>
                      <a:pt x="20" y="165"/>
                      <a:pt x="22" y="166"/>
                    </a:cubicBezTo>
                    <a:cubicBezTo>
                      <a:pt x="24" y="167"/>
                      <a:pt x="26" y="170"/>
                      <a:pt x="28" y="170"/>
                    </a:cubicBezTo>
                    <a:cubicBezTo>
                      <a:pt x="46" y="171"/>
                      <a:pt x="65" y="168"/>
                      <a:pt x="83" y="170"/>
                    </a:cubicBezTo>
                    <a:cubicBezTo>
                      <a:pt x="86" y="170"/>
                      <a:pt x="87" y="174"/>
                      <a:pt x="89" y="176"/>
                    </a:cubicBezTo>
                    <a:cubicBezTo>
                      <a:pt x="92" y="177"/>
                      <a:pt x="94" y="178"/>
                      <a:pt x="97" y="178"/>
                    </a:cubicBezTo>
                    <a:cubicBezTo>
                      <a:pt x="101" y="179"/>
                      <a:pt x="105" y="180"/>
                      <a:pt x="109" y="180"/>
                    </a:cubicBezTo>
                    <a:cubicBezTo>
                      <a:pt x="111" y="180"/>
                      <a:pt x="114" y="178"/>
                      <a:pt x="116" y="178"/>
                    </a:cubicBezTo>
                    <a:cubicBezTo>
                      <a:pt x="119" y="178"/>
                      <a:pt x="122" y="180"/>
                      <a:pt x="124" y="180"/>
                    </a:cubicBezTo>
                    <a:cubicBezTo>
                      <a:pt x="132" y="179"/>
                      <a:pt x="140" y="176"/>
                      <a:pt x="148" y="175"/>
                    </a:cubicBezTo>
                    <a:cubicBezTo>
                      <a:pt x="146" y="174"/>
                      <a:pt x="144" y="173"/>
                      <a:pt x="142" y="171"/>
                    </a:cubicBezTo>
                    <a:cubicBezTo>
                      <a:pt x="140" y="170"/>
                      <a:pt x="139" y="167"/>
                      <a:pt x="138" y="165"/>
                    </a:cubicBezTo>
                    <a:cubicBezTo>
                      <a:pt x="135" y="161"/>
                      <a:pt x="132" y="158"/>
                      <a:pt x="129" y="154"/>
                    </a:cubicBezTo>
                    <a:lnTo>
                      <a:pt x="129" y="105"/>
                    </a:lnTo>
                    <a:lnTo>
                      <a:pt x="155" y="105"/>
                    </a:lnTo>
                    <a:cubicBezTo>
                      <a:pt x="157" y="105"/>
                      <a:pt x="152" y="103"/>
                      <a:pt x="151" y="101"/>
                    </a:cubicBezTo>
                    <a:cubicBezTo>
                      <a:pt x="151" y="100"/>
                      <a:pt x="153" y="99"/>
                      <a:pt x="153" y="97"/>
                    </a:cubicBezTo>
                    <a:cubicBezTo>
                      <a:pt x="153" y="95"/>
                      <a:pt x="153" y="93"/>
                      <a:pt x="153" y="91"/>
                    </a:cubicBezTo>
                    <a:cubicBezTo>
                      <a:pt x="154" y="89"/>
                      <a:pt x="155" y="86"/>
                      <a:pt x="155" y="84"/>
                    </a:cubicBezTo>
                    <a:cubicBezTo>
                      <a:pt x="155" y="82"/>
                      <a:pt x="154" y="80"/>
                      <a:pt x="153" y="78"/>
                    </a:cubicBezTo>
                    <a:cubicBezTo>
                      <a:pt x="153" y="77"/>
                      <a:pt x="153" y="76"/>
                      <a:pt x="152" y="76"/>
                    </a:cubicBezTo>
                    <a:cubicBezTo>
                      <a:pt x="149" y="76"/>
                      <a:pt x="145" y="77"/>
                      <a:pt x="142" y="78"/>
                    </a:cubicBezTo>
                    <a:cubicBezTo>
                      <a:pt x="139" y="79"/>
                      <a:pt x="135" y="81"/>
                      <a:pt x="132" y="81"/>
                    </a:cubicBezTo>
                    <a:cubicBezTo>
                      <a:pt x="130" y="81"/>
                      <a:pt x="131" y="79"/>
                      <a:pt x="132" y="77"/>
                    </a:cubicBezTo>
                    <a:cubicBezTo>
                      <a:pt x="132" y="76"/>
                      <a:pt x="133" y="74"/>
                      <a:pt x="133" y="72"/>
                    </a:cubicBezTo>
                    <a:cubicBezTo>
                      <a:pt x="133" y="68"/>
                      <a:pt x="134" y="64"/>
                      <a:pt x="133" y="61"/>
                    </a:cubicBezTo>
                    <a:cubicBezTo>
                      <a:pt x="132" y="58"/>
                      <a:pt x="127" y="58"/>
                      <a:pt x="127" y="55"/>
                    </a:cubicBezTo>
                    <a:cubicBezTo>
                      <a:pt x="126" y="50"/>
                      <a:pt x="128" y="43"/>
                      <a:pt x="128" y="37"/>
                    </a:cubicBezTo>
                    <a:cubicBezTo>
                      <a:pt x="128" y="35"/>
                      <a:pt x="127" y="33"/>
                      <a:pt x="126" y="30"/>
                    </a:cubicBezTo>
                    <a:cubicBezTo>
                      <a:pt x="126" y="29"/>
                      <a:pt x="128" y="28"/>
                      <a:pt x="127" y="26"/>
                    </a:cubicBezTo>
                    <a:cubicBezTo>
                      <a:pt x="127" y="24"/>
                      <a:pt x="127" y="21"/>
                      <a:pt x="125" y="20"/>
                    </a:cubicBezTo>
                    <a:cubicBezTo>
                      <a:pt x="121" y="18"/>
                      <a:pt x="117" y="21"/>
                      <a:pt x="113" y="21"/>
                    </a:cubicBezTo>
                    <a:cubicBezTo>
                      <a:pt x="112" y="20"/>
                      <a:pt x="112" y="18"/>
                      <a:pt x="111" y="18"/>
                    </a:cubicBezTo>
                    <a:cubicBezTo>
                      <a:pt x="110" y="17"/>
                      <a:pt x="109" y="18"/>
                      <a:pt x="108" y="18"/>
                    </a:cubicBezTo>
                    <a:cubicBezTo>
                      <a:pt x="105" y="18"/>
                      <a:pt x="102" y="18"/>
                      <a:pt x="100" y="20"/>
                    </a:cubicBezTo>
                    <a:cubicBezTo>
                      <a:pt x="98" y="21"/>
                      <a:pt x="100" y="24"/>
                      <a:pt x="99" y="26"/>
                    </a:cubicBezTo>
                    <a:cubicBezTo>
                      <a:pt x="99" y="27"/>
                      <a:pt x="98" y="28"/>
                      <a:pt x="98" y="29"/>
                    </a:cubicBezTo>
                    <a:cubicBezTo>
                      <a:pt x="97" y="30"/>
                      <a:pt x="98" y="32"/>
                      <a:pt x="97" y="33"/>
                    </a:cubicBezTo>
                    <a:cubicBezTo>
                      <a:pt x="95" y="34"/>
                      <a:pt x="93" y="33"/>
                      <a:pt x="92" y="33"/>
                    </a:cubicBezTo>
                    <a:cubicBezTo>
                      <a:pt x="89" y="33"/>
                      <a:pt x="87" y="33"/>
                      <a:pt x="85" y="33"/>
                    </a:cubicBezTo>
                    <a:cubicBezTo>
                      <a:pt x="80" y="33"/>
                      <a:pt x="76" y="35"/>
                      <a:pt x="72" y="33"/>
                    </a:cubicBezTo>
                    <a:cubicBezTo>
                      <a:pt x="68" y="31"/>
                      <a:pt x="67" y="26"/>
                      <a:pt x="66" y="22"/>
                    </a:cubicBezTo>
                    <a:cubicBezTo>
                      <a:pt x="65" y="19"/>
                      <a:pt x="64" y="16"/>
                      <a:pt x="64" y="14"/>
                    </a:cubicBezTo>
                    <a:cubicBezTo>
                      <a:pt x="64" y="11"/>
                      <a:pt x="64" y="9"/>
                      <a:pt x="63" y="6"/>
                    </a:cubicBezTo>
                    <a:cubicBezTo>
                      <a:pt x="63" y="4"/>
                      <a:pt x="64" y="1"/>
                      <a:pt x="62" y="1"/>
                    </a:cubicBezTo>
                    <a:lnTo>
                      <a:pt x="20" y="1"/>
                    </a:lnTo>
                    <a:cubicBezTo>
                      <a:pt x="18" y="1"/>
                      <a:pt x="16" y="1"/>
                      <a:pt x="14" y="1"/>
                    </a:cubicBezTo>
                    <a:cubicBezTo>
                      <a:pt x="12" y="1"/>
                      <a:pt x="11" y="3"/>
                      <a:pt x="10" y="3"/>
                    </a:cubicBezTo>
                    <a:cubicBezTo>
                      <a:pt x="8" y="3"/>
                      <a:pt x="7" y="1"/>
                      <a:pt x="6" y="0"/>
                    </a:cubicBezTo>
                    <a:close/>
                  </a:path>
                </a:pathLst>
              </a:custGeom>
              <a:solidFill>
                <a:srgbClr val="FFC000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2" name="Freeform 2520"/>
              <p:cNvSpPr>
                <a:spLocks noChangeAspect="1"/>
              </p:cNvSpPr>
              <p:nvPr/>
            </p:nvSpPr>
            <p:spPr bwMode="auto">
              <a:xfrm>
                <a:off x="8053263" y="3501285"/>
                <a:ext cx="543134" cy="541580"/>
              </a:xfrm>
              <a:custGeom>
                <a:avLst/>
                <a:gdLst>
                  <a:gd name="T0" fmla="*/ 18 w 134"/>
                  <a:gd name="T1" fmla="*/ 132 h 159"/>
                  <a:gd name="T2" fmla="*/ 25 w 134"/>
                  <a:gd name="T3" fmla="*/ 139 h 159"/>
                  <a:gd name="T4" fmla="*/ 36 w 134"/>
                  <a:gd name="T5" fmla="*/ 145 h 159"/>
                  <a:gd name="T6" fmla="*/ 46 w 134"/>
                  <a:gd name="T7" fmla="*/ 149 h 159"/>
                  <a:gd name="T8" fmla="*/ 53 w 134"/>
                  <a:gd name="T9" fmla="*/ 149 h 159"/>
                  <a:gd name="T10" fmla="*/ 64 w 134"/>
                  <a:gd name="T11" fmla="*/ 155 h 159"/>
                  <a:gd name="T12" fmla="*/ 76 w 134"/>
                  <a:gd name="T13" fmla="*/ 167 h 159"/>
                  <a:gd name="T14" fmla="*/ 74 w 134"/>
                  <a:gd name="T15" fmla="*/ 179 h 159"/>
                  <a:gd name="T16" fmla="*/ 78 w 134"/>
                  <a:gd name="T17" fmla="*/ 186 h 159"/>
                  <a:gd name="T18" fmla="*/ 83 w 134"/>
                  <a:gd name="T19" fmla="*/ 189 h 159"/>
                  <a:gd name="T20" fmla="*/ 91 w 134"/>
                  <a:gd name="T21" fmla="*/ 189 h 159"/>
                  <a:gd name="T22" fmla="*/ 97 w 134"/>
                  <a:gd name="T23" fmla="*/ 183 h 159"/>
                  <a:gd name="T24" fmla="*/ 105 w 134"/>
                  <a:gd name="T25" fmla="*/ 191 h 159"/>
                  <a:gd name="T26" fmla="*/ 113 w 134"/>
                  <a:gd name="T27" fmla="*/ 187 h 159"/>
                  <a:gd name="T28" fmla="*/ 121 w 134"/>
                  <a:gd name="T29" fmla="*/ 190 h 159"/>
                  <a:gd name="T30" fmla="*/ 127 w 134"/>
                  <a:gd name="T31" fmla="*/ 184 h 159"/>
                  <a:gd name="T32" fmla="*/ 132 w 134"/>
                  <a:gd name="T33" fmla="*/ 184 h 159"/>
                  <a:gd name="T34" fmla="*/ 136 w 134"/>
                  <a:gd name="T35" fmla="*/ 186 h 159"/>
                  <a:gd name="T36" fmla="*/ 142 w 134"/>
                  <a:gd name="T37" fmla="*/ 183 h 159"/>
                  <a:gd name="T38" fmla="*/ 149 w 134"/>
                  <a:gd name="T39" fmla="*/ 180 h 159"/>
                  <a:gd name="T40" fmla="*/ 161 w 134"/>
                  <a:gd name="T41" fmla="*/ 169 h 159"/>
                  <a:gd name="T42" fmla="*/ 159 w 134"/>
                  <a:gd name="T43" fmla="*/ 163 h 159"/>
                  <a:gd name="T44" fmla="*/ 155 w 134"/>
                  <a:gd name="T45" fmla="*/ 155 h 159"/>
                  <a:gd name="T46" fmla="*/ 153 w 134"/>
                  <a:gd name="T47" fmla="*/ 147 h 159"/>
                  <a:gd name="T48" fmla="*/ 147 w 134"/>
                  <a:gd name="T49" fmla="*/ 132 h 159"/>
                  <a:gd name="T50" fmla="*/ 148 w 134"/>
                  <a:gd name="T51" fmla="*/ 124 h 159"/>
                  <a:gd name="T52" fmla="*/ 148 w 134"/>
                  <a:gd name="T53" fmla="*/ 114 h 159"/>
                  <a:gd name="T54" fmla="*/ 150 w 134"/>
                  <a:gd name="T55" fmla="*/ 108 h 159"/>
                  <a:gd name="T56" fmla="*/ 145 w 134"/>
                  <a:gd name="T57" fmla="*/ 96 h 159"/>
                  <a:gd name="T58" fmla="*/ 139 w 134"/>
                  <a:gd name="T59" fmla="*/ 91 h 159"/>
                  <a:gd name="T60" fmla="*/ 139 w 134"/>
                  <a:gd name="T61" fmla="*/ 84 h 159"/>
                  <a:gd name="T62" fmla="*/ 143 w 134"/>
                  <a:gd name="T63" fmla="*/ 76 h 159"/>
                  <a:gd name="T64" fmla="*/ 148 w 134"/>
                  <a:gd name="T65" fmla="*/ 70 h 159"/>
                  <a:gd name="T66" fmla="*/ 123 w 134"/>
                  <a:gd name="T67" fmla="*/ 47 h 159"/>
                  <a:gd name="T68" fmla="*/ 121 w 134"/>
                  <a:gd name="T69" fmla="*/ 40 h 159"/>
                  <a:gd name="T70" fmla="*/ 61 w 134"/>
                  <a:gd name="T71" fmla="*/ 0 h 159"/>
                  <a:gd name="T72" fmla="*/ 55 w 134"/>
                  <a:gd name="T73" fmla="*/ 4 h 159"/>
                  <a:gd name="T74" fmla="*/ 41 w 134"/>
                  <a:gd name="T75" fmla="*/ 4 h 159"/>
                  <a:gd name="T76" fmla="*/ 23 w 134"/>
                  <a:gd name="T77" fmla="*/ 2 h 159"/>
                  <a:gd name="T78" fmla="*/ 13 w 134"/>
                  <a:gd name="T79" fmla="*/ 5 h 159"/>
                  <a:gd name="T80" fmla="*/ 19 w 134"/>
                  <a:gd name="T81" fmla="*/ 12 h 159"/>
                  <a:gd name="T82" fmla="*/ 19 w 134"/>
                  <a:gd name="T83" fmla="*/ 20 h 159"/>
                  <a:gd name="T84" fmla="*/ 22 w 134"/>
                  <a:gd name="T85" fmla="*/ 26 h 159"/>
                  <a:gd name="T86" fmla="*/ 16 w 134"/>
                  <a:gd name="T87" fmla="*/ 32 h 159"/>
                  <a:gd name="T88" fmla="*/ 16 w 134"/>
                  <a:gd name="T89" fmla="*/ 36 h 159"/>
                  <a:gd name="T90" fmla="*/ 20 w 134"/>
                  <a:gd name="T91" fmla="*/ 40 h 159"/>
                  <a:gd name="T92" fmla="*/ 20 w 134"/>
                  <a:gd name="T93" fmla="*/ 44 h 159"/>
                  <a:gd name="T94" fmla="*/ 14 w 134"/>
                  <a:gd name="T95" fmla="*/ 50 h 159"/>
                  <a:gd name="T96" fmla="*/ 11 w 134"/>
                  <a:gd name="T97" fmla="*/ 56 h 159"/>
                  <a:gd name="T98" fmla="*/ 0 w 134"/>
                  <a:gd name="T99" fmla="*/ 68 h 159"/>
                  <a:gd name="T100" fmla="*/ 1 w 134"/>
                  <a:gd name="T101" fmla="*/ 78 h 159"/>
                  <a:gd name="T102" fmla="*/ 1 w 134"/>
                  <a:gd name="T103" fmla="*/ 86 h 159"/>
                  <a:gd name="T104" fmla="*/ 2 w 134"/>
                  <a:gd name="T105" fmla="*/ 97 h 159"/>
                  <a:gd name="T106" fmla="*/ 8 w 134"/>
                  <a:gd name="T107" fmla="*/ 106 h 159"/>
                  <a:gd name="T108" fmla="*/ 14 w 134"/>
                  <a:gd name="T109" fmla="*/ 118 h 159"/>
                  <a:gd name="T110" fmla="*/ 18 w 134"/>
                  <a:gd name="T111" fmla="*/ 132 h 159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34"/>
                  <a:gd name="T169" fmla="*/ 0 h 159"/>
                  <a:gd name="T170" fmla="*/ 134 w 134"/>
                  <a:gd name="T171" fmla="*/ 159 h 159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34" h="159">
                    <a:moveTo>
                      <a:pt x="15" y="110"/>
                    </a:moveTo>
                    <a:lnTo>
                      <a:pt x="21" y="116"/>
                    </a:lnTo>
                    <a:lnTo>
                      <a:pt x="30" y="121"/>
                    </a:lnTo>
                    <a:lnTo>
                      <a:pt x="38" y="124"/>
                    </a:lnTo>
                    <a:lnTo>
                      <a:pt x="44" y="124"/>
                    </a:lnTo>
                    <a:cubicBezTo>
                      <a:pt x="47" y="126"/>
                      <a:pt x="50" y="127"/>
                      <a:pt x="53" y="129"/>
                    </a:cubicBezTo>
                    <a:cubicBezTo>
                      <a:pt x="57" y="132"/>
                      <a:pt x="61" y="135"/>
                      <a:pt x="63" y="139"/>
                    </a:cubicBezTo>
                    <a:cubicBezTo>
                      <a:pt x="64" y="142"/>
                      <a:pt x="61" y="145"/>
                      <a:pt x="62" y="149"/>
                    </a:cubicBezTo>
                    <a:cubicBezTo>
                      <a:pt x="62" y="151"/>
                      <a:pt x="64" y="153"/>
                      <a:pt x="65" y="155"/>
                    </a:cubicBezTo>
                    <a:cubicBezTo>
                      <a:pt x="67" y="156"/>
                      <a:pt x="68" y="156"/>
                      <a:pt x="69" y="157"/>
                    </a:cubicBezTo>
                    <a:cubicBezTo>
                      <a:pt x="71" y="157"/>
                      <a:pt x="74" y="157"/>
                      <a:pt x="76" y="157"/>
                    </a:cubicBezTo>
                    <a:cubicBezTo>
                      <a:pt x="78" y="156"/>
                      <a:pt x="79" y="152"/>
                      <a:pt x="81" y="152"/>
                    </a:cubicBezTo>
                    <a:cubicBezTo>
                      <a:pt x="84" y="153"/>
                      <a:pt x="84" y="158"/>
                      <a:pt x="87" y="159"/>
                    </a:cubicBezTo>
                    <a:cubicBezTo>
                      <a:pt x="90" y="159"/>
                      <a:pt x="92" y="156"/>
                      <a:pt x="94" y="156"/>
                    </a:cubicBezTo>
                    <a:cubicBezTo>
                      <a:pt x="97" y="156"/>
                      <a:pt x="98" y="159"/>
                      <a:pt x="101" y="158"/>
                    </a:cubicBezTo>
                    <a:cubicBezTo>
                      <a:pt x="103" y="157"/>
                      <a:pt x="103" y="154"/>
                      <a:pt x="106" y="153"/>
                    </a:cubicBezTo>
                    <a:cubicBezTo>
                      <a:pt x="107" y="152"/>
                      <a:pt x="109" y="152"/>
                      <a:pt x="110" y="153"/>
                    </a:cubicBezTo>
                    <a:cubicBezTo>
                      <a:pt x="112" y="153"/>
                      <a:pt x="112" y="155"/>
                      <a:pt x="113" y="155"/>
                    </a:cubicBezTo>
                    <a:cubicBezTo>
                      <a:pt x="115" y="154"/>
                      <a:pt x="117" y="153"/>
                      <a:pt x="118" y="152"/>
                    </a:cubicBezTo>
                    <a:cubicBezTo>
                      <a:pt x="120" y="151"/>
                      <a:pt x="123" y="151"/>
                      <a:pt x="124" y="150"/>
                    </a:cubicBezTo>
                    <a:cubicBezTo>
                      <a:pt x="128" y="148"/>
                      <a:pt x="131" y="144"/>
                      <a:pt x="134" y="141"/>
                    </a:cubicBezTo>
                    <a:cubicBezTo>
                      <a:pt x="134" y="139"/>
                      <a:pt x="133" y="138"/>
                      <a:pt x="132" y="136"/>
                    </a:cubicBezTo>
                    <a:cubicBezTo>
                      <a:pt x="131" y="134"/>
                      <a:pt x="129" y="132"/>
                      <a:pt x="129" y="129"/>
                    </a:cubicBezTo>
                    <a:cubicBezTo>
                      <a:pt x="128" y="127"/>
                      <a:pt x="128" y="124"/>
                      <a:pt x="127" y="122"/>
                    </a:cubicBezTo>
                    <a:cubicBezTo>
                      <a:pt x="126" y="118"/>
                      <a:pt x="123" y="114"/>
                      <a:pt x="122" y="110"/>
                    </a:cubicBezTo>
                    <a:cubicBezTo>
                      <a:pt x="122" y="108"/>
                      <a:pt x="123" y="105"/>
                      <a:pt x="123" y="103"/>
                    </a:cubicBezTo>
                    <a:cubicBezTo>
                      <a:pt x="124" y="100"/>
                      <a:pt x="123" y="97"/>
                      <a:pt x="123" y="95"/>
                    </a:cubicBezTo>
                    <a:cubicBezTo>
                      <a:pt x="124" y="93"/>
                      <a:pt x="125" y="92"/>
                      <a:pt x="125" y="90"/>
                    </a:cubicBezTo>
                    <a:cubicBezTo>
                      <a:pt x="124" y="86"/>
                      <a:pt x="123" y="83"/>
                      <a:pt x="121" y="80"/>
                    </a:cubicBezTo>
                    <a:cubicBezTo>
                      <a:pt x="120" y="78"/>
                      <a:pt x="117" y="78"/>
                      <a:pt x="116" y="76"/>
                    </a:cubicBezTo>
                    <a:cubicBezTo>
                      <a:pt x="115" y="74"/>
                      <a:pt x="116" y="72"/>
                      <a:pt x="116" y="70"/>
                    </a:cubicBezTo>
                    <a:cubicBezTo>
                      <a:pt x="117" y="67"/>
                      <a:pt x="118" y="65"/>
                      <a:pt x="119" y="63"/>
                    </a:cubicBezTo>
                    <a:cubicBezTo>
                      <a:pt x="120" y="61"/>
                      <a:pt x="122" y="59"/>
                      <a:pt x="123" y="58"/>
                    </a:cubicBezTo>
                    <a:lnTo>
                      <a:pt x="102" y="39"/>
                    </a:lnTo>
                    <a:lnTo>
                      <a:pt x="101" y="33"/>
                    </a:lnTo>
                    <a:lnTo>
                      <a:pt x="51" y="0"/>
                    </a:lnTo>
                    <a:cubicBezTo>
                      <a:pt x="49" y="1"/>
                      <a:pt x="48" y="2"/>
                      <a:pt x="46" y="3"/>
                    </a:cubicBezTo>
                    <a:cubicBezTo>
                      <a:pt x="42" y="4"/>
                      <a:pt x="38" y="4"/>
                      <a:pt x="34" y="3"/>
                    </a:cubicBezTo>
                    <a:cubicBezTo>
                      <a:pt x="29" y="3"/>
                      <a:pt x="24" y="2"/>
                      <a:pt x="19" y="2"/>
                    </a:cubicBezTo>
                    <a:cubicBezTo>
                      <a:pt x="16" y="2"/>
                      <a:pt x="14" y="4"/>
                      <a:pt x="11" y="4"/>
                    </a:cubicBezTo>
                    <a:cubicBezTo>
                      <a:pt x="13" y="6"/>
                      <a:pt x="15" y="7"/>
                      <a:pt x="16" y="10"/>
                    </a:cubicBezTo>
                    <a:cubicBezTo>
                      <a:pt x="17" y="12"/>
                      <a:pt x="16" y="14"/>
                      <a:pt x="16" y="17"/>
                    </a:cubicBezTo>
                    <a:cubicBezTo>
                      <a:pt x="16" y="18"/>
                      <a:pt x="18" y="20"/>
                      <a:pt x="18" y="22"/>
                    </a:cubicBezTo>
                    <a:cubicBezTo>
                      <a:pt x="17" y="24"/>
                      <a:pt x="14" y="25"/>
                      <a:pt x="13" y="27"/>
                    </a:cubicBezTo>
                    <a:lnTo>
                      <a:pt x="13" y="30"/>
                    </a:lnTo>
                    <a:lnTo>
                      <a:pt x="17" y="33"/>
                    </a:lnTo>
                    <a:lnTo>
                      <a:pt x="17" y="37"/>
                    </a:lnTo>
                    <a:lnTo>
                      <a:pt x="12" y="42"/>
                    </a:lnTo>
                    <a:lnTo>
                      <a:pt x="9" y="47"/>
                    </a:lnTo>
                    <a:lnTo>
                      <a:pt x="0" y="57"/>
                    </a:lnTo>
                    <a:cubicBezTo>
                      <a:pt x="0" y="60"/>
                      <a:pt x="1" y="63"/>
                      <a:pt x="1" y="65"/>
                    </a:cubicBezTo>
                    <a:cubicBezTo>
                      <a:pt x="1" y="68"/>
                      <a:pt x="1" y="70"/>
                      <a:pt x="1" y="72"/>
                    </a:cubicBezTo>
                    <a:cubicBezTo>
                      <a:pt x="1" y="75"/>
                      <a:pt x="1" y="78"/>
                      <a:pt x="2" y="81"/>
                    </a:cubicBezTo>
                    <a:cubicBezTo>
                      <a:pt x="3" y="84"/>
                      <a:pt x="5" y="86"/>
                      <a:pt x="7" y="88"/>
                    </a:cubicBezTo>
                    <a:cubicBezTo>
                      <a:pt x="9" y="92"/>
                      <a:pt x="11" y="95"/>
                      <a:pt x="12" y="98"/>
                    </a:cubicBezTo>
                    <a:cubicBezTo>
                      <a:pt x="14" y="102"/>
                      <a:pt x="14" y="106"/>
                      <a:pt x="15" y="110"/>
                    </a:cubicBezTo>
                    <a:close/>
                  </a:path>
                </a:pathLst>
              </a:custGeom>
              <a:pattFill prst="wdUpDiag">
                <a:fgClr>
                  <a:srgbClr val="66CCFF"/>
                </a:fgClr>
                <a:bgClr>
                  <a:srgbClr val="FFC000"/>
                </a:bgClr>
              </a:patt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dirty="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3" name="Freeform 2521"/>
              <p:cNvSpPr>
                <a:spLocks noChangeAspect="1"/>
              </p:cNvSpPr>
              <p:nvPr/>
            </p:nvSpPr>
            <p:spPr bwMode="auto">
              <a:xfrm>
                <a:off x="8026275" y="3577844"/>
                <a:ext cx="97833" cy="116257"/>
              </a:xfrm>
              <a:custGeom>
                <a:avLst/>
                <a:gdLst>
                  <a:gd name="T0" fmla="*/ 8 w 24"/>
                  <a:gd name="T1" fmla="*/ 41 h 34"/>
                  <a:gd name="T2" fmla="*/ 6 w 24"/>
                  <a:gd name="T3" fmla="*/ 31 h 34"/>
                  <a:gd name="T4" fmla="*/ 4 w 24"/>
                  <a:gd name="T5" fmla="*/ 16 h 34"/>
                  <a:gd name="T6" fmla="*/ 5 w 24"/>
                  <a:gd name="T7" fmla="*/ 11 h 34"/>
                  <a:gd name="T8" fmla="*/ 0 w 24"/>
                  <a:gd name="T9" fmla="*/ 6 h 34"/>
                  <a:gd name="T10" fmla="*/ 5 w 24"/>
                  <a:gd name="T11" fmla="*/ 5 h 34"/>
                  <a:gd name="T12" fmla="*/ 7 w 24"/>
                  <a:gd name="T13" fmla="*/ 7 h 34"/>
                  <a:gd name="T14" fmla="*/ 12 w 24"/>
                  <a:gd name="T15" fmla="*/ 7 h 34"/>
                  <a:gd name="T16" fmla="*/ 15 w 24"/>
                  <a:gd name="T17" fmla="*/ 1 h 34"/>
                  <a:gd name="T18" fmla="*/ 21 w 24"/>
                  <a:gd name="T19" fmla="*/ 2 h 34"/>
                  <a:gd name="T20" fmla="*/ 24 w 24"/>
                  <a:gd name="T21" fmla="*/ 5 h 34"/>
                  <a:gd name="T22" fmla="*/ 24 w 24"/>
                  <a:gd name="T23" fmla="*/ 8 h 34"/>
                  <a:gd name="T24" fmla="*/ 29 w 24"/>
                  <a:gd name="T25" fmla="*/ 12 h 34"/>
                  <a:gd name="T26" fmla="*/ 29 w 24"/>
                  <a:gd name="T27" fmla="*/ 17 h 34"/>
                  <a:gd name="T28" fmla="*/ 23 w 24"/>
                  <a:gd name="T29" fmla="*/ 23 h 34"/>
                  <a:gd name="T30" fmla="*/ 19 w 24"/>
                  <a:gd name="T31" fmla="*/ 29 h 34"/>
                  <a:gd name="T32" fmla="*/ 8 w 24"/>
                  <a:gd name="T33" fmla="*/ 41 h 3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24"/>
                  <a:gd name="T52" fmla="*/ 0 h 34"/>
                  <a:gd name="T53" fmla="*/ 24 w 24"/>
                  <a:gd name="T54" fmla="*/ 34 h 3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24" h="34">
                    <a:moveTo>
                      <a:pt x="7" y="34"/>
                    </a:moveTo>
                    <a:cubicBezTo>
                      <a:pt x="6" y="31"/>
                      <a:pt x="5" y="29"/>
                      <a:pt x="5" y="26"/>
                    </a:cubicBezTo>
                    <a:cubicBezTo>
                      <a:pt x="4" y="22"/>
                      <a:pt x="3" y="17"/>
                      <a:pt x="3" y="13"/>
                    </a:cubicBezTo>
                    <a:cubicBezTo>
                      <a:pt x="3" y="12"/>
                      <a:pt x="4" y="11"/>
                      <a:pt x="4" y="9"/>
                    </a:cubicBezTo>
                    <a:cubicBezTo>
                      <a:pt x="3" y="8"/>
                      <a:pt x="2" y="6"/>
                      <a:pt x="0" y="5"/>
                    </a:cubicBezTo>
                    <a:cubicBezTo>
                      <a:pt x="2" y="4"/>
                      <a:pt x="3" y="4"/>
                      <a:pt x="4" y="4"/>
                    </a:cubicBezTo>
                    <a:cubicBezTo>
                      <a:pt x="5" y="4"/>
                      <a:pt x="5" y="6"/>
                      <a:pt x="6" y="6"/>
                    </a:cubicBezTo>
                    <a:cubicBezTo>
                      <a:pt x="7" y="6"/>
                      <a:pt x="9" y="6"/>
                      <a:pt x="10" y="6"/>
                    </a:cubicBezTo>
                    <a:cubicBezTo>
                      <a:pt x="11" y="5"/>
                      <a:pt x="11" y="2"/>
                      <a:pt x="12" y="1"/>
                    </a:cubicBezTo>
                    <a:cubicBezTo>
                      <a:pt x="14" y="0"/>
                      <a:pt x="16" y="1"/>
                      <a:pt x="17" y="2"/>
                    </a:cubicBezTo>
                    <a:cubicBezTo>
                      <a:pt x="19" y="2"/>
                      <a:pt x="19" y="3"/>
                      <a:pt x="20" y="4"/>
                    </a:cubicBezTo>
                    <a:lnTo>
                      <a:pt x="20" y="7"/>
                    </a:lnTo>
                    <a:lnTo>
                      <a:pt x="24" y="10"/>
                    </a:lnTo>
                    <a:lnTo>
                      <a:pt x="24" y="14"/>
                    </a:lnTo>
                    <a:lnTo>
                      <a:pt x="19" y="19"/>
                    </a:lnTo>
                    <a:lnTo>
                      <a:pt x="16" y="24"/>
                    </a:lnTo>
                    <a:lnTo>
                      <a:pt x="7" y="34"/>
                    </a:ln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4" name="Freeform 2522"/>
              <p:cNvSpPr>
                <a:spLocks noChangeAspect="1"/>
              </p:cNvSpPr>
              <p:nvPr/>
            </p:nvSpPr>
            <p:spPr bwMode="auto">
              <a:xfrm>
                <a:off x="8022901" y="3515464"/>
                <a:ext cx="104580" cy="85065"/>
              </a:xfrm>
              <a:custGeom>
                <a:avLst/>
                <a:gdLst>
                  <a:gd name="T0" fmla="*/ 1 w 26"/>
                  <a:gd name="T1" fmla="*/ 29 h 25"/>
                  <a:gd name="T2" fmla="*/ 0 w 26"/>
                  <a:gd name="T3" fmla="*/ 24 h 25"/>
                  <a:gd name="T4" fmla="*/ 5 w 26"/>
                  <a:gd name="T5" fmla="*/ 10 h 25"/>
                  <a:gd name="T6" fmla="*/ 10 w 26"/>
                  <a:gd name="T7" fmla="*/ 4 h 25"/>
                  <a:gd name="T8" fmla="*/ 17 w 26"/>
                  <a:gd name="T9" fmla="*/ 5 h 25"/>
                  <a:gd name="T10" fmla="*/ 23 w 26"/>
                  <a:gd name="T11" fmla="*/ 0 h 25"/>
                  <a:gd name="T12" fmla="*/ 29 w 26"/>
                  <a:gd name="T13" fmla="*/ 7 h 25"/>
                  <a:gd name="T14" fmla="*/ 29 w 26"/>
                  <a:gd name="T15" fmla="*/ 16 h 25"/>
                  <a:gd name="T16" fmla="*/ 31 w 26"/>
                  <a:gd name="T17" fmla="*/ 22 h 25"/>
                  <a:gd name="T18" fmla="*/ 25 w 26"/>
                  <a:gd name="T19" fmla="*/ 28 h 25"/>
                  <a:gd name="T20" fmla="*/ 21 w 26"/>
                  <a:gd name="T21" fmla="*/ 25 h 25"/>
                  <a:gd name="T22" fmla="*/ 16 w 26"/>
                  <a:gd name="T23" fmla="*/ 24 h 25"/>
                  <a:gd name="T24" fmla="*/ 13 w 26"/>
                  <a:gd name="T25" fmla="*/ 30 h 25"/>
                  <a:gd name="T26" fmla="*/ 8 w 26"/>
                  <a:gd name="T27" fmla="*/ 30 h 25"/>
                  <a:gd name="T28" fmla="*/ 6 w 26"/>
                  <a:gd name="T29" fmla="*/ 28 h 25"/>
                  <a:gd name="T30" fmla="*/ 1 w 26"/>
                  <a:gd name="T31" fmla="*/ 29 h 25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6"/>
                  <a:gd name="T49" fmla="*/ 0 h 25"/>
                  <a:gd name="T50" fmla="*/ 26 w 26"/>
                  <a:gd name="T51" fmla="*/ 25 h 25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6" h="25">
                    <a:moveTo>
                      <a:pt x="1" y="24"/>
                    </a:moveTo>
                    <a:cubicBezTo>
                      <a:pt x="1" y="22"/>
                      <a:pt x="0" y="21"/>
                      <a:pt x="0" y="20"/>
                    </a:cubicBezTo>
                    <a:cubicBezTo>
                      <a:pt x="1" y="16"/>
                      <a:pt x="3" y="12"/>
                      <a:pt x="4" y="8"/>
                    </a:cubicBezTo>
                    <a:cubicBezTo>
                      <a:pt x="5" y="6"/>
                      <a:pt x="7" y="5"/>
                      <a:pt x="8" y="3"/>
                    </a:cubicBezTo>
                    <a:cubicBezTo>
                      <a:pt x="10" y="4"/>
                      <a:pt x="12" y="5"/>
                      <a:pt x="14" y="4"/>
                    </a:cubicBezTo>
                    <a:cubicBezTo>
                      <a:pt x="17" y="4"/>
                      <a:pt x="18" y="1"/>
                      <a:pt x="19" y="0"/>
                    </a:cubicBezTo>
                    <a:cubicBezTo>
                      <a:pt x="21" y="2"/>
                      <a:pt x="23" y="3"/>
                      <a:pt x="24" y="6"/>
                    </a:cubicBezTo>
                    <a:cubicBezTo>
                      <a:pt x="25" y="8"/>
                      <a:pt x="24" y="10"/>
                      <a:pt x="24" y="13"/>
                    </a:cubicBezTo>
                    <a:cubicBezTo>
                      <a:pt x="24" y="14"/>
                      <a:pt x="26" y="16"/>
                      <a:pt x="26" y="18"/>
                    </a:cubicBezTo>
                    <a:cubicBezTo>
                      <a:pt x="25" y="20"/>
                      <a:pt x="22" y="21"/>
                      <a:pt x="21" y="23"/>
                    </a:cubicBezTo>
                    <a:cubicBezTo>
                      <a:pt x="20" y="22"/>
                      <a:pt x="20" y="21"/>
                      <a:pt x="18" y="21"/>
                    </a:cubicBezTo>
                    <a:cubicBezTo>
                      <a:pt x="17" y="20"/>
                      <a:pt x="15" y="19"/>
                      <a:pt x="13" y="20"/>
                    </a:cubicBezTo>
                    <a:cubicBezTo>
                      <a:pt x="12" y="21"/>
                      <a:pt x="12" y="24"/>
                      <a:pt x="11" y="25"/>
                    </a:cubicBezTo>
                    <a:cubicBezTo>
                      <a:pt x="10" y="25"/>
                      <a:pt x="8" y="25"/>
                      <a:pt x="7" y="25"/>
                    </a:cubicBezTo>
                    <a:cubicBezTo>
                      <a:pt x="6" y="25"/>
                      <a:pt x="6" y="23"/>
                      <a:pt x="5" y="23"/>
                    </a:cubicBezTo>
                    <a:cubicBezTo>
                      <a:pt x="4" y="23"/>
                      <a:pt x="3" y="23"/>
                      <a:pt x="1" y="24"/>
                    </a:cubicBez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5" name="Freeform 2523"/>
              <p:cNvSpPr>
                <a:spLocks noChangeAspect="1"/>
              </p:cNvSpPr>
              <p:nvPr/>
            </p:nvSpPr>
            <p:spPr bwMode="auto">
              <a:xfrm>
                <a:off x="7155915" y="3679923"/>
                <a:ext cx="57351" cy="73722"/>
              </a:xfrm>
              <a:custGeom>
                <a:avLst/>
                <a:gdLst>
                  <a:gd name="T0" fmla="*/ 4 w 14"/>
                  <a:gd name="T1" fmla="*/ 25 h 21"/>
                  <a:gd name="T2" fmla="*/ 4 w 14"/>
                  <a:gd name="T3" fmla="*/ 17 h 21"/>
                  <a:gd name="T4" fmla="*/ 0 w 14"/>
                  <a:gd name="T5" fmla="*/ 10 h 21"/>
                  <a:gd name="T6" fmla="*/ 12 w 14"/>
                  <a:gd name="T7" fmla="*/ 1 h 21"/>
                  <a:gd name="T8" fmla="*/ 17 w 14"/>
                  <a:gd name="T9" fmla="*/ 5 h 21"/>
                  <a:gd name="T10" fmla="*/ 7 w 14"/>
                  <a:gd name="T11" fmla="*/ 11 h 21"/>
                  <a:gd name="T12" fmla="*/ 9 w 14"/>
                  <a:gd name="T13" fmla="*/ 24 h 21"/>
                  <a:gd name="T14" fmla="*/ 4 w 14"/>
                  <a:gd name="T15" fmla="*/ 25 h 2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4"/>
                  <a:gd name="T25" fmla="*/ 0 h 21"/>
                  <a:gd name="T26" fmla="*/ 14 w 14"/>
                  <a:gd name="T27" fmla="*/ 21 h 2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4" h="21">
                    <a:moveTo>
                      <a:pt x="3" y="20"/>
                    </a:moveTo>
                    <a:cubicBezTo>
                      <a:pt x="3" y="18"/>
                      <a:pt x="3" y="16"/>
                      <a:pt x="3" y="14"/>
                    </a:cubicBezTo>
                    <a:cubicBezTo>
                      <a:pt x="2" y="12"/>
                      <a:pt x="1" y="10"/>
                      <a:pt x="0" y="8"/>
                    </a:cubicBezTo>
                    <a:cubicBezTo>
                      <a:pt x="3" y="6"/>
                      <a:pt x="6" y="2"/>
                      <a:pt x="10" y="1"/>
                    </a:cubicBezTo>
                    <a:cubicBezTo>
                      <a:pt x="11" y="0"/>
                      <a:pt x="13" y="3"/>
                      <a:pt x="14" y="4"/>
                    </a:cubicBezTo>
                    <a:cubicBezTo>
                      <a:pt x="11" y="5"/>
                      <a:pt x="8" y="7"/>
                      <a:pt x="6" y="9"/>
                    </a:cubicBezTo>
                    <a:cubicBezTo>
                      <a:pt x="5" y="12"/>
                      <a:pt x="8" y="16"/>
                      <a:pt x="7" y="19"/>
                    </a:cubicBezTo>
                    <a:cubicBezTo>
                      <a:pt x="6" y="21"/>
                      <a:pt x="4" y="20"/>
                      <a:pt x="3" y="2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6" name="Freeform 2524"/>
              <p:cNvSpPr>
                <a:spLocks noChangeAspect="1"/>
              </p:cNvSpPr>
              <p:nvPr/>
            </p:nvSpPr>
            <p:spPr bwMode="auto">
              <a:xfrm>
                <a:off x="7169406" y="3203559"/>
                <a:ext cx="974940" cy="938548"/>
              </a:xfrm>
              <a:custGeom>
                <a:avLst/>
                <a:gdLst>
                  <a:gd name="T0" fmla="*/ 22 w 241"/>
                  <a:gd name="T1" fmla="*/ 171 h 275"/>
                  <a:gd name="T2" fmla="*/ 40 w 241"/>
                  <a:gd name="T3" fmla="*/ 175 h 275"/>
                  <a:gd name="T4" fmla="*/ 61 w 241"/>
                  <a:gd name="T5" fmla="*/ 146 h 275"/>
                  <a:gd name="T6" fmla="*/ 71 w 241"/>
                  <a:gd name="T7" fmla="*/ 114 h 275"/>
                  <a:gd name="T8" fmla="*/ 86 w 241"/>
                  <a:gd name="T9" fmla="*/ 102 h 275"/>
                  <a:gd name="T10" fmla="*/ 88 w 241"/>
                  <a:gd name="T11" fmla="*/ 65 h 275"/>
                  <a:gd name="T12" fmla="*/ 97 w 241"/>
                  <a:gd name="T13" fmla="*/ 29 h 275"/>
                  <a:gd name="T14" fmla="*/ 107 w 241"/>
                  <a:gd name="T15" fmla="*/ 4 h 275"/>
                  <a:gd name="T16" fmla="*/ 137 w 241"/>
                  <a:gd name="T17" fmla="*/ 16 h 275"/>
                  <a:gd name="T18" fmla="*/ 162 w 241"/>
                  <a:gd name="T19" fmla="*/ 7 h 275"/>
                  <a:gd name="T20" fmla="*/ 186 w 241"/>
                  <a:gd name="T21" fmla="*/ 2 h 275"/>
                  <a:gd name="T22" fmla="*/ 200 w 241"/>
                  <a:gd name="T23" fmla="*/ 0 h 275"/>
                  <a:gd name="T24" fmla="*/ 216 w 241"/>
                  <a:gd name="T25" fmla="*/ 7 h 275"/>
                  <a:gd name="T26" fmla="*/ 236 w 241"/>
                  <a:gd name="T27" fmla="*/ 11 h 275"/>
                  <a:gd name="T28" fmla="*/ 257 w 241"/>
                  <a:gd name="T29" fmla="*/ 12 h 275"/>
                  <a:gd name="T30" fmla="*/ 276 w 241"/>
                  <a:gd name="T31" fmla="*/ 28 h 275"/>
                  <a:gd name="T32" fmla="*/ 279 w 241"/>
                  <a:gd name="T33" fmla="*/ 40 h 275"/>
                  <a:gd name="T34" fmla="*/ 289 w 241"/>
                  <a:gd name="T35" fmla="*/ 54 h 275"/>
                  <a:gd name="T36" fmla="*/ 276 w 241"/>
                  <a:gd name="T37" fmla="*/ 70 h 275"/>
                  <a:gd name="T38" fmla="*/ 265 w 241"/>
                  <a:gd name="T39" fmla="*/ 93 h 275"/>
                  <a:gd name="T40" fmla="*/ 258 w 241"/>
                  <a:gd name="T41" fmla="*/ 119 h 275"/>
                  <a:gd name="T42" fmla="*/ 259 w 241"/>
                  <a:gd name="T43" fmla="*/ 143 h 275"/>
                  <a:gd name="T44" fmla="*/ 263 w 241"/>
                  <a:gd name="T45" fmla="*/ 173 h 275"/>
                  <a:gd name="T46" fmla="*/ 265 w 241"/>
                  <a:gd name="T47" fmla="*/ 202 h 275"/>
                  <a:gd name="T48" fmla="*/ 281 w 241"/>
                  <a:gd name="T49" fmla="*/ 237 h 275"/>
                  <a:gd name="T50" fmla="*/ 251 w 241"/>
                  <a:gd name="T51" fmla="*/ 264 h 275"/>
                  <a:gd name="T52" fmla="*/ 247 w 241"/>
                  <a:gd name="T53" fmla="*/ 300 h 275"/>
                  <a:gd name="T54" fmla="*/ 266 w 241"/>
                  <a:gd name="T55" fmla="*/ 307 h 275"/>
                  <a:gd name="T56" fmla="*/ 245 w 241"/>
                  <a:gd name="T57" fmla="*/ 315 h 275"/>
                  <a:gd name="T58" fmla="*/ 223 w 241"/>
                  <a:gd name="T59" fmla="*/ 294 h 275"/>
                  <a:gd name="T60" fmla="*/ 197 w 241"/>
                  <a:gd name="T61" fmla="*/ 292 h 275"/>
                  <a:gd name="T62" fmla="*/ 176 w 241"/>
                  <a:gd name="T63" fmla="*/ 286 h 275"/>
                  <a:gd name="T64" fmla="*/ 151 w 241"/>
                  <a:gd name="T65" fmla="*/ 290 h 275"/>
                  <a:gd name="T66" fmla="*/ 152 w 241"/>
                  <a:gd name="T67" fmla="*/ 266 h 275"/>
                  <a:gd name="T68" fmla="*/ 144 w 241"/>
                  <a:gd name="T69" fmla="*/ 229 h 275"/>
                  <a:gd name="T70" fmla="*/ 128 w 241"/>
                  <a:gd name="T71" fmla="*/ 218 h 275"/>
                  <a:gd name="T72" fmla="*/ 113 w 241"/>
                  <a:gd name="T73" fmla="*/ 217 h 275"/>
                  <a:gd name="T74" fmla="*/ 109 w 241"/>
                  <a:gd name="T75" fmla="*/ 232 h 275"/>
                  <a:gd name="T76" fmla="*/ 79 w 241"/>
                  <a:gd name="T77" fmla="*/ 232 h 275"/>
                  <a:gd name="T78" fmla="*/ 68 w 241"/>
                  <a:gd name="T79" fmla="*/ 200 h 275"/>
                  <a:gd name="T80" fmla="*/ 10 w 241"/>
                  <a:gd name="T81" fmla="*/ 194 h 275"/>
                  <a:gd name="T82" fmla="*/ 5 w 241"/>
                  <a:gd name="T83" fmla="*/ 191 h 275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41"/>
                  <a:gd name="T127" fmla="*/ 0 h 275"/>
                  <a:gd name="T128" fmla="*/ 241 w 241"/>
                  <a:gd name="T129" fmla="*/ 275 h 275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41" h="275">
                    <a:moveTo>
                      <a:pt x="11" y="144"/>
                    </a:moveTo>
                    <a:cubicBezTo>
                      <a:pt x="12" y="144"/>
                      <a:pt x="14" y="147"/>
                      <a:pt x="16" y="147"/>
                    </a:cubicBezTo>
                    <a:cubicBezTo>
                      <a:pt x="17" y="146"/>
                      <a:pt x="17" y="143"/>
                      <a:pt x="18" y="142"/>
                    </a:cubicBezTo>
                    <a:cubicBezTo>
                      <a:pt x="21" y="140"/>
                      <a:pt x="24" y="138"/>
                      <a:pt x="27" y="138"/>
                    </a:cubicBezTo>
                    <a:cubicBezTo>
                      <a:pt x="29" y="138"/>
                      <a:pt x="26" y="142"/>
                      <a:pt x="27" y="144"/>
                    </a:cubicBezTo>
                    <a:cubicBezTo>
                      <a:pt x="28" y="145"/>
                      <a:pt x="31" y="146"/>
                      <a:pt x="33" y="145"/>
                    </a:cubicBezTo>
                    <a:cubicBezTo>
                      <a:pt x="36" y="144"/>
                      <a:pt x="36" y="140"/>
                      <a:pt x="38" y="138"/>
                    </a:cubicBezTo>
                    <a:cubicBezTo>
                      <a:pt x="40" y="136"/>
                      <a:pt x="45" y="137"/>
                      <a:pt x="47" y="134"/>
                    </a:cubicBezTo>
                    <a:cubicBezTo>
                      <a:pt x="49" y="130"/>
                      <a:pt x="50" y="126"/>
                      <a:pt x="51" y="121"/>
                    </a:cubicBezTo>
                    <a:cubicBezTo>
                      <a:pt x="52" y="117"/>
                      <a:pt x="49" y="113"/>
                      <a:pt x="50" y="110"/>
                    </a:cubicBezTo>
                    <a:cubicBezTo>
                      <a:pt x="51" y="106"/>
                      <a:pt x="55" y="104"/>
                      <a:pt x="57" y="101"/>
                    </a:cubicBezTo>
                    <a:cubicBezTo>
                      <a:pt x="58" y="99"/>
                      <a:pt x="57" y="96"/>
                      <a:pt x="59" y="95"/>
                    </a:cubicBezTo>
                    <a:cubicBezTo>
                      <a:pt x="61" y="93"/>
                      <a:pt x="64" y="94"/>
                      <a:pt x="66" y="93"/>
                    </a:cubicBezTo>
                    <a:cubicBezTo>
                      <a:pt x="67" y="92"/>
                      <a:pt x="65" y="89"/>
                      <a:pt x="66" y="88"/>
                    </a:cubicBezTo>
                    <a:cubicBezTo>
                      <a:pt x="67" y="87"/>
                      <a:pt x="71" y="87"/>
                      <a:pt x="72" y="85"/>
                    </a:cubicBezTo>
                    <a:cubicBezTo>
                      <a:pt x="73" y="82"/>
                      <a:pt x="71" y="78"/>
                      <a:pt x="72" y="75"/>
                    </a:cubicBezTo>
                    <a:cubicBezTo>
                      <a:pt x="72" y="71"/>
                      <a:pt x="72" y="67"/>
                      <a:pt x="72" y="63"/>
                    </a:cubicBezTo>
                    <a:cubicBezTo>
                      <a:pt x="72" y="60"/>
                      <a:pt x="73" y="57"/>
                      <a:pt x="73" y="54"/>
                    </a:cubicBezTo>
                    <a:cubicBezTo>
                      <a:pt x="74" y="49"/>
                      <a:pt x="75" y="45"/>
                      <a:pt x="77" y="41"/>
                    </a:cubicBezTo>
                    <a:cubicBezTo>
                      <a:pt x="78" y="37"/>
                      <a:pt x="81" y="34"/>
                      <a:pt x="81" y="30"/>
                    </a:cubicBezTo>
                    <a:cubicBezTo>
                      <a:pt x="82" y="28"/>
                      <a:pt x="81" y="26"/>
                      <a:pt x="81" y="24"/>
                    </a:cubicBezTo>
                    <a:cubicBezTo>
                      <a:pt x="81" y="21"/>
                      <a:pt x="80" y="18"/>
                      <a:pt x="81" y="14"/>
                    </a:cubicBezTo>
                    <a:cubicBezTo>
                      <a:pt x="81" y="12"/>
                      <a:pt x="83" y="9"/>
                      <a:pt x="84" y="7"/>
                    </a:cubicBezTo>
                    <a:cubicBezTo>
                      <a:pt x="85" y="5"/>
                      <a:pt x="87" y="4"/>
                      <a:pt x="89" y="3"/>
                    </a:cubicBezTo>
                    <a:cubicBezTo>
                      <a:pt x="90" y="3"/>
                      <a:pt x="93" y="2"/>
                      <a:pt x="94" y="3"/>
                    </a:cubicBezTo>
                    <a:cubicBezTo>
                      <a:pt x="98" y="5"/>
                      <a:pt x="101" y="9"/>
                      <a:pt x="105" y="11"/>
                    </a:cubicBezTo>
                    <a:cubicBezTo>
                      <a:pt x="108" y="13"/>
                      <a:pt x="111" y="12"/>
                      <a:pt x="114" y="13"/>
                    </a:cubicBezTo>
                    <a:cubicBezTo>
                      <a:pt x="119" y="14"/>
                      <a:pt x="123" y="17"/>
                      <a:pt x="127" y="16"/>
                    </a:cubicBezTo>
                    <a:cubicBezTo>
                      <a:pt x="130" y="16"/>
                      <a:pt x="130" y="11"/>
                      <a:pt x="131" y="9"/>
                    </a:cubicBezTo>
                    <a:cubicBezTo>
                      <a:pt x="132" y="8"/>
                      <a:pt x="134" y="6"/>
                      <a:pt x="135" y="6"/>
                    </a:cubicBezTo>
                    <a:cubicBezTo>
                      <a:pt x="138" y="6"/>
                      <a:pt x="140" y="9"/>
                      <a:pt x="142" y="9"/>
                    </a:cubicBezTo>
                    <a:cubicBezTo>
                      <a:pt x="145" y="9"/>
                      <a:pt x="149" y="7"/>
                      <a:pt x="152" y="6"/>
                    </a:cubicBezTo>
                    <a:cubicBezTo>
                      <a:pt x="153" y="5"/>
                      <a:pt x="154" y="2"/>
                      <a:pt x="155" y="2"/>
                    </a:cubicBezTo>
                    <a:cubicBezTo>
                      <a:pt x="157" y="2"/>
                      <a:pt x="157" y="5"/>
                      <a:pt x="158" y="5"/>
                    </a:cubicBezTo>
                    <a:cubicBezTo>
                      <a:pt x="160" y="6"/>
                      <a:pt x="162" y="6"/>
                      <a:pt x="164" y="5"/>
                    </a:cubicBezTo>
                    <a:cubicBezTo>
                      <a:pt x="166" y="4"/>
                      <a:pt x="165" y="0"/>
                      <a:pt x="167" y="0"/>
                    </a:cubicBezTo>
                    <a:cubicBezTo>
                      <a:pt x="170" y="0"/>
                      <a:pt x="171" y="4"/>
                      <a:pt x="173" y="4"/>
                    </a:cubicBezTo>
                    <a:cubicBezTo>
                      <a:pt x="175" y="4"/>
                      <a:pt x="176" y="2"/>
                      <a:pt x="177" y="2"/>
                    </a:cubicBezTo>
                    <a:cubicBezTo>
                      <a:pt x="179" y="2"/>
                      <a:pt x="178" y="6"/>
                      <a:pt x="180" y="6"/>
                    </a:cubicBezTo>
                    <a:cubicBezTo>
                      <a:pt x="183" y="5"/>
                      <a:pt x="184" y="2"/>
                      <a:pt x="187" y="2"/>
                    </a:cubicBezTo>
                    <a:cubicBezTo>
                      <a:pt x="188" y="2"/>
                      <a:pt x="190" y="4"/>
                      <a:pt x="191" y="5"/>
                    </a:cubicBezTo>
                    <a:cubicBezTo>
                      <a:pt x="193" y="6"/>
                      <a:pt x="195" y="8"/>
                      <a:pt x="197" y="9"/>
                    </a:cubicBezTo>
                    <a:cubicBezTo>
                      <a:pt x="199" y="10"/>
                      <a:pt x="202" y="12"/>
                      <a:pt x="204" y="12"/>
                    </a:cubicBezTo>
                    <a:cubicBezTo>
                      <a:pt x="206" y="12"/>
                      <a:pt x="207" y="10"/>
                      <a:pt x="208" y="10"/>
                    </a:cubicBezTo>
                    <a:cubicBezTo>
                      <a:pt x="210" y="9"/>
                      <a:pt x="212" y="10"/>
                      <a:pt x="214" y="10"/>
                    </a:cubicBezTo>
                    <a:cubicBezTo>
                      <a:pt x="216" y="9"/>
                      <a:pt x="216" y="7"/>
                      <a:pt x="218" y="7"/>
                    </a:cubicBezTo>
                    <a:cubicBezTo>
                      <a:pt x="221" y="9"/>
                      <a:pt x="224" y="13"/>
                      <a:pt x="226" y="17"/>
                    </a:cubicBezTo>
                    <a:cubicBezTo>
                      <a:pt x="228" y="18"/>
                      <a:pt x="228" y="21"/>
                      <a:pt x="230" y="23"/>
                    </a:cubicBezTo>
                    <a:cubicBezTo>
                      <a:pt x="231" y="24"/>
                      <a:pt x="232" y="25"/>
                      <a:pt x="233" y="26"/>
                    </a:cubicBezTo>
                    <a:cubicBezTo>
                      <a:pt x="234" y="27"/>
                      <a:pt x="236" y="29"/>
                      <a:pt x="235" y="30"/>
                    </a:cubicBezTo>
                    <a:cubicBezTo>
                      <a:pt x="235" y="31"/>
                      <a:pt x="233" y="32"/>
                      <a:pt x="233" y="33"/>
                    </a:cubicBezTo>
                    <a:cubicBezTo>
                      <a:pt x="233" y="35"/>
                      <a:pt x="236" y="35"/>
                      <a:pt x="237" y="36"/>
                    </a:cubicBezTo>
                    <a:cubicBezTo>
                      <a:pt x="237" y="39"/>
                      <a:pt x="234" y="41"/>
                      <a:pt x="235" y="43"/>
                    </a:cubicBezTo>
                    <a:cubicBezTo>
                      <a:pt x="236" y="44"/>
                      <a:pt x="240" y="43"/>
                      <a:pt x="241" y="45"/>
                    </a:cubicBezTo>
                    <a:cubicBezTo>
                      <a:pt x="241" y="47"/>
                      <a:pt x="237" y="47"/>
                      <a:pt x="236" y="49"/>
                    </a:cubicBezTo>
                    <a:cubicBezTo>
                      <a:pt x="234" y="50"/>
                      <a:pt x="232" y="51"/>
                      <a:pt x="231" y="53"/>
                    </a:cubicBezTo>
                    <a:cubicBezTo>
                      <a:pt x="230" y="54"/>
                      <a:pt x="231" y="56"/>
                      <a:pt x="230" y="58"/>
                    </a:cubicBezTo>
                    <a:cubicBezTo>
                      <a:pt x="229" y="59"/>
                      <a:pt x="227" y="59"/>
                      <a:pt x="227" y="61"/>
                    </a:cubicBezTo>
                    <a:cubicBezTo>
                      <a:pt x="225" y="63"/>
                      <a:pt x="225" y="65"/>
                      <a:pt x="224" y="68"/>
                    </a:cubicBezTo>
                    <a:cubicBezTo>
                      <a:pt x="223" y="71"/>
                      <a:pt x="222" y="74"/>
                      <a:pt x="221" y="77"/>
                    </a:cubicBezTo>
                    <a:cubicBezTo>
                      <a:pt x="220" y="79"/>
                      <a:pt x="220" y="81"/>
                      <a:pt x="220" y="83"/>
                    </a:cubicBezTo>
                    <a:cubicBezTo>
                      <a:pt x="220" y="87"/>
                      <a:pt x="219" y="90"/>
                      <a:pt x="219" y="94"/>
                    </a:cubicBezTo>
                    <a:cubicBezTo>
                      <a:pt x="218" y="96"/>
                      <a:pt x="216" y="97"/>
                      <a:pt x="215" y="99"/>
                    </a:cubicBezTo>
                    <a:cubicBezTo>
                      <a:pt x="214" y="103"/>
                      <a:pt x="212" y="107"/>
                      <a:pt x="211" y="111"/>
                    </a:cubicBezTo>
                    <a:cubicBezTo>
                      <a:pt x="211" y="112"/>
                      <a:pt x="212" y="113"/>
                      <a:pt x="212" y="115"/>
                    </a:cubicBezTo>
                    <a:cubicBezTo>
                      <a:pt x="214" y="116"/>
                      <a:pt x="215" y="118"/>
                      <a:pt x="216" y="119"/>
                    </a:cubicBezTo>
                    <a:cubicBezTo>
                      <a:pt x="216" y="121"/>
                      <a:pt x="215" y="122"/>
                      <a:pt x="215" y="123"/>
                    </a:cubicBezTo>
                    <a:cubicBezTo>
                      <a:pt x="215" y="127"/>
                      <a:pt x="216" y="132"/>
                      <a:pt x="217" y="136"/>
                    </a:cubicBezTo>
                    <a:cubicBezTo>
                      <a:pt x="217" y="139"/>
                      <a:pt x="218" y="141"/>
                      <a:pt x="219" y="144"/>
                    </a:cubicBezTo>
                    <a:cubicBezTo>
                      <a:pt x="219" y="147"/>
                      <a:pt x="220" y="150"/>
                      <a:pt x="220" y="152"/>
                    </a:cubicBezTo>
                    <a:cubicBezTo>
                      <a:pt x="220" y="155"/>
                      <a:pt x="220" y="157"/>
                      <a:pt x="220" y="159"/>
                    </a:cubicBezTo>
                    <a:cubicBezTo>
                      <a:pt x="220" y="162"/>
                      <a:pt x="220" y="165"/>
                      <a:pt x="221" y="168"/>
                    </a:cubicBezTo>
                    <a:cubicBezTo>
                      <a:pt x="222" y="171"/>
                      <a:pt x="224" y="173"/>
                      <a:pt x="226" y="175"/>
                    </a:cubicBezTo>
                    <a:cubicBezTo>
                      <a:pt x="228" y="179"/>
                      <a:pt x="230" y="182"/>
                      <a:pt x="231" y="185"/>
                    </a:cubicBezTo>
                    <a:cubicBezTo>
                      <a:pt x="233" y="189"/>
                      <a:pt x="233" y="193"/>
                      <a:pt x="234" y="197"/>
                    </a:cubicBezTo>
                    <a:cubicBezTo>
                      <a:pt x="226" y="198"/>
                      <a:pt x="218" y="195"/>
                      <a:pt x="211" y="198"/>
                    </a:cubicBezTo>
                    <a:cubicBezTo>
                      <a:pt x="207" y="201"/>
                      <a:pt x="208" y="208"/>
                      <a:pt x="207" y="212"/>
                    </a:cubicBezTo>
                    <a:cubicBezTo>
                      <a:pt x="207" y="215"/>
                      <a:pt x="209" y="216"/>
                      <a:pt x="209" y="219"/>
                    </a:cubicBezTo>
                    <a:cubicBezTo>
                      <a:pt x="209" y="223"/>
                      <a:pt x="208" y="228"/>
                      <a:pt x="207" y="233"/>
                    </a:cubicBezTo>
                    <a:cubicBezTo>
                      <a:pt x="207" y="235"/>
                      <a:pt x="205" y="237"/>
                      <a:pt x="205" y="239"/>
                    </a:cubicBezTo>
                    <a:cubicBezTo>
                      <a:pt x="205" y="243"/>
                      <a:pt x="205" y="246"/>
                      <a:pt x="206" y="249"/>
                    </a:cubicBezTo>
                    <a:cubicBezTo>
                      <a:pt x="208" y="252"/>
                      <a:pt x="211" y="255"/>
                      <a:pt x="214" y="256"/>
                    </a:cubicBezTo>
                    <a:cubicBezTo>
                      <a:pt x="215" y="257"/>
                      <a:pt x="216" y="257"/>
                      <a:pt x="218" y="257"/>
                    </a:cubicBezTo>
                    <a:cubicBezTo>
                      <a:pt x="219" y="257"/>
                      <a:pt x="223" y="254"/>
                      <a:pt x="222" y="255"/>
                    </a:cubicBezTo>
                    <a:cubicBezTo>
                      <a:pt x="221" y="260"/>
                      <a:pt x="221" y="267"/>
                      <a:pt x="220" y="272"/>
                    </a:cubicBezTo>
                    <a:cubicBezTo>
                      <a:pt x="219" y="275"/>
                      <a:pt x="214" y="274"/>
                      <a:pt x="212" y="273"/>
                    </a:cubicBezTo>
                    <a:cubicBezTo>
                      <a:pt x="208" y="271"/>
                      <a:pt x="207" y="266"/>
                      <a:pt x="204" y="262"/>
                    </a:cubicBezTo>
                    <a:cubicBezTo>
                      <a:pt x="201" y="260"/>
                      <a:pt x="199" y="257"/>
                      <a:pt x="197" y="255"/>
                    </a:cubicBezTo>
                    <a:cubicBezTo>
                      <a:pt x="195" y="253"/>
                      <a:pt x="193" y="252"/>
                      <a:pt x="191" y="250"/>
                    </a:cubicBezTo>
                    <a:cubicBezTo>
                      <a:pt x="189" y="248"/>
                      <a:pt x="189" y="244"/>
                      <a:pt x="186" y="244"/>
                    </a:cubicBezTo>
                    <a:cubicBezTo>
                      <a:pt x="183" y="244"/>
                      <a:pt x="183" y="249"/>
                      <a:pt x="181" y="250"/>
                    </a:cubicBezTo>
                    <a:cubicBezTo>
                      <a:pt x="177" y="250"/>
                      <a:pt x="173" y="249"/>
                      <a:pt x="169" y="247"/>
                    </a:cubicBezTo>
                    <a:cubicBezTo>
                      <a:pt x="167" y="247"/>
                      <a:pt x="166" y="245"/>
                      <a:pt x="164" y="243"/>
                    </a:cubicBezTo>
                    <a:cubicBezTo>
                      <a:pt x="164" y="242"/>
                      <a:pt x="164" y="240"/>
                      <a:pt x="163" y="240"/>
                    </a:cubicBezTo>
                    <a:cubicBezTo>
                      <a:pt x="160" y="240"/>
                      <a:pt x="157" y="243"/>
                      <a:pt x="154" y="243"/>
                    </a:cubicBezTo>
                    <a:cubicBezTo>
                      <a:pt x="151" y="242"/>
                      <a:pt x="150" y="240"/>
                      <a:pt x="147" y="238"/>
                    </a:cubicBezTo>
                    <a:cubicBezTo>
                      <a:pt x="147" y="237"/>
                      <a:pt x="147" y="236"/>
                      <a:pt x="146" y="236"/>
                    </a:cubicBezTo>
                    <a:cubicBezTo>
                      <a:pt x="143" y="236"/>
                      <a:pt x="139" y="237"/>
                      <a:pt x="136" y="238"/>
                    </a:cubicBezTo>
                    <a:cubicBezTo>
                      <a:pt x="133" y="239"/>
                      <a:pt x="129" y="241"/>
                      <a:pt x="126" y="241"/>
                    </a:cubicBezTo>
                    <a:cubicBezTo>
                      <a:pt x="124" y="241"/>
                      <a:pt x="125" y="239"/>
                      <a:pt x="126" y="237"/>
                    </a:cubicBezTo>
                    <a:cubicBezTo>
                      <a:pt x="126" y="236"/>
                      <a:pt x="127" y="234"/>
                      <a:pt x="127" y="232"/>
                    </a:cubicBezTo>
                    <a:cubicBezTo>
                      <a:pt x="127" y="228"/>
                      <a:pt x="128" y="224"/>
                      <a:pt x="127" y="221"/>
                    </a:cubicBezTo>
                    <a:cubicBezTo>
                      <a:pt x="126" y="218"/>
                      <a:pt x="121" y="218"/>
                      <a:pt x="121" y="215"/>
                    </a:cubicBezTo>
                    <a:cubicBezTo>
                      <a:pt x="120" y="210"/>
                      <a:pt x="122" y="203"/>
                      <a:pt x="122" y="197"/>
                    </a:cubicBezTo>
                    <a:cubicBezTo>
                      <a:pt x="122" y="195"/>
                      <a:pt x="121" y="193"/>
                      <a:pt x="120" y="190"/>
                    </a:cubicBezTo>
                    <a:cubicBezTo>
                      <a:pt x="120" y="189"/>
                      <a:pt x="122" y="188"/>
                      <a:pt x="121" y="186"/>
                    </a:cubicBezTo>
                    <a:cubicBezTo>
                      <a:pt x="121" y="184"/>
                      <a:pt x="121" y="181"/>
                      <a:pt x="119" y="180"/>
                    </a:cubicBezTo>
                    <a:cubicBezTo>
                      <a:pt x="115" y="178"/>
                      <a:pt x="111" y="181"/>
                      <a:pt x="107" y="181"/>
                    </a:cubicBezTo>
                    <a:cubicBezTo>
                      <a:pt x="106" y="180"/>
                      <a:pt x="106" y="178"/>
                      <a:pt x="105" y="178"/>
                    </a:cubicBezTo>
                    <a:cubicBezTo>
                      <a:pt x="104" y="177"/>
                      <a:pt x="103" y="178"/>
                      <a:pt x="102" y="178"/>
                    </a:cubicBezTo>
                    <a:cubicBezTo>
                      <a:pt x="99" y="178"/>
                      <a:pt x="96" y="178"/>
                      <a:pt x="94" y="180"/>
                    </a:cubicBezTo>
                    <a:cubicBezTo>
                      <a:pt x="92" y="181"/>
                      <a:pt x="94" y="184"/>
                      <a:pt x="93" y="186"/>
                    </a:cubicBezTo>
                    <a:cubicBezTo>
                      <a:pt x="93" y="187"/>
                      <a:pt x="92" y="188"/>
                      <a:pt x="92" y="189"/>
                    </a:cubicBezTo>
                    <a:cubicBezTo>
                      <a:pt x="91" y="190"/>
                      <a:pt x="92" y="192"/>
                      <a:pt x="91" y="193"/>
                    </a:cubicBezTo>
                    <a:cubicBezTo>
                      <a:pt x="89" y="194"/>
                      <a:pt x="87" y="193"/>
                      <a:pt x="86" y="193"/>
                    </a:cubicBezTo>
                    <a:cubicBezTo>
                      <a:pt x="83" y="193"/>
                      <a:pt x="81" y="193"/>
                      <a:pt x="79" y="193"/>
                    </a:cubicBezTo>
                    <a:cubicBezTo>
                      <a:pt x="74" y="193"/>
                      <a:pt x="70" y="195"/>
                      <a:pt x="66" y="193"/>
                    </a:cubicBezTo>
                    <a:cubicBezTo>
                      <a:pt x="62" y="191"/>
                      <a:pt x="61" y="186"/>
                      <a:pt x="60" y="182"/>
                    </a:cubicBezTo>
                    <a:cubicBezTo>
                      <a:pt x="59" y="179"/>
                      <a:pt x="58" y="176"/>
                      <a:pt x="58" y="174"/>
                    </a:cubicBezTo>
                    <a:cubicBezTo>
                      <a:pt x="58" y="171"/>
                      <a:pt x="58" y="169"/>
                      <a:pt x="57" y="166"/>
                    </a:cubicBezTo>
                    <a:cubicBezTo>
                      <a:pt x="57" y="164"/>
                      <a:pt x="58" y="161"/>
                      <a:pt x="56" y="161"/>
                    </a:cubicBezTo>
                    <a:lnTo>
                      <a:pt x="14" y="161"/>
                    </a:lnTo>
                    <a:cubicBezTo>
                      <a:pt x="12" y="161"/>
                      <a:pt x="10" y="161"/>
                      <a:pt x="8" y="161"/>
                    </a:cubicBezTo>
                    <a:cubicBezTo>
                      <a:pt x="6" y="161"/>
                      <a:pt x="5" y="163"/>
                      <a:pt x="4" y="163"/>
                    </a:cubicBezTo>
                    <a:cubicBezTo>
                      <a:pt x="2" y="163"/>
                      <a:pt x="1" y="161"/>
                      <a:pt x="0" y="160"/>
                    </a:cubicBezTo>
                    <a:cubicBezTo>
                      <a:pt x="1" y="160"/>
                      <a:pt x="3" y="161"/>
                      <a:pt x="4" y="159"/>
                    </a:cubicBezTo>
                    <a:cubicBezTo>
                      <a:pt x="5" y="156"/>
                      <a:pt x="2" y="152"/>
                      <a:pt x="3" y="149"/>
                    </a:cubicBezTo>
                    <a:cubicBezTo>
                      <a:pt x="5" y="147"/>
                      <a:pt x="8" y="145"/>
                      <a:pt x="11" y="144"/>
                    </a:cubicBezTo>
                    <a:close/>
                  </a:path>
                </a:pathLst>
              </a:custGeom>
              <a:pattFill prst="wdUpDiag">
                <a:fgClr>
                  <a:srgbClr val="66CCFF"/>
                </a:fgClr>
                <a:bgClr>
                  <a:srgbClr val="FFC000"/>
                </a:bgClr>
              </a:patt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7" name="Freeform 2525"/>
              <p:cNvSpPr>
                <a:spLocks noChangeAspect="1"/>
              </p:cNvSpPr>
              <p:nvPr/>
            </p:nvSpPr>
            <p:spPr bwMode="auto">
              <a:xfrm>
                <a:off x="7112055" y="3282953"/>
                <a:ext cx="387953" cy="425325"/>
              </a:xfrm>
              <a:custGeom>
                <a:avLst/>
                <a:gdLst>
                  <a:gd name="T0" fmla="*/ 13 w 96"/>
                  <a:gd name="T1" fmla="*/ 150 h 125"/>
                  <a:gd name="T2" fmla="*/ 6 w 96"/>
                  <a:gd name="T3" fmla="*/ 140 h 125"/>
                  <a:gd name="T4" fmla="*/ 0 w 96"/>
                  <a:gd name="T5" fmla="*/ 132 h 125"/>
                  <a:gd name="T6" fmla="*/ 2 w 96"/>
                  <a:gd name="T7" fmla="*/ 126 h 125"/>
                  <a:gd name="T8" fmla="*/ 10 w 96"/>
                  <a:gd name="T9" fmla="*/ 127 h 125"/>
                  <a:gd name="T10" fmla="*/ 11 w 96"/>
                  <a:gd name="T11" fmla="*/ 119 h 125"/>
                  <a:gd name="T12" fmla="*/ 5 w 96"/>
                  <a:gd name="T13" fmla="*/ 113 h 125"/>
                  <a:gd name="T14" fmla="*/ 6 w 96"/>
                  <a:gd name="T15" fmla="*/ 104 h 125"/>
                  <a:gd name="T16" fmla="*/ 17 w 96"/>
                  <a:gd name="T17" fmla="*/ 106 h 125"/>
                  <a:gd name="T18" fmla="*/ 19 w 96"/>
                  <a:gd name="T19" fmla="*/ 97 h 125"/>
                  <a:gd name="T20" fmla="*/ 26 w 96"/>
                  <a:gd name="T21" fmla="*/ 103 h 125"/>
                  <a:gd name="T22" fmla="*/ 36 w 96"/>
                  <a:gd name="T23" fmla="*/ 102 h 125"/>
                  <a:gd name="T24" fmla="*/ 38 w 96"/>
                  <a:gd name="T25" fmla="*/ 106 h 125"/>
                  <a:gd name="T26" fmla="*/ 43 w 96"/>
                  <a:gd name="T27" fmla="*/ 106 h 125"/>
                  <a:gd name="T28" fmla="*/ 44 w 96"/>
                  <a:gd name="T29" fmla="*/ 95 h 125"/>
                  <a:gd name="T30" fmla="*/ 44 w 96"/>
                  <a:gd name="T31" fmla="*/ 83 h 125"/>
                  <a:gd name="T32" fmla="*/ 47 w 96"/>
                  <a:gd name="T33" fmla="*/ 74 h 125"/>
                  <a:gd name="T34" fmla="*/ 40 w 96"/>
                  <a:gd name="T35" fmla="*/ 72 h 125"/>
                  <a:gd name="T36" fmla="*/ 42 w 96"/>
                  <a:gd name="T37" fmla="*/ 59 h 125"/>
                  <a:gd name="T38" fmla="*/ 50 w 96"/>
                  <a:gd name="T39" fmla="*/ 54 h 125"/>
                  <a:gd name="T40" fmla="*/ 50 w 96"/>
                  <a:gd name="T41" fmla="*/ 42 h 125"/>
                  <a:gd name="T42" fmla="*/ 34 w 96"/>
                  <a:gd name="T43" fmla="*/ 41 h 125"/>
                  <a:gd name="T44" fmla="*/ 31 w 96"/>
                  <a:gd name="T45" fmla="*/ 35 h 125"/>
                  <a:gd name="T46" fmla="*/ 35 w 96"/>
                  <a:gd name="T47" fmla="*/ 26 h 125"/>
                  <a:gd name="T48" fmla="*/ 52 w 96"/>
                  <a:gd name="T49" fmla="*/ 26 h 125"/>
                  <a:gd name="T50" fmla="*/ 75 w 96"/>
                  <a:gd name="T51" fmla="*/ 35 h 125"/>
                  <a:gd name="T52" fmla="*/ 75 w 96"/>
                  <a:gd name="T53" fmla="*/ 29 h 125"/>
                  <a:gd name="T54" fmla="*/ 77 w 96"/>
                  <a:gd name="T55" fmla="*/ 22 h 125"/>
                  <a:gd name="T56" fmla="*/ 80 w 96"/>
                  <a:gd name="T57" fmla="*/ 18 h 125"/>
                  <a:gd name="T58" fmla="*/ 81 w 96"/>
                  <a:gd name="T59" fmla="*/ 8 h 125"/>
                  <a:gd name="T60" fmla="*/ 83 w 96"/>
                  <a:gd name="T61" fmla="*/ 2 h 125"/>
                  <a:gd name="T62" fmla="*/ 93 w 96"/>
                  <a:gd name="T63" fmla="*/ 2 h 125"/>
                  <a:gd name="T64" fmla="*/ 98 w 96"/>
                  <a:gd name="T65" fmla="*/ 0 h 125"/>
                  <a:gd name="T66" fmla="*/ 105 w 96"/>
                  <a:gd name="T67" fmla="*/ 2 h 125"/>
                  <a:gd name="T68" fmla="*/ 114 w 96"/>
                  <a:gd name="T69" fmla="*/ 1 h 125"/>
                  <a:gd name="T70" fmla="*/ 114 w 96"/>
                  <a:gd name="T71" fmla="*/ 8 h 125"/>
                  <a:gd name="T72" fmla="*/ 109 w 96"/>
                  <a:gd name="T73" fmla="*/ 22 h 125"/>
                  <a:gd name="T74" fmla="*/ 104 w 96"/>
                  <a:gd name="T75" fmla="*/ 37 h 125"/>
                  <a:gd name="T76" fmla="*/ 103 w 96"/>
                  <a:gd name="T77" fmla="*/ 48 h 125"/>
                  <a:gd name="T78" fmla="*/ 103 w 96"/>
                  <a:gd name="T79" fmla="*/ 62 h 125"/>
                  <a:gd name="T80" fmla="*/ 103 w 96"/>
                  <a:gd name="T81" fmla="*/ 74 h 125"/>
                  <a:gd name="T82" fmla="*/ 96 w 96"/>
                  <a:gd name="T83" fmla="*/ 78 h 125"/>
                  <a:gd name="T84" fmla="*/ 96 w 96"/>
                  <a:gd name="T85" fmla="*/ 84 h 125"/>
                  <a:gd name="T86" fmla="*/ 87 w 96"/>
                  <a:gd name="T87" fmla="*/ 86 h 125"/>
                  <a:gd name="T88" fmla="*/ 85 w 96"/>
                  <a:gd name="T89" fmla="*/ 94 h 125"/>
                  <a:gd name="T90" fmla="*/ 77 w 96"/>
                  <a:gd name="T91" fmla="*/ 104 h 125"/>
                  <a:gd name="T92" fmla="*/ 78 w 96"/>
                  <a:gd name="T93" fmla="*/ 118 h 125"/>
                  <a:gd name="T94" fmla="*/ 73 w 96"/>
                  <a:gd name="T95" fmla="*/ 133 h 125"/>
                  <a:gd name="T96" fmla="*/ 62 w 96"/>
                  <a:gd name="T97" fmla="*/ 138 h 125"/>
                  <a:gd name="T98" fmla="*/ 56 w 96"/>
                  <a:gd name="T99" fmla="*/ 146 h 125"/>
                  <a:gd name="T100" fmla="*/ 49 w 96"/>
                  <a:gd name="T101" fmla="*/ 145 h 125"/>
                  <a:gd name="T102" fmla="*/ 49 w 96"/>
                  <a:gd name="T103" fmla="*/ 138 h 125"/>
                  <a:gd name="T104" fmla="*/ 38 w 96"/>
                  <a:gd name="T105" fmla="*/ 143 h 125"/>
                  <a:gd name="T106" fmla="*/ 36 w 96"/>
                  <a:gd name="T107" fmla="*/ 149 h 125"/>
                  <a:gd name="T108" fmla="*/ 30 w 96"/>
                  <a:gd name="T109" fmla="*/ 145 h 125"/>
                  <a:gd name="T110" fmla="*/ 25 w 96"/>
                  <a:gd name="T111" fmla="*/ 142 h 125"/>
                  <a:gd name="T112" fmla="*/ 13 w 96"/>
                  <a:gd name="T113" fmla="*/ 150 h 125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96"/>
                  <a:gd name="T172" fmla="*/ 0 h 125"/>
                  <a:gd name="T173" fmla="*/ 96 w 96"/>
                  <a:gd name="T174" fmla="*/ 125 h 125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96" h="125">
                    <a:moveTo>
                      <a:pt x="11" y="125"/>
                    </a:moveTo>
                    <a:lnTo>
                      <a:pt x="5" y="117"/>
                    </a:lnTo>
                    <a:lnTo>
                      <a:pt x="0" y="110"/>
                    </a:lnTo>
                    <a:cubicBezTo>
                      <a:pt x="1" y="108"/>
                      <a:pt x="1" y="106"/>
                      <a:pt x="2" y="105"/>
                    </a:cubicBezTo>
                    <a:cubicBezTo>
                      <a:pt x="4" y="104"/>
                      <a:pt x="7" y="107"/>
                      <a:pt x="8" y="106"/>
                    </a:cubicBezTo>
                    <a:cubicBezTo>
                      <a:pt x="9" y="104"/>
                      <a:pt x="9" y="101"/>
                      <a:pt x="9" y="99"/>
                    </a:cubicBezTo>
                    <a:cubicBezTo>
                      <a:pt x="8" y="97"/>
                      <a:pt x="4" y="96"/>
                      <a:pt x="4" y="94"/>
                    </a:cubicBezTo>
                    <a:cubicBezTo>
                      <a:pt x="3" y="91"/>
                      <a:pt x="3" y="88"/>
                      <a:pt x="5" y="87"/>
                    </a:cubicBezTo>
                    <a:cubicBezTo>
                      <a:pt x="8" y="85"/>
                      <a:pt x="12" y="90"/>
                      <a:pt x="14" y="88"/>
                    </a:cubicBezTo>
                    <a:cubicBezTo>
                      <a:pt x="16" y="87"/>
                      <a:pt x="14" y="82"/>
                      <a:pt x="16" y="81"/>
                    </a:cubicBezTo>
                    <a:cubicBezTo>
                      <a:pt x="19" y="80"/>
                      <a:pt x="20" y="85"/>
                      <a:pt x="22" y="86"/>
                    </a:cubicBezTo>
                    <a:cubicBezTo>
                      <a:pt x="25" y="87"/>
                      <a:pt x="28" y="85"/>
                      <a:pt x="30" y="85"/>
                    </a:cubicBezTo>
                    <a:cubicBezTo>
                      <a:pt x="31" y="86"/>
                      <a:pt x="31" y="88"/>
                      <a:pt x="32" y="88"/>
                    </a:cubicBezTo>
                    <a:cubicBezTo>
                      <a:pt x="33" y="89"/>
                      <a:pt x="35" y="90"/>
                      <a:pt x="36" y="88"/>
                    </a:cubicBezTo>
                    <a:cubicBezTo>
                      <a:pt x="38" y="86"/>
                      <a:pt x="37" y="82"/>
                      <a:pt x="37" y="79"/>
                    </a:cubicBezTo>
                    <a:cubicBezTo>
                      <a:pt x="37" y="76"/>
                      <a:pt x="37" y="72"/>
                      <a:pt x="37" y="69"/>
                    </a:cubicBezTo>
                    <a:cubicBezTo>
                      <a:pt x="37" y="67"/>
                      <a:pt x="40" y="64"/>
                      <a:pt x="39" y="62"/>
                    </a:cubicBezTo>
                    <a:cubicBezTo>
                      <a:pt x="38" y="60"/>
                      <a:pt x="34" y="62"/>
                      <a:pt x="33" y="60"/>
                    </a:cubicBezTo>
                    <a:cubicBezTo>
                      <a:pt x="32" y="56"/>
                      <a:pt x="33" y="52"/>
                      <a:pt x="35" y="49"/>
                    </a:cubicBezTo>
                    <a:cubicBezTo>
                      <a:pt x="36" y="47"/>
                      <a:pt x="40" y="47"/>
                      <a:pt x="42" y="45"/>
                    </a:cubicBezTo>
                    <a:cubicBezTo>
                      <a:pt x="43" y="42"/>
                      <a:pt x="45" y="37"/>
                      <a:pt x="42" y="35"/>
                    </a:cubicBezTo>
                    <a:cubicBezTo>
                      <a:pt x="39" y="32"/>
                      <a:pt x="32" y="36"/>
                      <a:pt x="28" y="34"/>
                    </a:cubicBezTo>
                    <a:cubicBezTo>
                      <a:pt x="26" y="34"/>
                      <a:pt x="26" y="31"/>
                      <a:pt x="26" y="29"/>
                    </a:cubicBezTo>
                    <a:cubicBezTo>
                      <a:pt x="26" y="27"/>
                      <a:pt x="28" y="24"/>
                      <a:pt x="29" y="22"/>
                    </a:cubicBezTo>
                    <a:cubicBezTo>
                      <a:pt x="34" y="22"/>
                      <a:pt x="38" y="21"/>
                      <a:pt x="43" y="22"/>
                    </a:cubicBezTo>
                    <a:cubicBezTo>
                      <a:pt x="50" y="23"/>
                      <a:pt x="56" y="28"/>
                      <a:pt x="63" y="29"/>
                    </a:cubicBezTo>
                    <a:cubicBezTo>
                      <a:pt x="64" y="29"/>
                      <a:pt x="62" y="26"/>
                      <a:pt x="63" y="24"/>
                    </a:cubicBezTo>
                    <a:cubicBezTo>
                      <a:pt x="63" y="22"/>
                      <a:pt x="63" y="20"/>
                      <a:pt x="64" y="18"/>
                    </a:cubicBezTo>
                    <a:cubicBezTo>
                      <a:pt x="65" y="17"/>
                      <a:pt x="67" y="17"/>
                      <a:pt x="67" y="15"/>
                    </a:cubicBezTo>
                    <a:cubicBezTo>
                      <a:pt x="68" y="13"/>
                      <a:pt x="68" y="10"/>
                      <a:pt x="68" y="7"/>
                    </a:cubicBezTo>
                    <a:cubicBezTo>
                      <a:pt x="68" y="6"/>
                      <a:pt x="68" y="3"/>
                      <a:pt x="69" y="2"/>
                    </a:cubicBezTo>
                    <a:cubicBezTo>
                      <a:pt x="72" y="1"/>
                      <a:pt x="75" y="2"/>
                      <a:pt x="78" y="2"/>
                    </a:cubicBezTo>
                    <a:cubicBezTo>
                      <a:pt x="79" y="2"/>
                      <a:pt x="80" y="0"/>
                      <a:pt x="82" y="0"/>
                    </a:cubicBezTo>
                    <a:cubicBezTo>
                      <a:pt x="84" y="1"/>
                      <a:pt x="86" y="2"/>
                      <a:pt x="88" y="2"/>
                    </a:cubicBezTo>
                    <a:cubicBezTo>
                      <a:pt x="90" y="3"/>
                      <a:pt x="92" y="2"/>
                      <a:pt x="95" y="1"/>
                    </a:cubicBezTo>
                    <a:cubicBezTo>
                      <a:pt x="95" y="3"/>
                      <a:pt x="96" y="5"/>
                      <a:pt x="95" y="7"/>
                    </a:cubicBezTo>
                    <a:cubicBezTo>
                      <a:pt x="95" y="11"/>
                      <a:pt x="92" y="14"/>
                      <a:pt x="91" y="18"/>
                    </a:cubicBezTo>
                    <a:cubicBezTo>
                      <a:pt x="89" y="22"/>
                      <a:pt x="88" y="26"/>
                      <a:pt x="87" y="31"/>
                    </a:cubicBezTo>
                    <a:cubicBezTo>
                      <a:pt x="87" y="34"/>
                      <a:pt x="86" y="37"/>
                      <a:pt x="86" y="40"/>
                    </a:cubicBezTo>
                    <a:cubicBezTo>
                      <a:pt x="86" y="44"/>
                      <a:pt x="86" y="48"/>
                      <a:pt x="86" y="52"/>
                    </a:cubicBezTo>
                    <a:cubicBezTo>
                      <a:pt x="85" y="55"/>
                      <a:pt x="87" y="59"/>
                      <a:pt x="86" y="62"/>
                    </a:cubicBezTo>
                    <a:cubicBezTo>
                      <a:pt x="85" y="64"/>
                      <a:pt x="81" y="64"/>
                      <a:pt x="80" y="65"/>
                    </a:cubicBezTo>
                    <a:cubicBezTo>
                      <a:pt x="79" y="66"/>
                      <a:pt x="81" y="69"/>
                      <a:pt x="80" y="70"/>
                    </a:cubicBezTo>
                    <a:cubicBezTo>
                      <a:pt x="78" y="71"/>
                      <a:pt x="75" y="70"/>
                      <a:pt x="73" y="72"/>
                    </a:cubicBezTo>
                    <a:cubicBezTo>
                      <a:pt x="71" y="73"/>
                      <a:pt x="72" y="76"/>
                      <a:pt x="71" y="78"/>
                    </a:cubicBezTo>
                    <a:cubicBezTo>
                      <a:pt x="69" y="81"/>
                      <a:pt x="65" y="83"/>
                      <a:pt x="64" y="87"/>
                    </a:cubicBezTo>
                    <a:cubicBezTo>
                      <a:pt x="63" y="90"/>
                      <a:pt x="66" y="94"/>
                      <a:pt x="65" y="98"/>
                    </a:cubicBezTo>
                    <a:cubicBezTo>
                      <a:pt x="64" y="103"/>
                      <a:pt x="63" y="107"/>
                      <a:pt x="61" y="111"/>
                    </a:cubicBezTo>
                    <a:cubicBezTo>
                      <a:pt x="59" y="114"/>
                      <a:pt x="54" y="113"/>
                      <a:pt x="52" y="115"/>
                    </a:cubicBezTo>
                    <a:cubicBezTo>
                      <a:pt x="50" y="117"/>
                      <a:pt x="50" y="121"/>
                      <a:pt x="47" y="122"/>
                    </a:cubicBezTo>
                    <a:cubicBezTo>
                      <a:pt x="45" y="123"/>
                      <a:pt x="42" y="122"/>
                      <a:pt x="41" y="121"/>
                    </a:cubicBezTo>
                    <a:cubicBezTo>
                      <a:pt x="40" y="119"/>
                      <a:pt x="43" y="115"/>
                      <a:pt x="41" y="115"/>
                    </a:cubicBezTo>
                    <a:cubicBezTo>
                      <a:pt x="38" y="115"/>
                      <a:pt x="35" y="117"/>
                      <a:pt x="32" y="119"/>
                    </a:cubicBezTo>
                    <a:cubicBezTo>
                      <a:pt x="31" y="120"/>
                      <a:pt x="31" y="123"/>
                      <a:pt x="30" y="124"/>
                    </a:cubicBezTo>
                    <a:cubicBezTo>
                      <a:pt x="28" y="124"/>
                      <a:pt x="26" y="121"/>
                      <a:pt x="25" y="121"/>
                    </a:cubicBezTo>
                    <a:cubicBezTo>
                      <a:pt x="24" y="120"/>
                      <a:pt x="22" y="117"/>
                      <a:pt x="21" y="118"/>
                    </a:cubicBezTo>
                    <a:cubicBezTo>
                      <a:pt x="17" y="119"/>
                      <a:pt x="14" y="123"/>
                      <a:pt x="11" y="12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8" name="Freeform 2550"/>
              <p:cNvSpPr>
                <a:spLocks noChangeAspect="1"/>
              </p:cNvSpPr>
              <p:nvPr/>
            </p:nvSpPr>
            <p:spPr bwMode="auto">
              <a:xfrm>
                <a:off x="5674946" y="2080704"/>
                <a:ext cx="418315" cy="340259"/>
              </a:xfrm>
              <a:custGeom>
                <a:avLst/>
                <a:gdLst>
                  <a:gd name="T0" fmla="*/ 1 w 104"/>
                  <a:gd name="T1" fmla="*/ 120 h 100"/>
                  <a:gd name="T2" fmla="*/ 1 w 104"/>
                  <a:gd name="T3" fmla="*/ 103 h 100"/>
                  <a:gd name="T4" fmla="*/ 5 w 104"/>
                  <a:gd name="T5" fmla="*/ 95 h 100"/>
                  <a:gd name="T6" fmla="*/ 11 w 104"/>
                  <a:gd name="T7" fmla="*/ 83 h 100"/>
                  <a:gd name="T8" fmla="*/ 18 w 104"/>
                  <a:gd name="T9" fmla="*/ 71 h 100"/>
                  <a:gd name="T10" fmla="*/ 24 w 104"/>
                  <a:gd name="T11" fmla="*/ 60 h 100"/>
                  <a:gd name="T12" fmla="*/ 32 w 104"/>
                  <a:gd name="T13" fmla="*/ 52 h 100"/>
                  <a:gd name="T14" fmla="*/ 36 w 104"/>
                  <a:gd name="T15" fmla="*/ 28 h 100"/>
                  <a:gd name="T16" fmla="*/ 50 w 104"/>
                  <a:gd name="T17" fmla="*/ 19 h 100"/>
                  <a:gd name="T18" fmla="*/ 54 w 104"/>
                  <a:gd name="T19" fmla="*/ 4 h 100"/>
                  <a:gd name="T20" fmla="*/ 57 w 104"/>
                  <a:gd name="T21" fmla="*/ 0 h 100"/>
                  <a:gd name="T22" fmla="*/ 124 w 104"/>
                  <a:gd name="T23" fmla="*/ 0 h 100"/>
                  <a:gd name="T24" fmla="*/ 124 w 104"/>
                  <a:gd name="T25" fmla="*/ 6 h 100"/>
                  <a:gd name="T26" fmla="*/ 124 w 104"/>
                  <a:gd name="T27" fmla="*/ 31 h 100"/>
                  <a:gd name="T28" fmla="*/ 75 w 104"/>
                  <a:gd name="T29" fmla="*/ 31 h 100"/>
                  <a:gd name="T30" fmla="*/ 75 w 104"/>
                  <a:gd name="T31" fmla="*/ 76 h 100"/>
                  <a:gd name="T32" fmla="*/ 70 w 104"/>
                  <a:gd name="T33" fmla="*/ 78 h 100"/>
                  <a:gd name="T34" fmla="*/ 64 w 104"/>
                  <a:gd name="T35" fmla="*/ 79 h 100"/>
                  <a:gd name="T36" fmla="*/ 56 w 104"/>
                  <a:gd name="T37" fmla="*/ 89 h 100"/>
                  <a:gd name="T38" fmla="*/ 58 w 104"/>
                  <a:gd name="T39" fmla="*/ 110 h 100"/>
                  <a:gd name="T40" fmla="*/ 56 w 104"/>
                  <a:gd name="T41" fmla="*/ 114 h 100"/>
                  <a:gd name="T42" fmla="*/ 6 w 104"/>
                  <a:gd name="T43" fmla="*/ 113 h 100"/>
                  <a:gd name="T44" fmla="*/ 1 w 104"/>
                  <a:gd name="T45" fmla="*/ 120 h 10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04"/>
                  <a:gd name="T70" fmla="*/ 0 h 100"/>
                  <a:gd name="T71" fmla="*/ 104 w 104"/>
                  <a:gd name="T72" fmla="*/ 100 h 10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04" h="100">
                    <a:moveTo>
                      <a:pt x="1" y="100"/>
                    </a:moveTo>
                    <a:cubicBezTo>
                      <a:pt x="1" y="95"/>
                      <a:pt x="0" y="91"/>
                      <a:pt x="1" y="86"/>
                    </a:cubicBezTo>
                    <a:cubicBezTo>
                      <a:pt x="1" y="84"/>
                      <a:pt x="3" y="81"/>
                      <a:pt x="4" y="79"/>
                    </a:cubicBezTo>
                    <a:cubicBezTo>
                      <a:pt x="6" y="76"/>
                      <a:pt x="8" y="72"/>
                      <a:pt x="9" y="69"/>
                    </a:cubicBezTo>
                    <a:cubicBezTo>
                      <a:pt x="11" y="66"/>
                      <a:pt x="13" y="62"/>
                      <a:pt x="15" y="59"/>
                    </a:cubicBezTo>
                    <a:cubicBezTo>
                      <a:pt x="16" y="56"/>
                      <a:pt x="18" y="53"/>
                      <a:pt x="20" y="50"/>
                    </a:cubicBezTo>
                    <a:cubicBezTo>
                      <a:pt x="22" y="47"/>
                      <a:pt x="26" y="46"/>
                      <a:pt x="27" y="43"/>
                    </a:cubicBezTo>
                    <a:cubicBezTo>
                      <a:pt x="30" y="37"/>
                      <a:pt x="27" y="29"/>
                      <a:pt x="30" y="23"/>
                    </a:cubicBezTo>
                    <a:cubicBezTo>
                      <a:pt x="32" y="19"/>
                      <a:pt x="39" y="19"/>
                      <a:pt x="42" y="16"/>
                    </a:cubicBezTo>
                    <a:cubicBezTo>
                      <a:pt x="44" y="12"/>
                      <a:pt x="43" y="7"/>
                      <a:pt x="45" y="3"/>
                    </a:cubicBezTo>
                    <a:cubicBezTo>
                      <a:pt x="45" y="2"/>
                      <a:pt x="47" y="1"/>
                      <a:pt x="48" y="0"/>
                    </a:cubicBezTo>
                    <a:lnTo>
                      <a:pt x="104" y="0"/>
                    </a:lnTo>
                    <a:lnTo>
                      <a:pt x="104" y="5"/>
                    </a:lnTo>
                    <a:lnTo>
                      <a:pt x="104" y="26"/>
                    </a:lnTo>
                    <a:lnTo>
                      <a:pt x="63" y="26"/>
                    </a:lnTo>
                    <a:lnTo>
                      <a:pt x="63" y="63"/>
                    </a:lnTo>
                    <a:lnTo>
                      <a:pt x="59" y="65"/>
                    </a:lnTo>
                    <a:cubicBezTo>
                      <a:pt x="57" y="65"/>
                      <a:pt x="55" y="65"/>
                      <a:pt x="54" y="66"/>
                    </a:cubicBezTo>
                    <a:cubicBezTo>
                      <a:pt x="51" y="68"/>
                      <a:pt x="49" y="71"/>
                      <a:pt x="47" y="74"/>
                    </a:cubicBezTo>
                    <a:cubicBezTo>
                      <a:pt x="47" y="80"/>
                      <a:pt x="49" y="86"/>
                      <a:pt x="49" y="92"/>
                    </a:cubicBezTo>
                    <a:cubicBezTo>
                      <a:pt x="49" y="94"/>
                      <a:pt x="47" y="94"/>
                      <a:pt x="47" y="95"/>
                    </a:cubicBezTo>
                    <a:lnTo>
                      <a:pt x="5" y="94"/>
                    </a:lnTo>
                    <a:lnTo>
                      <a:pt x="1" y="100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29" name="Freeform 2551"/>
              <p:cNvSpPr>
                <a:spLocks noChangeAspect="1"/>
              </p:cNvSpPr>
              <p:nvPr/>
            </p:nvSpPr>
            <p:spPr bwMode="auto">
              <a:xfrm>
                <a:off x="5867237" y="1638368"/>
                <a:ext cx="607230" cy="442336"/>
              </a:xfrm>
              <a:custGeom>
                <a:avLst/>
                <a:gdLst>
                  <a:gd name="T0" fmla="*/ 166 w 150"/>
                  <a:gd name="T1" fmla="*/ 17 h 130"/>
                  <a:gd name="T2" fmla="*/ 157 w 150"/>
                  <a:gd name="T3" fmla="*/ 16 h 130"/>
                  <a:gd name="T4" fmla="*/ 151 w 150"/>
                  <a:gd name="T5" fmla="*/ 12 h 130"/>
                  <a:gd name="T6" fmla="*/ 142 w 150"/>
                  <a:gd name="T7" fmla="*/ 13 h 130"/>
                  <a:gd name="T8" fmla="*/ 128 w 150"/>
                  <a:gd name="T9" fmla="*/ 14 h 130"/>
                  <a:gd name="T10" fmla="*/ 121 w 150"/>
                  <a:gd name="T11" fmla="*/ 6 h 130"/>
                  <a:gd name="T12" fmla="*/ 122 w 150"/>
                  <a:gd name="T13" fmla="*/ 1 h 130"/>
                  <a:gd name="T14" fmla="*/ 112 w 150"/>
                  <a:gd name="T15" fmla="*/ 4 h 130"/>
                  <a:gd name="T16" fmla="*/ 106 w 150"/>
                  <a:gd name="T17" fmla="*/ 14 h 130"/>
                  <a:gd name="T18" fmla="*/ 98 w 150"/>
                  <a:gd name="T19" fmla="*/ 31 h 130"/>
                  <a:gd name="T20" fmla="*/ 91 w 150"/>
                  <a:gd name="T21" fmla="*/ 42 h 130"/>
                  <a:gd name="T22" fmla="*/ 78 w 150"/>
                  <a:gd name="T23" fmla="*/ 48 h 130"/>
                  <a:gd name="T24" fmla="*/ 70 w 150"/>
                  <a:gd name="T25" fmla="*/ 54 h 130"/>
                  <a:gd name="T26" fmla="*/ 59 w 150"/>
                  <a:gd name="T27" fmla="*/ 65 h 130"/>
                  <a:gd name="T28" fmla="*/ 59 w 150"/>
                  <a:gd name="T29" fmla="*/ 70 h 130"/>
                  <a:gd name="T30" fmla="*/ 52 w 150"/>
                  <a:gd name="T31" fmla="*/ 82 h 130"/>
                  <a:gd name="T32" fmla="*/ 50 w 150"/>
                  <a:gd name="T33" fmla="*/ 101 h 130"/>
                  <a:gd name="T34" fmla="*/ 55 w 150"/>
                  <a:gd name="T35" fmla="*/ 108 h 130"/>
                  <a:gd name="T36" fmla="*/ 46 w 150"/>
                  <a:gd name="T37" fmla="*/ 120 h 130"/>
                  <a:gd name="T38" fmla="*/ 42 w 150"/>
                  <a:gd name="T39" fmla="*/ 126 h 130"/>
                  <a:gd name="T40" fmla="*/ 30 w 150"/>
                  <a:gd name="T41" fmla="*/ 136 h 130"/>
                  <a:gd name="T42" fmla="*/ 25 w 150"/>
                  <a:gd name="T43" fmla="*/ 144 h 130"/>
                  <a:gd name="T44" fmla="*/ 18 w 150"/>
                  <a:gd name="T45" fmla="*/ 144 h 130"/>
                  <a:gd name="T46" fmla="*/ 6 w 150"/>
                  <a:gd name="T47" fmla="*/ 150 h 130"/>
                  <a:gd name="T48" fmla="*/ 0 w 150"/>
                  <a:gd name="T49" fmla="*/ 156 h 130"/>
                  <a:gd name="T50" fmla="*/ 67 w 150"/>
                  <a:gd name="T51" fmla="*/ 156 h 130"/>
                  <a:gd name="T52" fmla="*/ 67 w 150"/>
                  <a:gd name="T53" fmla="*/ 138 h 130"/>
                  <a:gd name="T54" fmla="*/ 79 w 150"/>
                  <a:gd name="T55" fmla="*/ 128 h 130"/>
                  <a:gd name="T56" fmla="*/ 89 w 150"/>
                  <a:gd name="T57" fmla="*/ 122 h 130"/>
                  <a:gd name="T58" fmla="*/ 97 w 150"/>
                  <a:gd name="T59" fmla="*/ 120 h 130"/>
                  <a:gd name="T60" fmla="*/ 101 w 150"/>
                  <a:gd name="T61" fmla="*/ 116 h 130"/>
                  <a:gd name="T62" fmla="*/ 110 w 150"/>
                  <a:gd name="T63" fmla="*/ 116 h 130"/>
                  <a:gd name="T64" fmla="*/ 120 w 150"/>
                  <a:gd name="T65" fmla="*/ 114 h 130"/>
                  <a:gd name="T66" fmla="*/ 127 w 150"/>
                  <a:gd name="T67" fmla="*/ 103 h 130"/>
                  <a:gd name="T68" fmla="*/ 142 w 150"/>
                  <a:gd name="T69" fmla="*/ 100 h 130"/>
                  <a:gd name="T70" fmla="*/ 145 w 150"/>
                  <a:gd name="T71" fmla="*/ 95 h 130"/>
                  <a:gd name="T72" fmla="*/ 139 w 150"/>
                  <a:gd name="T73" fmla="*/ 90 h 130"/>
                  <a:gd name="T74" fmla="*/ 144 w 150"/>
                  <a:gd name="T75" fmla="*/ 83 h 130"/>
                  <a:gd name="T76" fmla="*/ 155 w 150"/>
                  <a:gd name="T77" fmla="*/ 80 h 130"/>
                  <a:gd name="T78" fmla="*/ 169 w 150"/>
                  <a:gd name="T79" fmla="*/ 77 h 130"/>
                  <a:gd name="T80" fmla="*/ 176 w 150"/>
                  <a:gd name="T81" fmla="*/ 76 h 130"/>
                  <a:gd name="T82" fmla="*/ 180 w 150"/>
                  <a:gd name="T83" fmla="*/ 67 h 130"/>
                  <a:gd name="T84" fmla="*/ 175 w 150"/>
                  <a:gd name="T85" fmla="*/ 62 h 130"/>
                  <a:gd name="T86" fmla="*/ 175 w 150"/>
                  <a:gd name="T87" fmla="*/ 58 h 130"/>
                  <a:gd name="T88" fmla="*/ 172 w 150"/>
                  <a:gd name="T89" fmla="*/ 53 h 130"/>
                  <a:gd name="T90" fmla="*/ 173 w 150"/>
                  <a:gd name="T91" fmla="*/ 40 h 130"/>
                  <a:gd name="T92" fmla="*/ 172 w 150"/>
                  <a:gd name="T93" fmla="*/ 24 h 130"/>
                  <a:gd name="T94" fmla="*/ 166 w 150"/>
                  <a:gd name="T95" fmla="*/ 17 h 130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50"/>
                  <a:gd name="T145" fmla="*/ 0 h 130"/>
                  <a:gd name="T146" fmla="*/ 150 w 150"/>
                  <a:gd name="T147" fmla="*/ 130 h 130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50" h="130">
                    <a:moveTo>
                      <a:pt x="138" y="14"/>
                    </a:moveTo>
                    <a:lnTo>
                      <a:pt x="131" y="13"/>
                    </a:lnTo>
                    <a:cubicBezTo>
                      <a:pt x="129" y="13"/>
                      <a:pt x="128" y="10"/>
                      <a:pt x="126" y="10"/>
                    </a:cubicBezTo>
                    <a:cubicBezTo>
                      <a:pt x="124" y="9"/>
                      <a:pt x="121" y="11"/>
                      <a:pt x="118" y="11"/>
                    </a:cubicBezTo>
                    <a:cubicBezTo>
                      <a:pt x="115" y="12"/>
                      <a:pt x="111" y="13"/>
                      <a:pt x="107" y="12"/>
                    </a:cubicBezTo>
                    <a:cubicBezTo>
                      <a:pt x="104" y="11"/>
                      <a:pt x="102" y="8"/>
                      <a:pt x="101" y="5"/>
                    </a:cubicBezTo>
                    <a:cubicBezTo>
                      <a:pt x="100" y="4"/>
                      <a:pt x="103" y="2"/>
                      <a:pt x="102" y="1"/>
                    </a:cubicBezTo>
                    <a:cubicBezTo>
                      <a:pt x="99" y="0"/>
                      <a:pt x="95" y="1"/>
                      <a:pt x="93" y="3"/>
                    </a:cubicBezTo>
                    <a:cubicBezTo>
                      <a:pt x="91" y="5"/>
                      <a:pt x="90" y="9"/>
                      <a:pt x="88" y="12"/>
                    </a:cubicBezTo>
                    <a:cubicBezTo>
                      <a:pt x="86" y="16"/>
                      <a:pt x="85" y="21"/>
                      <a:pt x="82" y="26"/>
                    </a:cubicBezTo>
                    <a:cubicBezTo>
                      <a:pt x="80" y="29"/>
                      <a:pt x="79" y="33"/>
                      <a:pt x="76" y="35"/>
                    </a:cubicBezTo>
                    <a:cubicBezTo>
                      <a:pt x="73" y="38"/>
                      <a:pt x="68" y="38"/>
                      <a:pt x="65" y="40"/>
                    </a:cubicBezTo>
                    <a:cubicBezTo>
                      <a:pt x="62" y="41"/>
                      <a:pt x="60" y="43"/>
                      <a:pt x="58" y="45"/>
                    </a:cubicBezTo>
                    <a:cubicBezTo>
                      <a:pt x="55" y="48"/>
                      <a:pt x="51" y="51"/>
                      <a:pt x="49" y="54"/>
                    </a:cubicBezTo>
                    <a:cubicBezTo>
                      <a:pt x="48" y="55"/>
                      <a:pt x="49" y="57"/>
                      <a:pt x="49" y="58"/>
                    </a:cubicBezTo>
                    <a:cubicBezTo>
                      <a:pt x="47" y="62"/>
                      <a:pt x="44" y="64"/>
                      <a:pt x="43" y="68"/>
                    </a:cubicBezTo>
                    <a:cubicBezTo>
                      <a:pt x="41" y="73"/>
                      <a:pt x="41" y="79"/>
                      <a:pt x="42" y="84"/>
                    </a:cubicBezTo>
                    <a:cubicBezTo>
                      <a:pt x="43" y="86"/>
                      <a:pt x="46" y="88"/>
                      <a:pt x="46" y="90"/>
                    </a:cubicBezTo>
                    <a:cubicBezTo>
                      <a:pt x="44" y="94"/>
                      <a:pt x="40" y="96"/>
                      <a:pt x="38" y="100"/>
                    </a:cubicBezTo>
                    <a:cubicBezTo>
                      <a:pt x="37" y="101"/>
                      <a:pt x="37" y="104"/>
                      <a:pt x="35" y="105"/>
                    </a:cubicBezTo>
                    <a:cubicBezTo>
                      <a:pt x="33" y="108"/>
                      <a:pt x="28" y="110"/>
                      <a:pt x="25" y="113"/>
                    </a:cubicBezTo>
                    <a:cubicBezTo>
                      <a:pt x="23" y="115"/>
                      <a:pt x="23" y="118"/>
                      <a:pt x="21" y="120"/>
                    </a:cubicBezTo>
                    <a:cubicBezTo>
                      <a:pt x="19" y="121"/>
                      <a:pt x="17" y="119"/>
                      <a:pt x="15" y="120"/>
                    </a:cubicBezTo>
                    <a:cubicBezTo>
                      <a:pt x="12" y="121"/>
                      <a:pt x="8" y="123"/>
                      <a:pt x="5" y="125"/>
                    </a:cubicBezTo>
                    <a:cubicBezTo>
                      <a:pt x="3" y="126"/>
                      <a:pt x="2" y="128"/>
                      <a:pt x="0" y="130"/>
                    </a:cubicBezTo>
                    <a:lnTo>
                      <a:pt x="56" y="130"/>
                    </a:lnTo>
                    <a:lnTo>
                      <a:pt x="56" y="115"/>
                    </a:lnTo>
                    <a:cubicBezTo>
                      <a:pt x="56" y="112"/>
                      <a:pt x="63" y="110"/>
                      <a:pt x="66" y="107"/>
                    </a:cubicBezTo>
                    <a:cubicBezTo>
                      <a:pt x="68" y="105"/>
                      <a:pt x="71" y="103"/>
                      <a:pt x="74" y="102"/>
                    </a:cubicBezTo>
                    <a:cubicBezTo>
                      <a:pt x="76" y="101"/>
                      <a:pt x="79" y="102"/>
                      <a:pt x="81" y="100"/>
                    </a:cubicBezTo>
                    <a:cubicBezTo>
                      <a:pt x="82" y="100"/>
                      <a:pt x="82" y="97"/>
                      <a:pt x="84" y="97"/>
                    </a:cubicBezTo>
                    <a:cubicBezTo>
                      <a:pt x="86" y="96"/>
                      <a:pt x="89" y="97"/>
                      <a:pt x="92" y="97"/>
                    </a:cubicBezTo>
                    <a:cubicBezTo>
                      <a:pt x="95" y="96"/>
                      <a:pt x="98" y="96"/>
                      <a:pt x="100" y="95"/>
                    </a:cubicBezTo>
                    <a:cubicBezTo>
                      <a:pt x="103" y="92"/>
                      <a:pt x="103" y="88"/>
                      <a:pt x="106" y="86"/>
                    </a:cubicBezTo>
                    <a:cubicBezTo>
                      <a:pt x="109" y="83"/>
                      <a:pt x="114" y="84"/>
                      <a:pt x="118" y="83"/>
                    </a:cubicBezTo>
                    <a:cubicBezTo>
                      <a:pt x="120" y="82"/>
                      <a:pt x="121" y="80"/>
                      <a:pt x="121" y="79"/>
                    </a:cubicBezTo>
                    <a:cubicBezTo>
                      <a:pt x="120" y="77"/>
                      <a:pt x="116" y="77"/>
                      <a:pt x="116" y="75"/>
                    </a:cubicBezTo>
                    <a:cubicBezTo>
                      <a:pt x="116" y="73"/>
                      <a:pt x="118" y="70"/>
                      <a:pt x="120" y="69"/>
                    </a:cubicBezTo>
                    <a:cubicBezTo>
                      <a:pt x="123" y="67"/>
                      <a:pt x="126" y="67"/>
                      <a:pt x="129" y="67"/>
                    </a:cubicBezTo>
                    <a:cubicBezTo>
                      <a:pt x="133" y="66"/>
                      <a:pt x="137" y="64"/>
                      <a:pt x="141" y="64"/>
                    </a:cubicBezTo>
                    <a:cubicBezTo>
                      <a:pt x="143" y="63"/>
                      <a:pt x="145" y="64"/>
                      <a:pt x="147" y="63"/>
                    </a:cubicBezTo>
                    <a:cubicBezTo>
                      <a:pt x="148" y="61"/>
                      <a:pt x="150" y="59"/>
                      <a:pt x="150" y="56"/>
                    </a:cubicBezTo>
                    <a:cubicBezTo>
                      <a:pt x="150" y="54"/>
                      <a:pt x="147" y="54"/>
                      <a:pt x="146" y="52"/>
                    </a:cubicBezTo>
                    <a:cubicBezTo>
                      <a:pt x="146" y="51"/>
                      <a:pt x="147" y="49"/>
                      <a:pt x="146" y="48"/>
                    </a:cubicBezTo>
                    <a:cubicBezTo>
                      <a:pt x="146" y="46"/>
                      <a:pt x="144" y="46"/>
                      <a:pt x="143" y="44"/>
                    </a:cubicBezTo>
                    <a:cubicBezTo>
                      <a:pt x="143" y="41"/>
                      <a:pt x="144" y="37"/>
                      <a:pt x="144" y="33"/>
                    </a:cubicBezTo>
                    <a:cubicBezTo>
                      <a:pt x="144" y="29"/>
                      <a:pt x="144" y="24"/>
                      <a:pt x="143" y="20"/>
                    </a:cubicBezTo>
                    <a:cubicBezTo>
                      <a:pt x="142" y="18"/>
                      <a:pt x="140" y="16"/>
                      <a:pt x="138" y="14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30" name="Freeform 2552"/>
              <p:cNvSpPr>
                <a:spLocks noChangeAspect="1"/>
              </p:cNvSpPr>
              <p:nvPr/>
            </p:nvSpPr>
            <p:spPr bwMode="auto">
              <a:xfrm>
                <a:off x="5678322" y="2097716"/>
                <a:ext cx="610604" cy="637987"/>
              </a:xfrm>
              <a:custGeom>
                <a:avLst/>
                <a:gdLst>
                  <a:gd name="T0" fmla="*/ 70 w 151"/>
                  <a:gd name="T1" fmla="*/ 224 h 187"/>
                  <a:gd name="T2" fmla="*/ 76 w 151"/>
                  <a:gd name="T3" fmla="*/ 223 h 187"/>
                  <a:gd name="T4" fmla="*/ 79 w 151"/>
                  <a:gd name="T5" fmla="*/ 213 h 187"/>
                  <a:gd name="T6" fmla="*/ 84 w 151"/>
                  <a:gd name="T7" fmla="*/ 213 h 187"/>
                  <a:gd name="T8" fmla="*/ 90 w 151"/>
                  <a:gd name="T9" fmla="*/ 220 h 187"/>
                  <a:gd name="T10" fmla="*/ 95 w 151"/>
                  <a:gd name="T11" fmla="*/ 214 h 187"/>
                  <a:gd name="T12" fmla="*/ 110 w 151"/>
                  <a:gd name="T13" fmla="*/ 214 h 187"/>
                  <a:gd name="T14" fmla="*/ 114 w 151"/>
                  <a:gd name="T15" fmla="*/ 209 h 187"/>
                  <a:gd name="T16" fmla="*/ 116 w 151"/>
                  <a:gd name="T17" fmla="*/ 214 h 187"/>
                  <a:gd name="T18" fmla="*/ 173 w 151"/>
                  <a:gd name="T19" fmla="*/ 214 h 187"/>
                  <a:gd name="T20" fmla="*/ 176 w 151"/>
                  <a:gd name="T21" fmla="*/ 197 h 187"/>
                  <a:gd name="T22" fmla="*/ 171 w 151"/>
                  <a:gd name="T23" fmla="*/ 195 h 187"/>
                  <a:gd name="T24" fmla="*/ 158 w 151"/>
                  <a:gd name="T25" fmla="*/ 42 h 187"/>
                  <a:gd name="T26" fmla="*/ 181 w 151"/>
                  <a:gd name="T27" fmla="*/ 42 h 187"/>
                  <a:gd name="T28" fmla="*/ 123 w 151"/>
                  <a:gd name="T29" fmla="*/ 0 h 187"/>
                  <a:gd name="T30" fmla="*/ 123 w 151"/>
                  <a:gd name="T31" fmla="*/ 25 h 187"/>
                  <a:gd name="T32" fmla="*/ 74 w 151"/>
                  <a:gd name="T33" fmla="*/ 25 h 187"/>
                  <a:gd name="T34" fmla="*/ 74 w 151"/>
                  <a:gd name="T35" fmla="*/ 70 h 187"/>
                  <a:gd name="T36" fmla="*/ 70 w 151"/>
                  <a:gd name="T37" fmla="*/ 72 h 187"/>
                  <a:gd name="T38" fmla="*/ 64 w 151"/>
                  <a:gd name="T39" fmla="*/ 73 h 187"/>
                  <a:gd name="T40" fmla="*/ 55 w 151"/>
                  <a:gd name="T41" fmla="*/ 83 h 187"/>
                  <a:gd name="T42" fmla="*/ 58 w 151"/>
                  <a:gd name="T43" fmla="*/ 105 h 187"/>
                  <a:gd name="T44" fmla="*/ 55 w 151"/>
                  <a:gd name="T45" fmla="*/ 108 h 187"/>
                  <a:gd name="T46" fmla="*/ 5 w 151"/>
                  <a:gd name="T47" fmla="*/ 107 h 187"/>
                  <a:gd name="T48" fmla="*/ 0 w 151"/>
                  <a:gd name="T49" fmla="*/ 114 h 187"/>
                  <a:gd name="T50" fmla="*/ 5 w 151"/>
                  <a:gd name="T51" fmla="*/ 119 h 187"/>
                  <a:gd name="T52" fmla="*/ 7 w 151"/>
                  <a:gd name="T53" fmla="*/ 119 h 187"/>
                  <a:gd name="T54" fmla="*/ 10 w 151"/>
                  <a:gd name="T55" fmla="*/ 129 h 187"/>
                  <a:gd name="T56" fmla="*/ 6 w 151"/>
                  <a:gd name="T57" fmla="*/ 146 h 187"/>
                  <a:gd name="T58" fmla="*/ 8 w 151"/>
                  <a:gd name="T59" fmla="*/ 149 h 187"/>
                  <a:gd name="T60" fmla="*/ 11 w 151"/>
                  <a:gd name="T61" fmla="*/ 162 h 187"/>
                  <a:gd name="T62" fmla="*/ 8 w 151"/>
                  <a:gd name="T63" fmla="*/ 179 h 187"/>
                  <a:gd name="T64" fmla="*/ 4 w 151"/>
                  <a:gd name="T65" fmla="*/ 197 h 187"/>
                  <a:gd name="T66" fmla="*/ 10 w 151"/>
                  <a:gd name="T67" fmla="*/ 191 h 187"/>
                  <a:gd name="T68" fmla="*/ 25 w 151"/>
                  <a:gd name="T69" fmla="*/ 191 h 187"/>
                  <a:gd name="T70" fmla="*/ 28 w 151"/>
                  <a:gd name="T71" fmla="*/ 189 h 187"/>
                  <a:gd name="T72" fmla="*/ 37 w 151"/>
                  <a:gd name="T73" fmla="*/ 190 h 187"/>
                  <a:gd name="T74" fmla="*/ 44 w 151"/>
                  <a:gd name="T75" fmla="*/ 200 h 187"/>
                  <a:gd name="T76" fmla="*/ 52 w 151"/>
                  <a:gd name="T77" fmla="*/ 200 h 187"/>
                  <a:gd name="T78" fmla="*/ 55 w 151"/>
                  <a:gd name="T79" fmla="*/ 212 h 187"/>
                  <a:gd name="T80" fmla="*/ 61 w 151"/>
                  <a:gd name="T81" fmla="*/ 219 h 187"/>
                  <a:gd name="T82" fmla="*/ 70 w 151"/>
                  <a:gd name="T83" fmla="*/ 224 h 187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51"/>
                  <a:gd name="T127" fmla="*/ 0 h 187"/>
                  <a:gd name="T128" fmla="*/ 151 w 151"/>
                  <a:gd name="T129" fmla="*/ 187 h 187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51" h="187">
                    <a:moveTo>
                      <a:pt x="58" y="186"/>
                    </a:moveTo>
                    <a:cubicBezTo>
                      <a:pt x="60" y="186"/>
                      <a:pt x="62" y="187"/>
                      <a:pt x="63" y="185"/>
                    </a:cubicBezTo>
                    <a:cubicBezTo>
                      <a:pt x="65" y="183"/>
                      <a:pt x="64" y="179"/>
                      <a:pt x="66" y="177"/>
                    </a:cubicBezTo>
                    <a:cubicBezTo>
                      <a:pt x="66" y="176"/>
                      <a:pt x="69" y="176"/>
                      <a:pt x="70" y="177"/>
                    </a:cubicBezTo>
                    <a:cubicBezTo>
                      <a:pt x="72" y="178"/>
                      <a:pt x="72" y="182"/>
                      <a:pt x="75" y="183"/>
                    </a:cubicBezTo>
                    <a:cubicBezTo>
                      <a:pt x="77" y="183"/>
                      <a:pt x="77" y="178"/>
                      <a:pt x="79" y="178"/>
                    </a:cubicBezTo>
                    <a:cubicBezTo>
                      <a:pt x="83" y="176"/>
                      <a:pt x="88" y="179"/>
                      <a:pt x="92" y="178"/>
                    </a:cubicBezTo>
                    <a:cubicBezTo>
                      <a:pt x="94" y="177"/>
                      <a:pt x="93" y="174"/>
                      <a:pt x="95" y="174"/>
                    </a:cubicBezTo>
                    <a:cubicBezTo>
                      <a:pt x="96" y="174"/>
                      <a:pt x="96" y="178"/>
                      <a:pt x="97" y="178"/>
                    </a:cubicBezTo>
                    <a:lnTo>
                      <a:pt x="144" y="178"/>
                    </a:lnTo>
                    <a:lnTo>
                      <a:pt x="147" y="164"/>
                    </a:lnTo>
                    <a:lnTo>
                      <a:pt x="143" y="162"/>
                    </a:lnTo>
                    <a:lnTo>
                      <a:pt x="132" y="35"/>
                    </a:lnTo>
                    <a:cubicBezTo>
                      <a:pt x="131" y="29"/>
                      <a:pt x="144" y="35"/>
                      <a:pt x="151" y="35"/>
                    </a:cubicBezTo>
                    <a:lnTo>
                      <a:pt x="103" y="0"/>
                    </a:lnTo>
                    <a:lnTo>
                      <a:pt x="103" y="21"/>
                    </a:lnTo>
                    <a:lnTo>
                      <a:pt x="62" y="21"/>
                    </a:lnTo>
                    <a:lnTo>
                      <a:pt x="62" y="58"/>
                    </a:lnTo>
                    <a:lnTo>
                      <a:pt x="58" y="60"/>
                    </a:lnTo>
                    <a:cubicBezTo>
                      <a:pt x="56" y="60"/>
                      <a:pt x="54" y="60"/>
                      <a:pt x="53" y="61"/>
                    </a:cubicBezTo>
                    <a:cubicBezTo>
                      <a:pt x="50" y="63"/>
                      <a:pt x="48" y="66"/>
                      <a:pt x="46" y="69"/>
                    </a:cubicBezTo>
                    <a:cubicBezTo>
                      <a:pt x="46" y="75"/>
                      <a:pt x="48" y="81"/>
                      <a:pt x="48" y="87"/>
                    </a:cubicBezTo>
                    <a:cubicBezTo>
                      <a:pt x="48" y="89"/>
                      <a:pt x="46" y="89"/>
                      <a:pt x="46" y="90"/>
                    </a:cubicBezTo>
                    <a:lnTo>
                      <a:pt x="4" y="89"/>
                    </a:lnTo>
                    <a:lnTo>
                      <a:pt x="0" y="95"/>
                    </a:lnTo>
                    <a:cubicBezTo>
                      <a:pt x="1" y="96"/>
                      <a:pt x="2" y="98"/>
                      <a:pt x="4" y="99"/>
                    </a:cubicBezTo>
                    <a:cubicBezTo>
                      <a:pt x="4" y="99"/>
                      <a:pt x="6" y="98"/>
                      <a:pt x="6" y="99"/>
                    </a:cubicBezTo>
                    <a:cubicBezTo>
                      <a:pt x="7" y="101"/>
                      <a:pt x="8" y="104"/>
                      <a:pt x="8" y="107"/>
                    </a:cubicBezTo>
                    <a:cubicBezTo>
                      <a:pt x="8" y="111"/>
                      <a:pt x="6" y="116"/>
                      <a:pt x="5" y="121"/>
                    </a:cubicBezTo>
                    <a:cubicBezTo>
                      <a:pt x="5" y="122"/>
                      <a:pt x="7" y="123"/>
                      <a:pt x="7" y="124"/>
                    </a:cubicBezTo>
                    <a:cubicBezTo>
                      <a:pt x="8" y="127"/>
                      <a:pt x="9" y="131"/>
                      <a:pt x="9" y="135"/>
                    </a:cubicBezTo>
                    <a:cubicBezTo>
                      <a:pt x="9" y="139"/>
                      <a:pt x="8" y="144"/>
                      <a:pt x="7" y="149"/>
                    </a:cubicBezTo>
                    <a:cubicBezTo>
                      <a:pt x="6" y="154"/>
                      <a:pt x="4" y="160"/>
                      <a:pt x="3" y="164"/>
                    </a:cubicBezTo>
                    <a:cubicBezTo>
                      <a:pt x="5" y="163"/>
                      <a:pt x="6" y="160"/>
                      <a:pt x="8" y="159"/>
                    </a:cubicBezTo>
                    <a:cubicBezTo>
                      <a:pt x="12" y="158"/>
                      <a:pt x="17" y="160"/>
                      <a:pt x="21" y="159"/>
                    </a:cubicBezTo>
                    <a:cubicBezTo>
                      <a:pt x="22" y="159"/>
                      <a:pt x="22" y="157"/>
                      <a:pt x="23" y="157"/>
                    </a:cubicBezTo>
                    <a:cubicBezTo>
                      <a:pt x="26" y="157"/>
                      <a:pt x="29" y="156"/>
                      <a:pt x="31" y="158"/>
                    </a:cubicBezTo>
                    <a:cubicBezTo>
                      <a:pt x="34" y="159"/>
                      <a:pt x="34" y="164"/>
                      <a:pt x="37" y="166"/>
                    </a:cubicBezTo>
                    <a:cubicBezTo>
                      <a:pt x="39" y="167"/>
                      <a:pt x="41" y="165"/>
                      <a:pt x="43" y="166"/>
                    </a:cubicBezTo>
                    <a:cubicBezTo>
                      <a:pt x="45" y="169"/>
                      <a:pt x="45" y="173"/>
                      <a:pt x="46" y="176"/>
                    </a:cubicBezTo>
                    <a:cubicBezTo>
                      <a:pt x="47" y="178"/>
                      <a:pt x="49" y="181"/>
                      <a:pt x="51" y="182"/>
                    </a:cubicBezTo>
                    <a:cubicBezTo>
                      <a:pt x="53" y="184"/>
                      <a:pt x="56" y="185"/>
                      <a:pt x="58" y="18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5637840" y="2196958"/>
                <a:ext cx="1713734" cy="1054804"/>
                <a:chOff x="4384808" y="2304038"/>
                <a:chExt cx="2090499" cy="1380058"/>
              </a:xfrm>
              <a:noFill/>
            </p:grpSpPr>
            <p:sp>
              <p:nvSpPr>
                <p:cNvPr id="52" name="Freeform 2553"/>
                <p:cNvSpPr>
                  <a:spLocks noChangeAspect="1"/>
                </p:cNvSpPr>
                <p:nvPr/>
              </p:nvSpPr>
              <p:spPr bwMode="auto">
                <a:xfrm>
                  <a:off x="4384808" y="2871644"/>
                  <a:ext cx="382712" cy="281946"/>
                </a:xfrm>
                <a:custGeom>
                  <a:avLst/>
                  <a:gdLst>
                    <a:gd name="T0" fmla="*/ 12 w 78"/>
                    <a:gd name="T1" fmla="*/ 76 h 64"/>
                    <a:gd name="T2" fmla="*/ 11 w 78"/>
                    <a:gd name="T3" fmla="*/ 70 h 64"/>
                    <a:gd name="T4" fmla="*/ 11 w 78"/>
                    <a:gd name="T5" fmla="*/ 64 h 64"/>
                    <a:gd name="T6" fmla="*/ 24 w 78"/>
                    <a:gd name="T7" fmla="*/ 64 h 64"/>
                    <a:gd name="T8" fmla="*/ 36 w 78"/>
                    <a:gd name="T9" fmla="*/ 61 h 64"/>
                    <a:gd name="T10" fmla="*/ 46 w 78"/>
                    <a:gd name="T11" fmla="*/ 62 h 64"/>
                    <a:gd name="T12" fmla="*/ 55 w 78"/>
                    <a:gd name="T13" fmla="*/ 61 h 64"/>
                    <a:gd name="T14" fmla="*/ 56 w 78"/>
                    <a:gd name="T15" fmla="*/ 56 h 64"/>
                    <a:gd name="T16" fmla="*/ 43 w 78"/>
                    <a:gd name="T17" fmla="*/ 53 h 64"/>
                    <a:gd name="T18" fmla="*/ 35 w 78"/>
                    <a:gd name="T19" fmla="*/ 52 h 64"/>
                    <a:gd name="T20" fmla="*/ 31 w 78"/>
                    <a:gd name="T21" fmla="*/ 56 h 64"/>
                    <a:gd name="T22" fmla="*/ 17 w 78"/>
                    <a:gd name="T23" fmla="*/ 57 h 64"/>
                    <a:gd name="T24" fmla="*/ 13 w 78"/>
                    <a:gd name="T25" fmla="*/ 49 h 64"/>
                    <a:gd name="T26" fmla="*/ 10 w 78"/>
                    <a:gd name="T27" fmla="*/ 39 h 64"/>
                    <a:gd name="T28" fmla="*/ 0 w 78"/>
                    <a:gd name="T29" fmla="*/ 37 h 64"/>
                    <a:gd name="T30" fmla="*/ 10 w 78"/>
                    <a:gd name="T31" fmla="*/ 27 h 64"/>
                    <a:gd name="T32" fmla="*/ 17 w 78"/>
                    <a:gd name="T33" fmla="*/ 19 h 64"/>
                    <a:gd name="T34" fmla="*/ 15 w 78"/>
                    <a:gd name="T35" fmla="*/ 10 h 64"/>
                    <a:gd name="T36" fmla="*/ 21 w 78"/>
                    <a:gd name="T37" fmla="*/ 4 h 64"/>
                    <a:gd name="T38" fmla="*/ 37 w 78"/>
                    <a:gd name="T39" fmla="*/ 4 h 64"/>
                    <a:gd name="T40" fmla="*/ 39 w 78"/>
                    <a:gd name="T41" fmla="*/ 1 h 64"/>
                    <a:gd name="T42" fmla="*/ 49 w 78"/>
                    <a:gd name="T43" fmla="*/ 2 h 64"/>
                    <a:gd name="T44" fmla="*/ 56 w 78"/>
                    <a:gd name="T45" fmla="*/ 12 h 64"/>
                    <a:gd name="T46" fmla="*/ 63 w 78"/>
                    <a:gd name="T47" fmla="*/ 12 h 64"/>
                    <a:gd name="T48" fmla="*/ 67 w 78"/>
                    <a:gd name="T49" fmla="*/ 24 h 64"/>
                    <a:gd name="T50" fmla="*/ 73 w 78"/>
                    <a:gd name="T51" fmla="*/ 31 h 64"/>
                    <a:gd name="T52" fmla="*/ 81 w 78"/>
                    <a:gd name="T53" fmla="*/ 36 h 64"/>
                    <a:gd name="T54" fmla="*/ 85 w 78"/>
                    <a:gd name="T55" fmla="*/ 45 h 64"/>
                    <a:gd name="T56" fmla="*/ 82 w 78"/>
                    <a:gd name="T57" fmla="*/ 56 h 64"/>
                    <a:gd name="T58" fmla="*/ 86 w 78"/>
                    <a:gd name="T59" fmla="*/ 61 h 64"/>
                    <a:gd name="T60" fmla="*/ 89 w 78"/>
                    <a:gd name="T61" fmla="*/ 61 h 64"/>
                    <a:gd name="T62" fmla="*/ 93 w 78"/>
                    <a:gd name="T63" fmla="*/ 68 h 64"/>
                    <a:gd name="T64" fmla="*/ 91 w 78"/>
                    <a:gd name="T65" fmla="*/ 75 h 64"/>
                    <a:gd name="T66" fmla="*/ 81 w 78"/>
                    <a:gd name="T67" fmla="*/ 76 h 64"/>
                    <a:gd name="T68" fmla="*/ 72 w 78"/>
                    <a:gd name="T69" fmla="*/ 75 h 64"/>
                    <a:gd name="T70" fmla="*/ 68 w 78"/>
                    <a:gd name="T71" fmla="*/ 75 h 64"/>
                    <a:gd name="T72" fmla="*/ 66 w 78"/>
                    <a:gd name="T73" fmla="*/ 72 h 64"/>
                    <a:gd name="T74" fmla="*/ 57 w 78"/>
                    <a:gd name="T75" fmla="*/ 72 h 64"/>
                    <a:gd name="T76" fmla="*/ 39 w 78"/>
                    <a:gd name="T77" fmla="*/ 71 h 64"/>
                    <a:gd name="T78" fmla="*/ 30 w 78"/>
                    <a:gd name="T79" fmla="*/ 76 h 64"/>
                    <a:gd name="T80" fmla="*/ 19 w 78"/>
                    <a:gd name="T81" fmla="*/ 75 h 64"/>
                    <a:gd name="T82" fmla="*/ 12 w 78"/>
                    <a:gd name="T83" fmla="*/ 76 h 64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w 78"/>
                    <a:gd name="T127" fmla="*/ 0 h 64"/>
                    <a:gd name="T128" fmla="*/ 78 w 78"/>
                    <a:gd name="T129" fmla="*/ 64 h 64"/>
                  </a:gdLst>
                  <a:ahLst/>
                  <a:cxnLst>
                    <a:cxn ang="T84">
                      <a:pos x="T0" y="T1"/>
                    </a:cxn>
                    <a:cxn ang="T85">
                      <a:pos x="T2" y="T3"/>
                    </a:cxn>
                    <a:cxn ang="T86">
                      <a:pos x="T4" y="T5"/>
                    </a:cxn>
                    <a:cxn ang="T87">
                      <a:pos x="T6" y="T7"/>
                    </a:cxn>
                    <a:cxn ang="T88">
                      <a:pos x="T8" y="T9"/>
                    </a:cxn>
                    <a:cxn ang="T89">
                      <a:pos x="T10" y="T11"/>
                    </a:cxn>
                    <a:cxn ang="T90">
                      <a:pos x="T12" y="T13"/>
                    </a:cxn>
                    <a:cxn ang="T91">
                      <a:pos x="T14" y="T15"/>
                    </a:cxn>
                    <a:cxn ang="T92">
                      <a:pos x="T16" y="T17"/>
                    </a:cxn>
                    <a:cxn ang="T93">
                      <a:pos x="T18" y="T19"/>
                    </a:cxn>
                    <a:cxn ang="T94">
                      <a:pos x="T20" y="T21"/>
                    </a:cxn>
                    <a:cxn ang="T95">
                      <a:pos x="T22" y="T23"/>
                    </a:cxn>
                    <a:cxn ang="T96">
                      <a:pos x="T24" y="T25"/>
                    </a:cxn>
                    <a:cxn ang="T97">
                      <a:pos x="T26" y="T27"/>
                    </a:cxn>
                    <a:cxn ang="T98">
                      <a:pos x="T28" y="T29"/>
                    </a:cxn>
                    <a:cxn ang="T99">
                      <a:pos x="T30" y="T31"/>
                    </a:cxn>
                    <a:cxn ang="T100">
                      <a:pos x="T32" y="T33"/>
                    </a:cxn>
                    <a:cxn ang="T101">
                      <a:pos x="T34" y="T35"/>
                    </a:cxn>
                    <a:cxn ang="T102">
                      <a:pos x="T36" y="T37"/>
                    </a:cxn>
                    <a:cxn ang="T103">
                      <a:pos x="T38" y="T39"/>
                    </a:cxn>
                    <a:cxn ang="T104">
                      <a:pos x="T40" y="T41"/>
                    </a:cxn>
                    <a:cxn ang="T105">
                      <a:pos x="T42" y="T43"/>
                    </a:cxn>
                    <a:cxn ang="T106">
                      <a:pos x="T44" y="T45"/>
                    </a:cxn>
                    <a:cxn ang="T107">
                      <a:pos x="T46" y="T47"/>
                    </a:cxn>
                    <a:cxn ang="T108">
                      <a:pos x="T48" y="T49"/>
                    </a:cxn>
                    <a:cxn ang="T109">
                      <a:pos x="T50" y="T51"/>
                    </a:cxn>
                    <a:cxn ang="T110">
                      <a:pos x="T52" y="T53"/>
                    </a:cxn>
                    <a:cxn ang="T111">
                      <a:pos x="T54" y="T55"/>
                    </a:cxn>
                    <a:cxn ang="T112">
                      <a:pos x="T56" y="T57"/>
                    </a:cxn>
                    <a:cxn ang="T113">
                      <a:pos x="T58" y="T59"/>
                    </a:cxn>
                    <a:cxn ang="T114">
                      <a:pos x="T60" y="T61"/>
                    </a:cxn>
                    <a:cxn ang="T115">
                      <a:pos x="T62" y="T63"/>
                    </a:cxn>
                    <a:cxn ang="T116">
                      <a:pos x="T64" y="T65"/>
                    </a:cxn>
                    <a:cxn ang="T117">
                      <a:pos x="T66" y="T67"/>
                    </a:cxn>
                    <a:cxn ang="T118">
                      <a:pos x="T68" y="T69"/>
                    </a:cxn>
                    <a:cxn ang="T119">
                      <a:pos x="T70" y="T71"/>
                    </a:cxn>
                    <a:cxn ang="T120">
                      <a:pos x="T72" y="T73"/>
                    </a:cxn>
                    <a:cxn ang="T121">
                      <a:pos x="T74" y="T75"/>
                    </a:cxn>
                    <a:cxn ang="T122">
                      <a:pos x="T76" y="T77"/>
                    </a:cxn>
                    <a:cxn ang="T123">
                      <a:pos x="T78" y="T79"/>
                    </a:cxn>
                    <a:cxn ang="T124">
                      <a:pos x="T80" y="T81"/>
                    </a:cxn>
                    <a:cxn ang="T125">
                      <a:pos x="T82" y="T83"/>
                    </a:cxn>
                  </a:cxnLst>
                  <a:rect l="T126" t="T127" r="T128" b="T129"/>
                  <a:pathLst>
                    <a:path w="78" h="64">
                      <a:moveTo>
                        <a:pt x="10" y="64"/>
                      </a:moveTo>
                      <a:cubicBezTo>
                        <a:pt x="10" y="62"/>
                        <a:pt x="9" y="61"/>
                        <a:pt x="9" y="59"/>
                      </a:cubicBezTo>
                      <a:cubicBezTo>
                        <a:pt x="9" y="57"/>
                        <a:pt x="9" y="56"/>
                        <a:pt x="9" y="54"/>
                      </a:cubicBezTo>
                      <a:cubicBezTo>
                        <a:pt x="13" y="54"/>
                        <a:pt x="16" y="55"/>
                        <a:pt x="20" y="54"/>
                      </a:cubicBezTo>
                      <a:cubicBezTo>
                        <a:pt x="23" y="54"/>
                        <a:pt x="26" y="51"/>
                        <a:pt x="30" y="51"/>
                      </a:cubicBezTo>
                      <a:cubicBezTo>
                        <a:pt x="33" y="51"/>
                        <a:pt x="36" y="52"/>
                        <a:pt x="39" y="52"/>
                      </a:cubicBezTo>
                      <a:cubicBezTo>
                        <a:pt x="42" y="52"/>
                        <a:pt x="44" y="52"/>
                        <a:pt x="46" y="51"/>
                      </a:cubicBezTo>
                      <a:cubicBezTo>
                        <a:pt x="47" y="50"/>
                        <a:pt x="48" y="48"/>
                        <a:pt x="47" y="47"/>
                      </a:cubicBezTo>
                      <a:cubicBezTo>
                        <a:pt x="44" y="46"/>
                        <a:pt x="39" y="45"/>
                        <a:pt x="36" y="45"/>
                      </a:cubicBezTo>
                      <a:cubicBezTo>
                        <a:pt x="33" y="44"/>
                        <a:pt x="31" y="44"/>
                        <a:pt x="29" y="44"/>
                      </a:cubicBezTo>
                      <a:cubicBezTo>
                        <a:pt x="28" y="45"/>
                        <a:pt x="27" y="47"/>
                        <a:pt x="26" y="47"/>
                      </a:cubicBezTo>
                      <a:cubicBezTo>
                        <a:pt x="22" y="48"/>
                        <a:pt x="18" y="48"/>
                        <a:pt x="14" y="48"/>
                      </a:cubicBezTo>
                      <a:cubicBezTo>
                        <a:pt x="13" y="46"/>
                        <a:pt x="12" y="43"/>
                        <a:pt x="11" y="41"/>
                      </a:cubicBezTo>
                      <a:cubicBezTo>
                        <a:pt x="10" y="38"/>
                        <a:pt x="10" y="35"/>
                        <a:pt x="8" y="33"/>
                      </a:cubicBezTo>
                      <a:cubicBezTo>
                        <a:pt x="6" y="32"/>
                        <a:pt x="0" y="34"/>
                        <a:pt x="0" y="31"/>
                      </a:cubicBezTo>
                      <a:cubicBezTo>
                        <a:pt x="0" y="27"/>
                        <a:pt x="6" y="26"/>
                        <a:pt x="8" y="23"/>
                      </a:cubicBezTo>
                      <a:cubicBezTo>
                        <a:pt x="10" y="21"/>
                        <a:pt x="13" y="19"/>
                        <a:pt x="14" y="16"/>
                      </a:cubicBezTo>
                      <a:cubicBezTo>
                        <a:pt x="14" y="14"/>
                        <a:pt x="13" y="11"/>
                        <a:pt x="13" y="8"/>
                      </a:cubicBezTo>
                      <a:cubicBezTo>
                        <a:pt x="15" y="7"/>
                        <a:pt x="16" y="4"/>
                        <a:pt x="18" y="3"/>
                      </a:cubicBezTo>
                      <a:cubicBezTo>
                        <a:pt x="22" y="2"/>
                        <a:pt x="27" y="4"/>
                        <a:pt x="31" y="3"/>
                      </a:cubicBezTo>
                      <a:cubicBezTo>
                        <a:pt x="32" y="3"/>
                        <a:pt x="32" y="1"/>
                        <a:pt x="33" y="1"/>
                      </a:cubicBezTo>
                      <a:cubicBezTo>
                        <a:pt x="36" y="1"/>
                        <a:pt x="39" y="0"/>
                        <a:pt x="41" y="2"/>
                      </a:cubicBezTo>
                      <a:cubicBezTo>
                        <a:pt x="44" y="3"/>
                        <a:pt x="44" y="8"/>
                        <a:pt x="47" y="10"/>
                      </a:cubicBezTo>
                      <a:cubicBezTo>
                        <a:pt x="49" y="11"/>
                        <a:pt x="51" y="9"/>
                        <a:pt x="53" y="10"/>
                      </a:cubicBezTo>
                      <a:cubicBezTo>
                        <a:pt x="55" y="13"/>
                        <a:pt x="55" y="17"/>
                        <a:pt x="56" y="20"/>
                      </a:cubicBezTo>
                      <a:cubicBezTo>
                        <a:pt x="57" y="22"/>
                        <a:pt x="59" y="25"/>
                        <a:pt x="61" y="26"/>
                      </a:cubicBezTo>
                      <a:cubicBezTo>
                        <a:pt x="63" y="28"/>
                        <a:pt x="66" y="29"/>
                        <a:pt x="68" y="30"/>
                      </a:cubicBezTo>
                      <a:lnTo>
                        <a:pt x="71" y="38"/>
                      </a:lnTo>
                      <a:lnTo>
                        <a:pt x="69" y="47"/>
                      </a:lnTo>
                      <a:lnTo>
                        <a:pt x="72" y="51"/>
                      </a:lnTo>
                      <a:lnTo>
                        <a:pt x="75" y="51"/>
                      </a:lnTo>
                      <a:lnTo>
                        <a:pt x="78" y="57"/>
                      </a:lnTo>
                      <a:lnTo>
                        <a:pt x="76" y="63"/>
                      </a:lnTo>
                      <a:cubicBezTo>
                        <a:pt x="73" y="63"/>
                        <a:pt x="71" y="64"/>
                        <a:pt x="68" y="64"/>
                      </a:cubicBezTo>
                      <a:cubicBezTo>
                        <a:pt x="66" y="63"/>
                        <a:pt x="63" y="63"/>
                        <a:pt x="60" y="63"/>
                      </a:cubicBezTo>
                      <a:cubicBezTo>
                        <a:pt x="59" y="63"/>
                        <a:pt x="58" y="64"/>
                        <a:pt x="57" y="63"/>
                      </a:cubicBezTo>
                      <a:cubicBezTo>
                        <a:pt x="56" y="63"/>
                        <a:pt x="56" y="61"/>
                        <a:pt x="55" y="61"/>
                      </a:cubicBezTo>
                      <a:cubicBezTo>
                        <a:pt x="53" y="60"/>
                        <a:pt x="50" y="61"/>
                        <a:pt x="48" y="61"/>
                      </a:cubicBezTo>
                      <a:cubicBezTo>
                        <a:pt x="43" y="60"/>
                        <a:pt x="38" y="59"/>
                        <a:pt x="33" y="60"/>
                      </a:cubicBezTo>
                      <a:cubicBezTo>
                        <a:pt x="30" y="60"/>
                        <a:pt x="28" y="63"/>
                        <a:pt x="25" y="64"/>
                      </a:cubicBezTo>
                      <a:cubicBezTo>
                        <a:pt x="22" y="64"/>
                        <a:pt x="19" y="63"/>
                        <a:pt x="16" y="63"/>
                      </a:cubicBezTo>
                      <a:cubicBezTo>
                        <a:pt x="14" y="63"/>
                        <a:pt x="12" y="63"/>
                        <a:pt x="10" y="64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53" name="Freeform 2554"/>
                <p:cNvSpPr>
                  <a:spLocks noChangeAspect="1"/>
                </p:cNvSpPr>
                <p:nvPr/>
              </p:nvSpPr>
              <p:spPr bwMode="auto">
                <a:xfrm>
                  <a:off x="4434190" y="3131332"/>
                  <a:ext cx="205758" cy="122425"/>
                </a:xfrm>
                <a:custGeom>
                  <a:avLst/>
                  <a:gdLst>
                    <a:gd name="T0" fmla="*/ 26 w 42"/>
                    <a:gd name="T1" fmla="*/ 33 h 27"/>
                    <a:gd name="T2" fmla="*/ 31 w 42"/>
                    <a:gd name="T3" fmla="*/ 22 h 27"/>
                    <a:gd name="T4" fmla="*/ 39 w 42"/>
                    <a:gd name="T5" fmla="*/ 18 h 27"/>
                    <a:gd name="T6" fmla="*/ 48 w 42"/>
                    <a:gd name="T7" fmla="*/ 17 h 27"/>
                    <a:gd name="T8" fmla="*/ 45 w 42"/>
                    <a:gd name="T9" fmla="*/ 10 h 27"/>
                    <a:gd name="T10" fmla="*/ 46 w 42"/>
                    <a:gd name="T11" fmla="*/ 6 h 27"/>
                    <a:gd name="T12" fmla="*/ 45 w 42"/>
                    <a:gd name="T13" fmla="*/ 2 h 27"/>
                    <a:gd name="T14" fmla="*/ 27 w 42"/>
                    <a:gd name="T15" fmla="*/ 1 h 27"/>
                    <a:gd name="T16" fmla="*/ 18 w 42"/>
                    <a:gd name="T17" fmla="*/ 6 h 27"/>
                    <a:gd name="T18" fmla="*/ 7 w 42"/>
                    <a:gd name="T19" fmla="*/ 5 h 27"/>
                    <a:gd name="T20" fmla="*/ 0 w 42"/>
                    <a:gd name="T21" fmla="*/ 6 h 27"/>
                    <a:gd name="T22" fmla="*/ 6 w 42"/>
                    <a:gd name="T23" fmla="*/ 15 h 27"/>
                    <a:gd name="T24" fmla="*/ 26 w 42"/>
                    <a:gd name="T25" fmla="*/ 15 h 27"/>
                    <a:gd name="T26" fmla="*/ 17 w 42"/>
                    <a:gd name="T27" fmla="*/ 18 h 27"/>
                    <a:gd name="T28" fmla="*/ 21 w 42"/>
                    <a:gd name="T29" fmla="*/ 24 h 27"/>
                    <a:gd name="T30" fmla="*/ 26 w 42"/>
                    <a:gd name="T31" fmla="*/ 33 h 27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60000 65536"/>
                    <a:gd name="T40" fmla="*/ 0 60000 65536"/>
                    <a:gd name="T41" fmla="*/ 0 60000 65536"/>
                    <a:gd name="T42" fmla="*/ 0 60000 65536"/>
                    <a:gd name="T43" fmla="*/ 0 60000 65536"/>
                    <a:gd name="T44" fmla="*/ 0 60000 65536"/>
                    <a:gd name="T45" fmla="*/ 0 60000 65536"/>
                    <a:gd name="T46" fmla="*/ 0 60000 65536"/>
                    <a:gd name="T47" fmla="*/ 0 60000 65536"/>
                    <a:gd name="T48" fmla="*/ 0 w 42"/>
                    <a:gd name="T49" fmla="*/ 0 h 27"/>
                    <a:gd name="T50" fmla="*/ 42 w 42"/>
                    <a:gd name="T51" fmla="*/ 27 h 27"/>
                  </a:gdLst>
                  <a:ahLst/>
                  <a:cxnLst>
                    <a:cxn ang="T32">
                      <a:pos x="T0" y="T1"/>
                    </a:cxn>
                    <a:cxn ang="T33">
                      <a:pos x="T2" y="T3"/>
                    </a:cxn>
                    <a:cxn ang="T34">
                      <a:pos x="T4" y="T5"/>
                    </a:cxn>
                    <a:cxn ang="T35">
                      <a:pos x="T6" y="T7"/>
                    </a:cxn>
                    <a:cxn ang="T36">
                      <a:pos x="T8" y="T9"/>
                    </a:cxn>
                    <a:cxn ang="T37">
                      <a:pos x="T10" y="T11"/>
                    </a:cxn>
                    <a:cxn ang="T38">
                      <a:pos x="T12" y="T13"/>
                    </a:cxn>
                    <a:cxn ang="T39">
                      <a:pos x="T14" y="T15"/>
                    </a:cxn>
                    <a:cxn ang="T40">
                      <a:pos x="T16" y="T17"/>
                    </a:cxn>
                    <a:cxn ang="T41">
                      <a:pos x="T18" y="T19"/>
                    </a:cxn>
                    <a:cxn ang="T42">
                      <a:pos x="T20" y="T21"/>
                    </a:cxn>
                    <a:cxn ang="T43">
                      <a:pos x="T22" y="T23"/>
                    </a:cxn>
                    <a:cxn ang="T44">
                      <a:pos x="T24" y="T25"/>
                    </a:cxn>
                    <a:cxn ang="T45">
                      <a:pos x="T26" y="T27"/>
                    </a:cxn>
                    <a:cxn ang="T46">
                      <a:pos x="T28" y="T29"/>
                    </a:cxn>
                    <a:cxn ang="T47">
                      <a:pos x="T30" y="T31"/>
                    </a:cxn>
                  </a:cxnLst>
                  <a:rect l="T48" t="T49" r="T50" b="T51"/>
                  <a:pathLst>
                    <a:path w="42" h="27">
                      <a:moveTo>
                        <a:pt x="22" y="27"/>
                      </a:moveTo>
                      <a:cubicBezTo>
                        <a:pt x="23" y="24"/>
                        <a:pt x="23" y="21"/>
                        <a:pt x="26" y="18"/>
                      </a:cubicBezTo>
                      <a:cubicBezTo>
                        <a:pt x="27" y="16"/>
                        <a:pt x="31" y="16"/>
                        <a:pt x="33" y="15"/>
                      </a:cubicBezTo>
                      <a:cubicBezTo>
                        <a:pt x="36" y="15"/>
                        <a:pt x="39" y="16"/>
                        <a:pt x="40" y="14"/>
                      </a:cubicBezTo>
                      <a:cubicBezTo>
                        <a:pt x="42" y="12"/>
                        <a:pt x="38" y="10"/>
                        <a:pt x="38" y="8"/>
                      </a:cubicBezTo>
                      <a:cubicBezTo>
                        <a:pt x="38" y="7"/>
                        <a:pt x="39" y="6"/>
                        <a:pt x="39" y="5"/>
                      </a:cubicBezTo>
                      <a:cubicBezTo>
                        <a:pt x="39" y="4"/>
                        <a:pt x="39" y="3"/>
                        <a:pt x="38" y="2"/>
                      </a:cubicBezTo>
                      <a:cubicBezTo>
                        <a:pt x="33" y="1"/>
                        <a:pt x="28" y="0"/>
                        <a:pt x="23" y="1"/>
                      </a:cubicBezTo>
                      <a:cubicBezTo>
                        <a:pt x="20" y="1"/>
                        <a:pt x="18" y="4"/>
                        <a:pt x="15" y="5"/>
                      </a:cubicBezTo>
                      <a:cubicBezTo>
                        <a:pt x="12" y="5"/>
                        <a:pt x="9" y="4"/>
                        <a:pt x="6" y="4"/>
                      </a:cubicBezTo>
                      <a:cubicBezTo>
                        <a:pt x="4" y="4"/>
                        <a:pt x="2" y="4"/>
                        <a:pt x="0" y="5"/>
                      </a:cubicBezTo>
                      <a:cubicBezTo>
                        <a:pt x="1" y="7"/>
                        <a:pt x="2" y="11"/>
                        <a:pt x="5" y="12"/>
                      </a:cubicBezTo>
                      <a:cubicBezTo>
                        <a:pt x="11" y="14"/>
                        <a:pt x="16" y="10"/>
                        <a:pt x="22" y="12"/>
                      </a:cubicBezTo>
                      <a:cubicBezTo>
                        <a:pt x="24" y="12"/>
                        <a:pt x="15" y="12"/>
                        <a:pt x="14" y="15"/>
                      </a:cubicBezTo>
                      <a:cubicBezTo>
                        <a:pt x="14" y="16"/>
                        <a:pt x="17" y="18"/>
                        <a:pt x="18" y="20"/>
                      </a:cubicBezTo>
                      <a:cubicBezTo>
                        <a:pt x="20" y="22"/>
                        <a:pt x="21" y="24"/>
                        <a:pt x="22" y="27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54" name="Freeform 2555"/>
                <p:cNvSpPr>
                  <a:spLocks noChangeAspect="1"/>
                </p:cNvSpPr>
                <p:nvPr/>
              </p:nvSpPr>
              <p:spPr bwMode="auto">
                <a:xfrm>
                  <a:off x="4430072" y="3064554"/>
                  <a:ext cx="189297" cy="51938"/>
                </a:xfrm>
                <a:custGeom>
                  <a:avLst/>
                  <a:gdLst>
                    <a:gd name="T0" fmla="*/ 0 w 39"/>
                    <a:gd name="T1" fmla="*/ 13 h 11"/>
                    <a:gd name="T2" fmla="*/ 17 w 39"/>
                    <a:gd name="T3" fmla="*/ 9 h 11"/>
                    <a:gd name="T4" fmla="*/ 6 w 39"/>
                    <a:gd name="T5" fmla="*/ 5 h 11"/>
                    <a:gd name="T6" fmla="*/ 20 w 39"/>
                    <a:gd name="T7" fmla="*/ 4 h 11"/>
                    <a:gd name="T8" fmla="*/ 24 w 39"/>
                    <a:gd name="T9" fmla="*/ 0 h 11"/>
                    <a:gd name="T10" fmla="*/ 32 w 39"/>
                    <a:gd name="T11" fmla="*/ 1 h 11"/>
                    <a:gd name="T12" fmla="*/ 45 w 39"/>
                    <a:gd name="T13" fmla="*/ 4 h 11"/>
                    <a:gd name="T14" fmla="*/ 44 w 39"/>
                    <a:gd name="T15" fmla="*/ 9 h 11"/>
                    <a:gd name="T16" fmla="*/ 35 w 39"/>
                    <a:gd name="T17" fmla="*/ 10 h 11"/>
                    <a:gd name="T18" fmla="*/ 25 w 39"/>
                    <a:gd name="T19" fmla="*/ 9 h 11"/>
                    <a:gd name="T20" fmla="*/ 13 w 39"/>
                    <a:gd name="T21" fmla="*/ 13 h 11"/>
                    <a:gd name="T22" fmla="*/ 0 w 39"/>
                    <a:gd name="T23" fmla="*/ 13 h 11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w 39"/>
                    <a:gd name="T37" fmla="*/ 0 h 11"/>
                    <a:gd name="T38" fmla="*/ 39 w 39"/>
                    <a:gd name="T39" fmla="*/ 11 h 11"/>
                  </a:gdLst>
                  <a:ahLst/>
                  <a:cxnLst>
                    <a:cxn ang="T24">
                      <a:pos x="T0" y="T1"/>
                    </a:cxn>
                    <a:cxn ang="T25">
                      <a:pos x="T2" y="T3"/>
                    </a:cxn>
                    <a:cxn ang="T26">
                      <a:pos x="T4" y="T5"/>
                    </a:cxn>
                    <a:cxn ang="T27">
                      <a:pos x="T6" y="T7"/>
                    </a:cxn>
                    <a:cxn ang="T28">
                      <a:pos x="T8" y="T9"/>
                    </a:cxn>
                    <a:cxn ang="T29">
                      <a:pos x="T10" y="T11"/>
                    </a:cxn>
                    <a:cxn ang="T30">
                      <a:pos x="T12" y="T13"/>
                    </a:cxn>
                    <a:cxn ang="T31">
                      <a:pos x="T14" y="T15"/>
                    </a:cxn>
                    <a:cxn ang="T32">
                      <a:pos x="T16" y="T17"/>
                    </a:cxn>
                    <a:cxn ang="T33">
                      <a:pos x="T18" y="T19"/>
                    </a:cxn>
                    <a:cxn ang="T34">
                      <a:pos x="T20" y="T21"/>
                    </a:cxn>
                    <a:cxn ang="T35">
                      <a:pos x="T22" y="T23"/>
                    </a:cxn>
                  </a:cxnLst>
                  <a:rect l="T36" t="T37" r="T38" b="T39"/>
                  <a:pathLst>
                    <a:path w="39" h="11">
                      <a:moveTo>
                        <a:pt x="0" y="10"/>
                      </a:moveTo>
                      <a:cubicBezTo>
                        <a:pt x="5" y="9"/>
                        <a:pt x="9" y="8"/>
                        <a:pt x="14" y="7"/>
                      </a:cubicBezTo>
                      <a:cubicBezTo>
                        <a:pt x="11" y="5"/>
                        <a:pt x="8" y="5"/>
                        <a:pt x="5" y="4"/>
                      </a:cubicBezTo>
                      <a:cubicBezTo>
                        <a:pt x="9" y="4"/>
                        <a:pt x="13" y="4"/>
                        <a:pt x="17" y="3"/>
                      </a:cubicBezTo>
                      <a:cubicBezTo>
                        <a:pt x="18" y="3"/>
                        <a:pt x="19" y="1"/>
                        <a:pt x="20" y="0"/>
                      </a:cubicBezTo>
                      <a:cubicBezTo>
                        <a:pt x="22" y="0"/>
                        <a:pt x="24" y="0"/>
                        <a:pt x="27" y="1"/>
                      </a:cubicBezTo>
                      <a:cubicBezTo>
                        <a:pt x="30" y="1"/>
                        <a:pt x="35" y="2"/>
                        <a:pt x="38" y="3"/>
                      </a:cubicBezTo>
                      <a:cubicBezTo>
                        <a:pt x="39" y="4"/>
                        <a:pt x="38" y="6"/>
                        <a:pt x="37" y="7"/>
                      </a:cubicBezTo>
                      <a:cubicBezTo>
                        <a:pt x="35" y="8"/>
                        <a:pt x="33" y="8"/>
                        <a:pt x="30" y="8"/>
                      </a:cubicBezTo>
                      <a:cubicBezTo>
                        <a:pt x="27" y="8"/>
                        <a:pt x="24" y="7"/>
                        <a:pt x="21" y="7"/>
                      </a:cubicBezTo>
                      <a:cubicBezTo>
                        <a:pt x="17" y="7"/>
                        <a:pt x="14" y="10"/>
                        <a:pt x="11" y="10"/>
                      </a:cubicBezTo>
                      <a:cubicBezTo>
                        <a:pt x="7" y="11"/>
                        <a:pt x="4" y="10"/>
                        <a:pt x="0" y="10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55" name="Freeform 2556"/>
                <p:cNvSpPr>
                  <a:spLocks noChangeAspect="1"/>
                </p:cNvSpPr>
                <p:nvPr/>
              </p:nvSpPr>
              <p:spPr bwMode="auto">
                <a:xfrm>
                  <a:off x="4541181" y="3138751"/>
                  <a:ext cx="473245" cy="359854"/>
                </a:xfrm>
                <a:custGeom>
                  <a:avLst/>
                  <a:gdLst>
                    <a:gd name="T0" fmla="*/ 102 w 96"/>
                    <a:gd name="T1" fmla="*/ 38 h 81"/>
                    <a:gd name="T2" fmla="*/ 96 w 96"/>
                    <a:gd name="T3" fmla="*/ 32 h 81"/>
                    <a:gd name="T4" fmla="*/ 96 w 96"/>
                    <a:gd name="T5" fmla="*/ 18 h 81"/>
                    <a:gd name="T6" fmla="*/ 85 w 96"/>
                    <a:gd name="T7" fmla="*/ 6 h 81"/>
                    <a:gd name="T8" fmla="*/ 80 w 96"/>
                    <a:gd name="T9" fmla="*/ 11 h 81"/>
                    <a:gd name="T10" fmla="*/ 67 w 96"/>
                    <a:gd name="T11" fmla="*/ 14 h 81"/>
                    <a:gd name="T12" fmla="*/ 59 w 96"/>
                    <a:gd name="T13" fmla="*/ 11 h 81"/>
                    <a:gd name="T14" fmla="*/ 53 w 96"/>
                    <a:gd name="T15" fmla="*/ 4 h 81"/>
                    <a:gd name="T16" fmla="*/ 34 w 96"/>
                    <a:gd name="T17" fmla="*/ 4 h 81"/>
                    <a:gd name="T18" fmla="*/ 28 w 96"/>
                    <a:gd name="T19" fmla="*/ 1 h 81"/>
                    <a:gd name="T20" fmla="*/ 20 w 96"/>
                    <a:gd name="T21" fmla="*/ 5 h 81"/>
                    <a:gd name="T22" fmla="*/ 22 w 96"/>
                    <a:gd name="T23" fmla="*/ 16 h 81"/>
                    <a:gd name="T24" fmla="*/ 5 w 96"/>
                    <a:gd name="T25" fmla="*/ 20 h 81"/>
                    <a:gd name="T26" fmla="*/ 7 w 96"/>
                    <a:gd name="T27" fmla="*/ 31 h 81"/>
                    <a:gd name="T28" fmla="*/ 14 w 96"/>
                    <a:gd name="T29" fmla="*/ 44 h 81"/>
                    <a:gd name="T30" fmla="*/ 25 w 96"/>
                    <a:gd name="T31" fmla="*/ 56 h 81"/>
                    <a:gd name="T32" fmla="*/ 34 w 96"/>
                    <a:gd name="T33" fmla="*/ 57 h 81"/>
                    <a:gd name="T34" fmla="*/ 47 w 96"/>
                    <a:gd name="T35" fmla="*/ 50 h 81"/>
                    <a:gd name="T36" fmla="*/ 56 w 96"/>
                    <a:gd name="T37" fmla="*/ 48 h 81"/>
                    <a:gd name="T38" fmla="*/ 62 w 96"/>
                    <a:gd name="T39" fmla="*/ 55 h 81"/>
                    <a:gd name="T40" fmla="*/ 66 w 96"/>
                    <a:gd name="T41" fmla="*/ 63 h 81"/>
                    <a:gd name="T42" fmla="*/ 66 w 96"/>
                    <a:gd name="T43" fmla="*/ 75 h 81"/>
                    <a:gd name="T44" fmla="*/ 74 w 96"/>
                    <a:gd name="T45" fmla="*/ 74 h 81"/>
                    <a:gd name="T46" fmla="*/ 80 w 96"/>
                    <a:gd name="T47" fmla="*/ 73 h 81"/>
                    <a:gd name="T48" fmla="*/ 85 w 96"/>
                    <a:gd name="T49" fmla="*/ 80 h 81"/>
                    <a:gd name="T50" fmla="*/ 85 w 96"/>
                    <a:gd name="T51" fmla="*/ 89 h 81"/>
                    <a:gd name="T52" fmla="*/ 89 w 96"/>
                    <a:gd name="T53" fmla="*/ 97 h 81"/>
                    <a:gd name="T54" fmla="*/ 97 w 96"/>
                    <a:gd name="T55" fmla="*/ 89 h 81"/>
                    <a:gd name="T56" fmla="*/ 105 w 96"/>
                    <a:gd name="T57" fmla="*/ 90 h 81"/>
                    <a:gd name="T58" fmla="*/ 109 w 96"/>
                    <a:gd name="T59" fmla="*/ 80 h 81"/>
                    <a:gd name="T60" fmla="*/ 114 w 96"/>
                    <a:gd name="T61" fmla="*/ 74 h 81"/>
                    <a:gd name="T62" fmla="*/ 111 w 96"/>
                    <a:gd name="T63" fmla="*/ 66 h 81"/>
                    <a:gd name="T64" fmla="*/ 105 w 96"/>
                    <a:gd name="T65" fmla="*/ 51 h 81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96"/>
                    <a:gd name="T100" fmla="*/ 0 h 81"/>
                    <a:gd name="T101" fmla="*/ 96 w 96"/>
                    <a:gd name="T102" fmla="*/ 81 h 81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96" h="81">
                      <a:moveTo>
                        <a:pt x="92" y="38"/>
                      </a:moveTo>
                      <a:cubicBezTo>
                        <a:pt x="90" y="36"/>
                        <a:pt x="86" y="35"/>
                        <a:pt x="85" y="32"/>
                      </a:cubicBezTo>
                      <a:cubicBezTo>
                        <a:pt x="84" y="31"/>
                        <a:pt x="86" y="28"/>
                        <a:pt x="85" y="26"/>
                      </a:cubicBezTo>
                      <a:cubicBezTo>
                        <a:pt x="84" y="25"/>
                        <a:pt x="80" y="28"/>
                        <a:pt x="80" y="27"/>
                      </a:cubicBezTo>
                      <a:cubicBezTo>
                        <a:pt x="80" y="24"/>
                        <a:pt x="84" y="22"/>
                        <a:pt x="84" y="19"/>
                      </a:cubicBezTo>
                      <a:cubicBezTo>
                        <a:pt x="84" y="17"/>
                        <a:pt x="81" y="17"/>
                        <a:pt x="80" y="15"/>
                      </a:cubicBezTo>
                      <a:cubicBezTo>
                        <a:pt x="79" y="13"/>
                        <a:pt x="80" y="9"/>
                        <a:pt x="79" y="7"/>
                      </a:cubicBezTo>
                      <a:cubicBezTo>
                        <a:pt x="77" y="5"/>
                        <a:pt x="74" y="4"/>
                        <a:pt x="71" y="5"/>
                      </a:cubicBezTo>
                      <a:cubicBezTo>
                        <a:pt x="70" y="5"/>
                        <a:pt x="72" y="7"/>
                        <a:pt x="71" y="8"/>
                      </a:cubicBezTo>
                      <a:cubicBezTo>
                        <a:pt x="70" y="9"/>
                        <a:pt x="69" y="9"/>
                        <a:pt x="67" y="9"/>
                      </a:cubicBezTo>
                      <a:cubicBezTo>
                        <a:pt x="66" y="9"/>
                        <a:pt x="64" y="7"/>
                        <a:pt x="63" y="8"/>
                      </a:cubicBezTo>
                      <a:cubicBezTo>
                        <a:pt x="60" y="8"/>
                        <a:pt x="58" y="12"/>
                        <a:pt x="56" y="12"/>
                      </a:cubicBezTo>
                      <a:cubicBezTo>
                        <a:pt x="54" y="11"/>
                        <a:pt x="54" y="7"/>
                        <a:pt x="52" y="6"/>
                      </a:cubicBezTo>
                      <a:cubicBezTo>
                        <a:pt x="51" y="6"/>
                        <a:pt x="50" y="8"/>
                        <a:pt x="49" y="9"/>
                      </a:cubicBezTo>
                      <a:cubicBezTo>
                        <a:pt x="48" y="9"/>
                        <a:pt x="46" y="10"/>
                        <a:pt x="45" y="9"/>
                      </a:cubicBezTo>
                      <a:cubicBezTo>
                        <a:pt x="44" y="8"/>
                        <a:pt x="44" y="5"/>
                        <a:pt x="44" y="3"/>
                      </a:cubicBezTo>
                      <a:cubicBezTo>
                        <a:pt x="41" y="3"/>
                        <a:pt x="39" y="4"/>
                        <a:pt x="36" y="4"/>
                      </a:cubicBezTo>
                      <a:cubicBezTo>
                        <a:pt x="34" y="3"/>
                        <a:pt x="31" y="3"/>
                        <a:pt x="28" y="3"/>
                      </a:cubicBezTo>
                      <a:cubicBezTo>
                        <a:pt x="27" y="3"/>
                        <a:pt x="26" y="4"/>
                        <a:pt x="25" y="3"/>
                      </a:cubicBezTo>
                      <a:cubicBezTo>
                        <a:pt x="24" y="3"/>
                        <a:pt x="24" y="1"/>
                        <a:pt x="23" y="1"/>
                      </a:cubicBezTo>
                      <a:cubicBezTo>
                        <a:pt x="21" y="0"/>
                        <a:pt x="18" y="1"/>
                        <a:pt x="16" y="1"/>
                      </a:cubicBezTo>
                      <a:cubicBezTo>
                        <a:pt x="17" y="2"/>
                        <a:pt x="17" y="3"/>
                        <a:pt x="17" y="4"/>
                      </a:cubicBezTo>
                      <a:cubicBezTo>
                        <a:pt x="17" y="5"/>
                        <a:pt x="16" y="6"/>
                        <a:pt x="16" y="7"/>
                      </a:cubicBezTo>
                      <a:cubicBezTo>
                        <a:pt x="16" y="9"/>
                        <a:pt x="20" y="11"/>
                        <a:pt x="18" y="13"/>
                      </a:cubicBezTo>
                      <a:cubicBezTo>
                        <a:pt x="17" y="15"/>
                        <a:pt x="14" y="14"/>
                        <a:pt x="11" y="14"/>
                      </a:cubicBezTo>
                      <a:cubicBezTo>
                        <a:pt x="9" y="15"/>
                        <a:pt x="5" y="15"/>
                        <a:pt x="4" y="17"/>
                      </a:cubicBezTo>
                      <a:cubicBezTo>
                        <a:pt x="1" y="20"/>
                        <a:pt x="1" y="23"/>
                        <a:pt x="0" y="26"/>
                      </a:cubicBezTo>
                      <a:cubicBezTo>
                        <a:pt x="2" y="26"/>
                        <a:pt x="4" y="25"/>
                        <a:pt x="6" y="26"/>
                      </a:cubicBezTo>
                      <a:cubicBezTo>
                        <a:pt x="7" y="26"/>
                        <a:pt x="6" y="29"/>
                        <a:pt x="7" y="30"/>
                      </a:cubicBezTo>
                      <a:cubicBezTo>
                        <a:pt x="9" y="33"/>
                        <a:pt x="11" y="35"/>
                        <a:pt x="12" y="37"/>
                      </a:cubicBezTo>
                      <a:cubicBezTo>
                        <a:pt x="13" y="39"/>
                        <a:pt x="13" y="41"/>
                        <a:pt x="15" y="42"/>
                      </a:cubicBezTo>
                      <a:cubicBezTo>
                        <a:pt x="16" y="44"/>
                        <a:pt x="19" y="45"/>
                        <a:pt x="21" y="47"/>
                      </a:cubicBezTo>
                      <a:cubicBezTo>
                        <a:pt x="22" y="49"/>
                        <a:pt x="24" y="50"/>
                        <a:pt x="25" y="52"/>
                      </a:cubicBezTo>
                      <a:cubicBezTo>
                        <a:pt x="26" y="51"/>
                        <a:pt x="26" y="49"/>
                        <a:pt x="28" y="48"/>
                      </a:cubicBezTo>
                      <a:cubicBezTo>
                        <a:pt x="29" y="45"/>
                        <a:pt x="31" y="43"/>
                        <a:pt x="34" y="42"/>
                      </a:cubicBezTo>
                      <a:cubicBezTo>
                        <a:pt x="35" y="41"/>
                        <a:pt x="37" y="42"/>
                        <a:pt x="39" y="42"/>
                      </a:cubicBezTo>
                      <a:cubicBezTo>
                        <a:pt x="40" y="42"/>
                        <a:pt x="40" y="40"/>
                        <a:pt x="41" y="40"/>
                      </a:cubicBezTo>
                      <a:cubicBezTo>
                        <a:pt x="43" y="39"/>
                        <a:pt x="45" y="39"/>
                        <a:pt x="47" y="40"/>
                      </a:cubicBezTo>
                      <a:cubicBezTo>
                        <a:pt x="49" y="40"/>
                        <a:pt x="50" y="41"/>
                        <a:pt x="51" y="42"/>
                      </a:cubicBezTo>
                      <a:cubicBezTo>
                        <a:pt x="52" y="43"/>
                        <a:pt x="52" y="45"/>
                        <a:pt x="52" y="46"/>
                      </a:cubicBezTo>
                      <a:cubicBezTo>
                        <a:pt x="53" y="47"/>
                        <a:pt x="55" y="48"/>
                        <a:pt x="56" y="49"/>
                      </a:cubicBezTo>
                      <a:cubicBezTo>
                        <a:pt x="56" y="50"/>
                        <a:pt x="55" y="52"/>
                        <a:pt x="55" y="53"/>
                      </a:cubicBezTo>
                      <a:cubicBezTo>
                        <a:pt x="56" y="55"/>
                        <a:pt x="58" y="57"/>
                        <a:pt x="58" y="59"/>
                      </a:cubicBezTo>
                      <a:cubicBezTo>
                        <a:pt x="58" y="60"/>
                        <a:pt x="56" y="61"/>
                        <a:pt x="55" y="63"/>
                      </a:cubicBezTo>
                      <a:cubicBezTo>
                        <a:pt x="55" y="64"/>
                        <a:pt x="57" y="65"/>
                        <a:pt x="57" y="65"/>
                      </a:cubicBezTo>
                      <a:cubicBezTo>
                        <a:pt x="59" y="64"/>
                        <a:pt x="60" y="63"/>
                        <a:pt x="62" y="62"/>
                      </a:cubicBezTo>
                      <a:cubicBezTo>
                        <a:pt x="63" y="62"/>
                        <a:pt x="65" y="63"/>
                        <a:pt x="66" y="63"/>
                      </a:cubicBezTo>
                      <a:cubicBezTo>
                        <a:pt x="67" y="63"/>
                        <a:pt x="66" y="61"/>
                        <a:pt x="67" y="61"/>
                      </a:cubicBezTo>
                      <a:cubicBezTo>
                        <a:pt x="69" y="61"/>
                        <a:pt x="70" y="61"/>
                        <a:pt x="71" y="62"/>
                      </a:cubicBezTo>
                      <a:cubicBezTo>
                        <a:pt x="72" y="64"/>
                        <a:pt x="70" y="66"/>
                        <a:pt x="71" y="67"/>
                      </a:cubicBezTo>
                      <a:cubicBezTo>
                        <a:pt x="72" y="69"/>
                        <a:pt x="75" y="70"/>
                        <a:pt x="75" y="72"/>
                      </a:cubicBezTo>
                      <a:cubicBezTo>
                        <a:pt x="75" y="74"/>
                        <a:pt x="72" y="73"/>
                        <a:pt x="71" y="74"/>
                      </a:cubicBezTo>
                      <a:cubicBezTo>
                        <a:pt x="70" y="76"/>
                        <a:pt x="70" y="78"/>
                        <a:pt x="70" y="80"/>
                      </a:cubicBezTo>
                      <a:cubicBezTo>
                        <a:pt x="71" y="81"/>
                        <a:pt x="73" y="81"/>
                        <a:pt x="74" y="81"/>
                      </a:cubicBezTo>
                      <a:cubicBezTo>
                        <a:pt x="76" y="81"/>
                        <a:pt x="77" y="80"/>
                        <a:pt x="78" y="79"/>
                      </a:cubicBezTo>
                      <a:cubicBezTo>
                        <a:pt x="79" y="78"/>
                        <a:pt x="79" y="74"/>
                        <a:pt x="81" y="74"/>
                      </a:cubicBezTo>
                      <a:cubicBezTo>
                        <a:pt x="83" y="74"/>
                        <a:pt x="84" y="77"/>
                        <a:pt x="86" y="79"/>
                      </a:cubicBezTo>
                      <a:cubicBezTo>
                        <a:pt x="87" y="78"/>
                        <a:pt x="88" y="77"/>
                        <a:pt x="88" y="75"/>
                      </a:cubicBezTo>
                      <a:cubicBezTo>
                        <a:pt x="89" y="74"/>
                        <a:pt x="87" y="73"/>
                        <a:pt x="87" y="72"/>
                      </a:cubicBezTo>
                      <a:cubicBezTo>
                        <a:pt x="87" y="70"/>
                        <a:pt x="91" y="69"/>
                        <a:pt x="91" y="67"/>
                      </a:cubicBezTo>
                      <a:cubicBezTo>
                        <a:pt x="91" y="66"/>
                        <a:pt x="85" y="66"/>
                        <a:pt x="86" y="65"/>
                      </a:cubicBezTo>
                      <a:cubicBezTo>
                        <a:pt x="88" y="62"/>
                        <a:pt x="93" y="64"/>
                        <a:pt x="95" y="62"/>
                      </a:cubicBezTo>
                      <a:cubicBezTo>
                        <a:pt x="96" y="60"/>
                        <a:pt x="91" y="60"/>
                        <a:pt x="90" y="58"/>
                      </a:cubicBezTo>
                      <a:cubicBezTo>
                        <a:pt x="90" y="57"/>
                        <a:pt x="92" y="57"/>
                        <a:pt x="93" y="55"/>
                      </a:cubicBezTo>
                      <a:cubicBezTo>
                        <a:pt x="93" y="54"/>
                        <a:pt x="93" y="52"/>
                        <a:pt x="92" y="50"/>
                      </a:cubicBezTo>
                      <a:cubicBezTo>
                        <a:pt x="92" y="48"/>
                        <a:pt x="89" y="46"/>
                        <a:pt x="88" y="43"/>
                      </a:cubicBezTo>
                      <a:cubicBezTo>
                        <a:pt x="88" y="41"/>
                        <a:pt x="91" y="40"/>
                        <a:pt x="92" y="38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56" name="Freeform 2557"/>
                <p:cNvSpPr>
                  <a:spLocks noChangeAspect="1"/>
                </p:cNvSpPr>
                <p:nvPr/>
              </p:nvSpPr>
              <p:spPr bwMode="auto">
                <a:xfrm>
                  <a:off x="4656408" y="3309402"/>
                  <a:ext cx="176954" cy="207750"/>
                </a:xfrm>
                <a:custGeom>
                  <a:avLst/>
                  <a:gdLst>
                    <a:gd name="T0" fmla="*/ 41 w 36"/>
                    <a:gd name="T1" fmla="*/ 32 h 46"/>
                    <a:gd name="T2" fmla="*/ 42 w 36"/>
                    <a:gd name="T3" fmla="*/ 41 h 46"/>
                    <a:gd name="T4" fmla="*/ 33 w 36"/>
                    <a:gd name="T5" fmla="*/ 46 h 46"/>
                    <a:gd name="T6" fmla="*/ 31 w 36"/>
                    <a:gd name="T7" fmla="*/ 51 h 46"/>
                    <a:gd name="T8" fmla="*/ 27 w 36"/>
                    <a:gd name="T9" fmla="*/ 56 h 46"/>
                    <a:gd name="T10" fmla="*/ 13 w 36"/>
                    <a:gd name="T11" fmla="*/ 49 h 46"/>
                    <a:gd name="T12" fmla="*/ 13 w 36"/>
                    <a:gd name="T13" fmla="*/ 44 h 46"/>
                    <a:gd name="T14" fmla="*/ 5 w 36"/>
                    <a:gd name="T15" fmla="*/ 39 h 46"/>
                    <a:gd name="T16" fmla="*/ 5 w 36"/>
                    <a:gd name="T17" fmla="*/ 32 h 46"/>
                    <a:gd name="T18" fmla="*/ 0 w 36"/>
                    <a:gd name="T19" fmla="*/ 28 h 46"/>
                    <a:gd name="T20" fmla="*/ 1 w 36"/>
                    <a:gd name="T21" fmla="*/ 21 h 46"/>
                    <a:gd name="T22" fmla="*/ 2 w 36"/>
                    <a:gd name="T23" fmla="*/ 16 h 46"/>
                    <a:gd name="T24" fmla="*/ 6 w 36"/>
                    <a:gd name="T25" fmla="*/ 11 h 46"/>
                    <a:gd name="T26" fmla="*/ 13 w 36"/>
                    <a:gd name="T27" fmla="*/ 4 h 46"/>
                    <a:gd name="T28" fmla="*/ 19 w 36"/>
                    <a:gd name="T29" fmla="*/ 4 h 46"/>
                    <a:gd name="T30" fmla="*/ 22 w 36"/>
                    <a:gd name="T31" fmla="*/ 1 h 46"/>
                    <a:gd name="T32" fmla="*/ 29 w 36"/>
                    <a:gd name="T33" fmla="*/ 1 h 46"/>
                    <a:gd name="T34" fmla="*/ 33 w 36"/>
                    <a:gd name="T35" fmla="*/ 4 h 46"/>
                    <a:gd name="T36" fmla="*/ 35 w 36"/>
                    <a:gd name="T37" fmla="*/ 9 h 46"/>
                    <a:gd name="T38" fmla="*/ 39 w 36"/>
                    <a:gd name="T39" fmla="*/ 12 h 46"/>
                    <a:gd name="T40" fmla="*/ 38 w 36"/>
                    <a:gd name="T41" fmla="*/ 17 h 46"/>
                    <a:gd name="T42" fmla="*/ 42 w 36"/>
                    <a:gd name="T43" fmla="*/ 24 h 46"/>
                    <a:gd name="T44" fmla="*/ 38 w 36"/>
                    <a:gd name="T45" fmla="*/ 29 h 46"/>
                    <a:gd name="T46" fmla="*/ 41 w 36"/>
                    <a:gd name="T47" fmla="*/ 32 h 46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36"/>
                    <a:gd name="T73" fmla="*/ 0 h 46"/>
                    <a:gd name="T74" fmla="*/ 36 w 36"/>
                    <a:gd name="T75" fmla="*/ 46 h 46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36" h="46">
                      <a:moveTo>
                        <a:pt x="34" y="26"/>
                      </a:moveTo>
                      <a:cubicBezTo>
                        <a:pt x="34" y="29"/>
                        <a:pt x="36" y="31"/>
                        <a:pt x="35" y="34"/>
                      </a:cubicBezTo>
                      <a:cubicBezTo>
                        <a:pt x="33" y="36"/>
                        <a:pt x="30" y="36"/>
                        <a:pt x="28" y="38"/>
                      </a:cubicBezTo>
                      <a:cubicBezTo>
                        <a:pt x="27" y="39"/>
                        <a:pt x="27" y="41"/>
                        <a:pt x="26" y="42"/>
                      </a:cubicBezTo>
                      <a:cubicBezTo>
                        <a:pt x="25" y="44"/>
                        <a:pt x="24" y="45"/>
                        <a:pt x="23" y="46"/>
                      </a:cubicBezTo>
                      <a:cubicBezTo>
                        <a:pt x="19" y="45"/>
                        <a:pt x="15" y="43"/>
                        <a:pt x="11" y="40"/>
                      </a:cubicBezTo>
                      <a:cubicBezTo>
                        <a:pt x="10" y="39"/>
                        <a:pt x="12" y="37"/>
                        <a:pt x="11" y="36"/>
                      </a:cubicBezTo>
                      <a:cubicBezTo>
                        <a:pt x="9" y="34"/>
                        <a:pt x="6" y="34"/>
                        <a:pt x="4" y="32"/>
                      </a:cubicBezTo>
                      <a:cubicBezTo>
                        <a:pt x="3" y="30"/>
                        <a:pt x="5" y="27"/>
                        <a:pt x="4" y="26"/>
                      </a:cubicBezTo>
                      <a:cubicBezTo>
                        <a:pt x="3" y="24"/>
                        <a:pt x="1" y="24"/>
                        <a:pt x="0" y="23"/>
                      </a:cubicBezTo>
                      <a:cubicBezTo>
                        <a:pt x="0" y="21"/>
                        <a:pt x="1" y="19"/>
                        <a:pt x="1" y="17"/>
                      </a:cubicBezTo>
                      <a:cubicBezTo>
                        <a:pt x="1" y="16"/>
                        <a:pt x="2" y="15"/>
                        <a:pt x="2" y="13"/>
                      </a:cubicBezTo>
                      <a:cubicBezTo>
                        <a:pt x="3" y="12"/>
                        <a:pt x="3" y="10"/>
                        <a:pt x="5" y="9"/>
                      </a:cubicBezTo>
                      <a:cubicBezTo>
                        <a:pt x="6" y="6"/>
                        <a:pt x="8" y="4"/>
                        <a:pt x="11" y="3"/>
                      </a:cubicBezTo>
                      <a:cubicBezTo>
                        <a:pt x="12" y="2"/>
                        <a:pt x="14" y="3"/>
                        <a:pt x="16" y="3"/>
                      </a:cubicBezTo>
                      <a:cubicBezTo>
                        <a:pt x="17" y="3"/>
                        <a:pt x="17" y="1"/>
                        <a:pt x="18" y="1"/>
                      </a:cubicBezTo>
                      <a:cubicBezTo>
                        <a:pt x="20" y="0"/>
                        <a:pt x="22" y="0"/>
                        <a:pt x="24" y="1"/>
                      </a:cubicBezTo>
                      <a:cubicBezTo>
                        <a:pt x="26" y="1"/>
                        <a:pt x="27" y="2"/>
                        <a:pt x="28" y="3"/>
                      </a:cubicBezTo>
                      <a:cubicBezTo>
                        <a:pt x="29" y="4"/>
                        <a:pt x="29" y="6"/>
                        <a:pt x="29" y="7"/>
                      </a:cubicBezTo>
                      <a:cubicBezTo>
                        <a:pt x="30" y="8"/>
                        <a:pt x="32" y="9"/>
                        <a:pt x="33" y="10"/>
                      </a:cubicBezTo>
                      <a:cubicBezTo>
                        <a:pt x="33" y="11"/>
                        <a:pt x="32" y="13"/>
                        <a:pt x="32" y="14"/>
                      </a:cubicBezTo>
                      <a:cubicBezTo>
                        <a:pt x="33" y="16"/>
                        <a:pt x="35" y="18"/>
                        <a:pt x="35" y="20"/>
                      </a:cubicBezTo>
                      <a:cubicBezTo>
                        <a:pt x="35" y="21"/>
                        <a:pt x="33" y="22"/>
                        <a:pt x="32" y="24"/>
                      </a:cubicBezTo>
                      <a:cubicBezTo>
                        <a:pt x="32" y="25"/>
                        <a:pt x="34" y="26"/>
                        <a:pt x="34" y="26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57" name="Freeform 2558"/>
                <p:cNvSpPr>
                  <a:spLocks noChangeAspect="1"/>
                </p:cNvSpPr>
                <p:nvPr/>
              </p:nvSpPr>
              <p:spPr bwMode="auto">
                <a:xfrm>
                  <a:off x="4767514" y="3409566"/>
                  <a:ext cx="259257" cy="274527"/>
                </a:xfrm>
                <a:custGeom>
                  <a:avLst/>
                  <a:gdLst>
                    <a:gd name="T0" fmla="*/ 59 w 52"/>
                    <a:gd name="T1" fmla="*/ 74 h 62"/>
                    <a:gd name="T2" fmla="*/ 52 w 52"/>
                    <a:gd name="T3" fmla="*/ 69 h 62"/>
                    <a:gd name="T4" fmla="*/ 42 w 52"/>
                    <a:gd name="T5" fmla="*/ 64 h 62"/>
                    <a:gd name="T6" fmla="*/ 30 w 52"/>
                    <a:gd name="T7" fmla="*/ 56 h 62"/>
                    <a:gd name="T8" fmla="*/ 19 w 52"/>
                    <a:gd name="T9" fmla="*/ 45 h 62"/>
                    <a:gd name="T10" fmla="*/ 10 w 52"/>
                    <a:gd name="T11" fmla="*/ 38 h 62"/>
                    <a:gd name="T12" fmla="*/ 1 w 52"/>
                    <a:gd name="T13" fmla="*/ 33 h 62"/>
                    <a:gd name="T14" fmla="*/ 0 w 52"/>
                    <a:gd name="T15" fmla="*/ 29 h 62"/>
                    <a:gd name="T16" fmla="*/ 4 w 52"/>
                    <a:gd name="T17" fmla="*/ 24 h 62"/>
                    <a:gd name="T18" fmla="*/ 6 w 52"/>
                    <a:gd name="T19" fmla="*/ 19 h 62"/>
                    <a:gd name="T20" fmla="*/ 15 w 52"/>
                    <a:gd name="T21" fmla="*/ 14 h 62"/>
                    <a:gd name="T22" fmla="*/ 13 w 52"/>
                    <a:gd name="T23" fmla="*/ 5 h 62"/>
                    <a:gd name="T24" fmla="*/ 19 w 52"/>
                    <a:gd name="T25" fmla="*/ 1 h 62"/>
                    <a:gd name="T26" fmla="*/ 24 w 52"/>
                    <a:gd name="T27" fmla="*/ 2 h 62"/>
                    <a:gd name="T28" fmla="*/ 25 w 52"/>
                    <a:gd name="T29" fmla="*/ 0 h 62"/>
                    <a:gd name="T30" fmla="*/ 30 w 52"/>
                    <a:gd name="T31" fmla="*/ 1 h 62"/>
                    <a:gd name="T32" fmla="*/ 30 w 52"/>
                    <a:gd name="T33" fmla="*/ 7 h 62"/>
                    <a:gd name="T34" fmla="*/ 35 w 52"/>
                    <a:gd name="T35" fmla="*/ 13 h 62"/>
                    <a:gd name="T36" fmla="*/ 30 w 52"/>
                    <a:gd name="T37" fmla="*/ 16 h 62"/>
                    <a:gd name="T38" fmla="*/ 29 w 52"/>
                    <a:gd name="T39" fmla="*/ 23 h 62"/>
                    <a:gd name="T40" fmla="*/ 34 w 52"/>
                    <a:gd name="T41" fmla="*/ 24 h 62"/>
                    <a:gd name="T42" fmla="*/ 39 w 52"/>
                    <a:gd name="T43" fmla="*/ 21 h 62"/>
                    <a:gd name="T44" fmla="*/ 42 w 52"/>
                    <a:gd name="T45" fmla="*/ 16 h 62"/>
                    <a:gd name="T46" fmla="*/ 48 w 52"/>
                    <a:gd name="T47" fmla="*/ 21 h 62"/>
                    <a:gd name="T48" fmla="*/ 50 w 52"/>
                    <a:gd name="T49" fmla="*/ 27 h 62"/>
                    <a:gd name="T50" fmla="*/ 45 w 52"/>
                    <a:gd name="T51" fmla="*/ 33 h 62"/>
                    <a:gd name="T52" fmla="*/ 50 w 52"/>
                    <a:gd name="T53" fmla="*/ 39 h 62"/>
                    <a:gd name="T54" fmla="*/ 56 w 52"/>
                    <a:gd name="T55" fmla="*/ 41 h 62"/>
                    <a:gd name="T56" fmla="*/ 56 w 52"/>
                    <a:gd name="T57" fmla="*/ 45 h 62"/>
                    <a:gd name="T58" fmla="*/ 62 w 52"/>
                    <a:gd name="T59" fmla="*/ 47 h 62"/>
                    <a:gd name="T60" fmla="*/ 62 w 52"/>
                    <a:gd name="T61" fmla="*/ 55 h 62"/>
                    <a:gd name="T62" fmla="*/ 58 w 52"/>
                    <a:gd name="T63" fmla="*/ 61 h 62"/>
                    <a:gd name="T64" fmla="*/ 59 w 52"/>
                    <a:gd name="T65" fmla="*/ 74 h 62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w 52"/>
                    <a:gd name="T100" fmla="*/ 0 h 62"/>
                    <a:gd name="T101" fmla="*/ 52 w 52"/>
                    <a:gd name="T102" fmla="*/ 62 h 62"/>
                  </a:gdLst>
                  <a:ahLst/>
                  <a:cxnLst>
                    <a:cxn ang="T66">
                      <a:pos x="T0" y="T1"/>
                    </a:cxn>
                    <a:cxn ang="T67">
                      <a:pos x="T2" y="T3"/>
                    </a:cxn>
                    <a:cxn ang="T68">
                      <a:pos x="T4" y="T5"/>
                    </a:cxn>
                    <a:cxn ang="T69">
                      <a:pos x="T6" y="T7"/>
                    </a:cxn>
                    <a:cxn ang="T70">
                      <a:pos x="T8" y="T9"/>
                    </a:cxn>
                    <a:cxn ang="T71">
                      <a:pos x="T10" y="T11"/>
                    </a:cxn>
                    <a:cxn ang="T72">
                      <a:pos x="T12" y="T13"/>
                    </a:cxn>
                    <a:cxn ang="T73">
                      <a:pos x="T14" y="T15"/>
                    </a:cxn>
                    <a:cxn ang="T74">
                      <a:pos x="T16" y="T17"/>
                    </a:cxn>
                    <a:cxn ang="T75">
                      <a:pos x="T18" y="T19"/>
                    </a:cxn>
                    <a:cxn ang="T76">
                      <a:pos x="T20" y="T21"/>
                    </a:cxn>
                    <a:cxn ang="T77">
                      <a:pos x="T22" y="T23"/>
                    </a:cxn>
                    <a:cxn ang="T78">
                      <a:pos x="T24" y="T25"/>
                    </a:cxn>
                    <a:cxn ang="T79">
                      <a:pos x="T26" y="T27"/>
                    </a:cxn>
                    <a:cxn ang="T80">
                      <a:pos x="T28" y="T29"/>
                    </a:cxn>
                    <a:cxn ang="T81">
                      <a:pos x="T30" y="T31"/>
                    </a:cxn>
                    <a:cxn ang="T82">
                      <a:pos x="T32" y="T33"/>
                    </a:cxn>
                    <a:cxn ang="T83">
                      <a:pos x="T34" y="T35"/>
                    </a:cxn>
                    <a:cxn ang="T84">
                      <a:pos x="T36" y="T37"/>
                    </a:cxn>
                    <a:cxn ang="T85">
                      <a:pos x="T38" y="T39"/>
                    </a:cxn>
                    <a:cxn ang="T86">
                      <a:pos x="T40" y="T41"/>
                    </a:cxn>
                    <a:cxn ang="T87">
                      <a:pos x="T42" y="T43"/>
                    </a:cxn>
                    <a:cxn ang="T88">
                      <a:pos x="T44" y="T45"/>
                    </a:cxn>
                    <a:cxn ang="T89">
                      <a:pos x="T46" y="T47"/>
                    </a:cxn>
                    <a:cxn ang="T90">
                      <a:pos x="T48" y="T49"/>
                    </a:cxn>
                    <a:cxn ang="T91">
                      <a:pos x="T50" y="T51"/>
                    </a:cxn>
                    <a:cxn ang="T92">
                      <a:pos x="T52" y="T53"/>
                    </a:cxn>
                    <a:cxn ang="T93">
                      <a:pos x="T54" y="T55"/>
                    </a:cxn>
                    <a:cxn ang="T94">
                      <a:pos x="T56" y="T57"/>
                    </a:cxn>
                    <a:cxn ang="T95">
                      <a:pos x="T58" y="T59"/>
                    </a:cxn>
                    <a:cxn ang="T96">
                      <a:pos x="T60" y="T61"/>
                    </a:cxn>
                    <a:cxn ang="T97">
                      <a:pos x="T62" y="T63"/>
                    </a:cxn>
                    <a:cxn ang="T98">
                      <a:pos x="T64" y="T65"/>
                    </a:cxn>
                  </a:cxnLst>
                  <a:rect l="T99" t="T100" r="T101" b="T102"/>
                  <a:pathLst>
                    <a:path w="52" h="62">
                      <a:moveTo>
                        <a:pt x="49" y="62"/>
                      </a:moveTo>
                      <a:cubicBezTo>
                        <a:pt x="47" y="61"/>
                        <a:pt x="45" y="59"/>
                        <a:pt x="43" y="58"/>
                      </a:cubicBezTo>
                      <a:cubicBezTo>
                        <a:pt x="40" y="57"/>
                        <a:pt x="38" y="56"/>
                        <a:pt x="35" y="54"/>
                      </a:cubicBezTo>
                      <a:cubicBezTo>
                        <a:pt x="32" y="52"/>
                        <a:pt x="28" y="50"/>
                        <a:pt x="25" y="47"/>
                      </a:cubicBezTo>
                      <a:cubicBezTo>
                        <a:pt x="21" y="44"/>
                        <a:pt x="19" y="41"/>
                        <a:pt x="16" y="38"/>
                      </a:cubicBezTo>
                      <a:cubicBezTo>
                        <a:pt x="14" y="36"/>
                        <a:pt x="11" y="33"/>
                        <a:pt x="8" y="32"/>
                      </a:cubicBezTo>
                      <a:cubicBezTo>
                        <a:pt x="6" y="30"/>
                        <a:pt x="3" y="30"/>
                        <a:pt x="1" y="28"/>
                      </a:cubicBezTo>
                      <a:cubicBezTo>
                        <a:pt x="0" y="28"/>
                        <a:pt x="0" y="26"/>
                        <a:pt x="0" y="24"/>
                      </a:cubicBezTo>
                      <a:cubicBezTo>
                        <a:pt x="1" y="23"/>
                        <a:pt x="2" y="22"/>
                        <a:pt x="3" y="20"/>
                      </a:cubicBezTo>
                      <a:cubicBezTo>
                        <a:pt x="4" y="19"/>
                        <a:pt x="4" y="17"/>
                        <a:pt x="5" y="16"/>
                      </a:cubicBezTo>
                      <a:cubicBezTo>
                        <a:pt x="7" y="14"/>
                        <a:pt x="10" y="14"/>
                        <a:pt x="12" y="12"/>
                      </a:cubicBezTo>
                      <a:cubicBezTo>
                        <a:pt x="13" y="9"/>
                        <a:pt x="11" y="7"/>
                        <a:pt x="11" y="4"/>
                      </a:cubicBezTo>
                      <a:cubicBezTo>
                        <a:pt x="13" y="3"/>
                        <a:pt x="14" y="2"/>
                        <a:pt x="16" y="1"/>
                      </a:cubicBezTo>
                      <a:cubicBezTo>
                        <a:pt x="17" y="1"/>
                        <a:pt x="19" y="2"/>
                        <a:pt x="20" y="2"/>
                      </a:cubicBezTo>
                      <a:cubicBezTo>
                        <a:pt x="21" y="2"/>
                        <a:pt x="20" y="0"/>
                        <a:pt x="21" y="0"/>
                      </a:cubicBezTo>
                      <a:cubicBezTo>
                        <a:pt x="23" y="0"/>
                        <a:pt x="24" y="0"/>
                        <a:pt x="25" y="1"/>
                      </a:cubicBezTo>
                      <a:cubicBezTo>
                        <a:pt x="26" y="3"/>
                        <a:pt x="24" y="5"/>
                        <a:pt x="25" y="6"/>
                      </a:cubicBezTo>
                      <a:cubicBezTo>
                        <a:pt x="26" y="8"/>
                        <a:pt x="29" y="9"/>
                        <a:pt x="29" y="11"/>
                      </a:cubicBezTo>
                      <a:cubicBezTo>
                        <a:pt x="29" y="13"/>
                        <a:pt x="26" y="12"/>
                        <a:pt x="25" y="13"/>
                      </a:cubicBezTo>
                      <a:cubicBezTo>
                        <a:pt x="24" y="15"/>
                        <a:pt x="24" y="17"/>
                        <a:pt x="24" y="19"/>
                      </a:cubicBezTo>
                      <a:cubicBezTo>
                        <a:pt x="25" y="20"/>
                        <a:pt x="27" y="20"/>
                        <a:pt x="28" y="20"/>
                      </a:cubicBezTo>
                      <a:cubicBezTo>
                        <a:pt x="30" y="20"/>
                        <a:pt x="31" y="19"/>
                        <a:pt x="32" y="18"/>
                      </a:cubicBezTo>
                      <a:cubicBezTo>
                        <a:pt x="33" y="17"/>
                        <a:pt x="33" y="13"/>
                        <a:pt x="35" y="13"/>
                      </a:cubicBezTo>
                      <a:cubicBezTo>
                        <a:pt x="37" y="13"/>
                        <a:pt x="38" y="16"/>
                        <a:pt x="40" y="18"/>
                      </a:cubicBezTo>
                      <a:cubicBezTo>
                        <a:pt x="40" y="20"/>
                        <a:pt x="41" y="21"/>
                        <a:pt x="41" y="23"/>
                      </a:cubicBezTo>
                      <a:cubicBezTo>
                        <a:pt x="40" y="25"/>
                        <a:pt x="37" y="26"/>
                        <a:pt x="37" y="28"/>
                      </a:cubicBezTo>
                      <a:cubicBezTo>
                        <a:pt x="37" y="30"/>
                        <a:pt x="39" y="32"/>
                        <a:pt x="41" y="33"/>
                      </a:cubicBezTo>
                      <a:cubicBezTo>
                        <a:pt x="43" y="34"/>
                        <a:pt x="45" y="33"/>
                        <a:pt x="46" y="34"/>
                      </a:cubicBezTo>
                      <a:cubicBezTo>
                        <a:pt x="47" y="35"/>
                        <a:pt x="45" y="37"/>
                        <a:pt x="46" y="38"/>
                      </a:cubicBezTo>
                      <a:cubicBezTo>
                        <a:pt x="47" y="39"/>
                        <a:pt x="50" y="38"/>
                        <a:pt x="51" y="39"/>
                      </a:cubicBezTo>
                      <a:cubicBezTo>
                        <a:pt x="52" y="41"/>
                        <a:pt x="51" y="44"/>
                        <a:pt x="51" y="46"/>
                      </a:cubicBezTo>
                      <a:cubicBezTo>
                        <a:pt x="50" y="48"/>
                        <a:pt x="48" y="49"/>
                        <a:pt x="48" y="51"/>
                      </a:cubicBezTo>
                      <a:cubicBezTo>
                        <a:pt x="48" y="54"/>
                        <a:pt x="49" y="58"/>
                        <a:pt x="49" y="62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58" name="Freeform 2559"/>
                <p:cNvSpPr>
                  <a:spLocks noChangeAspect="1"/>
                </p:cNvSpPr>
                <p:nvPr/>
              </p:nvSpPr>
              <p:spPr bwMode="auto">
                <a:xfrm>
                  <a:off x="4952699" y="3276013"/>
                  <a:ext cx="374482" cy="408080"/>
                </a:xfrm>
                <a:custGeom>
                  <a:avLst/>
                  <a:gdLst>
                    <a:gd name="T0" fmla="*/ 86 w 76"/>
                    <a:gd name="T1" fmla="*/ 97 h 92"/>
                    <a:gd name="T2" fmla="*/ 72 w 76"/>
                    <a:gd name="T3" fmla="*/ 94 h 92"/>
                    <a:gd name="T4" fmla="*/ 68 w 76"/>
                    <a:gd name="T5" fmla="*/ 97 h 92"/>
                    <a:gd name="T6" fmla="*/ 63 w 76"/>
                    <a:gd name="T7" fmla="*/ 94 h 92"/>
                    <a:gd name="T8" fmla="*/ 46 w 76"/>
                    <a:gd name="T9" fmla="*/ 96 h 92"/>
                    <a:gd name="T10" fmla="*/ 28 w 76"/>
                    <a:gd name="T11" fmla="*/ 102 h 92"/>
                    <a:gd name="T12" fmla="*/ 14 w 76"/>
                    <a:gd name="T13" fmla="*/ 110 h 92"/>
                    <a:gd name="T14" fmla="*/ 13 w 76"/>
                    <a:gd name="T15" fmla="*/ 97 h 92"/>
                    <a:gd name="T16" fmla="*/ 17 w 76"/>
                    <a:gd name="T17" fmla="*/ 91 h 92"/>
                    <a:gd name="T18" fmla="*/ 17 w 76"/>
                    <a:gd name="T19" fmla="*/ 83 h 92"/>
                    <a:gd name="T20" fmla="*/ 11 w 76"/>
                    <a:gd name="T21" fmla="*/ 81 h 92"/>
                    <a:gd name="T22" fmla="*/ 11 w 76"/>
                    <a:gd name="T23" fmla="*/ 77 h 92"/>
                    <a:gd name="T24" fmla="*/ 5 w 76"/>
                    <a:gd name="T25" fmla="*/ 75 h 92"/>
                    <a:gd name="T26" fmla="*/ 0 w 76"/>
                    <a:gd name="T27" fmla="*/ 69 h 92"/>
                    <a:gd name="T28" fmla="*/ 5 w 76"/>
                    <a:gd name="T29" fmla="*/ 63 h 92"/>
                    <a:gd name="T30" fmla="*/ 4 w 76"/>
                    <a:gd name="T31" fmla="*/ 57 h 92"/>
                    <a:gd name="T32" fmla="*/ 6 w 76"/>
                    <a:gd name="T33" fmla="*/ 53 h 92"/>
                    <a:gd name="T34" fmla="*/ 5 w 76"/>
                    <a:gd name="T35" fmla="*/ 49 h 92"/>
                    <a:gd name="T36" fmla="*/ 10 w 76"/>
                    <a:gd name="T37" fmla="*/ 43 h 92"/>
                    <a:gd name="T38" fmla="*/ 4 w 76"/>
                    <a:gd name="T39" fmla="*/ 41 h 92"/>
                    <a:gd name="T40" fmla="*/ 14 w 76"/>
                    <a:gd name="T41" fmla="*/ 37 h 92"/>
                    <a:gd name="T42" fmla="*/ 8 w 76"/>
                    <a:gd name="T43" fmla="*/ 32 h 92"/>
                    <a:gd name="T44" fmla="*/ 12 w 76"/>
                    <a:gd name="T45" fmla="*/ 29 h 92"/>
                    <a:gd name="T46" fmla="*/ 11 w 76"/>
                    <a:gd name="T47" fmla="*/ 23 h 92"/>
                    <a:gd name="T48" fmla="*/ 6 w 76"/>
                    <a:gd name="T49" fmla="*/ 14 h 92"/>
                    <a:gd name="T50" fmla="*/ 11 w 76"/>
                    <a:gd name="T51" fmla="*/ 8 h 92"/>
                    <a:gd name="T52" fmla="*/ 13 w 76"/>
                    <a:gd name="T53" fmla="*/ 4 h 92"/>
                    <a:gd name="T54" fmla="*/ 19 w 76"/>
                    <a:gd name="T55" fmla="*/ 5 h 92"/>
                    <a:gd name="T56" fmla="*/ 25 w 76"/>
                    <a:gd name="T57" fmla="*/ 6 h 92"/>
                    <a:gd name="T58" fmla="*/ 26 w 76"/>
                    <a:gd name="T59" fmla="*/ 0 h 92"/>
                    <a:gd name="T60" fmla="*/ 30 w 76"/>
                    <a:gd name="T61" fmla="*/ 2 h 92"/>
                    <a:gd name="T62" fmla="*/ 35 w 76"/>
                    <a:gd name="T63" fmla="*/ 0 h 92"/>
                    <a:gd name="T64" fmla="*/ 35 w 76"/>
                    <a:gd name="T65" fmla="*/ 7 h 92"/>
                    <a:gd name="T66" fmla="*/ 40 w 76"/>
                    <a:gd name="T67" fmla="*/ 6 h 92"/>
                    <a:gd name="T68" fmla="*/ 49 w 76"/>
                    <a:gd name="T69" fmla="*/ 4 h 92"/>
                    <a:gd name="T70" fmla="*/ 49 w 76"/>
                    <a:gd name="T71" fmla="*/ 8 h 92"/>
                    <a:gd name="T72" fmla="*/ 53 w 76"/>
                    <a:gd name="T73" fmla="*/ 10 h 92"/>
                    <a:gd name="T74" fmla="*/ 53 w 76"/>
                    <a:gd name="T75" fmla="*/ 14 h 92"/>
                    <a:gd name="T76" fmla="*/ 56 w 76"/>
                    <a:gd name="T77" fmla="*/ 16 h 92"/>
                    <a:gd name="T78" fmla="*/ 60 w 76"/>
                    <a:gd name="T79" fmla="*/ 17 h 92"/>
                    <a:gd name="T80" fmla="*/ 67 w 76"/>
                    <a:gd name="T81" fmla="*/ 14 h 92"/>
                    <a:gd name="T82" fmla="*/ 77 w 76"/>
                    <a:gd name="T83" fmla="*/ 13 h 92"/>
                    <a:gd name="T84" fmla="*/ 83 w 76"/>
                    <a:gd name="T85" fmla="*/ 14 h 92"/>
                    <a:gd name="T86" fmla="*/ 86 w 76"/>
                    <a:gd name="T87" fmla="*/ 18 h 92"/>
                    <a:gd name="T88" fmla="*/ 87 w 76"/>
                    <a:gd name="T89" fmla="*/ 25 h 92"/>
                    <a:gd name="T90" fmla="*/ 89 w 76"/>
                    <a:gd name="T91" fmla="*/ 30 h 92"/>
                    <a:gd name="T92" fmla="*/ 90 w 76"/>
                    <a:gd name="T93" fmla="*/ 36 h 92"/>
                    <a:gd name="T94" fmla="*/ 90 w 76"/>
                    <a:gd name="T95" fmla="*/ 42 h 92"/>
                    <a:gd name="T96" fmla="*/ 87 w 76"/>
                    <a:gd name="T97" fmla="*/ 48 h 92"/>
                    <a:gd name="T98" fmla="*/ 86 w 76"/>
                    <a:gd name="T99" fmla="*/ 59 h 92"/>
                    <a:gd name="T100" fmla="*/ 81 w 76"/>
                    <a:gd name="T101" fmla="*/ 66 h 92"/>
                    <a:gd name="T102" fmla="*/ 84 w 76"/>
                    <a:gd name="T103" fmla="*/ 75 h 92"/>
                    <a:gd name="T104" fmla="*/ 83 w 76"/>
                    <a:gd name="T105" fmla="*/ 84 h 92"/>
                    <a:gd name="T106" fmla="*/ 87 w 76"/>
                    <a:gd name="T107" fmla="*/ 87 h 92"/>
                    <a:gd name="T108" fmla="*/ 87 w 76"/>
                    <a:gd name="T109" fmla="*/ 94 h 92"/>
                    <a:gd name="T110" fmla="*/ 86 w 76"/>
                    <a:gd name="T111" fmla="*/ 97 h 92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76"/>
                    <a:gd name="T169" fmla="*/ 0 h 92"/>
                    <a:gd name="T170" fmla="*/ 76 w 76"/>
                    <a:gd name="T171" fmla="*/ 92 h 92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76" h="92">
                      <a:moveTo>
                        <a:pt x="72" y="81"/>
                      </a:moveTo>
                      <a:cubicBezTo>
                        <a:pt x="68" y="80"/>
                        <a:pt x="64" y="79"/>
                        <a:pt x="60" y="79"/>
                      </a:cubicBezTo>
                      <a:cubicBezTo>
                        <a:pt x="59" y="79"/>
                        <a:pt x="58" y="81"/>
                        <a:pt x="57" y="81"/>
                      </a:cubicBezTo>
                      <a:cubicBezTo>
                        <a:pt x="56" y="81"/>
                        <a:pt x="54" y="79"/>
                        <a:pt x="53" y="79"/>
                      </a:cubicBezTo>
                      <a:cubicBezTo>
                        <a:pt x="48" y="79"/>
                        <a:pt x="42" y="79"/>
                        <a:pt x="38" y="80"/>
                      </a:cubicBezTo>
                      <a:cubicBezTo>
                        <a:pt x="32" y="81"/>
                        <a:pt x="28" y="83"/>
                        <a:pt x="23" y="85"/>
                      </a:cubicBezTo>
                      <a:cubicBezTo>
                        <a:pt x="19" y="87"/>
                        <a:pt x="16" y="89"/>
                        <a:pt x="12" y="92"/>
                      </a:cubicBezTo>
                      <a:cubicBezTo>
                        <a:pt x="12" y="88"/>
                        <a:pt x="11" y="84"/>
                        <a:pt x="11" y="81"/>
                      </a:cubicBezTo>
                      <a:cubicBezTo>
                        <a:pt x="11" y="79"/>
                        <a:pt x="13" y="78"/>
                        <a:pt x="14" y="76"/>
                      </a:cubicBezTo>
                      <a:cubicBezTo>
                        <a:pt x="14" y="74"/>
                        <a:pt x="15" y="71"/>
                        <a:pt x="14" y="69"/>
                      </a:cubicBezTo>
                      <a:cubicBezTo>
                        <a:pt x="13" y="68"/>
                        <a:pt x="10" y="69"/>
                        <a:pt x="9" y="68"/>
                      </a:cubicBezTo>
                      <a:cubicBezTo>
                        <a:pt x="8" y="67"/>
                        <a:pt x="10" y="65"/>
                        <a:pt x="9" y="64"/>
                      </a:cubicBezTo>
                      <a:cubicBezTo>
                        <a:pt x="8" y="63"/>
                        <a:pt x="6" y="64"/>
                        <a:pt x="4" y="63"/>
                      </a:cubicBezTo>
                      <a:cubicBezTo>
                        <a:pt x="2" y="62"/>
                        <a:pt x="0" y="60"/>
                        <a:pt x="0" y="58"/>
                      </a:cubicBezTo>
                      <a:cubicBezTo>
                        <a:pt x="0" y="56"/>
                        <a:pt x="3" y="55"/>
                        <a:pt x="4" y="53"/>
                      </a:cubicBezTo>
                      <a:cubicBezTo>
                        <a:pt x="4" y="51"/>
                        <a:pt x="3" y="50"/>
                        <a:pt x="3" y="48"/>
                      </a:cubicBezTo>
                      <a:cubicBezTo>
                        <a:pt x="4" y="47"/>
                        <a:pt x="5" y="46"/>
                        <a:pt x="5" y="44"/>
                      </a:cubicBezTo>
                      <a:cubicBezTo>
                        <a:pt x="6" y="43"/>
                        <a:pt x="4" y="42"/>
                        <a:pt x="4" y="41"/>
                      </a:cubicBezTo>
                      <a:cubicBezTo>
                        <a:pt x="4" y="39"/>
                        <a:pt x="8" y="38"/>
                        <a:pt x="8" y="36"/>
                      </a:cubicBezTo>
                      <a:cubicBezTo>
                        <a:pt x="8" y="35"/>
                        <a:pt x="2" y="35"/>
                        <a:pt x="3" y="34"/>
                      </a:cubicBezTo>
                      <a:cubicBezTo>
                        <a:pt x="5" y="31"/>
                        <a:pt x="10" y="33"/>
                        <a:pt x="12" y="31"/>
                      </a:cubicBezTo>
                      <a:cubicBezTo>
                        <a:pt x="13" y="29"/>
                        <a:pt x="8" y="29"/>
                        <a:pt x="7" y="27"/>
                      </a:cubicBezTo>
                      <a:cubicBezTo>
                        <a:pt x="7" y="26"/>
                        <a:pt x="9" y="26"/>
                        <a:pt x="10" y="24"/>
                      </a:cubicBezTo>
                      <a:cubicBezTo>
                        <a:pt x="10" y="23"/>
                        <a:pt x="10" y="21"/>
                        <a:pt x="9" y="19"/>
                      </a:cubicBezTo>
                      <a:cubicBezTo>
                        <a:pt x="9" y="17"/>
                        <a:pt x="6" y="15"/>
                        <a:pt x="5" y="12"/>
                      </a:cubicBezTo>
                      <a:cubicBezTo>
                        <a:pt x="5" y="10"/>
                        <a:pt x="8" y="9"/>
                        <a:pt x="9" y="7"/>
                      </a:cubicBezTo>
                      <a:cubicBezTo>
                        <a:pt x="10" y="6"/>
                        <a:pt x="10" y="4"/>
                        <a:pt x="11" y="3"/>
                      </a:cubicBezTo>
                      <a:cubicBezTo>
                        <a:pt x="13" y="3"/>
                        <a:pt x="15" y="4"/>
                        <a:pt x="16" y="4"/>
                      </a:cubicBezTo>
                      <a:cubicBezTo>
                        <a:pt x="18" y="5"/>
                        <a:pt x="19" y="6"/>
                        <a:pt x="21" y="5"/>
                      </a:cubicBezTo>
                      <a:cubicBezTo>
                        <a:pt x="22" y="4"/>
                        <a:pt x="21" y="1"/>
                        <a:pt x="22" y="0"/>
                      </a:cubicBezTo>
                      <a:cubicBezTo>
                        <a:pt x="23" y="0"/>
                        <a:pt x="24" y="2"/>
                        <a:pt x="25" y="2"/>
                      </a:cubicBezTo>
                      <a:cubicBezTo>
                        <a:pt x="27" y="2"/>
                        <a:pt x="28" y="0"/>
                        <a:pt x="29" y="0"/>
                      </a:cubicBezTo>
                      <a:cubicBezTo>
                        <a:pt x="30" y="2"/>
                        <a:pt x="28" y="5"/>
                        <a:pt x="29" y="6"/>
                      </a:cubicBezTo>
                      <a:cubicBezTo>
                        <a:pt x="30" y="7"/>
                        <a:pt x="32" y="5"/>
                        <a:pt x="33" y="5"/>
                      </a:cubicBezTo>
                      <a:cubicBezTo>
                        <a:pt x="36" y="4"/>
                        <a:pt x="39" y="4"/>
                        <a:pt x="41" y="3"/>
                      </a:cubicBezTo>
                      <a:cubicBezTo>
                        <a:pt x="41" y="4"/>
                        <a:pt x="40" y="6"/>
                        <a:pt x="41" y="7"/>
                      </a:cubicBezTo>
                      <a:cubicBezTo>
                        <a:pt x="41" y="8"/>
                        <a:pt x="43" y="7"/>
                        <a:pt x="44" y="8"/>
                      </a:cubicBezTo>
                      <a:cubicBezTo>
                        <a:pt x="44" y="9"/>
                        <a:pt x="43" y="11"/>
                        <a:pt x="44" y="12"/>
                      </a:cubicBezTo>
                      <a:cubicBezTo>
                        <a:pt x="44" y="13"/>
                        <a:pt x="46" y="12"/>
                        <a:pt x="47" y="13"/>
                      </a:cubicBezTo>
                      <a:cubicBezTo>
                        <a:pt x="48" y="13"/>
                        <a:pt x="49" y="15"/>
                        <a:pt x="50" y="14"/>
                      </a:cubicBezTo>
                      <a:cubicBezTo>
                        <a:pt x="52" y="14"/>
                        <a:pt x="54" y="12"/>
                        <a:pt x="56" y="12"/>
                      </a:cubicBezTo>
                      <a:cubicBezTo>
                        <a:pt x="58" y="11"/>
                        <a:pt x="61" y="11"/>
                        <a:pt x="64" y="11"/>
                      </a:cubicBezTo>
                      <a:cubicBezTo>
                        <a:pt x="66" y="11"/>
                        <a:pt x="68" y="11"/>
                        <a:pt x="69" y="12"/>
                      </a:cubicBezTo>
                      <a:cubicBezTo>
                        <a:pt x="70" y="13"/>
                        <a:pt x="71" y="14"/>
                        <a:pt x="72" y="15"/>
                      </a:cubicBezTo>
                      <a:cubicBezTo>
                        <a:pt x="72" y="17"/>
                        <a:pt x="72" y="19"/>
                        <a:pt x="73" y="21"/>
                      </a:cubicBezTo>
                      <a:cubicBezTo>
                        <a:pt x="73" y="22"/>
                        <a:pt x="73" y="23"/>
                        <a:pt x="74" y="25"/>
                      </a:cubicBezTo>
                      <a:cubicBezTo>
                        <a:pt x="74" y="27"/>
                        <a:pt x="75" y="28"/>
                        <a:pt x="75" y="30"/>
                      </a:cubicBezTo>
                      <a:cubicBezTo>
                        <a:pt x="76" y="32"/>
                        <a:pt x="76" y="34"/>
                        <a:pt x="75" y="35"/>
                      </a:cubicBezTo>
                      <a:cubicBezTo>
                        <a:pt x="75" y="37"/>
                        <a:pt x="73" y="38"/>
                        <a:pt x="73" y="40"/>
                      </a:cubicBezTo>
                      <a:cubicBezTo>
                        <a:pt x="72" y="43"/>
                        <a:pt x="73" y="46"/>
                        <a:pt x="72" y="49"/>
                      </a:cubicBezTo>
                      <a:cubicBezTo>
                        <a:pt x="71" y="51"/>
                        <a:pt x="68" y="53"/>
                        <a:pt x="68" y="55"/>
                      </a:cubicBezTo>
                      <a:cubicBezTo>
                        <a:pt x="67" y="58"/>
                        <a:pt x="70" y="60"/>
                        <a:pt x="70" y="63"/>
                      </a:cubicBezTo>
                      <a:cubicBezTo>
                        <a:pt x="70" y="65"/>
                        <a:pt x="69" y="68"/>
                        <a:pt x="69" y="70"/>
                      </a:cubicBezTo>
                      <a:cubicBezTo>
                        <a:pt x="70" y="71"/>
                        <a:pt x="72" y="71"/>
                        <a:pt x="73" y="73"/>
                      </a:cubicBezTo>
                      <a:cubicBezTo>
                        <a:pt x="74" y="75"/>
                        <a:pt x="73" y="77"/>
                        <a:pt x="73" y="79"/>
                      </a:cubicBezTo>
                      <a:cubicBezTo>
                        <a:pt x="73" y="79"/>
                        <a:pt x="72" y="80"/>
                        <a:pt x="72" y="81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59" name="Freeform 2560"/>
                <p:cNvSpPr>
                  <a:spLocks noChangeAspect="1"/>
                </p:cNvSpPr>
                <p:nvPr/>
              </p:nvSpPr>
              <p:spPr bwMode="auto">
                <a:xfrm>
                  <a:off x="4718132" y="2304038"/>
                  <a:ext cx="1028791" cy="1001652"/>
                </a:xfrm>
                <a:custGeom>
                  <a:avLst/>
                  <a:gdLst>
                    <a:gd name="T0" fmla="*/ 96 w 208"/>
                    <a:gd name="T1" fmla="*/ 268 h 225"/>
                    <a:gd name="T2" fmla="*/ 91 w 208"/>
                    <a:gd name="T3" fmla="*/ 262 h 225"/>
                    <a:gd name="T4" fmla="*/ 83 w 208"/>
                    <a:gd name="T5" fmla="*/ 262 h 225"/>
                    <a:gd name="T6" fmla="*/ 76 w 208"/>
                    <a:gd name="T7" fmla="*/ 266 h 225"/>
                    <a:gd name="T8" fmla="*/ 67 w 208"/>
                    <a:gd name="T9" fmla="*/ 270 h 225"/>
                    <a:gd name="T10" fmla="*/ 59 w 208"/>
                    <a:gd name="T11" fmla="*/ 256 h 225"/>
                    <a:gd name="T12" fmla="*/ 58 w 208"/>
                    <a:gd name="T13" fmla="*/ 247 h 225"/>
                    <a:gd name="T14" fmla="*/ 52 w 208"/>
                    <a:gd name="T15" fmla="*/ 233 h 225"/>
                    <a:gd name="T16" fmla="*/ 42 w 208"/>
                    <a:gd name="T17" fmla="*/ 234 h 225"/>
                    <a:gd name="T18" fmla="*/ 32 w 208"/>
                    <a:gd name="T19" fmla="*/ 234 h 225"/>
                    <a:gd name="T20" fmla="*/ 19 w 208"/>
                    <a:gd name="T21" fmla="*/ 232 h 225"/>
                    <a:gd name="T22" fmla="*/ 11 w 208"/>
                    <a:gd name="T23" fmla="*/ 235 h 225"/>
                    <a:gd name="T24" fmla="*/ 12 w 208"/>
                    <a:gd name="T25" fmla="*/ 221 h 225"/>
                    <a:gd name="T26" fmla="*/ 5 w 208"/>
                    <a:gd name="T27" fmla="*/ 214 h 225"/>
                    <a:gd name="T28" fmla="*/ 4 w 208"/>
                    <a:gd name="T29" fmla="*/ 198 h 225"/>
                    <a:gd name="T30" fmla="*/ 6 w 208"/>
                    <a:gd name="T31" fmla="*/ 187 h 225"/>
                    <a:gd name="T32" fmla="*/ 14 w 208"/>
                    <a:gd name="T33" fmla="*/ 178 h 225"/>
                    <a:gd name="T34" fmla="*/ 25 w 208"/>
                    <a:gd name="T35" fmla="*/ 179 h 225"/>
                    <a:gd name="T36" fmla="*/ 44 w 208"/>
                    <a:gd name="T37" fmla="*/ 174 h 225"/>
                    <a:gd name="T38" fmla="*/ 103 w 208"/>
                    <a:gd name="T39" fmla="*/ 179 h 225"/>
                    <a:gd name="T40" fmla="*/ 102 w 208"/>
                    <a:gd name="T41" fmla="*/ 160 h 225"/>
                    <a:gd name="T42" fmla="*/ 112 w 208"/>
                    <a:gd name="T43" fmla="*/ 7 h 225"/>
                    <a:gd name="T44" fmla="*/ 203 w 208"/>
                    <a:gd name="T45" fmla="*/ 86 h 225"/>
                    <a:gd name="T46" fmla="*/ 215 w 208"/>
                    <a:gd name="T47" fmla="*/ 95 h 225"/>
                    <a:gd name="T48" fmla="*/ 233 w 208"/>
                    <a:gd name="T49" fmla="*/ 102 h 225"/>
                    <a:gd name="T50" fmla="*/ 236 w 208"/>
                    <a:gd name="T51" fmla="*/ 116 h 225"/>
                    <a:gd name="T52" fmla="*/ 250 w 208"/>
                    <a:gd name="T53" fmla="*/ 167 h 225"/>
                    <a:gd name="T54" fmla="*/ 243 w 208"/>
                    <a:gd name="T55" fmla="*/ 173 h 225"/>
                    <a:gd name="T56" fmla="*/ 236 w 208"/>
                    <a:gd name="T57" fmla="*/ 179 h 225"/>
                    <a:gd name="T58" fmla="*/ 198 w 208"/>
                    <a:gd name="T59" fmla="*/ 187 h 225"/>
                    <a:gd name="T60" fmla="*/ 177 w 208"/>
                    <a:gd name="T61" fmla="*/ 184 h 225"/>
                    <a:gd name="T62" fmla="*/ 155 w 208"/>
                    <a:gd name="T63" fmla="*/ 200 h 225"/>
                    <a:gd name="T64" fmla="*/ 144 w 208"/>
                    <a:gd name="T65" fmla="*/ 204 h 225"/>
                    <a:gd name="T66" fmla="*/ 138 w 208"/>
                    <a:gd name="T67" fmla="*/ 209 h 225"/>
                    <a:gd name="T68" fmla="*/ 133 w 208"/>
                    <a:gd name="T69" fmla="*/ 217 h 225"/>
                    <a:gd name="T70" fmla="*/ 121 w 208"/>
                    <a:gd name="T71" fmla="*/ 216 h 225"/>
                    <a:gd name="T72" fmla="*/ 119 w 208"/>
                    <a:gd name="T73" fmla="*/ 227 h 225"/>
                    <a:gd name="T74" fmla="*/ 118 w 208"/>
                    <a:gd name="T75" fmla="*/ 232 h 225"/>
                    <a:gd name="T76" fmla="*/ 103 w 208"/>
                    <a:gd name="T77" fmla="*/ 239 h 225"/>
                    <a:gd name="T78" fmla="*/ 105 w 208"/>
                    <a:gd name="T79" fmla="*/ 254 h 225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w 208"/>
                    <a:gd name="T121" fmla="*/ 0 h 225"/>
                    <a:gd name="T122" fmla="*/ 208 w 208"/>
                    <a:gd name="T123" fmla="*/ 225 h 225"/>
                  </a:gdLst>
                  <a:ahLst/>
                  <a:cxnLst>
                    <a:cxn ang="T80">
                      <a:pos x="T0" y="T1"/>
                    </a:cxn>
                    <a:cxn ang="T81">
                      <a:pos x="T2" y="T3"/>
                    </a:cxn>
                    <a:cxn ang="T82">
                      <a:pos x="T4" y="T5"/>
                    </a:cxn>
                    <a:cxn ang="T83">
                      <a:pos x="T6" y="T7"/>
                    </a:cxn>
                    <a:cxn ang="T84">
                      <a:pos x="T8" y="T9"/>
                    </a:cxn>
                    <a:cxn ang="T85">
                      <a:pos x="T10" y="T11"/>
                    </a:cxn>
                    <a:cxn ang="T86">
                      <a:pos x="T12" y="T13"/>
                    </a:cxn>
                    <a:cxn ang="T87">
                      <a:pos x="T14" y="T15"/>
                    </a:cxn>
                    <a:cxn ang="T88">
                      <a:pos x="T16" y="T17"/>
                    </a:cxn>
                    <a:cxn ang="T89">
                      <a:pos x="T18" y="T19"/>
                    </a:cxn>
                    <a:cxn ang="T90">
                      <a:pos x="T20" y="T21"/>
                    </a:cxn>
                    <a:cxn ang="T91">
                      <a:pos x="T22" y="T23"/>
                    </a:cxn>
                    <a:cxn ang="T92">
                      <a:pos x="T24" y="T25"/>
                    </a:cxn>
                    <a:cxn ang="T93">
                      <a:pos x="T26" y="T27"/>
                    </a:cxn>
                    <a:cxn ang="T94">
                      <a:pos x="T28" y="T29"/>
                    </a:cxn>
                    <a:cxn ang="T95">
                      <a:pos x="T30" y="T31"/>
                    </a:cxn>
                    <a:cxn ang="T96">
                      <a:pos x="T32" y="T33"/>
                    </a:cxn>
                    <a:cxn ang="T97">
                      <a:pos x="T34" y="T35"/>
                    </a:cxn>
                    <a:cxn ang="T98">
                      <a:pos x="T36" y="T37"/>
                    </a:cxn>
                    <a:cxn ang="T99">
                      <a:pos x="T38" y="T39"/>
                    </a:cxn>
                    <a:cxn ang="T100">
                      <a:pos x="T40" y="T41"/>
                    </a:cxn>
                    <a:cxn ang="T101">
                      <a:pos x="T42" y="T43"/>
                    </a:cxn>
                    <a:cxn ang="T102">
                      <a:pos x="T44" y="T45"/>
                    </a:cxn>
                    <a:cxn ang="T103">
                      <a:pos x="T46" y="T47"/>
                    </a:cxn>
                    <a:cxn ang="T104">
                      <a:pos x="T48" y="T49"/>
                    </a:cxn>
                    <a:cxn ang="T105">
                      <a:pos x="T50" y="T51"/>
                    </a:cxn>
                    <a:cxn ang="T106">
                      <a:pos x="T52" y="T53"/>
                    </a:cxn>
                    <a:cxn ang="T107">
                      <a:pos x="T54" y="T55"/>
                    </a:cxn>
                    <a:cxn ang="T108">
                      <a:pos x="T56" y="T57"/>
                    </a:cxn>
                    <a:cxn ang="T109">
                      <a:pos x="T58" y="T59"/>
                    </a:cxn>
                    <a:cxn ang="T110">
                      <a:pos x="T60" y="T61"/>
                    </a:cxn>
                    <a:cxn ang="T111">
                      <a:pos x="T62" y="T63"/>
                    </a:cxn>
                    <a:cxn ang="T112">
                      <a:pos x="T64" y="T65"/>
                    </a:cxn>
                    <a:cxn ang="T113">
                      <a:pos x="T66" y="T67"/>
                    </a:cxn>
                    <a:cxn ang="T114">
                      <a:pos x="T68" y="T69"/>
                    </a:cxn>
                    <a:cxn ang="T115">
                      <a:pos x="T70" y="T71"/>
                    </a:cxn>
                    <a:cxn ang="T116">
                      <a:pos x="T72" y="T73"/>
                    </a:cxn>
                    <a:cxn ang="T117">
                      <a:pos x="T74" y="T75"/>
                    </a:cxn>
                    <a:cxn ang="T118">
                      <a:pos x="T76" y="T77"/>
                    </a:cxn>
                    <a:cxn ang="T119">
                      <a:pos x="T78" y="T79"/>
                    </a:cxn>
                  </a:cxnLst>
                  <a:rect l="T120" t="T121" r="T122" b="T123"/>
                  <a:pathLst>
                    <a:path w="208" h="225">
                      <a:moveTo>
                        <a:pt x="88" y="221"/>
                      </a:moveTo>
                      <a:cubicBezTo>
                        <a:pt x="86" y="222"/>
                        <a:pt x="83" y="222"/>
                        <a:pt x="80" y="223"/>
                      </a:cubicBezTo>
                      <a:cubicBezTo>
                        <a:pt x="79" y="223"/>
                        <a:pt x="77" y="225"/>
                        <a:pt x="76" y="224"/>
                      </a:cubicBezTo>
                      <a:cubicBezTo>
                        <a:pt x="75" y="223"/>
                        <a:pt x="77" y="220"/>
                        <a:pt x="76" y="218"/>
                      </a:cubicBezTo>
                      <a:cubicBezTo>
                        <a:pt x="75" y="218"/>
                        <a:pt x="74" y="220"/>
                        <a:pt x="72" y="220"/>
                      </a:cubicBezTo>
                      <a:cubicBezTo>
                        <a:pt x="71" y="220"/>
                        <a:pt x="70" y="218"/>
                        <a:pt x="69" y="218"/>
                      </a:cubicBezTo>
                      <a:cubicBezTo>
                        <a:pt x="68" y="219"/>
                        <a:pt x="69" y="222"/>
                        <a:pt x="68" y="223"/>
                      </a:cubicBezTo>
                      <a:cubicBezTo>
                        <a:pt x="66" y="224"/>
                        <a:pt x="65" y="223"/>
                        <a:pt x="63" y="222"/>
                      </a:cubicBezTo>
                      <a:cubicBezTo>
                        <a:pt x="62" y="222"/>
                        <a:pt x="60" y="221"/>
                        <a:pt x="58" y="221"/>
                      </a:cubicBezTo>
                      <a:cubicBezTo>
                        <a:pt x="57" y="222"/>
                        <a:pt x="57" y="224"/>
                        <a:pt x="56" y="225"/>
                      </a:cubicBezTo>
                      <a:cubicBezTo>
                        <a:pt x="54" y="223"/>
                        <a:pt x="50" y="222"/>
                        <a:pt x="49" y="219"/>
                      </a:cubicBezTo>
                      <a:cubicBezTo>
                        <a:pt x="48" y="218"/>
                        <a:pt x="50" y="215"/>
                        <a:pt x="49" y="213"/>
                      </a:cubicBezTo>
                      <a:cubicBezTo>
                        <a:pt x="48" y="212"/>
                        <a:pt x="44" y="215"/>
                        <a:pt x="44" y="214"/>
                      </a:cubicBezTo>
                      <a:cubicBezTo>
                        <a:pt x="44" y="211"/>
                        <a:pt x="48" y="209"/>
                        <a:pt x="48" y="206"/>
                      </a:cubicBezTo>
                      <a:cubicBezTo>
                        <a:pt x="48" y="204"/>
                        <a:pt x="45" y="204"/>
                        <a:pt x="44" y="202"/>
                      </a:cubicBezTo>
                      <a:cubicBezTo>
                        <a:pt x="43" y="200"/>
                        <a:pt x="44" y="196"/>
                        <a:pt x="43" y="194"/>
                      </a:cubicBezTo>
                      <a:cubicBezTo>
                        <a:pt x="41" y="192"/>
                        <a:pt x="38" y="191"/>
                        <a:pt x="35" y="192"/>
                      </a:cubicBezTo>
                      <a:cubicBezTo>
                        <a:pt x="34" y="192"/>
                        <a:pt x="36" y="194"/>
                        <a:pt x="35" y="195"/>
                      </a:cubicBezTo>
                      <a:cubicBezTo>
                        <a:pt x="34" y="196"/>
                        <a:pt x="33" y="196"/>
                        <a:pt x="31" y="196"/>
                      </a:cubicBezTo>
                      <a:cubicBezTo>
                        <a:pt x="30" y="196"/>
                        <a:pt x="28" y="194"/>
                        <a:pt x="27" y="195"/>
                      </a:cubicBezTo>
                      <a:cubicBezTo>
                        <a:pt x="24" y="195"/>
                        <a:pt x="22" y="199"/>
                        <a:pt x="20" y="199"/>
                      </a:cubicBezTo>
                      <a:cubicBezTo>
                        <a:pt x="18" y="198"/>
                        <a:pt x="18" y="194"/>
                        <a:pt x="16" y="193"/>
                      </a:cubicBezTo>
                      <a:cubicBezTo>
                        <a:pt x="15" y="193"/>
                        <a:pt x="14" y="195"/>
                        <a:pt x="13" y="196"/>
                      </a:cubicBezTo>
                      <a:cubicBezTo>
                        <a:pt x="12" y="196"/>
                        <a:pt x="10" y="197"/>
                        <a:pt x="9" y="196"/>
                      </a:cubicBezTo>
                      <a:cubicBezTo>
                        <a:pt x="8" y="195"/>
                        <a:pt x="8" y="192"/>
                        <a:pt x="8" y="190"/>
                      </a:cubicBezTo>
                      <a:lnTo>
                        <a:pt x="10" y="184"/>
                      </a:lnTo>
                      <a:lnTo>
                        <a:pt x="7" y="178"/>
                      </a:lnTo>
                      <a:lnTo>
                        <a:pt x="4" y="178"/>
                      </a:lnTo>
                      <a:lnTo>
                        <a:pt x="1" y="174"/>
                      </a:lnTo>
                      <a:lnTo>
                        <a:pt x="3" y="165"/>
                      </a:lnTo>
                      <a:lnTo>
                        <a:pt x="0" y="157"/>
                      </a:lnTo>
                      <a:cubicBezTo>
                        <a:pt x="2" y="157"/>
                        <a:pt x="4" y="158"/>
                        <a:pt x="5" y="156"/>
                      </a:cubicBezTo>
                      <a:cubicBezTo>
                        <a:pt x="7" y="154"/>
                        <a:pt x="6" y="150"/>
                        <a:pt x="8" y="148"/>
                      </a:cubicBezTo>
                      <a:cubicBezTo>
                        <a:pt x="8" y="147"/>
                        <a:pt x="11" y="147"/>
                        <a:pt x="12" y="148"/>
                      </a:cubicBezTo>
                      <a:cubicBezTo>
                        <a:pt x="14" y="149"/>
                        <a:pt x="14" y="153"/>
                        <a:pt x="17" y="154"/>
                      </a:cubicBezTo>
                      <a:cubicBezTo>
                        <a:pt x="19" y="154"/>
                        <a:pt x="19" y="149"/>
                        <a:pt x="21" y="149"/>
                      </a:cubicBezTo>
                      <a:cubicBezTo>
                        <a:pt x="25" y="147"/>
                        <a:pt x="30" y="150"/>
                        <a:pt x="34" y="149"/>
                      </a:cubicBezTo>
                      <a:cubicBezTo>
                        <a:pt x="36" y="148"/>
                        <a:pt x="35" y="145"/>
                        <a:pt x="37" y="145"/>
                      </a:cubicBezTo>
                      <a:cubicBezTo>
                        <a:pt x="38" y="145"/>
                        <a:pt x="38" y="149"/>
                        <a:pt x="39" y="149"/>
                      </a:cubicBezTo>
                      <a:lnTo>
                        <a:pt x="86" y="149"/>
                      </a:lnTo>
                      <a:lnTo>
                        <a:pt x="89" y="135"/>
                      </a:lnTo>
                      <a:lnTo>
                        <a:pt x="85" y="133"/>
                      </a:lnTo>
                      <a:lnTo>
                        <a:pt x="74" y="6"/>
                      </a:lnTo>
                      <a:cubicBezTo>
                        <a:pt x="73" y="0"/>
                        <a:pt x="86" y="6"/>
                        <a:pt x="93" y="6"/>
                      </a:cubicBezTo>
                      <a:lnTo>
                        <a:pt x="169" y="65"/>
                      </a:lnTo>
                      <a:cubicBezTo>
                        <a:pt x="169" y="68"/>
                        <a:pt x="168" y="70"/>
                        <a:pt x="169" y="72"/>
                      </a:cubicBezTo>
                      <a:cubicBezTo>
                        <a:pt x="170" y="74"/>
                        <a:pt x="173" y="73"/>
                        <a:pt x="175" y="74"/>
                      </a:cubicBezTo>
                      <a:cubicBezTo>
                        <a:pt x="176" y="76"/>
                        <a:pt x="177" y="78"/>
                        <a:pt x="179" y="79"/>
                      </a:cubicBezTo>
                      <a:cubicBezTo>
                        <a:pt x="181" y="80"/>
                        <a:pt x="183" y="79"/>
                        <a:pt x="185" y="80"/>
                      </a:cubicBezTo>
                      <a:cubicBezTo>
                        <a:pt x="188" y="81"/>
                        <a:pt x="192" y="82"/>
                        <a:pt x="194" y="85"/>
                      </a:cubicBezTo>
                      <a:cubicBezTo>
                        <a:pt x="195" y="88"/>
                        <a:pt x="192" y="92"/>
                        <a:pt x="193" y="96"/>
                      </a:cubicBezTo>
                      <a:cubicBezTo>
                        <a:pt x="193" y="97"/>
                        <a:pt x="195" y="97"/>
                        <a:pt x="196" y="97"/>
                      </a:cubicBezTo>
                      <a:cubicBezTo>
                        <a:pt x="201" y="97"/>
                        <a:pt x="204" y="95"/>
                        <a:pt x="208" y="94"/>
                      </a:cubicBezTo>
                      <a:lnTo>
                        <a:pt x="208" y="139"/>
                      </a:lnTo>
                      <a:cubicBezTo>
                        <a:pt x="207" y="139"/>
                        <a:pt x="205" y="139"/>
                        <a:pt x="204" y="140"/>
                      </a:cubicBezTo>
                      <a:cubicBezTo>
                        <a:pt x="203" y="141"/>
                        <a:pt x="203" y="143"/>
                        <a:pt x="202" y="144"/>
                      </a:cubicBezTo>
                      <a:cubicBezTo>
                        <a:pt x="201" y="145"/>
                        <a:pt x="199" y="144"/>
                        <a:pt x="198" y="145"/>
                      </a:cubicBezTo>
                      <a:lnTo>
                        <a:pt x="196" y="149"/>
                      </a:lnTo>
                      <a:lnTo>
                        <a:pt x="169" y="152"/>
                      </a:lnTo>
                      <a:cubicBezTo>
                        <a:pt x="168" y="153"/>
                        <a:pt x="167" y="156"/>
                        <a:pt x="165" y="156"/>
                      </a:cubicBezTo>
                      <a:lnTo>
                        <a:pt x="156" y="155"/>
                      </a:lnTo>
                      <a:cubicBezTo>
                        <a:pt x="153" y="155"/>
                        <a:pt x="150" y="152"/>
                        <a:pt x="147" y="153"/>
                      </a:cubicBezTo>
                      <a:cubicBezTo>
                        <a:pt x="141" y="155"/>
                        <a:pt x="136" y="159"/>
                        <a:pt x="131" y="162"/>
                      </a:cubicBezTo>
                      <a:cubicBezTo>
                        <a:pt x="130" y="163"/>
                        <a:pt x="131" y="166"/>
                        <a:pt x="129" y="167"/>
                      </a:cubicBezTo>
                      <a:cubicBezTo>
                        <a:pt x="128" y="168"/>
                        <a:pt x="127" y="165"/>
                        <a:pt x="126" y="166"/>
                      </a:cubicBezTo>
                      <a:cubicBezTo>
                        <a:pt x="124" y="166"/>
                        <a:pt x="121" y="168"/>
                        <a:pt x="120" y="170"/>
                      </a:cubicBezTo>
                      <a:cubicBezTo>
                        <a:pt x="119" y="171"/>
                        <a:pt x="122" y="174"/>
                        <a:pt x="120" y="175"/>
                      </a:cubicBezTo>
                      <a:cubicBezTo>
                        <a:pt x="119" y="176"/>
                        <a:pt x="117" y="173"/>
                        <a:pt x="115" y="174"/>
                      </a:cubicBezTo>
                      <a:cubicBezTo>
                        <a:pt x="114" y="175"/>
                        <a:pt x="116" y="177"/>
                        <a:pt x="115" y="179"/>
                      </a:cubicBezTo>
                      <a:cubicBezTo>
                        <a:pt x="114" y="180"/>
                        <a:pt x="112" y="181"/>
                        <a:pt x="111" y="181"/>
                      </a:cubicBezTo>
                      <a:cubicBezTo>
                        <a:pt x="108" y="181"/>
                        <a:pt x="107" y="177"/>
                        <a:pt x="105" y="177"/>
                      </a:cubicBezTo>
                      <a:cubicBezTo>
                        <a:pt x="103" y="177"/>
                        <a:pt x="103" y="179"/>
                        <a:pt x="101" y="180"/>
                      </a:cubicBezTo>
                      <a:cubicBezTo>
                        <a:pt x="100" y="181"/>
                        <a:pt x="97" y="180"/>
                        <a:pt x="97" y="182"/>
                      </a:cubicBezTo>
                      <a:cubicBezTo>
                        <a:pt x="96" y="184"/>
                        <a:pt x="100" y="186"/>
                        <a:pt x="99" y="189"/>
                      </a:cubicBezTo>
                      <a:cubicBezTo>
                        <a:pt x="99" y="190"/>
                        <a:pt x="97" y="188"/>
                        <a:pt x="96" y="189"/>
                      </a:cubicBezTo>
                      <a:cubicBezTo>
                        <a:pt x="96" y="190"/>
                        <a:pt x="99" y="191"/>
                        <a:pt x="98" y="193"/>
                      </a:cubicBezTo>
                      <a:cubicBezTo>
                        <a:pt x="97" y="195"/>
                        <a:pt x="95" y="197"/>
                        <a:pt x="93" y="199"/>
                      </a:cubicBezTo>
                      <a:cubicBezTo>
                        <a:pt x="91" y="200"/>
                        <a:pt x="87" y="197"/>
                        <a:pt x="86" y="199"/>
                      </a:cubicBezTo>
                      <a:cubicBezTo>
                        <a:pt x="85" y="201"/>
                        <a:pt x="89" y="202"/>
                        <a:pt x="89" y="205"/>
                      </a:cubicBezTo>
                      <a:cubicBezTo>
                        <a:pt x="89" y="207"/>
                        <a:pt x="87" y="210"/>
                        <a:pt x="87" y="212"/>
                      </a:cubicBezTo>
                      <a:cubicBezTo>
                        <a:pt x="87" y="215"/>
                        <a:pt x="88" y="218"/>
                        <a:pt x="88" y="221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60" name="Freeform 2561"/>
                <p:cNvSpPr>
                  <a:spLocks noChangeAspect="1"/>
                </p:cNvSpPr>
                <p:nvPr/>
              </p:nvSpPr>
              <p:spPr bwMode="auto">
                <a:xfrm>
                  <a:off x="5137881" y="2982939"/>
                  <a:ext cx="489703" cy="359854"/>
                </a:xfrm>
                <a:custGeom>
                  <a:avLst/>
                  <a:gdLst>
                    <a:gd name="T0" fmla="*/ 41 w 99"/>
                    <a:gd name="T1" fmla="*/ 97 h 81"/>
                    <a:gd name="T2" fmla="*/ 37 w 99"/>
                    <a:gd name="T3" fmla="*/ 93 h 81"/>
                    <a:gd name="T4" fmla="*/ 31 w 99"/>
                    <a:gd name="T5" fmla="*/ 92 h 81"/>
                    <a:gd name="T6" fmla="*/ 22 w 99"/>
                    <a:gd name="T7" fmla="*/ 93 h 81"/>
                    <a:gd name="T8" fmla="*/ 14 w 99"/>
                    <a:gd name="T9" fmla="*/ 96 h 81"/>
                    <a:gd name="T10" fmla="*/ 11 w 99"/>
                    <a:gd name="T11" fmla="*/ 95 h 81"/>
                    <a:gd name="T12" fmla="*/ 7 w 99"/>
                    <a:gd name="T13" fmla="*/ 93 h 81"/>
                    <a:gd name="T14" fmla="*/ 7 w 99"/>
                    <a:gd name="T15" fmla="*/ 89 h 81"/>
                    <a:gd name="T16" fmla="*/ 4 w 99"/>
                    <a:gd name="T17" fmla="*/ 87 h 81"/>
                    <a:gd name="T18" fmla="*/ 4 w 99"/>
                    <a:gd name="T19" fmla="*/ 83 h 81"/>
                    <a:gd name="T20" fmla="*/ 2 w 99"/>
                    <a:gd name="T21" fmla="*/ 72 h 81"/>
                    <a:gd name="T22" fmla="*/ 5 w 99"/>
                    <a:gd name="T23" fmla="*/ 63 h 81"/>
                    <a:gd name="T24" fmla="*/ 1 w 99"/>
                    <a:gd name="T25" fmla="*/ 56 h 81"/>
                    <a:gd name="T26" fmla="*/ 10 w 99"/>
                    <a:gd name="T27" fmla="*/ 56 h 81"/>
                    <a:gd name="T28" fmla="*/ 16 w 99"/>
                    <a:gd name="T29" fmla="*/ 49 h 81"/>
                    <a:gd name="T30" fmla="*/ 13 w 99"/>
                    <a:gd name="T31" fmla="*/ 44 h 81"/>
                    <a:gd name="T32" fmla="*/ 17 w 99"/>
                    <a:gd name="T33" fmla="*/ 44 h 81"/>
                    <a:gd name="T34" fmla="*/ 14 w 99"/>
                    <a:gd name="T35" fmla="*/ 36 h 81"/>
                    <a:gd name="T36" fmla="*/ 19 w 99"/>
                    <a:gd name="T37" fmla="*/ 34 h 81"/>
                    <a:gd name="T38" fmla="*/ 24 w 99"/>
                    <a:gd name="T39" fmla="*/ 30 h 81"/>
                    <a:gd name="T40" fmla="*/ 31 w 99"/>
                    <a:gd name="T41" fmla="*/ 35 h 81"/>
                    <a:gd name="T42" fmla="*/ 36 w 99"/>
                    <a:gd name="T43" fmla="*/ 32 h 81"/>
                    <a:gd name="T44" fmla="*/ 36 w 99"/>
                    <a:gd name="T45" fmla="*/ 26 h 81"/>
                    <a:gd name="T46" fmla="*/ 42 w 99"/>
                    <a:gd name="T47" fmla="*/ 28 h 81"/>
                    <a:gd name="T48" fmla="*/ 42 w 99"/>
                    <a:gd name="T49" fmla="*/ 22 h 81"/>
                    <a:gd name="T50" fmla="*/ 49 w 99"/>
                    <a:gd name="T51" fmla="*/ 17 h 81"/>
                    <a:gd name="T52" fmla="*/ 53 w 99"/>
                    <a:gd name="T53" fmla="*/ 18 h 81"/>
                    <a:gd name="T54" fmla="*/ 55 w 99"/>
                    <a:gd name="T55" fmla="*/ 12 h 81"/>
                    <a:gd name="T56" fmla="*/ 75 w 99"/>
                    <a:gd name="T57" fmla="*/ 1 h 81"/>
                    <a:gd name="T58" fmla="*/ 85 w 99"/>
                    <a:gd name="T59" fmla="*/ 4 h 81"/>
                    <a:gd name="T60" fmla="*/ 84 w 99"/>
                    <a:gd name="T61" fmla="*/ 14 h 81"/>
                    <a:gd name="T62" fmla="*/ 87 w 99"/>
                    <a:gd name="T63" fmla="*/ 23 h 81"/>
                    <a:gd name="T64" fmla="*/ 94 w 99"/>
                    <a:gd name="T65" fmla="*/ 29 h 81"/>
                    <a:gd name="T66" fmla="*/ 97 w 99"/>
                    <a:gd name="T67" fmla="*/ 30 h 81"/>
                    <a:gd name="T68" fmla="*/ 94 w 99"/>
                    <a:gd name="T69" fmla="*/ 38 h 81"/>
                    <a:gd name="T70" fmla="*/ 108 w 99"/>
                    <a:gd name="T71" fmla="*/ 44 h 81"/>
                    <a:gd name="T72" fmla="*/ 113 w 99"/>
                    <a:gd name="T73" fmla="*/ 43 h 81"/>
                    <a:gd name="T74" fmla="*/ 118 w 99"/>
                    <a:gd name="T75" fmla="*/ 47 h 81"/>
                    <a:gd name="T76" fmla="*/ 115 w 99"/>
                    <a:gd name="T77" fmla="*/ 50 h 81"/>
                    <a:gd name="T78" fmla="*/ 117 w 99"/>
                    <a:gd name="T79" fmla="*/ 57 h 81"/>
                    <a:gd name="T80" fmla="*/ 119 w 99"/>
                    <a:gd name="T81" fmla="*/ 59 h 81"/>
                    <a:gd name="T82" fmla="*/ 118 w 99"/>
                    <a:gd name="T83" fmla="*/ 63 h 81"/>
                    <a:gd name="T84" fmla="*/ 112 w 99"/>
                    <a:gd name="T85" fmla="*/ 66 h 81"/>
                    <a:gd name="T86" fmla="*/ 105 w 99"/>
                    <a:gd name="T87" fmla="*/ 66 h 81"/>
                    <a:gd name="T88" fmla="*/ 100 w 99"/>
                    <a:gd name="T89" fmla="*/ 67 h 81"/>
                    <a:gd name="T90" fmla="*/ 100 w 99"/>
                    <a:gd name="T91" fmla="*/ 73 h 81"/>
                    <a:gd name="T92" fmla="*/ 96 w 99"/>
                    <a:gd name="T93" fmla="*/ 72 h 81"/>
                    <a:gd name="T94" fmla="*/ 95 w 99"/>
                    <a:gd name="T95" fmla="*/ 77 h 81"/>
                    <a:gd name="T96" fmla="*/ 89 w 99"/>
                    <a:gd name="T97" fmla="*/ 75 h 81"/>
                    <a:gd name="T98" fmla="*/ 83 w 99"/>
                    <a:gd name="T99" fmla="*/ 73 h 81"/>
                    <a:gd name="T100" fmla="*/ 78 w 99"/>
                    <a:gd name="T101" fmla="*/ 71 h 81"/>
                    <a:gd name="T102" fmla="*/ 73 w 99"/>
                    <a:gd name="T103" fmla="*/ 73 h 81"/>
                    <a:gd name="T104" fmla="*/ 53 w 99"/>
                    <a:gd name="T105" fmla="*/ 73 h 81"/>
                    <a:gd name="T106" fmla="*/ 41 w 99"/>
                    <a:gd name="T107" fmla="*/ 73 h 81"/>
                    <a:gd name="T108" fmla="*/ 38 w 99"/>
                    <a:gd name="T109" fmla="*/ 78 h 81"/>
                    <a:gd name="T110" fmla="*/ 41 w 99"/>
                    <a:gd name="T111" fmla="*/ 81 h 81"/>
                    <a:gd name="T112" fmla="*/ 40 w 99"/>
                    <a:gd name="T113" fmla="*/ 84 h 81"/>
                    <a:gd name="T114" fmla="*/ 42 w 99"/>
                    <a:gd name="T115" fmla="*/ 86 h 81"/>
                    <a:gd name="T116" fmla="*/ 40 w 99"/>
                    <a:gd name="T117" fmla="*/ 87 h 81"/>
                    <a:gd name="T118" fmla="*/ 41 w 99"/>
                    <a:gd name="T119" fmla="*/ 97 h 81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99"/>
                    <a:gd name="T181" fmla="*/ 0 h 81"/>
                    <a:gd name="T182" fmla="*/ 99 w 99"/>
                    <a:gd name="T183" fmla="*/ 81 h 81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99" h="81">
                      <a:moveTo>
                        <a:pt x="34" y="81"/>
                      </a:moveTo>
                      <a:cubicBezTo>
                        <a:pt x="33" y="80"/>
                        <a:pt x="32" y="79"/>
                        <a:pt x="31" y="78"/>
                      </a:cubicBezTo>
                      <a:cubicBezTo>
                        <a:pt x="30" y="77"/>
                        <a:pt x="28" y="77"/>
                        <a:pt x="26" y="77"/>
                      </a:cubicBezTo>
                      <a:cubicBezTo>
                        <a:pt x="23" y="77"/>
                        <a:pt x="20" y="77"/>
                        <a:pt x="18" y="78"/>
                      </a:cubicBezTo>
                      <a:cubicBezTo>
                        <a:pt x="16" y="78"/>
                        <a:pt x="14" y="80"/>
                        <a:pt x="12" y="80"/>
                      </a:cubicBezTo>
                      <a:cubicBezTo>
                        <a:pt x="11" y="81"/>
                        <a:pt x="10" y="79"/>
                        <a:pt x="9" y="79"/>
                      </a:cubicBezTo>
                      <a:cubicBezTo>
                        <a:pt x="8" y="78"/>
                        <a:pt x="6" y="79"/>
                        <a:pt x="6" y="78"/>
                      </a:cubicBezTo>
                      <a:cubicBezTo>
                        <a:pt x="5" y="77"/>
                        <a:pt x="6" y="75"/>
                        <a:pt x="6" y="74"/>
                      </a:cubicBezTo>
                      <a:cubicBezTo>
                        <a:pt x="5" y="73"/>
                        <a:pt x="3" y="74"/>
                        <a:pt x="3" y="73"/>
                      </a:cubicBezTo>
                      <a:cubicBezTo>
                        <a:pt x="2" y="72"/>
                        <a:pt x="3" y="70"/>
                        <a:pt x="3" y="69"/>
                      </a:cubicBezTo>
                      <a:cubicBezTo>
                        <a:pt x="3" y="66"/>
                        <a:pt x="2" y="63"/>
                        <a:pt x="2" y="60"/>
                      </a:cubicBezTo>
                      <a:cubicBezTo>
                        <a:pt x="2" y="58"/>
                        <a:pt x="4" y="55"/>
                        <a:pt x="4" y="53"/>
                      </a:cubicBezTo>
                      <a:cubicBezTo>
                        <a:pt x="4" y="50"/>
                        <a:pt x="0" y="49"/>
                        <a:pt x="1" y="47"/>
                      </a:cubicBezTo>
                      <a:cubicBezTo>
                        <a:pt x="2" y="45"/>
                        <a:pt x="6" y="48"/>
                        <a:pt x="8" y="47"/>
                      </a:cubicBezTo>
                      <a:cubicBezTo>
                        <a:pt x="10" y="45"/>
                        <a:pt x="12" y="43"/>
                        <a:pt x="13" y="41"/>
                      </a:cubicBezTo>
                      <a:cubicBezTo>
                        <a:pt x="14" y="39"/>
                        <a:pt x="11" y="38"/>
                        <a:pt x="11" y="37"/>
                      </a:cubicBezTo>
                      <a:cubicBezTo>
                        <a:pt x="12" y="36"/>
                        <a:pt x="14" y="38"/>
                        <a:pt x="14" y="37"/>
                      </a:cubicBezTo>
                      <a:cubicBezTo>
                        <a:pt x="15" y="34"/>
                        <a:pt x="11" y="32"/>
                        <a:pt x="12" y="30"/>
                      </a:cubicBezTo>
                      <a:cubicBezTo>
                        <a:pt x="12" y="28"/>
                        <a:pt x="15" y="29"/>
                        <a:pt x="16" y="28"/>
                      </a:cubicBezTo>
                      <a:cubicBezTo>
                        <a:pt x="18" y="27"/>
                        <a:pt x="18" y="25"/>
                        <a:pt x="20" y="25"/>
                      </a:cubicBezTo>
                      <a:cubicBezTo>
                        <a:pt x="22" y="25"/>
                        <a:pt x="23" y="29"/>
                        <a:pt x="26" y="29"/>
                      </a:cubicBezTo>
                      <a:cubicBezTo>
                        <a:pt x="27" y="29"/>
                        <a:pt x="29" y="28"/>
                        <a:pt x="30" y="27"/>
                      </a:cubicBezTo>
                      <a:cubicBezTo>
                        <a:pt x="31" y="25"/>
                        <a:pt x="29" y="23"/>
                        <a:pt x="30" y="22"/>
                      </a:cubicBezTo>
                      <a:cubicBezTo>
                        <a:pt x="32" y="21"/>
                        <a:pt x="34" y="24"/>
                        <a:pt x="35" y="23"/>
                      </a:cubicBezTo>
                      <a:cubicBezTo>
                        <a:pt x="37" y="22"/>
                        <a:pt x="34" y="19"/>
                        <a:pt x="35" y="18"/>
                      </a:cubicBezTo>
                      <a:cubicBezTo>
                        <a:pt x="36" y="16"/>
                        <a:pt x="39" y="14"/>
                        <a:pt x="41" y="14"/>
                      </a:cubicBezTo>
                      <a:cubicBezTo>
                        <a:pt x="42" y="13"/>
                        <a:pt x="43" y="16"/>
                        <a:pt x="44" y="15"/>
                      </a:cubicBezTo>
                      <a:cubicBezTo>
                        <a:pt x="46" y="14"/>
                        <a:pt x="45" y="11"/>
                        <a:pt x="46" y="10"/>
                      </a:cubicBezTo>
                      <a:cubicBezTo>
                        <a:pt x="51" y="7"/>
                        <a:pt x="56" y="3"/>
                        <a:pt x="62" y="1"/>
                      </a:cubicBezTo>
                      <a:cubicBezTo>
                        <a:pt x="65" y="0"/>
                        <a:pt x="68" y="3"/>
                        <a:pt x="71" y="3"/>
                      </a:cubicBezTo>
                      <a:cubicBezTo>
                        <a:pt x="70" y="6"/>
                        <a:pt x="70" y="9"/>
                        <a:pt x="70" y="12"/>
                      </a:cubicBezTo>
                      <a:cubicBezTo>
                        <a:pt x="70" y="15"/>
                        <a:pt x="71" y="17"/>
                        <a:pt x="72" y="19"/>
                      </a:cubicBezTo>
                      <a:cubicBezTo>
                        <a:pt x="74" y="21"/>
                        <a:pt x="76" y="22"/>
                        <a:pt x="78" y="24"/>
                      </a:cubicBezTo>
                      <a:cubicBezTo>
                        <a:pt x="79" y="25"/>
                        <a:pt x="81" y="24"/>
                        <a:pt x="81" y="25"/>
                      </a:cubicBezTo>
                      <a:cubicBezTo>
                        <a:pt x="82" y="28"/>
                        <a:pt x="77" y="30"/>
                        <a:pt x="78" y="32"/>
                      </a:cubicBezTo>
                      <a:cubicBezTo>
                        <a:pt x="81" y="36"/>
                        <a:pt x="86" y="36"/>
                        <a:pt x="90" y="37"/>
                      </a:cubicBezTo>
                      <a:cubicBezTo>
                        <a:pt x="91" y="38"/>
                        <a:pt x="93" y="35"/>
                        <a:pt x="94" y="36"/>
                      </a:cubicBezTo>
                      <a:cubicBezTo>
                        <a:pt x="96" y="36"/>
                        <a:pt x="97" y="38"/>
                        <a:pt x="98" y="39"/>
                      </a:cubicBezTo>
                      <a:cubicBezTo>
                        <a:pt x="98" y="40"/>
                        <a:pt x="96" y="41"/>
                        <a:pt x="96" y="42"/>
                      </a:cubicBezTo>
                      <a:cubicBezTo>
                        <a:pt x="96" y="44"/>
                        <a:pt x="96" y="46"/>
                        <a:pt x="97" y="48"/>
                      </a:cubicBezTo>
                      <a:cubicBezTo>
                        <a:pt x="97" y="49"/>
                        <a:pt x="98" y="48"/>
                        <a:pt x="99" y="49"/>
                      </a:cubicBezTo>
                      <a:cubicBezTo>
                        <a:pt x="99" y="50"/>
                        <a:pt x="99" y="52"/>
                        <a:pt x="98" y="53"/>
                      </a:cubicBezTo>
                      <a:cubicBezTo>
                        <a:pt x="97" y="55"/>
                        <a:pt x="95" y="55"/>
                        <a:pt x="93" y="55"/>
                      </a:cubicBezTo>
                      <a:cubicBezTo>
                        <a:pt x="91" y="55"/>
                        <a:pt x="89" y="54"/>
                        <a:pt x="87" y="55"/>
                      </a:cubicBezTo>
                      <a:cubicBezTo>
                        <a:pt x="85" y="55"/>
                        <a:pt x="84" y="55"/>
                        <a:pt x="83" y="56"/>
                      </a:cubicBezTo>
                      <a:cubicBezTo>
                        <a:pt x="82" y="58"/>
                        <a:pt x="84" y="60"/>
                        <a:pt x="83" y="61"/>
                      </a:cubicBezTo>
                      <a:cubicBezTo>
                        <a:pt x="82" y="62"/>
                        <a:pt x="81" y="60"/>
                        <a:pt x="80" y="60"/>
                      </a:cubicBezTo>
                      <a:cubicBezTo>
                        <a:pt x="79" y="61"/>
                        <a:pt x="79" y="62"/>
                        <a:pt x="79" y="64"/>
                      </a:cubicBezTo>
                      <a:cubicBezTo>
                        <a:pt x="77" y="63"/>
                        <a:pt x="76" y="63"/>
                        <a:pt x="74" y="63"/>
                      </a:cubicBezTo>
                      <a:cubicBezTo>
                        <a:pt x="72" y="62"/>
                        <a:pt x="71" y="62"/>
                        <a:pt x="69" y="61"/>
                      </a:cubicBezTo>
                      <a:cubicBezTo>
                        <a:pt x="68" y="60"/>
                        <a:pt x="67" y="59"/>
                        <a:pt x="65" y="59"/>
                      </a:cubicBezTo>
                      <a:cubicBezTo>
                        <a:pt x="63" y="59"/>
                        <a:pt x="62" y="61"/>
                        <a:pt x="61" y="61"/>
                      </a:cubicBezTo>
                      <a:cubicBezTo>
                        <a:pt x="55" y="62"/>
                        <a:pt x="49" y="61"/>
                        <a:pt x="44" y="61"/>
                      </a:cubicBezTo>
                      <a:cubicBezTo>
                        <a:pt x="41" y="61"/>
                        <a:pt x="37" y="60"/>
                        <a:pt x="34" y="61"/>
                      </a:cubicBezTo>
                      <a:cubicBezTo>
                        <a:pt x="33" y="61"/>
                        <a:pt x="32" y="63"/>
                        <a:pt x="32" y="65"/>
                      </a:cubicBezTo>
                      <a:cubicBezTo>
                        <a:pt x="32" y="66"/>
                        <a:pt x="34" y="67"/>
                        <a:pt x="34" y="68"/>
                      </a:cubicBezTo>
                      <a:cubicBezTo>
                        <a:pt x="34" y="69"/>
                        <a:pt x="33" y="70"/>
                        <a:pt x="33" y="70"/>
                      </a:cubicBezTo>
                      <a:cubicBezTo>
                        <a:pt x="33" y="71"/>
                        <a:pt x="35" y="71"/>
                        <a:pt x="35" y="72"/>
                      </a:cubicBezTo>
                      <a:cubicBezTo>
                        <a:pt x="35" y="73"/>
                        <a:pt x="33" y="73"/>
                        <a:pt x="33" y="73"/>
                      </a:cubicBezTo>
                      <a:cubicBezTo>
                        <a:pt x="33" y="76"/>
                        <a:pt x="34" y="78"/>
                        <a:pt x="34" y="81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61" name="Freeform 2562"/>
                <p:cNvSpPr>
                  <a:spLocks noChangeAspect="1"/>
                </p:cNvSpPr>
                <p:nvPr/>
              </p:nvSpPr>
              <p:spPr bwMode="auto">
                <a:xfrm>
                  <a:off x="5281911" y="3242627"/>
                  <a:ext cx="288061" cy="411792"/>
                </a:xfrm>
                <a:custGeom>
                  <a:avLst/>
                  <a:gdLst>
                    <a:gd name="T0" fmla="*/ 6 w 58"/>
                    <a:gd name="T1" fmla="*/ 106 h 92"/>
                    <a:gd name="T2" fmla="*/ 21 w 58"/>
                    <a:gd name="T3" fmla="*/ 111 h 92"/>
                    <a:gd name="T4" fmla="*/ 25 w 58"/>
                    <a:gd name="T5" fmla="*/ 106 h 92"/>
                    <a:gd name="T6" fmla="*/ 35 w 58"/>
                    <a:gd name="T7" fmla="*/ 106 h 92"/>
                    <a:gd name="T8" fmla="*/ 41 w 58"/>
                    <a:gd name="T9" fmla="*/ 103 h 92"/>
                    <a:gd name="T10" fmla="*/ 46 w 58"/>
                    <a:gd name="T11" fmla="*/ 98 h 92"/>
                    <a:gd name="T12" fmla="*/ 57 w 58"/>
                    <a:gd name="T13" fmla="*/ 95 h 92"/>
                    <a:gd name="T14" fmla="*/ 63 w 58"/>
                    <a:gd name="T15" fmla="*/ 92 h 92"/>
                    <a:gd name="T16" fmla="*/ 70 w 58"/>
                    <a:gd name="T17" fmla="*/ 89 h 92"/>
                    <a:gd name="T18" fmla="*/ 59 w 58"/>
                    <a:gd name="T19" fmla="*/ 83 h 92"/>
                    <a:gd name="T20" fmla="*/ 56 w 58"/>
                    <a:gd name="T21" fmla="*/ 78 h 92"/>
                    <a:gd name="T22" fmla="*/ 58 w 58"/>
                    <a:gd name="T23" fmla="*/ 70 h 92"/>
                    <a:gd name="T24" fmla="*/ 57 w 58"/>
                    <a:gd name="T25" fmla="*/ 65 h 92"/>
                    <a:gd name="T26" fmla="*/ 58 w 58"/>
                    <a:gd name="T27" fmla="*/ 56 h 92"/>
                    <a:gd name="T28" fmla="*/ 59 w 58"/>
                    <a:gd name="T29" fmla="*/ 51 h 92"/>
                    <a:gd name="T30" fmla="*/ 57 w 58"/>
                    <a:gd name="T31" fmla="*/ 45 h 92"/>
                    <a:gd name="T32" fmla="*/ 57 w 58"/>
                    <a:gd name="T33" fmla="*/ 31 h 92"/>
                    <a:gd name="T34" fmla="*/ 53 w 58"/>
                    <a:gd name="T35" fmla="*/ 28 h 92"/>
                    <a:gd name="T36" fmla="*/ 54 w 58"/>
                    <a:gd name="T37" fmla="*/ 17 h 92"/>
                    <a:gd name="T38" fmla="*/ 51 w 58"/>
                    <a:gd name="T39" fmla="*/ 14 h 92"/>
                    <a:gd name="T40" fmla="*/ 51 w 58"/>
                    <a:gd name="T41" fmla="*/ 11 h 92"/>
                    <a:gd name="T42" fmla="*/ 47 w 58"/>
                    <a:gd name="T43" fmla="*/ 7 h 92"/>
                    <a:gd name="T44" fmla="*/ 48 w 58"/>
                    <a:gd name="T45" fmla="*/ 2 h 92"/>
                    <a:gd name="T46" fmla="*/ 43 w 58"/>
                    <a:gd name="T47" fmla="*/ 0 h 92"/>
                    <a:gd name="T48" fmla="*/ 39 w 58"/>
                    <a:gd name="T49" fmla="*/ 2 h 92"/>
                    <a:gd name="T50" fmla="*/ 18 w 58"/>
                    <a:gd name="T51" fmla="*/ 2 h 92"/>
                    <a:gd name="T52" fmla="*/ 6 w 58"/>
                    <a:gd name="T53" fmla="*/ 2 h 92"/>
                    <a:gd name="T54" fmla="*/ 4 w 58"/>
                    <a:gd name="T55" fmla="*/ 7 h 92"/>
                    <a:gd name="T56" fmla="*/ 6 w 58"/>
                    <a:gd name="T57" fmla="*/ 11 h 92"/>
                    <a:gd name="T58" fmla="*/ 5 w 58"/>
                    <a:gd name="T59" fmla="*/ 13 h 92"/>
                    <a:gd name="T60" fmla="*/ 7 w 58"/>
                    <a:gd name="T61" fmla="*/ 16 h 92"/>
                    <a:gd name="T62" fmla="*/ 5 w 58"/>
                    <a:gd name="T63" fmla="*/ 17 h 92"/>
                    <a:gd name="T64" fmla="*/ 6 w 58"/>
                    <a:gd name="T65" fmla="*/ 27 h 92"/>
                    <a:gd name="T66" fmla="*/ 7 w 58"/>
                    <a:gd name="T67" fmla="*/ 34 h 92"/>
                    <a:gd name="T68" fmla="*/ 8 w 58"/>
                    <a:gd name="T69" fmla="*/ 39 h 92"/>
                    <a:gd name="T70" fmla="*/ 10 w 58"/>
                    <a:gd name="T71" fmla="*/ 45 h 92"/>
                    <a:gd name="T72" fmla="*/ 10 w 58"/>
                    <a:gd name="T73" fmla="*/ 51 h 92"/>
                    <a:gd name="T74" fmla="*/ 7 w 58"/>
                    <a:gd name="T75" fmla="*/ 57 h 92"/>
                    <a:gd name="T76" fmla="*/ 6 w 58"/>
                    <a:gd name="T77" fmla="*/ 68 h 92"/>
                    <a:gd name="T78" fmla="*/ 1 w 58"/>
                    <a:gd name="T79" fmla="*/ 75 h 92"/>
                    <a:gd name="T80" fmla="*/ 4 w 58"/>
                    <a:gd name="T81" fmla="*/ 84 h 92"/>
                    <a:gd name="T82" fmla="*/ 2 w 58"/>
                    <a:gd name="T83" fmla="*/ 93 h 92"/>
                    <a:gd name="T84" fmla="*/ 7 w 58"/>
                    <a:gd name="T85" fmla="*/ 97 h 92"/>
                    <a:gd name="T86" fmla="*/ 7 w 58"/>
                    <a:gd name="T87" fmla="*/ 104 h 92"/>
                    <a:gd name="T88" fmla="*/ 6 w 58"/>
                    <a:gd name="T89" fmla="*/ 106 h 92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58"/>
                    <a:gd name="T136" fmla="*/ 0 h 92"/>
                    <a:gd name="T137" fmla="*/ 58 w 58"/>
                    <a:gd name="T138" fmla="*/ 92 h 92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58" h="92">
                      <a:moveTo>
                        <a:pt x="5" y="88"/>
                      </a:moveTo>
                      <a:cubicBezTo>
                        <a:pt x="9" y="89"/>
                        <a:pt x="13" y="92"/>
                        <a:pt x="17" y="92"/>
                      </a:cubicBezTo>
                      <a:cubicBezTo>
                        <a:pt x="19" y="92"/>
                        <a:pt x="19" y="88"/>
                        <a:pt x="21" y="88"/>
                      </a:cubicBezTo>
                      <a:cubicBezTo>
                        <a:pt x="24" y="87"/>
                        <a:pt x="27" y="88"/>
                        <a:pt x="29" y="88"/>
                      </a:cubicBezTo>
                      <a:cubicBezTo>
                        <a:pt x="31" y="87"/>
                        <a:pt x="32" y="86"/>
                        <a:pt x="34" y="85"/>
                      </a:cubicBezTo>
                      <a:cubicBezTo>
                        <a:pt x="35" y="84"/>
                        <a:pt x="36" y="82"/>
                        <a:pt x="38" y="81"/>
                      </a:cubicBezTo>
                      <a:cubicBezTo>
                        <a:pt x="41" y="80"/>
                        <a:pt x="44" y="80"/>
                        <a:pt x="47" y="79"/>
                      </a:cubicBezTo>
                      <a:cubicBezTo>
                        <a:pt x="49" y="79"/>
                        <a:pt x="51" y="77"/>
                        <a:pt x="52" y="76"/>
                      </a:cubicBezTo>
                      <a:cubicBezTo>
                        <a:pt x="54" y="75"/>
                        <a:pt x="56" y="75"/>
                        <a:pt x="58" y="74"/>
                      </a:cubicBezTo>
                      <a:cubicBezTo>
                        <a:pt x="55" y="73"/>
                        <a:pt x="51" y="71"/>
                        <a:pt x="49" y="69"/>
                      </a:cubicBezTo>
                      <a:cubicBezTo>
                        <a:pt x="47" y="68"/>
                        <a:pt x="46" y="66"/>
                        <a:pt x="46" y="65"/>
                      </a:cubicBezTo>
                      <a:cubicBezTo>
                        <a:pt x="46" y="62"/>
                        <a:pt x="48" y="60"/>
                        <a:pt x="48" y="58"/>
                      </a:cubicBezTo>
                      <a:cubicBezTo>
                        <a:pt x="48" y="57"/>
                        <a:pt x="47" y="55"/>
                        <a:pt x="47" y="54"/>
                      </a:cubicBezTo>
                      <a:cubicBezTo>
                        <a:pt x="47" y="51"/>
                        <a:pt x="47" y="48"/>
                        <a:pt x="48" y="46"/>
                      </a:cubicBezTo>
                      <a:cubicBezTo>
                        <a:pt x="48" y="45"/>
                        <a:pt x="49" y="44"/>
                        <a:pt x="49" y="42"/>
                      </a:cubicBezTo>
                      <a:cubicBezTo>
                        <a:pt x="49" y="40"/>
                        <a:pt x="47" y="39"/>
                        <a:pt x="47" y="37"/>
                      </a:cubicBezTo>
                      <a:cubicBezTo>
                        <a:pt x="46" y="33"/>
                        <a:pt x="48" y="30"/>
                        <a:pt x="47" y="26"/>
                      </a:cubicBezTo>
                      <a:cubicBezTo>
                        <a:pt x="47" y="25"/>
                        <a:pt x="45" y="25"/>
                        <a:pt x="44" y="23"/>
                      </a:cubicBezTo>
                      <a:cubicBezTo>
                        <a:pt x="44" y="20"/>
                        <a:pt x="45" y="17"/>
                        <a:pt x="45" y="14"/>
                      </a:cubicBezTo>
                      <a:cubicBezTo>
                        <a:pt x="44" y="13"/>
                        <a:pt x="42" y="13"/>
                        <a:pt x="42" y="12"/>
                      </a:cubicBezTo>
                      <a:cubicBezTo>
                        <a:pt x="41" y="11"/>
                        <a:pt x="42" y="10"/>
                        <a:pt x="42" y="9"/>
                      </a:cubicBezTo>
                      <a:cubicBezTo>
                        <a:pt x="41" y="8"/>
                        <a:pt x="40" y="7"/>
                        <a:pt x="39" y="6"/>
                      </a:cubicBezTo>
                      <a:cubicBezTo>
                        <a:pt x="39" y="5"/>
                        <a:pt x="40" y="3"/>
                        <a:pt x="40" y="2"/>
                      </a:cubicBezTo>
                      <a:cubicBezTo>
                        <a:pt x="39" y="1"/>
                        <a:pt x="38" y="0"/>
                        <a:pt x="36" y="0"/>
                      </a:cubicBezTo>
                      <a:cubicBezTo>
                        <a:pt x="34" y="0"/>
                        <a:pt x="33" y="2"/>
                        <a:pt x="32" y="2"/>
                      </a:cubicBezTo>
                      <a:cubicBezTo>
                        <a:pt x="26" y="3"/>
                        <a:pt x="20" y="2"/>
                        <a:pt x="15" y="2"/>
                      </a:cubicBezTo>
                      <a:cubicBezTo>
                        <a:pt x="12" y="2"/>
                        <a:pt x="8" y="1"/>
                        <a:pt x="5" y="2"/>
                      </a:cubicBezTo>
                      <a:cubicBezTo>
                        <a:pt x="4" y="2"/>
                        <a:pt x="3" y="4"/>
                        <a:pt x="3" y="6"/>
                      </a:cubicBezTo>
                      <a:cubicBezTo>
                        <a:pt x="3" y="7"/>
                        <a:pt x="5" y="8"/>
                        <a:pt x="5" y="9"/>
                      </a:cubicBezTo>
                      <a:cubicBezTo>
                        <a:pt x="5" y="10"/>
                        <a:pt x="4" y="11"/>
                        <a:pt x="4" y="11"/>
                      </a:cubicBezTo>
                      <a:cubicBezTo>
                        <a:pt x="4" y="12"/>
                        <a:pt x="6" y="12"/>
                        <a:pt x="6" y="13"/>
                      </a:cubicBezTo>
                      <a:cubicBezTo>
                        <a:pt x="6" y="14"/>
                        <a:pt x="4" y="14"/>
                        <a:pt x="4" y="14"/>
                      </a:cubicBezTo>
                      <a:cubicBezTo>
                        <a:pt x="4" y="17"/>
                        <a:pt x="5" y="19"/>
                        <a:pt x="5" y="22"/>
                      </a:cubicBezTo>
                      <a:cubicBezTo>
                        <a:pt x="5" y="24"/>
                        <a:pt x="5" y="26"/>
                        <a:pt x="6" y="28"/>
                      </a:cubicBezTo>
                      <a:cubicBezTo>
                        <a:pt x="6" y="29"/>
                        <a:pt x="6" y="30"/>
                        <a:pt x="7" y="32"/>
                      </a:cubicBezTo>
                      <a:cubicBezTo>
                        <a:pt x="7" y="34"/>
                        <a:pt x="8" y="35"/>
                        <a:pt x="8" y="37"/>
                      </a:cubicBezTo>
                      <a:cubicBezTo>
                        <a:pt x="9" y="39"/>
                        <a:pt x="9" y="41"/>
                        <a:pt x="8" y="42"/>
                      </a:cubicBezTo>
                      <a:cubicBezTo>
                        <a:pt x="8" y="44"/>
                        <a:pt x="6" y="45"/>
                        <a:pt x="6" y="47"/>
                      </a:cubicBezTo>
                      <a:cubicBezTo>
                        <a:pt x="5" y="50"/>
                        <a:pt x="6" y="53"/>
                        <a:pt x="5" y="56"/>
                      </a:cubicBezTo>
                      <a:cubicBezTo>
                        <a:pt x="4" y="58"/>
                        <a:pt x="1" y="60"/>
                        <a:pt x="1" y="62"/>
                      </a:cubicBezTo>
                      <a:cubicBezTo>
                        <a:pt x="0" y="65"/>
                        <a:pt x="3" y="67"/>
                        <a:pt x="3" y="70"/>
                      </a:cubicBezTo>
                      <a:cubicBezTo>
                        <a:pt x="3" y="72"/>
                        <a:pt x="2" y="75"/>
                        <a:pt x="2" y="77"/>
                      </a:cubicBezTo>
                      <a:cubicBezTo>
                        <a:pt x="3" y="78"/>
                        <a:pt x="5" y="78"/>
                        <a:pt x="6" y="80"/>
                      </a:cubicBezTo>
                      <a:cubicBezTo>
                        <a:pt x="7" y="82"/>
                        <a:pt x="6" y="84"/>
                        <a:pt x="6" y="86"/>
                      </a:cubicBezTo>
                      <a:cubicBezTo>
                        <a:pt x="6" y="86"/>
                        <a:pt x="5" y="87"/>
                        <a:pt x="5" y="88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62" name="Freeform 2563"/>
                <p:cNvSpPr>
                  <a:spLocks noChangeAspect="1"/>
                </p:cNvSpPr>
                <p:nvPr/>
              </p:nvSpPr>
              <p:spPr bwMode="auto">
                <a:xfrm>
                  <a:off x="5475323" y="3253755"/>
                  <a:ext cx="119342" cy="319044"/>
                </a:xfrm>
                <a:custGeom>
                  <a:avLst/>
                  <a:gdLst>
                    <a:gd name="T0" fmla="*/ 23 w 24"/>
                    <a:gd name="T1" fmla="*/ 86 h 72"/>
                    <a:gd name="T2" fmla="*/ 12 w 24"/>
                    <a:gd name="T3" fmla="*/ 80 h 72"/>
                    <a:gd name="T4" fmla="*/ 8 w 24"/>
                    <a:gd name="T5" fmla="*/ 75 h 72"/>
                    <a:gd name="T6" fmla="*/ 11 w 24"/>
                    <a:gd name="T7" fmla="*/ 67 h 72"/>
                    <a:gd name="T8" fmla="*/ 10 w 24"/>
                    <a:gd name="T9" fmla="*/ 62 h 72"/>
                    <a:gd name="T10" fmla="*/ 11 w 24"/>
                    <a:gd name="T11" fmla="*/ 53 h 72"/>
                    <a:gd name="T12" fmla="*/ 12 w 24"/>
                    <a:gd name="T13" fmla="*/ 48 h 72"/>
                    <a:gd name="T14" fmla="*/ 10 w 24"/>
                    <a:gd name="T15" fmla="*/ 42 h 72"/>
                    <a:gd name="T16" fmla="*/ 10 w 24"/>
                    <a:gd name="T17" fmla="*/ 29 h 72"/>
                    <a:gd name="T18" fmla="*/ 6 w 24"/>
                    <a:gd name="T19" fmla="*/ 25 h 72"/>
                    <a:gd name="T20" fmla="*/ 7 w 24"/>
                    <a:gd name="T21" fmla="*/ 14 h 72"/>
                    <a:gd name="T22" fmla="*/ 4 w 24"/>
                    <a:gd name="T23" fmla="*/ 12 h 72"/>
                    <a:gd name="T24" fmla="*/ 4 w 24"/>
                    <a:gd name="T25" fmla="*/ 8 h 72"/>
                    <a:gd name="T26" fmla="*/ 0 w 24"/>
                    <a:gd name="T27" fmla="*/ 5 h 72"/>
                    <a:gd name="T28" fmla="*/ 1 w 24"/>
                    <a:gd name="T29" fmla="*/ 0 h 72"/>
                    <a:gd name="T30" fmla="*/ 7 w 24"/>
                    <a:gd name="T31" fmla="*/ 2 h 72"/>
                    <a:gd name="T32" fmla="*/ 13 w 24"/>
                    <a:gd name="T33" fmla="*/ 4 h 72"/>
                    <a:gd name="T34" fmla="*/ 15 w 24"/>
                    <a:gd name="T35" fmla="*/ 11 h 72"/>
                    <a:gd name="T36" fmla="*/ 21 w 24"/>
                    <a:gd name="T37" fmla="*/ 18 h 72"/>
                    <a:gd name="T38" fmla="*/ 22 w 24"/>
                    <a:gd name="T39" fmla="*/ 29 h 72"/>
                    <a:gd name="T40" fmla="*/ 25 w 24"/>
                    <a:gd name="T41" fmla="*/ 33 h 72"/>
                    <a:gd name="T42" fmla="*/ 25 w 24"/>
                    <a:gd name="T43" fmla="*/ 74 h 72"/>
                    <a:gd name="T44" fmla="*/ 29 w 24"/>
                    <a:gd name="T45" fmla="*/ 82 h 72"/>
                    <a:gd name="T46" fmla="*/ 23 w 24"/>
                    <a:gd name="T47" fmla="*/ 86 h 72"/>
                    <a:gd name="T48" fmla="*/ 0 60000 65536"/>
                    <a:gd name="T49" fmla="*/ 0 60000 65536"/>
                    <a:gd name="T50" fmla="*/ 0 60000 65536"/>
                    <a:gd name="T51" fmla="*/ 0 60000 65536"/>
                    <a:gd name="T52" fmla="*/ 0 60000 65536"/>
                    <a:gd name="T53" fmla="*/ 0 60000 65536"/>
                    <a:gd name="T54" fmla="*/ 0 60000 65536"/>
                    <a:gd name="T55" fmla="*/ 0 60000 65536"/>
                    <a:gd name="T56" fmla="*/ 0 60000 65536"/>
                    <a:gd name="T57" fmla="*/ 0 60000 65536"/>
                    <a:gd name="T58" fmla="*/ 0 60000 65536"/>
                    <a:gd name="T59" fmla="*/ 0 60000 65536"/>
                    <a:gd name="T60" fmla="*/ 0 60000 65536"/>
                    <a:gd name="T61" fmla="*/ 0 60000 65536"/>
                    <a:gd name="T62" fmla="*/ 0 60000 65536"/>
                    <a:gd name="T63" fmla="*/ 0 60000 65536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w 24"/>
                    <a:gd name="T73" fmla="*/ 0 h 72"/>
                    <a:gd name="T74" fmla="*/ 24 w 24"/>
                    <a:gd name="T75" fmla="*/ 72 h 72"/>
                  </a:gdLst>
                  <a:ahLst/>
                  <a:cxnLst>
                    <a:cxn ang="T48">
                      <a:pos x="T0" y="T1"/>
                    </a:cxn>
                    <a:cxn ang="T49">
                      <a:pos x="T2" y="T3"/>
                    </a:cxn>
                    <a:cxn ang="T50">
                      <a:pos x="T4" y="T5"/>
                    </a:cxn>
                    <a:cxn ang="T51">
                      <a:pos x="T6" y="T7"/>
                    </a:cxn>
                    <a:cxn ang="T52">
                      <a:pos x="T8" y="T9"/>
                    </a:cxn>
                    <a:cxn ang="T53">
                      <a:pos x="T10" y="T11"/>
                    </a:cxn>
                    <a:cxn ang="T54">
                      <a:pos x="T12" y="T13"/>
                    </a:cxn>
                    <a:cxn ang="T55">
                      <a:pos x="T14" y="T15"/>
                    </a:cxn>
                    <a:cxn ang="T56">
                      <a:pos x="T16" y="T17"/>
                    </a:cxn>
                    <a:cxn ang="T57">
                      <a:pos x="T18" y="T19"/>
                    </a:cxn>
                    <a:cxn ang="T58">
                      <a:pos x="T20" y="T21"/>
                    </a:cxn>
                    <a:cxn ang="T59">
                      <a:pos x="T22" y="T23"/>
                    </a:cxn>
                    <a:cxn ang="T60">
                      <a:pos x="T24" y="T25"/>
                    </a:cxn>
                    <a:cxn ang="T61">
                      <a:pos x="T26" y="T27"/>
                    </a:cxn>
                    <a:cxn ang="T62">
                      <a:pos x="T28" y="T29"/>
                    </a:cxn>
                    <a:cxn ang="T63">
                      <a:pos x="T30" y="T31"/>
                    </a:cxn>
                    <a:cxn ang="T64">
                      <a:pos x="T32" y="T33"/>
                    </a:cxn>
                    <a:cxn ang="T65">
                      <a:pos x="T34" y="T35"/>
                    </a:cxn>
                    <a:cxn ang="T66">
                      <a:pos x="T36" y="T37"/>
                    </a:cxn>
                    <a:cxn ang="T67">
                      <a:pos x="T38" y="T39"/>
                    </a:cxn>
                    <a:cxn ang="T68">
                      <a:pos x="T40" y="T41"/>
                    </a:cxn>
                    <a:cxn ang="T69">
                      <a:pos x="T42" y="T43"/>
                    </a:cxn>
                    <a:cxn ang="T70">
                      <a:pos x="T44" y="T45"/>
                    </a:cxn>
                    <a:cxn ang="T71">
                      <a:pos x="T46" y="T47"/>
                    </a:cxn>
                  </a:cxnLst>
                  <a:rect l="T72" t="T73" r="T74" b="T75"/>
                  <a:pathLst>
                    <a:path w="24" h="72">
                      <a:moveTo>
                        <a:pt x="19" y="72"/>
                      </a:moveTo>
                      <a:cubicBezTo>
                        <a:pt x="16" y="71"/>
                        <a:pt x="12" y="69"/>
                        <a:pt x="10" y="67"/>
                      </a:cubicBezTo>
                      <a:cubicBezTo>
                        <a:pt x="8" y="66"/>
                        <a:pt x="7" y="64"/>
                        <a:pt x="7" y="63"/>
                      </a:cubicBezTo>
                      <a:cubicBezTo>
                        <a:pt x="7" y="60"/>
                        <a:pt x="9" y="58"/>
                        <a:pt x="9" y="56"/>
                      </a:cubicBezTo>
                      <a:cubicBezTo>
                        <a:pt x="9" y="55"/>
                        <a:pt x="8" y="53"/>
                        <a:pt x="8" y="52"/>
                      </a:cubicBezTo>
                      <a:cubicBezTo>
                        <a:pt x="8" y="49"/>
                        <a:pt x="8" y="46"/>
                        <a:pt x="9" y="44"/>
                      </a:cubicBezTo>
                      <a:cubicBezTo>
                        <a:pt x="9" y="43"/>
                        <a:pt x="10" y="42"/>
                        <a:pt x="10" y="40"/>
                      </a:cubicBezTo>
                      <a:cubicBezTo>
                        <a:pt x="10" y="38"/>
                        <a:pt x="8" y="37"/>
                        <a:pt x="8" y="35"/>
                      </a:cubicBezTo>
                      <a:cubicBezTo>
                        <a:pt x="7" y="31"/>
                        <a:pt x="9" y="28"/>
                        <a:pt x="8" y="24"/>
                      </a:cubicBezTo>
                      <a:cubicBezTo>
                        <a:pt x="8" y="23"/>
                        <a:pt x="6" y="23"/>
                        <a:pt x="5" y="21"/>
                      </a:cubicBezTo>
                      <a:cubicBezTo>
                        <a:pt x="5" y="18"/>
                        <a:pt x="6" y="15"/>
                        <a:pt x="6" y="12"/>
                      </a:cubicBezTo>
                      <a:cubicBezTo>
                        <a:pt x="5" y="11"/>
                        <a:pt x="3" y="11"/>
                        <a:pt x="3" y="10"/>
                      </a:cubicBezTo>
                      <a:cubicBezTo>
                        <a:pt x="2" y="9"/>
                        <a:pt x="3" y="8"/>
                        <a:pt x="3" y="7"/>
                      </a:cubicBezTo>
                      <a:cubicBezTo>
                        <a:pt x="2" y="6"/>
                        <a:pt x="1" y="5"/>
                        <a:pt x="0" y="4"/>
                      </a:cubicBezTo>
                      <a:cubicBezTo>
                        <a:pt x="0" y="3"/>
                        <a:pt x="1" y="1"/>
                        <a:pt x="1" y="0"/>
                      </a:cubicBezTo>
                      <a:cubicBezTo>
                        <a:pt x="3" y="1"/>
                        <a:pt x="4" y="1"/>
                        <a:pt x="6" y="2"/>
                      </a:cubicBezTo>
                      <a:cubicBezTo>
                        <a:pt x="8" y="2"/>
                        <a:pt x="9" y="2"/>
                        <a:pt x="11" y="3"/>
                      </a:cubicBezTo>
                      <a:cubicBezTo>
                        <a:pt x="11" y="5"/>
                        <a:pt x="11" y="7"/>
                        <a:pt x="12" y="9"/>
                      </a:cubicBezTo>
                      <a:cubicBezTo>
                        <a:pt x="13" y="12"/>
                        <a:pt x="16" y="13"/>
                        <a:pt x="17" y="15"/>
                      </a:cubicBezTo>
                      <a:cubicBezTo>
                        <a:pt x="18" y="18"/>
                        <a:pt x="17" y="21"/>
                        <a:pt x="18" y="24"/>
                      </a:cubicBezTo>
                      <a:cubicBezTo>
                        <a:pt x="18" y="26"/>
                        <a:pt x="21" y="27"/>
                        <a:pt x="21" y="28"/>
                      </a:cubicBezTo>
                      <a:cubicBezTo>
                        <a:pt x="22" y="39"/>
                        <a:pt x="20" y="51"/>
                        <a:pt x="21" y="62"/>
                      </a:cubicBezTo>
                      <a:cubicBezTo>
                        <a:pt x="21" y="64"/>
                        <a:pt x="23" y="67"/>
                        <a:pt x="24" y="69"/>
                      </a:cubicBezTo>
                      <a:cubicBezTo>
                        <a:pt x="22" y="70"/>
                        <a:pt x="20" y="71"/>
                        <a:pt x="19" y="72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63" name="Freeform 2564"/>
                <p:cNvSpPr>
                  <a:spLocks noChangeAspect="1"/>
                </p:cNvSpPr>
                <p:nvPr/>
              </p:nvSpPr>
              <p:spPr bwMode="auto">
                <a:xfrm>
                  <a:off x="5528820" y="3153590"/>
                  <a:ext cx="193415" cy="408080"/>
                </a:xfrm>
                <a:custGeom>
                  <a:avLst/>
                  <a:gdLst>
                    <a:gd name="T0" fmla="*/ 16 w 39"/>
                    <a:gd name="T1" fmla="*/ 110 h 91"/>
                    <a:gd name="T2" fmla="*/ 23 w 39"/>
                    <a:gd name="T3" fmla="*/ 109 h 91"/>
                    <a:gd name="T4" fmla="*/ 31 w 39"/>
                    <a:gd name="T5" fmla="*/ 109 h 91"/>
                    <a:gd name="T6" fmla="*/ 29 w 39"/>
                    <a:gd name="T7" fmla="*/ 88 h 91"/>
                    <a:gd name="T8" fmla="*/ 30 w 39"/>
                    <a:gd name="T9" fmla="*/ 76 h 91"/>
                    <a:gd name="T10" fmla="*/ 31 w 39"/>
                    <a:gd name="T11" fmla="*/ 60 h 91"/>
                    <a:gd name="T12" fmla="*/ 36 w 39"/>
                    <a:gd name="T13" fmla="*/ 59 h 91"/>
                    <a:gd name="T14" fmla="*/ 40 w 39"/>
                    <a:gd name="T15" fmla="*/ 50 h 91"/>
                    <a:gd name="T16" fmla="*/ 45 w 39"/>
                    <a:gd name="T17" fmla="*/ 44 h 91"/>
                    <a:gd name="T18" fmla="*/ 42 w 39"/>
                    <a:gd name="T19" fmla="*/ 37 h 91"/>
                    <a:gd name="T20" fmla="*/ 47 w 39"/>
                    <a:gd name="T21" fmla="*/ 35 h 91"/>
                    <a:gd name="T22" fmla="*/ 43 w 39"/>
                    <a:gd name="T23" fmla="*/ 29 h 91"/>
                    <a:gd name="T24" fmla="*/ 41 w 39"/>
                    <a:gd name="T25" fmla="*/ 21 h 91"/>
                    <a:gd name="T26" fmla="*/ 45 w 39"/>
                    <a:gd name="T27" fmla="*/ 12 h 91"/>
                    <a:gd name="T28" fmla="*/ 40 w 39"/>
                    <a:gd name="T29" fmla="*/ 11 h 91"/>
                    <a:gd name="T30" fmla="*/ 31 w 39"/>
                    <a:gd name="T31" fmla="*/ 1 h 91"/>
                    <a:gd name="T32" fmla="*/ 27 w 39"/>
                    <a:gd name="T33" fmla="*/ 4 h 91"/>
                    <a:gd name="T34" fmla="*/ 25 w 39"/>
                    <a:gd name="T35" fmla="*/ 10 h 91"/>
                    <a:gd name="T36" fmla="*/ 24 w 39"/>
                    <a:gd name="T37" fmla="*/ 12 h 91"/>
                    <a:gd name="T38" fmla="*/ 23 w 39"/>
                    <a:gd name="T39" fmla="*/ 17 h 91"/>
                    <a:gd name="T40" fmla="*/ 17 w 39"/>
                    <a:gd name="T41" fmla="*/ 19 h 91"/>
                    <a:gd name="T42" fmla="*/ 10 w 39"/>
                    <a:gd name="T43" fmla="*/ 19 h 91"/>
                    <a:gd name="T44" fmla="*/ 5 w 39"/>
                    <a:gd name="T45" fmla="*/ 21 h 91"/>
                    <a:gd name="T46" fmla="*/ 5 w 39"/>
                    <a:gd name="T47" fmla="*/ 27 h 91"/>
                    <a:gd name="T48" fmla="*/ 1 w 39"/>
                    <a:gd name="T49" fmla="*/ 25 h 91"/>
                    <a:gd name="T50" fmla="*/ 0 w 39"/>
                    <a:gd name="T51" fmla="*/ 30 h 91"/>
                    <a:gd name="T52" fmla="*/ 1 w 39"/>
                    <a:gd name="T53" fmla="*/ 37 h 91"/>
                    <a:gd name="T54" fmla="*/ 7 w 39"/>
                    <a:gd name="T55" fmla="*/ 45 h 91"/>
                    <a:gd name="T56" fmla="*/ 8 w 39"/>
                    <a:gd name="T57" fmla="*/ 56 h 91"/>
                    <a:gd name="T58" fmla="*/ 12 w 39"/>
                    <a:gd name="T59" fmla="*/ 60 h 91"/>
                    <a:gd name="T60" fmla="*/ 12 w 39"/>
                    <a:gd name="T61" fmla="*/ 102 h 91"/>
                    <a:gd name="T62" fmla="*/ 16 w 39"/>
                    <a:gd name="T63" fmla="*/ 110 h 91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39"/>
                    <a:gd name="T97" fmla="*/ 0 h 91"/>
                    <a:gd name="T98" fmla="*/ 39 w 39"/>
                    <a:gd name="T99" fmla="*/ 91 h 91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39" h="91">
                      <a:moveTo>
                        <a:pt x="13" y="91"/>
                      </a:moveTo>
                      <a:cubicBezTo>
                        <a:pt x="15" y="91"/>
                        <a:pt x="17" y="90"/>
                        <a:pt x="19" y="90"/>
                      </a:cubicBezTo>
                      <a:cubicBezTo>
                        <a:pt x="21" y="89"/>
                        <a:pt x="23" y="90"/>
                        <a:pt x="26" y="90"/>
                      </a:cubicBezTo>
                      <a:cubicBezTo>
                        <a:pt x="25" y="84"/>
                        <a:pt x="25" y="79"/>
                        <a:pt x="24" y="73"/>
                      </a:cubicBezTo>
                      <a:cubicBezTo>
                        <a:pt x="24" y="70"/>
                        <a:pt x="25" y="66"/>
                        <a:pt x="25" y="63"/>
                      </a:cubicBezTo>
                      <a:cubicBezTo>
                        <a:pt x="25" y="59"/>
                        <a:pt x="24" y="54"/>
                        <a:pt x="26" y="50"/>
                      </a:cubicBezTo>
                      <a:cubicBezTo>
                        <a:pt x="26" y="49"/>
                        <a:pt x="30" y="50"/>
                        <a:pt x="30" y="49"/>
                      </a:cubicBezTo>
                      <a:cubicBezTo>
                        <a:pt x="32" y="46"/>
                        <a:pt x="31" y="43"/>
                        <a:pt x="33" y="41"/>
                      </a:cubicBezTo>
                      <a:cubicBezTo>
                        <a:pt x="34" y="39"/>
                        <a:pt x="37" y="38"/>
                        <a:pt x="37" y="36"/>
                      </a:cubicBezTo>
                      <a:cubicBezTo>
                        <a:pt x="38" y="34"/>
                        <a:pt x="34" y="33"/>
                        <a:pt x="35" y="31"/>
                      </a:cubicBezTo>
                      <a:cubicBezTo>
                        <a:pt x="35" y="29"/>
                        <a:pt x="39" y="31"/>
                        <a:pt x="39" y="29"/>
                      </a:cubicBezTo>
                      <a:cubicBezTo>
                        <a:pt x="39" y="27"/>
                        <a:pt x="36" y="26"/>
                        <a:pt x="36" y="24"/>
                      </a:cubicBezTo>
                      <a:cubicBezTo>
                        <a:pt x="35" y="22"/>
                        <a:pt x="34" y="20"/>
                        <a:pt x="34" y="17"/>
                      </a:cubicBezTo>
                      <a:cubicBezTo>
                        <a:pt x="34" y="15"/>
                        <a:pt x="36" y="13"/>
                        <a:pt x="37" y="10"/>
                      </a:cubicBezTo>
                      <a:cubicBezTo>
                        <a:pt x="35" y="10"/>
                        <a:pt x="34" y="10"/>
                        <a:pt x="33" y="9"/>
                      </a:cubicBezTo>
                      <a:cubicBezTo>
                        <a:pt x="30" y="7"/>
                        <a:pt x="29" y="2"/>
                        <a:pt x="26" y="1"/>
                      </a:cubicBezTo>
                      <a:cubicBezTo>
                        <a:pt x="25" y="0"/>
                        <a:pt x="23" y="1"/>
                        <a:pt x="22" y="3"/>
                      </a:cubicBezTo>
                      <a:cubicBezTo>
                        <a:pt x="21" y="4"/>
                        <a:pt x="22" y="7"/>
                        <a:pt x="21" y="8"/>
                      </a:cubicBezTo>
                      <a:cubicBezTo>
                        <a:pt x="21" y="9"/>
                        <a:pt x="20" y="9"/>
                        <a:pt x="20" y="10"/>
                      </a:cubicBezTo>
                      <a:cubicBezTo>
                        <a:pt x="20" y="11"/>
                        <a:pt x="20" y="13"/>
                        <a:pt x="19" y="14"/>
                      </a:cubicBezTo>
                      <a:cubicBezTo>
                        <a:pt x="18" y="16"/>
                        <a:pt x="16" y="16"/>
                        <a:pt x="14" y="16"/>
                      </a:cubicBezTo>
                      <a:cubicBezTo>
                        <a:pt x="12" y="16"/>
                        <a:pt x="10" y="15"/>
                        <a:pt x="8" y="16"/>
                      </a:cubicBezTo>
                      <a:cubicBezTo>
                        <a:pt x="6" y="16"/>
                        <a:pt x="5" y="16"/>
                        <a:pt x="4" y="17"/>
                      </a:cubicBezTo>
                      <a:cubicBezTo>
                        <a:pt x="3" y="19"/>
                        <a:pt x="5" y="21"/>
                        <a:pt x="4" y="22"/>
                      </a:cubicBezTo>
                      <a:cubicBezTo>
                        <a:pt x="3" y="23"/>
                        <a:pt x="2" y="21"/>
                        <a:pt x="1" y="21"/>
                      </a:cubicBezTo>
                      <a:cubicBezTo>
                        <a:pt x="0" y="22"/>
                        <a:pt x="0" y="23"/>
                        <a:pt x="0" y="25"/>
                      </a:cubicBezTo>
                      <a:cubicBezTo>
                        <a:pt x="0" y="27"/>
                        <a:pt x="0" y="29"/>
                        <a:pt x="1" y="31"/>
                      </a:cubicBezTo>
                      <a:cubicBezTo>
                        <a:pt x="2" y="34"/>
                        <a:pt x="5" y="35"/>
                        <a:pt x="6" y="37"/>
                      </a:cubicBezTo>
                      <a:cubicBezTo>
                        <a:pt x="7" y="40"/>
                        <a:pt x="6" y="43"/>
                        <a:pt x="7" y="46"/>
                      </a:cubicBezTo>
                      <a:cubicBezTo>
                        <a:pt x="7" y="48"/>
                        <a:pt x="10" y="49"/>
                        <a:pt x="10" y="50"/>
                      </a:cubicBezTo>
                      <a:cubicBezTo>
                        <a:pt x="11" y="61"/>
                        <a:pt x="9" y="73"/>
                        <a:pt x="10" y="84"/>
                      </a:cubicBezTo>
                      <a:cubicBezTo>
                        <a:pt x="10" y="86"/>
                        <a:pt x="12" y="89"/>
                        <a:pt x="13" y="91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64" name="Freeform 2565"/>
                <p:cNvSpPr>
                  <a:spLocks noChangeAspect="1"/>
                </p:cNvSpPr>
                <p:nvPr/>
              </p:nvSpPr>
              <p:spPr bwMode="auto">
                <a:xfrm>
                  <a:off x="5648159" y="3075682"/>
                  <a:ext cx="757191" cy="608414"/>
                </a:xfrm>
                <a:custGeom>
                  <a:avLst/>
                  <a:gdLst>
                    <a:gd name="T0" fmla="*/ 94 w 153"/>
                    <a:gd name="T1" fmla="*/ 148 h 137"/>
                    <a:gd name="T2" fmla="*/ 97 w 153"/>
                    <a:gd name="T3" fmla="*/ 129 h 137"/>
                    <a:gd name="T4" fmla="*/ 113 w 153"/>
                    <a:gd name="T5" fmla="*/ 116 h 137"/>
                    <a:gd name="T6" fmla="*/ 120 w 153"/>
                    <a:gd name="T7" fmla="*/ 119 h 137"/>
                    <a:gd name="T8" fmla="*/ 129 w 153"/>
                    <a:gd name="T9" fmla="*/ 124 h 137"/>
                    <a:gd name="T10" fmla="*/ 141 w 153"/>
                    <a:gd name="T11" fmla="*/ 114 h 137"/>
                    <a:gd name="T12" fmla="*/ 146 w 153"/>
                    <a:gd name="T13" fmla="*/ 96 h 137"/>
                    <a:gd name="T14" fmla="*/ 156 w 153"/>
                    <a:gd name="T15" fmla="*/ 75 h 137"/>
                    <a:gd name="T16" fmla="*/ 161 w 153"/>
                    <a:gd name="T17" fmla="*/ 65 h 137"/>
                    <a:gd name="T18" fmla="*/ 171 w 153"/>
                    <a:gd name="T19" fmla="*/ 44 h 137"/>
                    <a:gd name="T20" fmla="*/ 180 w 153"/>
                    <a:gd name="T21" fmla="*/ 28 h 137"/>
                    <a:gd name="T22" fmla="*/ 176 w 153"/>
                    <a:gd name="T23" fmla="*/ 17 h 137"/>
                    <a:gd name="T24" fmla="*/ 166 w 153"/>
                    <a:gd name="T25" fmla="*/ 2 h 137"/>
                    <a:gd name="T26" fmla="*/ 152 w 153"/>
                    <a:gd name="T27" fmla="*/ 8 h 137"/>
                    <a:gd name="T28" fmla="*/ 129 w 153"/>
                    <a:gd name="T29" fmla="*/ 8 h 137"/>
                    <a:gd name="T30" fmla="*/ 105 w 153"/>
                    <a:gd name="T31" fmla="*/ 17 h 137"/>
                    <a:gd name="T32" fmla="*/ 88 w 153"/>
                    <a:gd name="T33" fmla="*/ 11 h 137"/>
                    <a:gd name="T34" fmla="*/ 67 w 153"/>
                    <a:gd name="T35" fmla="*/ 11 h 137"/>
                    <a:gd name="T36" fmla="*/ 38 w 153"/>
                    <a:gd name="T37" fmla="*/ 0 h 137"/>
                    <a:gd name="T38" fmla="*/ 19 w 153"/>
                    <a:gd name="T39" fmla="*/ 14 h 137"/>
                    <a:gd name="T40" fmla="*/ 16 w 153"/>
                    <a:gd name="T41" fmla="*/ 34 h 137"/>
                    <a:gd name="T42" fmla="*/ 14 w 153"/>
                    <a:gd name="T43" fmla="*/ 50 h 137"/>
                    <a:gd name="T44" fmla="*/ 13 w 153"/>
                    <a:gd name="T45" fmla="*/ 59 h 137"/>
                    <a:gd name="T46" fmla="*/ 11 w 153"/>
                    <a:gd name="T47" fmla="*/ 71 h 137"/>
                    <a:gd name="T48" fmla="*/ 2 w 153"/>
                    <a:gd name="T49" fmla="*/ 81 h 137"/>
                    <a:gd name="T50" fmla="*/ 0 w 153"/>
                    <a:gd name="T51" fmla="*/ 109 h 137"/>
                    <a:gd name="T52" fmla="*/ 14 w 153"/>
                    <a:gd name="T53" fmla="*/ 127 h 137"/>
                    <a:gd name="T54" fmla="*/ 36 w 153"/>
                    <a:gd name="T55" fmla="*/ 135 h 137"/>
                    <a:gd name="T56" fmla="*/ 43 w 153"/>
                    <a:gd name="T57" fmla="*/ 146 h 137"/>
                    <a:gd name="T58" fmla="*/ 44 w 153"/>
                    <a:gd name="T59" fmla="*/ 160 h 137"/>
                    <a:gd name="T60" fmla="*/ 67 w 153"/>
                    <a:gd name="T61" fmla="*/ 163 h 137"/>
                    <a:gd name="T62" fmla="*/ 83 w 153"/>
                    <a:gd name="T63" fmla="*/ 153 h 137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153"/>
                    <a:gd name="T97" fmla="*/ 0 h 137"/>
                    <a:gd name="T98" fmla="*/ 153 w 153"/>
                    <a:gd name="T99" fmla="*/ 137 h 137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153" h="137">
                      <a:moveTo>
                        <a:pt x="73" y="130"/>
                      </a:moveTo>
                      <a:cubicBezTo>
                        <a:pt x="75" y="128"/>
                        <a:pt x="77" y="126"/>
                        <a:pt x="78" y="124"/>
                      </a:cubicBezTo>
                      <a:cubicBezTo>
                        <a:pt x="78" y="121"/>
                        <a:pt x="76" y="117"/>
                        <a:pt x="77" y="114"/>
                      </a:cubicBezTo>
                      <a:cubicBezTo>
                        <a:pt x="78" y="112"/>
                        <a:pt x="80" y="110"/>
                        <a:pt x="81" y="108"/>
                      </a:cubicBezTo>
                      <a:cubicBezTo>
                        <a:pt x="83" y="106"/>
                        <a:pt x="86" y="105"/>
                        <a:pt x="88" y="104"/>
                      </a:cubicBezTo>
                      <a:cubicBezTo>
                        <a:pt x="90" y="102"/>
                        <a:pt x="91" y="98"/>
                        <a:pt x="94" y="97"/>
                      </a:cubicBezTo>
                      <a:cubicBezTo>
                        <a:pt x="95" y="97"/>
                        <a:pt x="96" y="99"/>
                        <a:pt x="98" y="100"/>
                      </a:cubicBezTo>
                      <a:cubicBezTo>
                        <a:pt x="99" y="100"/>
                        <a:pt x="100" y="100"/>
                        <a:pt x="100" y="99"/>
                      </a:cubicBezTo>
                      <a:cubicBezTo>
                        <a:pt x="101" y="99"/>
                        <a:pt x="101" y="96"/>
                        <a:pt x="101" y="97"/>
                      </a:cubicBezTo>
                      <a:cubicBezTo>
                        <a:pt x="104" y="98"/>
                        <a:pt x="105" y="102"/>
                        <a:pt x="107" y="104"/>
                      </a:cubicBezTo>
                      <a:cubicBezTo>
                        <a:pt x="108" y="105"/>
                        <a:pt x="111" y="106"/>
                        <a:pt x="112" y="105"/>
                      </a:cubicBezTo>
                      <a:cubicBezTo>
                        <a:pt x="115" y="103"/>
                        <a:pt x="116" y="98"/>
                        <a:pt x="117" y="95"/>
                      </a:cubicBezTo>
                      <a:cubicBezTo>
                        <a:pt x="119" y="92"/>
                        <a:pt x="120" y="89"/>
                        <a:pt x="121" y="86"/>
                      </a:cubicBezTo>
                      <a:cubicBezTo>
                        <a:pt x="121" y="84"/>
                        <a:pt x="120" y="82"/>
                        <a:pt x="121" y="80"/>
                      </a:cubicBezTo>
                      <a:cubicBezTo>
                        <a:pt x="123" y="77"/>
                        <a:pt x="126" y="76"/>
                        <a:pt x="128" y="73"/>
                      </a:cubicBezTo>
                      <a:cubicBezTo>
                        <a:pt x="129" y="70"/>
                        <a:pt x="128" y="66"/>
                        <a:pt x="130" y="63"/>
                      </a:cubicBezTo>
                      <a:cubicBezTo>
                        <a:pt x="131" y="61"/>
                        <a:pt x="133" y="60"/>
                        <a:pt x="134" y="58"/>
                      </a:cubicBezTo>
                      <a:cubicBezTo>
                        <a:pt x="135" y="57"/>
                        <a:pt x="134" y="55"/>
                        <a:pt x="134" y="54"/>
                      </a:cubicBezTo>
                      <a:cubicBezTo>
                        <a:pt x="134" y="52"/>
                        <a:pt x="136" y="50"/>
                        <a:pt x="137" y="48"/>
                      </a:cubicBezTo>
                      <a:cubicBezTo>
                        <a:pt x="138" y="44"/>
                        <a:pt x="139" y="40"/>
                        <a:pt x="142" y="37"/>
                      </a:cubicBezTo>
                      <a:cubicBezTo>
                        <a:pt x="144" y="35"/>
                        <a:pt x="150" y="36"/>
                        <a:pt x="152" y="33"/>
                      </a:cubicBezTo>
                      <a:cubicBezTo>
                        <a:pt x="153" y="30"/>
                        <a:pt x="151" y="26"/>
                        <a:pt x="150" y="23"/>
                      </a:cubicBezTo>
                      <a:cubicBezTo>
                        <a:pt x="149" y="21"/>
                        <a:pt x="145" y="22"/>
                        <a:pt x="144" y="20"/>
                      </a:cubicBezTo>
                      <a:cubicBezTo>
                        <a:pt x="144" y="18"/>
                        <a:pt x="145" y="15"/>
                        <a:pt x="146" y="14"/>
                      </a:cubicBezTo>
                      <a:cubicBezTo>
                        <a:pt x="145" y="13"/>
                        <a:pt x="144" y="11"/>
                        <a:pt x="143" y="10"/>
                      </a:cubicBezTo>
                      <a:cubicBezTo>
                        <a:pt x="141" y="8"/>
                        <a:pt x="140" y="4"/>
                        <a:pt x="138" y="2"/>
                      </a:cubicBezTo>
                      <a:cubicBezTo>
                        <a:pt x="136" y="2"/>
                        <a:pt x="133" y="2"/>
                        <a:pt x="131" y="3"/>
                      </a:cubicBezTo>
                      <a:cubicBezTo>
                        <a:pt x="129" y="4"/>
                        <a:pt x="127" y="6"/>
                        <a:pt x="126" y="7"/>
                      </a:cubicBezTo>
                      <a:cubicBezTo>
                        <a:pt x="124" y="8"/>
                        <a:pt x="122" y="9"/>
                        <a:pt x="120" y="9"/>
                      </a:cubicBezTo>
                      <a:cubicBezTo>
                        <a:pt x="115" y="9"/>
                        <a:pt x="111" y="7"/>
                        <a:pt x="107" y="7"/>
                      </a:cubicBezTo>
                      <a:cubicBezTo>
                        <a:pt x="103" y="6"/>
                        <a:pt x="98" y="6"/>
                        <a:pt x="95" y="8"/>
                      </a:cubicBezTo>
                      <a:cubicBezTo>
                        <a:pt x="92" y="9"/>
                        <a:pt x="90" y="13"/>
                        <a:pt x="87" y="14"/>
                      </a:cubicBezTo>
                      <a:cubicBezTo>
                        <a:pt x="85" y="15"/>
                        <a:pt x="83" y="15"/>
                        <a:pt x="81" y="15"/>
                      </a:cubicBezTo>
                      <a:cubicBezTo>
                        <a:pt x="78" y="13"/>
                        <a:pt x="76" y="10"/>
                        <a:pt x="73" y="9"/>
                      </a:cubicBezTo>
                      <a:cubicBezTo>
                        <a:pt x="70" y="7"/>
                        <a:pt x="66" y="7"/>
                        <a:pt x="63" y="7"/>
                      </a:cubicBezTo>
                      <a:cubicBezTo>
                        <a:pt x="60" y="7"/>
                        <a:pt x="58" y="10"/>
                        <a:pt x="56" y="9"/>
                      </a:cubicBezTo>
                      <a:cubicBezTo>
                        <a:pt x="53" y="9"/>
                        <a:pt x="51" y="6"/>
                        <a:pt x="48" y="5"/>
                      </a:cubicBezTo>
                      <a:cubicBezTo>
                        <a:pt x="43" y="3"/>
                        <a:pt x="38" y="1"/>
                        <a:pt x="32" y="0"/>
                      </a:cubicBezTo>
                      <a:cubicBezTo>
                        <a:pt x="28" y="0"/>
                        <a:pt x="23" y="0"/>
                        <a:pt x="19" y="2"/>
                      </a:cubicBezTo>
                      <a:cubicBezTo>
                        <a:pt x="17" y="4"/>
                        <a:pt x="18" y="9"/>
                        <a:pt x="16" y="12"/>
                      </a:cubicBezTo>
                      <a:cubicBezTo>
                        <a:pt x="15" y="15"/>
                        <a:pt x="12" y="16"/>
                        <a:pt x="12" y="18"/>
                      </a:cubicBezTo>
                      <a:cubicBezTo>
                        <a:pt x="11" y="21"/>
                        <a:pt x="12" y="25"/>
                        <a:pt x="13" y="28"/>
                      </a:cubicBezTo>
                      <a:cubicBezTo>
                        <a:pt x="12" y="31"/>
                        <a:pt x="10" y="33"/>
                        <a:pt x="10" y="35"/>
                      </a:cubicBezTo>
                      <a:cubicBezTo>
                        <a:pt x="10" y="38"/>
                        <a:pt x="11" y="40"/>
                        <a:pt x="12" y="42"/>
                      </a:cubicBezTo>
                      <a:cubicBezTo>
                        <a:pt x="12" y="44"/>
                        <a:pt x="15" y="45"/>
                        <a:pt x="15" y="47"/>
                      </a:cubicBezTo>
                      <a:cubicBezTo>
                        <a:pt x="15" y="49"/>
                        <a:pt x="11" y="47"/>
                        <a:pt x="11" y="49"/>
                      </a:cubicBezTo>
                      <a:cubicBezTo>
                        <a:pt x="10" y="51"/>
                        <a:pt x="14" y="52"/>
                        <a:pt x="13" y="54"/>
                      </a:cubicBezTo>
                      <a:cubicBezTo>
                        <a:pt x="13" y="56"/>
                        <a:pt x="10" y="57"/>
                        <a:pt x="9" y="59"/>
                      </a:cubicBezTo>
                      <a:cubicBezTo>
                        <a:pt x="7" y="61"/>
                        <a:pt x="8" y="64"/>
                        <a:pt x="6" y="67"/>
                      </a:cubicBezTo>
                      <a:cubicBezTo>
                        <a:pt x="6" y="68"/>
                        <a:pt x="2" y="67"/>
                        <a:pt x="2" y="68"/>
                      </a:cubicBezTo>
                      <a:cubicBezTo>
                        <a:pt x="0" y="72"/>
                        <a:pt x="1" y="77"/>
                        <a:pt x="1" y="81"/>
                      </a:cubicBezTo>
                      <a:cubicBezTo>
                        <a:pt x="1" y="84"/>
                        <a:pt x="0" y="88"/>
                        <a:pt x="0" y="91"/>
                      </a:cubicBezTo>
                      <a:cubicBezTo>
                        <a:pt x="1" y="97"/>
                        <a:pt x="1" y="102"/>
                        <a:pt x="2" y="108"/>
                      </a:cubicBezTo>
                      <a:cubicBezTo>
                        <a:pt x="5" y="107"/>
                        <a:pt x="8" y="106"/>
                        <a:pt x="12" y="106"/>
                      </a:cubicBezTo>
                      <a:cubicBezTo>
                        <a:pt x="15" y="106"/>
                        <a:pt x="18" y="107"/>
                        <a:pt x="21" y="108"/>
                      </a:cubicBezTo>
                      <a:cubicBezTo>
                        <a:pt x="25" y="109"/>
                        <a:pt x="28" y="111"/>
                        <a:pt x="30" y="113"/>
                      </a:cubicBezTo>
                      <a:cubicBezTo>
                        <a:pt x="32" y="115"/>
                        <a:pt x="32" y="119"/>
                        <a:pt x="34" y="122"/>
                      </a:cubicBezTo>
                      <a:cubicBezTo>
                        <a:pt x="34" y="122"/>
                        <a:pt x="36" y="121"/>
                        <a:pt x="36" y="122"/>
                      </a:cubicBezTo>
                      <a:cubicBezTo>
                        <a:pt x="36" y="123"/>
                        <a:pt x="34" y="124"/>
                        <a:pt x="34" y="125"/>
                      </a:cubicBezTo>
                      <a:cubicBezTo>
                        <a:pt x="34" y="128"/>
                        <a:pt x="35" y="132"/>
                        <a:pt x="37" y="134"/>
                      </a:cubicBezTo>
                      <a:cubicBezTo>
                        <a:pt x="39" y="136"/>
                        <a:pt x="42" y="136"/>
                        <a:pt x="44" y="136"/>
                      </a:cubicBezTo>
                      <a:cubicBezTo>
                        <a:pt x="48" y="137"/>
                        <a:pt x="52" y="137"/>
                        <a:pt x="56" y="136"/>
                      </a:cubicBezTo>
                      <a:cubicBezTo>
                        <a:pt x="61" y="136"/>
                        <a:pt x="66" y="136"/>
                        <a:pt x="71" y="133"/>
                      </a:cubicBezTo>
                      <a:cubicBezTo>
                        <a:pt x="72" y="132"/>
                        <a:pt x="68" y="129"/>
                        <a:pt x="69" y="128"/>
                      </a:cubicBezTo>
                      <a:cubicBezTo>
                        <a:pt x="70" y="127"/>
                        <a:pt x="72" y="129"/>
                        <a:pt x="73" y="130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400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  <p:sp>
              <p:nvSpPr>
                <p:cNvPr id="65" name="Freeform 2566"/>
                <p:cNvSpPr>
                  <a:spLocks noChangeAspect="1"/>
                </p:cNvSpPr>
                <p:nvPr/>
              </p:nvSpPr>
              <p:spPr bwMode="auto">
                <a:xfrm>
                  <a:off x="5483553" y="2433882"/>
                  <a:ext cx="991754" cy="764225"/>
                </a:xfrm>
                <a:custGeom>
                  <a:avLst/>
                  <a:gdLst>
                    <a:gd name="T0" fmla="*/ 206 w 200"/>
                    <a:gd name="T1" fmla="*/ 175 h 172"/>
                    <a:gd name="T2" fmla="*/ 206 w 200"/>
                    <a:gd name="T3" fmla="*/ 157 h 172"/>
                    <a:gd name="T4" fmla="*/ 234 w 200"/>
                    <a:gd name="T5" fmla="*/ 122 h 172"/>
                    <a:gd name="T6" fmla="*/ 233 w 200"/>
                    <a:gd name="T7" fmla="*/ 98 h 172"/>
                    <a:gd name="T8" fmla="*/ 233 w 200"/>
                    <a:gd name="T9" fmla="*/ 72 h 172"/>
                    <a:gd name="T10" fmla="*/ 241 w 200"/>
                    <a:gd name="T11" fmla="*/ 55 h 172"/>
                    <a:gd name="T12" fmla="*/ 233 w 200"/>
                    <a:gd name="T13" fmla="*/ 49 h 172"/>
                    <a:gd name="T14" fmla="*/ 234 w 200"/>
                    <a:gd name="T15" fmla="*/ 42 h 172"/>
                    <a:gd name="T16" fmla="*/ 229 w 200"/>
                    <a:gd name="T17" fmla="*/ 36 h 172"/>
                    <a:gd name="T18" fmla="*/ 230 w 200"/>
                    <a:gd name="T19" fmla="*/ 25 h 172"/>
                    <a:gd name="T20" fmla="*/ 225 w 200"/>
                    <a:gd name="T21" fmla="*/ 11 h 172"/>
                    <a:gd name="T22" fmla="*/ 208 w 200"/>
                    <a:gd name="T23" fmla="*/ 18 h 172"/>
                    <a:gd name="T24" fmla="*/ 201 w 200"/>
                    <a:gd name="T25" fmla="*/ 7 h 172"/>
                    <a:gd name="T26" fmla="*/ 187 w 200"/>
                    <a:gd name="T27" fmla="*/ 6 h 172"/>
                    <a:gd name="T28" fmla="*/ 178 w 200"/>
                    <a:gd name="T29" fmla="*/ 0 h 172"/>
                    <a:gd name="T30" fmla="*/ 83 w 200"/>
                    <a:gd name="T31" fmla="*/ 71 h 172"/>
                    <a:gd name="T32" fmla="*/ 64 w 200"/>
                    <a:gd name="T33" fmla="*/ 78 h 172"/>
                    <a:gd name="T34" fmla="*/ 64 w 200"/>
                    <a:gd name="T35" fmla="*/ 132 h 172"/>
                    <a:gd name="T36" fmla="*/ 59 w 200"/>
                    <a:gd name="T37" fmla="*/ 133 h 172"/>
                    <a:gd name="T38" fmla="*/ 57 w 200"/>
                    <a:gd name="T39" fmla="*/ 138 h 172"/>
                    <a:gd name="T40" fmla="*/ 52 w 200"/>
                    <a:gd name="T41" fmla="*/ 139 h 172"/>
                    <a:gd name="T42" fmla="*/ 49 w 200"/>
                    <a:gd name="T43" fmla="*/ 144 h 172"/>
                    <a:gd name="T44" fmla="*/ 17 w 200"/>
                    <a:gd name="T45" fmla="*/ 147 h 172"/>
                    <a:gd name="T46" fmla="*/ 12 w 200"/>
                    <a:gd name="T47" fmla="*/ 152 h 172"/>
                    <a:gd name="T48" fmla="*/ 1 w 200"/>
                    <a:gd name="T49" fmla="*/ 151 h 172"/>
                    <a:gd name="T50" fmla="*/ 0 w 200"/>
                    <a:gd name="T51" fmla="*/ 162 h 172"/>
                    <a:gd name="T52" fmla="*/ 2 w 200"/>
                    <a:gd name="T53" fmla="*/ 170 h 172"/>
                    <a:gd name="T54" fmla="*/ 10 w 200"/>
                    <a:gd name="T55" fmla="*/ 176 h 172"/>
                    <a:gd name="T56" fmla="*/ 13 w 200"/>
                    <a:gd name="T57" fmla="*/ 177 h 172"/>
                    <a:gd name="T58" fmla="*/ 10 w 200"/>
                    <a:gd name="T59" fmla="*/ 186 h 172"/>
                    <a:gd name="T60" fmla="*/ 24 w 200"/>
                    <a:gd name="T61" fmla="*/ 192 h 172"/>
                    <a:gd name="T62" fmla="*/ 29 w 200"/>
                    <a:gd name="T63" fmla="*/ 190 h 172"/>
                    <a:gd name="T64" fmla="*/ 34 w 200"/>
                    <a:gd name="T65" fmla="*/ 194 h 172"/>
                    <a:gd name="T66" fmla="*/ 31 w 200"/>
                    <a:gd name="T67" fmla="*/ 198 h 172"/>
                    <a:gd name="T68" fmla="*/ 33 w 200"/>
                    <a:gd name="T69" fmla="*/ 205 h 172"/>
                    <a:gd name="T70" fmla="*/ 35 w 200"/>
                    <a:gd name="T71" fmla="*/ 206 h 172"/>
                    <a:gd name="T72" fmla="*/ 36 w 200"/>
                    <a:gd name="T73" fmla="*/ 204 h 172"/>
                    <a:gd name="T74" fmla="*/ 37 w 200"/>
                    <a:gd name="T75" fmla="*/ 198 h 172"/>
                    <a:gd name="T76" fmla="*/ 42 w 200"/>
                    <a:gd name="T77" fmla="*/ 195 h 172"/>
                    <a:gd name="T78" fmla="*/ 51 w 200"/>
                    <a:gd name="T79" fmla="*/ 205 h 172"/>
                    <a:gd name="T80" fmla="*/ 55 w 200"/>
                    <a:gd name="T81" fmla="*/ 206 h 172"/>
                    <a:gd name="T82" fmla="*/ 54 w 200"/>
                    <a:gd name="T83" fmla="*/ 194 h 172"/>
                    <a:gd name="T84" fmla="*/ 59 w 200"/>
                    <a:gd name="T85" fmla="*/ 187 h 172"/>
                    <a:gd name="T86" fmla="*/ 63 w 200"/>
                    <a:gd name="T87" fmla="*/ 175 h 172"/>
                    <a:gd name="T88" fmla="*/ 78 w 200"/>
                    <a:gd name="T89" fmla="*/ 172 h 172"/>
                    <a:gd name="T90" fmla="*/ 98 w 200"/>
                    <a:gd name="T91" fmla="*/ 178 h 172"/>
                    <a:gd name="T92" fmla="*/ 107 w 200"/>
                    <a:gd name="T93" fmla="*/ 183 h 172"/>
                    <a:gd name="T94" fmla="*/ 116 w 200"/>
                    <a:gd name="T95" fmla="*/ 181 h 172"/>
                    <a:gd name="T96" fmla="*/ 128 w 200"/>
                    <a:gd name="T97" fmla="*/ 183 h 172"/>
                    <a:gd name="T98" fmla="*/ 137 w 200"/>
                    <a:gd name="T99" fmla="*/ 190 h 172"/>
                    <a:gd name="T100" fmla="*/ 145 w 200"/>
                    <a:gd name="T101" fmla="*/ 189 h 172"/>
                    <a:gd name="T102" fmla="*/ 154 w 200"/>
                    <a:gd name="T103" fmla="*/ 182 h 172"/>
                    <a:gd name="T104" fmla="*/ 169 w 200"/>
                    <a:gd name="T105" fmla="*/ 181 h 172"/>
                    <a:gd name="T106" fmla="*/ 184 w 200"/>
                    <a:gd name="T107" fmla="*/ 183 h 172"/>
                    <a:gd name="T108" fmla="*/ 192 w 200"/>
                    <a:gd name="T109" fmla="*/ 181 h 172"/>
                    <a:gd name="T110" fmla="*/ 198 w 200"/>
                    <a:gd name="T111" fmla="*/ 176 h 172"/>
                    <a:gd name="T112" fmla="*/ 206 w 200"/>
                    <a:gd name="T113" fmla="*/ 175 h 172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200"/>
                    <a:gd name="T172" fmla="*/ 0 h 172"/>
                    <a:gd name="T173" fmla="*/ 200 w 200"/>
                    <a:gd name="T174" fmla="*/ 172 h 172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200" h="172">
                      <a:moveTo>
                        <a:pt x="171" y="146"/>
                      </a:moveTo>
                      <a:lnTo>
                        <a:pt x="171" y="131"/>
                      </a:lnTo>
                      <a:lnTo>
                        <a:pt x="194" y="102"/>
                      </a:lnTo>
                      <a:lnTo>
                        <a:pt x="193" y="82"/>
                      </a:lnTo>
                      <a:lnTo>
                        <a:pt x="193" y="60"/>
                      </a:lnTo>
                      <a:lnTo>
                        <a:pt x="200" y="46"/>
                      </a:lnTo>
                      <a:lnTo>
                        <a:pt x="193" y="41"/>
                      </a:lnTo>
                      <a:lnTo>
                        <a:pt x="194" y="35"/>
                      </a:lnTo>
                      <a:lnTo>
                        <a:pt x="190" y="30"/>
                      </a:lnTo>
                      <a:lnTo>
                        <a:pt x="191" y="21"/>
                      </a:lnTo>
                      <a:lnTo>
                        <a:pt x="187" y="9"/>
                      </a:lnTo>
                      <a:cubicBezTo>
                        <a:pt x="182" y="11"/>
                        <a:pt x="178" y="14"/>
                        <a:pt x="173" y="15"/>
                      </a:cubicBezTo>
                      <a:cubicBezTo>
                        <a:pt x="172" y="13"/>
                        <a:pt x="171" y="8"/>
                        <a:pt x="167" y="6"/>
                      </a:cubicBezTo>
                      <a:cubicBezTo>
                        <a:pt x="164" y="4"/>
                        <a:pt x="159" y="7"/>
                        <a:pt x="155" y="5"/>
                      </a:cubicBezTo>
                      <a:cubicBezTo>
                        <a:pt x="152" y="5"/>
                        <a:pt x="150" y="2"/>
                        <a:pt x="148" y="0"/>
                      </a:cubicBezTo>
                      <a:lnTo>
                        <a:pt x="69" y="59"/>
                      </a:lnTo>
                      <a:lnTo>
                        <a:pt x="53" y="65"/>
                      </a:lnTo>
                      <a:lnTo>
                        <a:pt x="53" y="110"/>
                      </a:lnTo>
                      <a:cubicBezTo>
                        <a:pt x="52" y="110"/>
                        <a:pt x="50" y="110"/>
                        <a:pt x="49" y="111"/>
                      </a:cubicBezTo>
                      <a:cubicBezTo>
                        <a:pt x="48" y="112"/>
                        <a:pt x="48" y="114"/>
                        <a:pt x="47" y="115"/>
                      </a:cubicBezTo>
                      <a:cubicBezTo>
                        <a:pt x="46" y="116"/>
                        <a:pt x="44" y="115"/>
                        <a:pt x="43" y="116"/>
                      </a:cubicBezTo>
                      <a:lnTo>
                        <a:pt x="41" y="120"/>
                      </a:lnTo>
                      <a:lnTo>
                        <a:pt x="14" y="123"/>
                      </a:lnTo>
                      <a:cubicBezTo>
                        <a:pt x="13" y="124"/>
                        <a:pt x="12" y="127"/>
                        <a:pt x="10" y="127"/>
                      </a:cubicBezTo>
                      <a:lnTo>
                        <a:pt x="1" y="126"/>
                      </a:lnTo>
                      <a:cubicBezTo>
                        <a:pt x="0" y="129"/>
                        <a:pt x="0" y="132"/>
                        <a:pt x="0" y="135"/>
                      </a:cubicBezTo>
                      <a:cubicBezTo>
                        <a:pt x="0" y="138"/>
                        <a:pt x="1" y="140"/>
                        <a:pt x="2" y="142"/>
                      </a:cubicBezTo>
                      <a:cubicBezTo>
                        <a:pt x="4" y="144"/>
                        <a:pt x="6" y="145"/>
                        <a:pt x="8" y="147"/>
                      </a:cubicBezTo>
                      <a:cubicBezTo>
                        <a:pt x="9" y="148"/>
                        <a:pt x="11" y="147"/>
                        <a:pt x="11" y="148"/>
                      </a:cubicBezTo>
                      <a:cubicBezTo>
                        <a:pt x="12" y="151"/>
                        <a:pt x="7" y="153"/>
                        <a:pt x="8" y="155"/>
                      </a:cubicBezTo>
                      <a:cubicBezTo>
                        <a:pt x="11" y="159"/>
                        <a:pt x="16" y="159"/>
                        <a:pt x="20" y="160"/>
                      </a:cubicBezTo>
                      <a:cubicBezTo>
                        <a:pt x="21" y="161"/>
                        <a:pt x="23" y="158"/>
                        <a:pt x="24" y="159"/>
                      </a:cubicBezTo>
                      <a:cubicBezTo>
                        <a:pt x="26" y="159"/>
                        <a:pt x="27" y="161"/>
                        <a:pt x="28" y="162"/>
                      </a:cubicBezTo>
                      <a:cubicBezTo>
                        <a:pt x="28" y="163"/>
                        <a:pt x="26" y="164"/>
                        <a:pt x="26" y="165"/>
                      </a:cubicBezTo>
                      <a:cubicBezTo>
                        <a:pt x="26" y="167"/>
                        <a:pt x="26" y="169"/>
                        <a:pt x="27" y="171"/>
                      </a:cubicBezTo>
                      <a:cubicBezTo>
                        <a:pt x="27" y="172"/>
                        <a:pt x="28" y="171"/>
                        <a:pt x="29" y="172"/>
                      </a:cubicBezTo>
                      <a:cubicBezTo>
                        <a:pt x="29" y="171"/>
                        <a:pt x="30" y="171"/>
                        <a:pt x="30" y="170"/>
                      </a:cubicBezTo>
                      <a:cubicBezTo>
                        <a:pt x="31" y="169"/>
                        <a:pt x="30" y="166"/>
                        <a:pt x="31" y="165"/>
                      </a:cubicBezTo>
                      <a:cubicBezTo>
                        <a:pt x="32" y="163"/>
                        <a:pt x="34" y="162"/>
                        <a:pt x="35" y="163"/>
                      </a:cubicBezTo>
                      <a:cubicBezTo>
                        <a:pt x="38" y="164"/>
                        <a:pt x="39" y="169"/>
                        <a:pt x="42" y="171"/>
                      </a:cubicBezTo>
                      <a:cubicBezTo>
                        <a:pt x="43" y="172"/>
                        <a:pt x="44" y="172"/>
                        <a:pt x="46" y="172"/>
                      </a:cubicBezTo>
                      <a:cubicBezTo>
                        <a:pt x="45" y="169"/>
                        <a:pt x="44" y="165"/>
                        <a:pt x="45" y="162"/>
                      </a:cubicBezTo>
                      <a:cubicBezTo>
                        <a:pt x="45" y="160"/>
                        <a:pt x="48" y="159"/>
                        <a:pt x="49" y="156"/>
                      </a:cubicBezTo>
                      <a:cubicBezTo>
                        <a:pt x="51" y="153"/>
                        <a:pt x="50" y="148"/>
                        <a:pt x="52" y="146"/>
                      </a:cubicBezTo>
                      <a:cubicBezTo>
                        <a:pt x="56" y="144"/>
                        <a:pt x="61" y="144"/>
                        <a:pt x="65" y="144"/>
                      </a:cubicBezTo>
                      <a:cubicBezTo>
                        <a:pt x="71" y="145"/>
                        <a:pt x="76" y="147"/>
                        <a:pt x="81" y="149"/>
                      </a:cubicBezTo>
                      <a:cubicBezTo>
                        <a:pt x="84" y="150"/>
                        <a:pt x="86" y="153"/>
                        <a:pt x="89" y="153"/>
                      </a:cubicBezTo>
                      <a:cubicBezTo>
                        <a:pt x="91" y="154"/>
                        <a:pt x="93" y="151"/>
                        <a:pt x="96" y="151"/>
                      </a:cubicBezTo>
                      <a:cubicBezTo>
                        <a:pt x="99" y="151"/>
                        <a:pt x="103" y="151"/>
                        <a:pt x="106" y="153"/>
                      </a:cubicBezTo>
                      <a:cubicBezTo>
                        <a:pt x="109" y="154"/>
                        <a:pt x="111" y="157"/>
                        <a:pt x="114" y="159"/>
                      </a:cubicBezTo>
                      <a:cubicBezTo>
                        <a:pt x="116" y="159"/>
                        <a:pt x="118" y="159"/>
                        <a:pt x="120" y="158"/>
                      </a:cubicBezTo>
                      <a:cubicBezTo>
                        <a:pt x="123" y="157"/>
                        <a:pt x="125" y="153"/>
                        <a:pt x="128" y="152"/>
                      </a:cubicBezTo>
                      <a:cubicBezTo>
                        <a:pt x="131" y="150"/>
                        <a:pt x="136" y="150"/>
                        <a:pt x="140" y="151"/>
                      </a:cubicBezTo>
                      <a:cubicBezTo>
                        <a:pt x="144" y="151"/>
                        <a:pt x="148" y="153"/>
                        <a:pt x="153" y="153"/>
                      </a:cubicBezTo>
                      <a:cubicBezTo>
                        <a:pt x="155" y="153"/>
                        <a:pt x="157" y="152"/>
                        <a:pt x="159" y="151"/>
                      </a:cubicBezTo>
                      <a:cubicBezTo>
                        <a:pt x="160" y="150"/>
                        <a:pt x="162" y="148"/>
                        <a:pt x="164" y="147"/>
                      </a:cubicBezTo>
                      <a:cubicBezTo>
                        <a:pt x="166" y="146"/>
                        <a:pt x="169" y="146"/>
                        <a:pt x="171" y="146"/>
                      </a:cubicBezTo>
                      <a:close/>
                    </a:path>
                  </a:pathLst>
                </a:custGeom>
                <a:solidFill>
                  <a:schemeClr val="accent6">
                    <a:lumMod val="60000"/>
                    <a:lumOff val="40000"/>
                  </a:schemeClr>
                </a:solidFill>
                <a:ln w="3175" cap="rnd">
                  <a:solidFill>
                    <a:schemeClr val="accent3">
                      <a:lumMod val="50000"/>
                    </a:schemeClr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1350" dirty="0">
                    <a:solidFill>
                      <a:srgbClr val="000000"/>
                    </a:solidFill>
                    <a:latin typeface="Garamond" panose="02020404030301010803" pitchFamily="18" charset="0"/>
                  </a:endParaRPr>
                </a:p>
              </p:txBody>
            </p:sp>
          </p:grpSp>
          <p:sp>
            <p:nvSpPr>
              <p:cNvPr id="32" name="Freeform 2567"/>
              <p:cNvSpPr>
                <a:spLocks noChangeAspect="1"/>
              </p:cNvSpPr>
              <p:nvPr/>
            </p:nvSpPr>
            <p:spPr bwMode="auto">
              <a:xfrm>
                <a:off x="6093261" y="1581656"/>
                <a:ext cx="1045784" cy="947055"/>
              </a:xfrm>
              <a:custGeom>
                <a:avLst/>
                <a:gdLst>
                  <a:gd name="T0" fmla="*/ 215 w 258"/>
                  <a:gd name="T1" fmla="*/ 323 h 278"/>
                  <a:gd name="T2" fmla="*/ 181 w 258"/>
                  <a:gd name="T3" fmla="*/ 334 h 278"/>
                  <a:gd name="T4" fmla="*/ 179 w 258"/>
                  <a:gd name="T5" fmla="*/ 320 h 278"/>
                  <a:gd name="T6" fmla="*/ 161 w 258"/>
                  <a:gd name="T7" fmla="*/ 312 h 278"/>
                  <a:gd name="T8" fmla="*/ 149 w 258"/>
                  <a:gd name="T9" fmla="*/ 304 h 278"/>
                  <a:gd name="T10" fmla="*/ 58 w 258"/>
                  <a:gd name="T11" fmla="*/ 225 h 278"/>
                  <a:gd name="T12" fmla="*/ 0 w 258"/>
                  <a:gd name="T13" fmla="*/ 177 h 278"/>
                  <a:gd name="T14" fmla="*/ 12 w 258"/>
                  <a:gd name="T15" fmla="*/ 149 h 278"/>
                  <a:gd name="T16" fmla="*/ 30 w 258"/>
                  <a:gd name="T17" fmla="*/ 141 h 278"/>
                  <a:gd name="T18" fmla="*/ 43 w 258"/>
                  <a:gd name="T19" fmla="*/ 137 h 278"/>
                  <a:gd name="T20" fmla="*/ 60 w 258"/>
                  <a:gd name="T21" fmla="*/ 124 h 278"/>
                  <a:gd name="T22" fmla="*/ 78 w 258"/>
                  <a:gd name="T23" fmla="*/ 115 h 278"/>
                  <a:gd name="T24" fmla="*/ 77 w 258"/>
                  <a:gd name="T25" fmla="*/ 103 h 278"/>
                  <a:gd name="T26" fmla="*/ 102 w 258"/>
                  <a:gd name="T27" fmla="*/ 97 h 278"/>
                  <a:gd name="T28" fmla="*/ 113 w 258"/>
                  <a:gd name="T29" fmla="*/ 88 h 278"/>
                  <a:gd name="T30" fmla="*/ 108 w 258"/>
                  <a:gd name="T31" fmla="*/ 78 h 278"/>
                  <a:gd name="T32" fmla="*/ 106 w 258"/>
                  <a:gd name="T33" fmla="*/ 60 h 278"/>
                  <a:gd name="T34" fmla="*/ 99 w 258"/>
                  <a:gd name="T35" fmla="*/ 37 h 278"/>
                  <a:gd name="T36" fmla="*/ 112 w 258"/>
                  <a:gd name="T37" fmla="*/ 28 h 278"/>
                  <a:gd name="T38" fmla="*/ 129 w 258"/>
                  <a:gd name="T39" fmla="*/ 22 h 278"/>
                  <a:gd name="T40" fmla="*/ 150 w 258"/>
                  <a:gd name="T41" fmla="*/ 8 h 278"/>
                  <a:gd name="T42" fmla="*/ 181 w 258"/>
                  <a:gd name="T43" fmla="*/ 4 h 278"/>
                  <a:gd name="T44" fmla="*/ 205 w 258"/>
                  <a:gd name="T45" fmla="*/ 5 h 278"/>
                  <a:gd name="T46" fmla="*/ 216 w 258"/>
                  <a:gd name="T47" fmla="*/ 4 h 278"/>
                  <a:gd name="T48" fmla="*/ 231 w 258"/>
                  <a:gd name="T49" fmla="*/ 0 h 278"/>
                  <a:gd name="T50" fmla="*/ 240 w 258"/>
                  <a:gd name="T51" fmla="*/ 0 h 278"/>
                  <a:gd name="T52" fmla="*/ 257 w 258"/>
                  <a:gd name="T53" fmla="*/ 2 h 278"/>
                  <a:gd name="T54" fmla="*/ 254 w 258"/>
                  <a:gd name="T55" fmla="*/ 10 h 278"/>
                  <a:gd name="T56" fmla="*/ 255 w 258"/>
                  <a:gd name="T57" fmla="*/ 17 h 278"/>
                  <a:gd name="T58" fmla="*/ 255 w 258"/>
                  <a:gd name="T59" fmla="*/ 35 h 278"/>
                  <a:gd name="T60" fmla="*/ 248 w 258"/>
                  <a:gd name="T61" fmla="*/ 50 h 278"/>
                  <a:gd name="T62" fmla="*/ 242 w 258"/>
                  <a:gd name="T63" fmla="*/ 64 h 278"/>
                  <a:gd name="T64" fmla="*/ 254 w 258"/>
                  <a:gd name="T65" fmla="*/ 79 h 278"/>
                  <a:gd name="T66" fmla="*/ 260 w 258"/>
                  <a:gd name="T67" fmla="*/ 91 h 278"/>
                  <a:gd name="T68" fmla="*/ 272 w 258"/>
                  <a:gd name="T69" fmla="*/ 129 h 278"/>
                  <a:gd name="T70" fmla="*/ 278 w 258"/>
                  <a:gd name="T71" fmla="*/ 156 h 278"/>
                  <a:gd name="T72" fmla="*/ 280 w 258"/>
                  <a:gd name="T73" fmla="*/ 197 h 278"/>
                  <a:gd name="T74" fmla="*/ 282 w 258"/>
                  <a:gd name="T75" fmla="*/ 225 h 278"/>
                  <a:gd name="T76" fmla="*/ 293 w 258"/>
                  <a:gd name="T77" fmla="*/ 237 h 278"/>
                  <a:gd name="T78" fmla="*/ 302 w 258"/>
                  <a:gd name="T79" fmla="*/ 246 h 27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58"/>
                  <a:gd name="T121" fmla="*/ 0 h 278"/>
                  <a:gd name="T122" fmla="*/ 258 w 258"/>
                  <a:gd name="T123" fmla="*/ 278 h 27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58" h="278">
                    <a:moveTo>
                      <a:pt x="258" y="210"/>
                    </a:moveTo>
                    <a:lnTo>
                      <a:pt x="179" y="269"/>
                    </a:lnTo>
                    <a:lnTo>
                      <a:pt x="163" y="275"/>
                    </a:lnTo>
                    <a:cubicBezTo>
                      <a:pt x="159" y="276"/>
                      <a:pt x="156" y="278"/>
                      <a:pt x="151" y="278"/>
                    </a:cubicBezTo>
                    <a:cubicBezTo>
                      <a:pt x="150" y="278"/>
                      <a:pt x="148" y="278"/>
                      <a:pt x="148" y="277"/>
                    </a:cubicBezTo>
                    <a:cubicBezTo>
                      <a:pt x="147" y="273"/>
                      <a:pt x="150" y="269"/>
                      <a:pt x="149" y="266"/>
                    </a:cubicBezTo>
                    <a:cubicBezTo>
                      <a:pt x="147" y="263"/>
                      <a:pt x="143" y="262"/>
                      <a:pt x="140" y="261"/>
                    </a:cubicBezTo>
                    <a:cubicBezTo>
                      <a:pt x="138" y="260"/>
                      <a:pt x="136" y="261"/>
                      <a:pt x="134" y="260"/>
                    </a:cubicBezTo>
                    <a:cubicBezTo>
                      <a:pt x="132" y="259"/>
                      <a:pt x="131" y="257"/>
                      <a:pt x="130" y="255"/>
                    </a:cubicBezTo>
                    <a:cubicBezTo>
                      <a:pt x="128" y="254"/>
                      <a:pt x="125" y="255"/>
                      <a:pt x="124" y="253"/>
                    </a:cubicBezTo>
                    <a:cubicBezTo>
                      <a:pt x="123" y="251"/>
                      <a:pt x="124" y="249"/>
                      <a:pt x="124" y="246"/>
                    </a:cubicBezTo>
                    <a:lnTo>
                      <a:pt x="48" y="187"/>
                    </a:lnTo>
                    <a:lnTo>
                      <a:pt x="0" y="152"/>
                    </a:lnTo>
                    <a:lnTo>
                      <a:pt x="0" y="147"/>
                    </a:lnTo>
                    <a:lnTo>
                      <a:pt x="0" y="132"/>
                    </a:lnTo>
                    <a:cubicBezTo>
                      <a:pt x="0" y="129"/>
                      <a:pt x="7" y="127"/>
                      <a:pt x="10" y="124"/>
                    </a:cubicBezTo>
                    <a:cubicBezTo>
                      <a:pt x="12" y="122"/>
                      <a:pt x="15" y="120"/>
                      <a:pt x="18" y="119"/>
                    </a:cubicBezTo>
                    <a:cubicBezTo>
                      <a:pt x="20" y="118"/>
                      <a:pt x="23" y="119"/>
                      <a:pt x="25" y="117"/>
                    </a:cubicBezTo>
                    <a:cubicBezTo>
                      <a:pt x="26" y="117"/>
                      <a:pt x="26" y="114"/>
                      <a:pt x="28" y="114"/>
                    </a:cubicBezTo>
                    <a:cubicBezTo>
                      <a:pt x="30" y="113"/>
                      <a:pt x="33" y="114"/>
                      <a:pt x="36" y="114"/>
                    </a:cubicBezTo>
                    <a:cubicBezTo>
                      <a:pt x="39" y="113"/>
                      <a:pt x="42" y="113"/>
                      <a:pt x="44" y="112"/>
                    </a:cubicBezTo>
                    <a:cubicBezTo>
                      <a:pt x="47" y="109"/>
                      <a:pt x="47" y="105"/>
                      <a:pt x="50" y="103"/>
                    </a:cubicBezTo>
                    <a:cubicBezTo>
                      <a:pt x="53" y="100"/>
                      <a:pt x="58" y="101"/>
                      <a:pt x="62" y="100"/>
                    </a:cubicBezTo>
                    <a:cubicBezTo>
                      <a:pt x="64" y="99"/>
                      <a:pt x="65" y="97"/>
                      <a:pt x="65" y="96"/>
                    </a:cubicBezTo>
                    <a:cubicBezTo>
                      <a:pt x="64" y="94"/>
                      <a:pt x="60" y="94"/>
                      <a:pt x="60" y="92"/>
                    </a:cubicBezTo>
                    <a:cubicBezTo>
                      <a:pt x="60" y="90"/>
                      <a:pt x="62" y="87"/>
                      <a:pt x="64" y="86"/>
                    </a:cubicBezTo>
                    <a:cubicBezTo>
                      <a:pt x="67" y="84"/>
                      <a:pt x="70" y="84"/>
                      <a:pt x="73" y="84"/>
                    </a:cubicBezTo>
                    <a:cubicBezTo>
                      <a:pt x="77" y="83"/>
                      <a:pt x="81" y="81"/>
                      <a:pt x="85" y="81"/>
                    </a:cubicBezTo>
                    <a:cubicBezTo>
                      <a:pt x="87" y="80"/>
                      <a:pt x="89" y="81"/>
                      <a:pt x="91" y="80"/>
                    </a:cubicBezTo>
                    <a:cubicBezTo>
                      <a:pt x="92" y="78"/>
                      <a:pt x="94" y="76"/>
                      <a:pt x="94" y="73"/>
                    </a:cubicBezTo>
                    <a:cubicBezTo>
                      <a:pt x="94" y="71"/>
                      <a:pt x="91" y="71"/>
                      <a:pt x="90" y="69"/>
                    </a:cubicBezTo>
                    <a:cubicBezTo>
                      <a:pt x="90" y="68"/>
                      <a:pt x="91" y="66"/>
                      <a:pt x="90" y="65"/>
                    </a:cubicBezTo>
                    <a:cubicBezTo>
                      <a:pt x="90" y="63"/>
                      <a:pt x="88" y="63"/>
                      <a:pt x="87" y="61"/>
                    </a:cubicBezTo>
                    <a:cubicBezTo>
                      <a:pt x="87" y="58"/>
                      <a:pt x="88" y="54"/>
                      <a:pt x="88" y="50"/>
                    </a:cubicBezTo>
                    <a:cubicBezTo>
                      <a:pt x="88" y="46"/>
                      <a:pt x="88" y="41"/>
                      <a:pt x="87" y="37"/>
                    </a:cubicBezTo>
                    <a:cubicBezTo>
                      <a:pt x="86" y="35"/>
                      <a:pt x="84" y="33"/>
                      <a:pt x="82" y="31"/>
                    </a:cubicBezTo>
                    <a:cubicBezTo>
                      <a:pt x="85" y="31"/>
                      <a:pt x="87" y="31"/>
                      <a:pt x="89" y="29"/>
                    </a:cubicBezTo>
                    <a:cubicBezTo>
                      <a:pt x="91" y="28"/>
                      <a:pt x="91" y="24"/>
                      <a:pt x="93" y="23"/>
                    </a:cubicBezTo>
                    <a:cubicBezTo>
                      <a:pt x="95" y="21"/>
                      <a:pt x="97" y="20"/>
                      <a:pt x="100" y="19"/>
                    </a:cubicBezTo>
                    <a:cubicBezTo>
                      <a:pt x="102" y="19"/>
                      <a:pt x="105" y="19"/>
                      <a:pt x="107" y="18"/>
                    </a:cubicBezTo>
                    <a:cubicBezTo>
                      <a:pt x="110" y="16"/>
                      <a:pt x="111" y="13"/>
                      <a:pt x="114" y="11"/>
                    </a:cubicBezTo>
                    <a:cubicBezTo>
                      <a:pt x="118" y="9"/>
                      <a:pt x="121" y="8"/>
                      <a:pt x="125" y="7"/>
                    </a:cubicBezTo>
                    <a:cubicBezTo>
                      <a:pt x="128" y="6"/>
                      <a:pt x="132" y="6"/>
                      <a:pt x="135" y="5"/>
                    </a:cubicBezTo>
                    <a:cubicBezTo>
                      <a:pt x="140" y="5"/>
                      <a:pt x="145" y="4"/>
                      <a:pt x="151" y="3"/>
                    </a:cubicBezTo>
                    <a:cubicBezTo>
                      <a:pt x="156" y="3"/>
                      <a:pt x="161" y="2"/>
                      <a:pt x="166" y="2"/>
                    </a:cubicBezTo>
                    <a:cubicBezTo>
                      <a:pt x="168" y="2"/>
                      <a:pt x="169" y="3"/>
                      <a:pt x="171" y="4"/>
                    </a:cubicBezTo>
                    <a:cubicBezTo>
                      <a:pt x="173" y="4"/>
                      <a:pt x="174" y="6"/>
                      <a:pt x="175" y="6"/>
                    </a:cubicBezTo>
                    <a:cubicBezTo>
                      <a:pt x="177" y="6"/>
                      <a:pt x="178" y="4"/>
                      <a:pt x="180" y="3"/>
                    </a:cubicBezTo>
                    <a:cubicBezTo>
                      <a:pt x="182" y="2"/>
                      <a:pt x="185" y="2"/>
                      <a:pt x="187" y="1"/>
                    </a:cubicBezTo>
                    <a:cubicBezTo>
                      <a:pt x="189" y="1"/>
                      <a:pt x="190" y="0"/>
                      <a:pt x="192" y="0"/>
                    </a:cubicBezTo>
                    <a:cubicBezTo>
                      <a:pt x="193" y="1"/>
                      <a:pt x="194" y="2"/>
                      <a:pt x="195" y="2"/>
                    </a:cubicBezTo>
                    <a:cubicBezTo>
                      <a:pt x="197" y="2"/>
                      <a:pt x="198" y="0"/>
                      <a:pt x="200" y="0"/>
                    </a:cubicBezTo>
                    <a:cubicBezTo>
                      <a:pt x="202" y="0"/>
                      <a:pt x="205" y="3"/>
                      <a:pt x="207" y="2"/>
                    </a:cubicBezTo>
                    <a:lnTo>
                      <a:pt x="214" y="2"/>
                    </a:lnTo>
                    <a:cubicBezTo>
                      <a:pt x="214" y="2"/>
                      <a:pt x="214" y="4"/>
                      <a:pt x="214" y="5"/>
                    </a:cubicBezTo>
                    <a:cubicBezTo>
                      <a:pt x="213" y="6"/>
                      <a:pt x="212" y="7"/>
                      <a:pt x="211" y="8"/>
                    </a:cubicBezTo>
                    <a:cubicBezTo>
                      <a:pt x="211" y="9"/>
                      <a:pt x="209" y="9"/>
                      <a:pt x="209" y="10"/>
                    </a:cubicBezTo>
                    <a:cubicBezTo>
                      <a:pt x="209" y="11"/>
                      <a:pt x="211" y="12"/>
                      <a:pt x="212" y="14"/>
                    </a:cubicBezTo>
                    <a:cubicBezTo>
                      <a:pt x="212" y="16"/>
                      <a:pt x="211" y="17"/>
                      <a:pt x="211" y="18"/>
                    </a:cubicBezTo>
                    <a:cubicBezTo>
                      <a:pt x="211" y="22"/>
                      <a:pt x="212" y="25"/>
                      <a:pt x="212" y="29"/>
                    </a:cubicBezTo>
                    <a:cubicBezTo>
                      <a:pt x="212" y="32"/>
                      <a:pt x="212" y="36"/>
                      <a:pt x="210" y="38"/>
                    </a:cubicBezTo>
                    <a:cubicBezTo>
                      <a:pt x="210" y="40"/>
                      <a:pt x="207" y="41"/>
                      <a:pt x="206" y="42"/>
                    </a:cubicBezTo>
                    <a:cubicBezTo>
                      <a:pt x="204" y="44"/>
                      <a:pt x="202" y="46"/>
                      <a:pt x="201" y="48"/>
                    </a:cubicBezTo>
                    <a:cubicBezTo>
                      <a:pt x="200" y="50"/>
                      <a:pt x="200" y="52"/>
                      <a:pt x="201" y="53"/>
                    </a:cubicBezTo>
                    <a:cubicBezTo>
                      <a:pt x="201" y="56"/>
                      <a:pt x="202" y="59"/>
                      <a:pt x="204" y="61"/>
                    </a:cubicBezTo>
                    <a:cubicBezTo>
                      <a:pt x="206" y="63"/>
                      <a:pt x="209" y="64"/>
                      <a:pt x="211" y="66"/>
                    </a:cubicBezTo>
                    <a:cubicBezTo>
                      <a:pt x="212" y="68"/>
                      <a:pt x="210" y="70"/>
                      <a:pt x="211" y="72"/>
                    </a:cubicBezTo>
                    <a:cubicBezTo>
                      <a:pt x="212" y="74"/>
                      <a:pt x="214" y="75"/>
                      <a:pt x="216" y="76"/>
                    </a:cubicBezTo>
                    <a:cubicBezTo>
                      <a:pt x="217" y="77"/>
                      <a:pt x="220" y="77"/>
                      <a:pt x="221" y="78"/>
                    </a:cubicBezTo>
                    <a:lnTo>
                      <a:pt x="226" y="107"/>
                    </a:lnTo>
                    <a:cubicBezTo>
                      <a:pt x="225" y="107"/>
                      <a:pt x="223" y="107"/>
                      <a:pt x="223" y="109"/>
                    </a:cubicBezTo>
                    <a:cubicBezTo>
                      <a:pt x="225" y="116"/>
                      <a:pt x="230" y="123"/>
                      <a:pt x="231" y="130"/>
                    </a:cubicBezTo>
                    <a:cubicBezTo>
                      <a:pt x="232" y="136"/>
                      <a:pt x="229" y="143"/>
                      <a:pt x="230" y="149"/>
                    </a:cubicBezTo>
                    <a:cubicBezTo>
                      <a:pt x="230" y="154"/>
                      <a:pt x="234" y="159"/>
                      <a:pt x="233" y="164"/>
                    </a:cubicBezTo>
                    <a:cubicBezTo>
                      <a:pt x="232" y="167"/>
                      <a:pt x="225" y="166"/>
                      <a:pt x="226" y="169"/>
                    </a:cubicBezTo>
                    <a:cubicBezTo>
                      <a:pt x="226" y="176"/>
                      <a:pt x="233" y="181"/>
                      <a:pt x="235" y="187"/>
                    </a:cubicBezTo>
                    <a:cubicBezTo>
                      <a:pt x="236" y="190"/>
                      <a:pt x="234" y="195"/>
                      <a:pt x="236" y="198"/>
                    </a:cubicBezTo>
                    <a:cubicBezTo>
                      <a:pt x="238" y="200"/>
                      <a:pt x="242" y="197"/>
                      <a:pt x="244" y="197"/>
                    </a:cubicBezTo>
                    <a:cubicBezTo>
                      <a:pt x="248" y="198"/>
                      <a:pt x="252" y="199"/>
                      <a:pt x="254" y="202"/>
                    </a:cubicBezTo>
                    <a:cubicBezTo>
                      <a:pt x="255" y="203"/>
                      <a:pt x="251" y="204"/>
                      <a:pt x="251" y="205"/>
                    </a:cubicBezTo>
                    <a:cubicBezTo>
                      <a:pt x="252" y="208"/>
                      <a:pt x="256" y="209"/>
                      <a:pt x="258" y="21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33" name="Freeform 2568"/>
              <p:cNvSpPr>
                <a:spLocks noChangeAspect="1"/>
              </p:cNvSpPr>
              <p:nvPr/>
            </p:nvSpPr>
            <p:spPr bwMode="auto">
              <a:xfrm>
                <a:off x="6906274" y="1567479"/>
                <a:ext cx="212532" cy="377120"/>
              </a:xfrm>
              <a:custGeom>
                <a:avLst/>
                <a:gdLst>
                  <a:gd name="T0" fmla="*/ 31 w 53"/>
                  <a:gd name="T1" fmla="*/ 133 h 111"/>
                  <a:gd name="T2" fmla="*/ 39 w 53"/>
                  <a:gd name="T3" fmla="*/ 128 h 111"/>
                  <a:gd name="T4" fmla="*/ 42 w 53"/>
                  <a:gd name="T5" fmla="*/ 121 h 111"/>
                  <a:gd name="T6" fmla="*/ 39 w 53"/>
                  <a:gd name="T7" fmla="*/ 108 h 111"/>
                  <a:gd name="T8" fmla="*/ 45 w 53"/>
                  <a:gd name="T9" fmla="*/ 104 h 111"/>
                  <a:gd name="T10" fmla="*/ 52 w 53"/>
                  <a:gd name="T11" fmla="*/ 97 h 111"/>
                  <a:gd name="T12" fmla="*/ 62 w 53"/>
                  <a:gd name="T13" fmla="*/ 91 h 111"/>
                  <a:gd name="T14" fmla="*/ 59 w 53"/>
                  <a:gd name="T15" fmla="*/ 87 h 111"/>
                  <a:gd name="T16" fmla="*/ 61 w 53"/>
                  <a:gd name="T17" fmla="*/ 78 h 111"/>
                  <a:gd name="T18" fmla="*/ 45 w 53"/>
                  <a:gd name="T19" fmla="*/ 69 h 111"/>
                  <a:gd name="T20" fmla="*/ 40 w 53"/>
                  <a:gd name="T21" fmla="*/ 66 h 111"/>
                  <a:gd name="T22" fmla="*/ 38 w 53"/>
                  <a:gd name="T23" fmla="*/ 58 h 111"/>
                  <a:gd name="T24" fmla="*/ 46 w 53"/>
                  <a:gd name="T25" fmla="*/ 54 h 111"/>
                  <a:gd name="T26" fmla="*/ 52 w 53"/>
                  <a:gd name="T27" fmla="*/ 42 h 111"/>
                  <a:gd name="T28" fmla="*/ 52 w 53"/>
                  <a:gd name="T29" fmla="*/ 30 h 111"/>
                  <a:gd name="T30" fmla="*/ 45 w 53"/>
                  <a:gd name="T31" fmla="*/ 25 h 111"/>
                  <a:gd name="T32" fmla="*/ 44 w 53"/>
                  <a:gd name="T33" fmla="*/ 20 h 111"/>
                  <a:gd name="T34" fmla="*/ 50 w 53"/>
                  <a:gd name="T35" fmla="*/ 17 h 111"/>
                  <a:gd name="T36" fmla="*/ 53 w 53"/>
                  <a:gd name="T37" fmla="*/ 10 h 111"/>
                  <a:gd name="T38" fmla="*/ 52 w 53"/>
                  <a:gd name="T39" fmla="*/ 5 h 111"/>
                  <a:gd name="T40" fmla="*/ 46 w 53"/>
                  <a:gd name="T41" fmla="*/ 11 h 111"/>
                  <a:gd name="T42" fmla="*/ 40 w 53"/>
                  <a:gd name="T43" fmla="*/ 10 h 111"/>
                  <a:gd name="T44" fmla="*/ 43 w 53"/>
                  <a:gd name="T45" fmla="*/ 4 h 111"/>
                  <a:gd name="T46" fmla="*/ 36 w 53"/>
                  <a:gd name="T47" fmla="*/ 1 h 111"/>
                  <a:gd name="T48" fmla="*/ 26 w 53"/>
                  <a:gd name="T49" fmla="*/ 1 h 111"/>
                  <a:gd name="T50" fmla="*/ 17 w 53"/>
                  <a:gd name="T51" fmla="*/ 7 h 111"/>
                  <a:gd name="T52" fmla="*/ 17 w 53"/>
                  <a:gd name="T53" fmla="*/ 11 h 111"/>
                  <a:gd name="T54" fmla="*/ 13 w 53"/>
                  <a:gd name="T55" fmla="*/ 14 h 111"/>
                  <a:gd name="T56" fmla="*/ 11 w 53"/>
                  <a:gd name="T57" fmla="*/ 17 h 111"/>
                  <a:gd name="T58" fmla="*/ 14 w 53"/>
                  <a:gd name="T59" fmla="*/ 22 h 111"/>
                  <a:gd name="T60" fmla="*/ 13 w 53"/>
                  <a:gd name="T61" fmla="*/ 26 h 111"/>
                  <a:gd name="T62" fmla="*/ 14 w 53"/>
                  <a:gd name="T63" fmla="*/ 40 h 111"/>
                  <a:gd name="T64" fmla="*/ 12 w 53"/>
                  <a:gd name="T65" fmla="*/ 50 h 111"/>
                  <a:gd name="T66" fmla="*/ 7 w 53"/>
                  <a:gd name="T67" fmla="*/ 55 h 111"/>
                  <a:gd name="T68" fmla="*/ 1 w 53"/>
                  <a:gd name="T69" fmla="*/ 62 h 111"/>
                  <a:gd name="T70" fmla="*/ 1 w 53"/>
                  <a:gd name="T71" fmla="*/ 68 h 111"/>
                  <a:gd name="T72" fmla="*/ 5 w 53"/>
                  <a:gd name="T73" fmla="*/ 78 h 111"/>
                  <a:gd name="T74" fmla="*/ 13 w 53"/>
                  <a:gd name="T75" fmla="*/ 84 h 111"/>
                  <a:gd name="T76" fmla="*/ 13 w 53"/>
                  <a:gd name="T77" fmla="*/ 91 h 111"/>
                  <a:gd name="T78" fmla="*/ 19 w 53"/>
                  <a:gd name="T79" fmla="*/ 96 h 111"/>
                  <a:gd name="T80" fmla="*/ 25 w 53"/>
                  <a:gd name="T81" fmla="*/ 98 h 111"/>
                  <a:gd name="T82" fmla="*/ 31 w 53"/>
                  <a:gd name="T83" fmla="*/ 133 h 111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53"/>
                  <a:gd name="T127" fmla="*/ 0 h 111"/>
                  <a:gd name="T128" fmla="*/ 53 w 53"/>
                  <a:gd name="T129" fmla="*/ 111 h 111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53" h="111">
                    <a:moveTo>
                      <a:pt x="26" y="111"/>
                    </a:moveTo>
                    <a:cubicBezTo>
                      <a:pt x="28" y="110"/>
                      <a:pt x="31" y="109"/>
                      <a:pt x="33" y="107"/>
                    </a:cubicBezTo>
                    <a:cubicBezTo>
                      <a:pt x="34" y="105"/>
                      <a:pt x="35" y="103"/>
                      <a:pt x="35" y="101"/>
                    </a:cubicBezTo>
                    <a:cubicBezTo>
                      <a:pt x="35" y="97"/>
                      <a:pt x="33" y="94"/>
                      <a:pt x="33" y="90"/>
                    </a:cubicBezTo>
                    <a:cubicBezTo>
                      <a:pt x="34" y="88"/>
                      <a:pt x="37" y="89"/>
                      <a:pt x="38" y="87"/>
                    </a:cubicBezTo>
                    <a:cubicBezTo>
                      <a:pt x="40" y="86"/>
                      <a:pt x="42" y="83"/>
                      <a:pt x="44" y="81"/>
                    </a:cubicBezTo>
                    <a:cubicBezTo>
                      <a:pt x="46" y="79"/>
                      <a:pt x="50" y="78"/>
                      <a:pt x="52" y="76"/>
                    </a:cubicBezTo>
                    <a:cubicBezTo>
                      <a:pt x="53" y="75"/>
                      <a:pt x="50" y="74"/>
                      <a:pt x="50" y="73"/>
                    </a:cubicBezTo>
                    <a:cubicBezTo>
                      <a:pt x="49" y="70"/>
                      <a:pt x="50" y="67"/>
                      <a:pt x="51" y="65"/>
                    </a:cubicBezTo>
                    <a:cubicBezTo>
                      <a:pt x="47" y="63"/>
                      <a:pt x="42" y="61"/>
                      <a:pt x="38" y="58"/>
                    </a:cubicBezTo>
                    <a:cubicBezTo>
                      <a:pt x="37" y="58"/>
                      <a:pt x="35" y="57"/>
                      <a:pt x="34" y="55"/>
                    </a:cubicBezTo>
                    <a:cubicBezTo>
                      <a:pt x="33" y="53"/>
                      <a:pt x="31" y="51"/>
                      <a:pt x="32" y="48"/>
                    </a:cubicBezTo>
                    <a:cubicBezTo>
                      <a:pt x="33" y="46"/>
                      <a:pt x="37" y="47"/>
                      <a:pt x="39" y="45"/>
                    </a:cubicBezTo>
                    <a:cubicBezTo>
                      <a:pt x="41" y="42"/>
                      <a:pt x="43" y="39"/>
                      <a:pt x="44" y="35"/>
                    </a:cubicBezTo>
                    <a:cubicBezTo>
                      <a:pt x="45" y="32"/>
                      <a:pt x="46" y="28"/>
                      <a:pt x="44" y="25"/>
                    </a:cubicBezTo>
                    <a:cubicBezTo>
                      <a:pt x="43" y="22"/>
                      <a:pt x="39" y="23"/>
                      <a:pt x="38" y="21"/>
                    </a:cubicBezTo>
                    <a:cubicBezTo>
                      <a:pt x="36" y="20"/>
                      <a:pt x="36" y="18"/>
                      <a:pt x="37" y="17"/>
                    </a:cubicBezTo>
                    <a:cubicBezTo>
                      <a:pt x="38" y="15"/>
                      <a:pt x="41" y="15"/>
                      <a:pt x="42" y="14"/>
                    </a:cubicBezTo>
                    <a:cubicBezTo>
                      <a:pt x="43" y="12"/>
                      <a:pt x="45" y="10"/>
                      <a:pt x="45" y="8"/>
                    </a:cubicBezTo>
                    <a:cubicBezTo>
                      <a:pt x="45" y="7"/>
                      <a:pt x="46" y="3"/>
                      <a:pt x="44" y="4"/>
                    </a:cubicBezTo>
                    <a:cubicBezTo>
                      <a:pt x="42" y="4"/>
                      <a:pt x="41" y="8"/>
                      <a:pt x="39" y="9"/>
                    </a:cubicBezTo>
                    <a:cubicBezTo>
                      <a:pt x="38" y="10"/>
                      <a:pt x="35" y="10"/>
                      <a:pt x="34" y="8"/>
                    </a:cubicBezTo>
                    <a:cubicBezTo>
                      <a:pt x="33" y="7"/>
                      <a:pt x="37" y="5"/>
                      <a:pt x="36" y="3"/>
                    </a:cubicBezTo>
                    <a:cubicBezTo>
                      <a:pt x="35" y="1"/>
                      <a:pt x="32" y="2"/>
                      <a:pt x="30" y="1"/>
                    </a:cubicBezTo>
                    <a:cubicBezTo>
                      <a:pt x="27" y="1"/>
                      <a:pt x="25" y="0"/>
                      <a:pt x="22" y="1"/>
                    </a:cubicBezTo>
                    <a:cubicBezTo>
                      <a:pt x="19" y="2"/>
                      <a:pt x="17" y="4"/>
                      <a:pt x="14" y="6"/>
                    </a:cubicBezTo>
                    <a:cubicBezTo>
                      <a:pt x="14" y="6"/>
                      <a:pt x="14" y="8"/>
                      <a:pt x="14" y="9"/>
                    </a:cubicBezTo>
                    <a:cubicBezTo>
                      <a:pt x="13" y="10"/>
                      <a:pt x="12" y="11"/>
                      <a:pt x="11" y="12"/>
                    </a:cubicBezTo>
                    <a:cubicBezTo>
                      <a:pt x="11" y="13"/>
                      <a:pt x="9" y="13"/>
                      <a:pt x="9" y="14"/>
                    </a:cubicBezTo>
                    <a:cubicBezTo>
                      <a:pt x="9" y="15"/>
                      <a:pt x="11" y="16"/>
                      <a:pt x="12" y="18"/>
                    </a:cubicBezTo>
                    <a:cubicBezTo>
                      <a:pt x="12" y="20"/>
                      <a:pt x="11" y="21"/>
                      <a:pt x="11" y="22"/>
                    </a:cubicBezTo>
                    <a:cubicBezTo>
                      <a:pt x="11" y="26"/>
                      <a:pt x="12" y="29"/>
                      <a:pt x="12" y="33"/>
                    </a:cubicBezTo>
                    <a:cubicBezTo>
                      <a:pt x="12" y="36"/>
                      <a:pt x="12" y="40"/>
                      <a:pt x="10" y="42"/>
                    </a:cubicBezTo>
                    <a:cubicBezTo>
                      <a:pt x="10" y="44"/>
                      <a:pt x="7" y="45"/>
                      <a:pt x="6" y="46"/>
                    </a:cubicBezTo>
                    <a:cubicBezTo>
                      <a:pt x="4" y="48"/>
                      <a:pt x="2" y="50"/>
                      <a:pt x="1" y="52"/>
                    </a:cubicBezTo>
                    <a:cubicBezTo>
                      <a:pt x="0" y="54"/>
                      <a:pt x="0" y="56"/>
                      <a:pt x="1" y="57"/>
                    </a:cubicBezTo>
                    <a:cubicBezTo>
                      <a:pt x="1" y="60"/>
                      <a:pt x="2" y="63"/>
                      <a:pt x="4" y="65"/>
                    </a:cubicBezTo>
                    <a:cubicBezTo>
                      <a:pt x="6" y="67"/>
                      <a:pt x="9" y="68"/>
                      <a:pt x="11" y="70"/>
                    </a:cubicBezTo>
                    <a:cubicBezTo>
                      <a:pt x="12" y="72"/>
                      <a:pt x="10" y="74"/>
                      <a:pt x="11" y="76"/>
                    </a:cubicBezTo>
                    <a:cubicBezTo>
                      <a:pt x="12" y="78"/>
                      <a:pt x="14" y="79"/>
                      <a:pt x="16" y="80"/>
                    </a:cubicBezTo>
                    <a:cubicBezTo>
                      <a:pt x="17" y="81"/>
                      <a:pt x="20" y="81"/>
                      <a:pt x="21" y="82"/>
                    </a:cubicBezTo>
                    <a:lnTo>
                      <a:pt x="26" y="111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34" name="Freeform 2569"/>
              <p:cNvSpPr>
                <a:spLocks noChangeAspect="1"/>
              </p:cNvSpPr>
              <p:nvPr/>
            </p:nvSpPr>
            <p:spPr bwMode="auto">
              <a:xfrm>
                <a:off x="6997356" y="3351005"/>
                <a:ext cx="296869" cy="306234"/>
              </a:xfrm>
              <a:custGeom>
                <a:avLst/>
                <a:gdLst>
                  <a:gd name="T0" fmla="*/ 69 w 73"/>
                  <a:gd name="T1" fmla="*/ 2 h 90"/>
                  <a:gd name="T2" fmla="*/ 60 w 73"/>
                  <a:gd name="T3" fmla="*/ 0 h 90"/>
                  <a:gd name="T4" fmla="*/ 36 w 73"/>
                  <a:gd name="T5" fmla="*/ 0 h 90"/>
                  <a:gd name="T6" fmla="*/ 35 w 73"/>
                  <a:gd name="T7" fmla="*/ 4 h 90"/>
                  <a:gd name="T8" fmla="*/ 36 w 73"/>
                  <a:gd name="T9" fmla="*/ 19 h 90"/>
                  <a:gd name="T10" fmla="*/ 33 w 73"/>
                  <a:gd name="T11" fmla="*/ 22 h 90"/>
                  <a:gd name="T12" fmla="*/ 11 w 73"/>
                  <a:gd name="T13" fmla="*/ 20 h 90"/>
                  <a:gd name="T14" fmla="*/ 10 w 73"/>
                  <a:gd name="T15" fmla="*/ 30 h 90"/>
                  <a:gd name="T16" fmla="*/ 7 w 73"/>
                  <a:gd name="T17" fmla="*/ 41 h 90"/>
                  <a:gd name="T18" fmla="*/ 4 w 73"/>
                  <a:gd name="T19" fmla="*/ 54 h 90"/>
                  <a:gd name="T20" fmla="*/ 0 w 73"/>
                  <a:gd name="T21" fmla="*/ 52 h 90"/>
                  <a:gd name="T22" fmla="*/ 4 w 73"/>
                  <a:gd name="T23" fmla="*/ 62 h 90"/>
                  <a:gd name="T24" fmla="*/ 11 w 73"/>
                  <a:gd name="T25" fmla="*/ 68 h 90"/>
                  <a:gd name="T26" fmla="*/ 6 w 73"/>
                  <a:gd name="T27" fmla="*/ 70 h 90"/>
                  <a:gd name="T28" fmla="*/ 11 w 73"/>
                  <a:gd name="T29" fmla="*/ 74 h 90"/>
                  <a:gd name="T30" fmla="*/ 10 w 73"/>
                  <a:gd name="T31" fmla="*/ 79 h 90"/>
                  <a:gd name="T32" fmla="*/ 18 w 73"/>
                  <a:gd name="T33" fmla="*/ 84 h 90"/>
                  <a:gd name="T34" fmla="*/ 14 w 73"/>
                  <a:gd name="T35" fmla="*/ 85 h 90"/>
                  <a:gd name="T36" fmla="*/ 20 w 73"/>
                  <a:gd name="T37" fmla="*/ 92 h 90"/>
                  <a:gd name="T38" fmla="*/ 28 w 73"/>
                  <a:gd name="T39" fmla="*/ 103 h 90"/>
                  <a:gd name="T40" fmla="*/ 34 w 73"/>
                  <a:gd name="T41" fmla="*/ 108 h 90"/>
                  <a:gd name="T42" fmla="*/ 36 w 73"/>
                  <a:gd name="T43" fmla="*/ 102 h 90"/>
                  <a:gd name="T44" fmla="*/ 43 w 73"/>
                  <a:gd name="T45" fmla="*/ 103 h 90"/>
                  <a:gd name="T46" fmla="*/ 45 w 73"/>
                  <a:gd name="T47" fmla="*/ 95 h 90"/>
                  <a:gd name="T48" fmla="*/ 39 w 73"/>
                  <a:gd name="T49" fmla="*/ 89 h 90"/>
                  <a:gd name="T50" fmla="*/ 40 w 73"/>
                  <a:gd name="T51" fmla="*/ 80 h 90"/>
                  <a:gd name="T52" fmla="*/ 51 w 73"/>
                  <a:gd name="T53" fmla="*/ 82 h 90"/>
                  <a:gd name="T54" fmla="*/ 53 w 73"/>
                  <a:gd name="T55" fmla="*/ 73 h 90"/>
                  <a:gd name="T56" fmla="*/ 60 w 73"/>
                  <a:gd name="T57" fmla="*/ 79 h 90"/>
                  <a:gd name="T58" fmla="*/ 70 w 73"/>
                  <a:gd name="T59" fmla="*/ 78 h 90"/>
                  <a:gd name="T60" fmla="*/ 72 w 73"/>
                  <a:gd name="T61" fmla="*/ 82 h 90"/>
                  <a:gd name="T62" fmla="*/ 77 w 73"/>
                  <a:gd name="T63" fmla="*/ 82 h 90"/>
                  <a:gd name="T64" fmla="*/ 78 w 73"/>
                  <a:gd name="T65" fmla="*/ 71 h 90"/>
                  <a:gd name="T66" fmla="*/ 78 w 73"/>
                  <a:gd name="T67" fmla="*/ 59 h 90"/>
                  <a:gd name="T68" fmla="*/ 81 w 73"/>
                  <a:gd name="T69" fmla="*/ 50 h 90"/>
                  <a:gd name="T70" fmla="*/ 74 w 73"/>
                  <a:gd name="T71" fmla="*/ 48 h 90"/>
                  <a:gd name="T72" fmla="*/ 76 w 73"/>
                  <a:gd name="T73" fmla="*/ 35 h 90"/>
                  <a:gd name="T74" fmla="*/ 84 w 73"/>
                  <a:gd name="T75" fmla="*/ 30 h 90"/>
                  <a:gd name="T76" fmla="*/ 84 w 73"/>
                  <a:gd name="T77" fmla="*/ 18 h 90"/>
                  <a:gd name="T78" fmla="*/ 68 w 73"/>
                  <a:gd name="T79" fmla="*/ 17 h 90"/>
                  <a:gd name="T80" fmla="*/ 65 w 73"/>
                  <a:gd name="T81" fmla="*/ 11 h 90"/>
                  <a:gd name="T82" fmla="*/ 69 w 73"/>
                  <a:gd name="T83" fmla="*/ 2 h 9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73"/>
                  <a:gd name="T127" fmla="*/ 0 h 90"/>
                  <a:gd name="T128" fmla="*/ 73 w 73"/>
                  <a:gd name="T129" fmla="*/ 90 h 9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73" h="90">
                    <a:moveTo>
                      <a:pt x="57" y="2"/>
                    </a:moveTo>
                    <a:cubicBezTo>
                      <a:pt x="54" y="1"/>
                      <a:pt x="52" y="1"/>
                      <a:pt x="50" y="0"/>
                    </a:cubicBezTo>
                    <a:cubicBezTo>
                      <a:pt x="43" y="0"/>
                      <a:pt x="36" y="0"/>
                      <a:pt x="30" y="0"/>
                    </a:cubicBezTo>
                    <a:cubicBezTo>
                      <a:pt x="29" y="1"/>
                      <a:pt x="29" y="2"/>
                      <a:pt x="29" y="3"/>
                    </a:cubicBezTo>
                    <a:cubicBezTo>
                      <a:pt x="29" y="7"/>
                      <a:pt x="31" y="12"/>
                      <a:pt x="30" y="16"/>
                    </a:cubicBezTo>
                    <a:cubicBezTo>
                      <a:pt x="29" y="17"/>
                      <a:pt x="28" y="18"/>
                      <a:pt x="27" y="18"/>
                    </a:cubicBezTo>
                    <a:cubicBezTo>
                      <a:pt x="21" y="18"/>
                      <a:pt x="15" y="17"/>
                      <a:pt x="9" y="17"/>
                    </a:cubicBezTo>
                    <a:cubicBezTo>
                      <a:pt x="9" y="20"/>
                      <a:pt x="9" y="22"/>
                      <a:pt x="8" y="25"/>
                    </a:cubicBezTo>
                    <a:cubicBezTo>
                      <a:pt x="8" y="28"/>
                      <a:pt x="7" y="31"/>
                      <a:pt x="6" y="34"/>
                    </a:cubicBezTo>
                    <a:cubicBezTo>
                      <a:pt x="5" y="38"/>
                      <a:pt x="5" y="42"/>
                      <a:pt x="3" y="45"/>
                    </a:cubicBezTo>
                    <a:cubicBezTo>
                      <a:pt x="2" y="46"/>
                      <a:pt x="0" y="42"/>
                      <a:pt x="0" y="43"/>
                    </a:cubicBezTo>
                    <a:cubicBezTo>
                      <a:pt x="0" y="47"/>
                      <a:pt x="1" y="50"/>
                      <a:pt x="3" y="52"/>
                    </a:cubicBezTo>
                    <a:cubicBezTo>
                      <a:pt x="4" y="54"/>
                      <a:pt x="8" y="55"/>
                      <a:pt x="9" y="57"/>
                    </a:cubicBezTo>
                    <a:cubicBezTo>
                      <a:pt x="9" y="58"/>
                      <a:pt x="5" y="57"/>
                      <a:pt x="5" y="58"/>
                    </a:cubicBezTo>
                    <a:cubicBezTo>
                      <a:pt x="5" y="60"/>
                      <a:pt x="8" y="61"/>
                      <a:pt x="9" y="62"/>
                    </a:cubicBezTo>
                    <a:cubicBezTo>
                      <a:pt x="9" y="64"/>
                      <a:pt x="7" y="65"/>
                      <a:pt x="8" y="66"/>
                    </a:cubicBezTo>
                    <a:cubicBezTo>
                      <a:pt x="10" y="68"/>
                      <a:pt x="13" y="68"/>
                      <a:pt x="15" y="70"/>
                    </a:cubicBezTo>
                    <a:cubicBezTo>
                      <a:pt x="15" y="71"/>
                      <a:pt x="11" y="70"/>
                      <a:pt x="12" y="71"/>
                    </a:cubicBezTo>
                    <a:cubicBezTo>
                      <a:pt x="12" y="74"/>
                      <a:pt x="15" y="75"/>
                      <a:pt x="17" y="77"/>
                    </a:cubicBezTo>
                    <a:cubicBezTo>
                      <a:pt x="19" y="80"/>
                      <a:pt x="21" y="83"/>
                      <a:pt x="23" y="86"/>
                    </a:cubicBezTo>
                    <a:cubicBezTo>
                      <a:pt x="25" y="88"/>
                      <a:pt x="26" y="88"/>
                      <a:pt x="28" y="90"/>
                    </a:cubicBezTo>
                    <a:cubicBezTo>
                      <a:pt x="29" y="88"/>
                      <a:pt x="29" y="86"/>
                      <a:pt x="30" y="85"/>
                    </a:cubicBezTo>
                    <a:cubicBezTo>
                      <a:pt x="32" y="84"/>
                      <a:pt x="35" y="87"/>
                      <a:pt x="36" y="86"/>
                    </a:cubicBezTo>
                    <a:cubicBezTo>
                      <a:pt x="37" y="84"/>
                      <a:pt x="37" y="81"/>
                      <a:pt x="37" y="79"/>
                    </a:cubicBezTo>
                    <a:cubicBezTo>
                      <a:pt x="36" y="77"/>
                      <a:pt x="32" y="76"/>
                      <a:pt x="32" y="74"/>
                    </a:cubicBezTo>
                    <a:cubicBezTo>
                      <a:pt x="31" y="71"/>
                      <a:pt x="31" y="68"/>
                      <a:pt x="33" y="67"/>
                    </a:cubicBezTo>
                    <a:cubicBezTo>
                      <a:pt x="36" y="65"/>
                      <a:pt x="40" y="70"/>
                      <a:pt x="42" y="68"/>
                    </a:cubicBezTo>
                    <a:cubicBezTo>
                      <a:pt x="44" y="67"/>
                      <a:pt x="42" y="62"/>
                      <a:pt x="44" y="61"/>
                    </a:cubicBezTo>
                    <a:cubicBezTo>
                      <a:pt x="47" y="60"/>
                      <a:pt x="48" y="65"/>
                      <a:pt x="50" y="66"/>
                    </a:cubicBezTo>
                    <a:cubicBezTo>
                      <a:pt x="53" y="67"/>
                      <a:pt x="56" y="65"/>
                      <a:pt x="58" y="65"/>
                    </a:cubicBezTo>
                    <a:cubicBezTo>
                      <a:pt x="59" y="66"/>
                      <a:pt x="59" y="68"/>
                      <a:pt x="60" y="68"/>
                    </a:cubicBezTo>
                    <a:cubicBezTo>
                      <a:pt x="61" y="69"/>
                      <a:pt x="63" y="70"/>
                      <a:pt x="64" y="68"/>
                    </a:cubicBezTo>
                    <a:cubicBezTo>
                      <a:pt x="66" y="66"/>
                      <a:pt x="65" y="62"/>
                      <a:pt x="65" y="59"/>
                    </a:cubicBezTo>
                    <a:cubicBezTo>
                      <a:pt x="65" y="56"/>
                      <a:pt x="65" y="52"/>
                      <a:pt x="65" y="49"/>
                    </a:cubicBezTo>
                    <a:cubicBezTo>
                      <a:pt x="65" y="47"/>
                      <a:pt x="68" y="44"/>
                      <a:pt x="67" y="42"/>
                    </a:cubicBezTo>
                    <a:cubicBezTo>
                      <a:pt x="66" y="40"/>
                      <a:pt x="62" y="42"/>
                      <a:pt x="61" y="40"/>
                    </a:cubicBezTo>
                    <a:cubicBezTo>
                      <a:pt x="60" y="36"/>
                      <a:pt x="61" y="32"/>
                      <a:pt x="63" y="29"/>
                    </a:cubicBezTo>
                    <a:cubicBezTo>
                      <a:pt x="64" y="27"/>
                      <a:pt x="68" y="27"/>
                      <a:pt x="70" y="25"/>
                    </a:cubicBezTo>
                    <a:cubicBezTo>
                      <a:pt x="71" y="22"/>
                      <a:pt x="73" y="17"/>
                      <a:pt x="70" y="15"/>
                    </a:cubicBezTo>
                    <a:cubicBezTo>
                      <a:pt x="67" y="12"/>
                      <a:pt x="60" y="16"/>
                      <a:pt x="56" y="14"/>
                    </a:cubicBezTo>
                    <a:cubicBezTo>
                      <a:pt x="54" y="14"/>
                      <a:pt x="54" y="11"/>
                      <a:pt x="54" y="9"/>
                    </a:cubicBezTo>
                    <a:cubicBezTo>
                      <a:pt x="54" y="7"/>
                      <a:pt x="56" y="4"/>
                      <a:pt x="57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35" name="Freeform 2570"/>
              <p:cNvSpPr>
                <a:spLocks noChangeAspect="1"/>
              </p:cNvSpPr>
              <p:nvPr/>
            </p:nvSpPr>
            <p:spPr bwMode="auto">
              <a:xfrm>
                <a:off x="7031090" y="3356677"/>
                <a:ext cx="91084" cy="56709"/>
              </a:xfrm>
              <a:custGeom>
                <a:avLst/>
                <a:gdLst>
                  <a:gd name="T0" fmla="*/ 1 w 23"/>
                  <a:gd name="T1" fmla="*/ 19 h 16"/>
                  <a:gd name="T2" fmla="*/ 1 w 23"/>
                  <a:gd name="T3" fmla="*/ 7 h 16"/>
                  <a:gd name="T4" fmla="*/ 2 w 23"/>
                  <a:gd name="T5" fmla="*/ 0 h 16"/>
                  <a:gd name="T6" fmla="*/ 25 w 23"/>
                  <a:gd name="T7" fmla="*/ 1 h 16"/>
                  <a:gd name="T8" fmla="*/ 26 w 23"/>
                  <a:gd name="T9" fmla="*/ 17 h 16"/>
                  <a:gd name="T10" fmla="*/ 22 w 23"/>
                  <a:gd name="T11" fmla="*/ 20 h 16"/>
                  <a:gd name="T12" fmla="*/ 1 w 23"/>
                  <a:gd name="T13" fmla="*/ 19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"/>
                  <a:gd name="T22" fmla="*/ 0 h 16"/>
                  <a:gd name="T23" fmla="*/ 23 w 23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" h="16">
                    <a:moveTo>
                      <a:pt x="1" y="15"/>
                    </a:moveTo>
                    <a:cubicBezTo>
                      <a:pt x="1" y="12"/>
                      <a:pt x="0" y="9"/>
                      <a:pt x="1" y="6"/>
                    </a:cubicBezTo>
                    <a:cubicBezTo>
                      <a:pt x="1" y="4"/>
                      <a:pt x="2" y="2"/>
                      <a:pt x="2" y="0"/>
                    </a:cubicBezTo>
                    <a:lnTo>
                      <a:pt x="21" y="1"/>
                    </a:lnTo>
                    <a:cubicBezTo>
                      <a:pt x="21" y="5"/>
                      <a:pt x="23" y="10"/>
                      <a:pt x="22" y="14"/>
                    </a:cubicBezTo>
                    <a:cubicBezTo>
                      <a:pt x="21" y="15"/>
                      <a:pt x="20" y="16"/>
                      <a:pt x="19" y="16"/>
                    </a:cubicBezTo>
                    <a:cubicBezTo>
                      <a:pt x="13" y="16"/>
                      <a:pt x="7" y="15"/>
                      <a:pt x="1" y="15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36" name="Freeform 2571"/>
              <p:cNvSpPr>
                <a:spLocks noChangeAspect="1"/>
              </p:cNvSpPr>
              <p:nvPr/>
            </p:nvSpPr>
            <p:spPr bwMode="auto">
              <a:xfrm>
                <a:off x="6970371" y="2829275"/>
                <a:ext cx="401445" cy="552922"/>
              </a:xfrm>
              <a:custGeom>
                <a:avLst/>
                <a:gdLst>
                  <a:gd name="T0" fmla="*/ 23 w 99"/>
                  <a:gd name="T1" fmla="*/ 175 h 162"/>
                  <a:gd name="T2" fmla="*/ 19 w 99"/>
                  <a:gd name="T3" fmla="*/ 158 h 162"/>
                  <a:gd name="T4" fmla="*/ 16 w 99"/>
                  <a:gd name="T5" fmla="*/ 156 h 162"/>
                  <a:gd name="T6" fmla="*/ 7 w 99"/>
                  <a:gd name="T7" fmla="*/ 144 h 162"/>
                  <a:gd name="T8" fmla="*/ 0 w 99"/>
                  <a:gd name="T9" fmla="*/ 141 h 162"/>
                  <a:gd name="T10" fmla="*/ 5 w 99"/>
                  <a:gd name="T11" fmla="*/ 122 h 162"/>
                  <a:gd name="T12" fmla="*/ 18 w 99"/>
                  <a:gd name="T13" fmla="*/ 110 h 162"/>
                  <a:gd name="T14" fmla="*/ 30 w 99"/>
                  <a:gd name="T15" fmla="*/ 105 h 162"/>
                  <a:gd name="T16" fmla="*/ 34 w 99"/>
                  <a:gd name="T17" fmla="*/ 101 h 162"/>
                  <a:gd name="T18" fmla="*/ 47 w 99"/>
                  <a:gd name="T19" fmla="*/ 111 h 162"/>
                  <a:gd name="T20" fmla="*/ 58 w 99"/>
                  <a:gd name="T21" fmla="*/ 88 h 162"/>
                  <a:gd name="T22" fmla="*/ 66 w 99"/>
                  <a:gd name="T23" fmla="*/ 72 h 162"/>
                  <a:gd name="T24" fmla="*/ 73 w 99"/>
                  <a:gd name="T25" fmla="*/ 54 h 162"/>
                  <a:gd name="T26" fmla="*/ 77 w 99"/>
                  <a:gd name="T27" fmla="*/ 42 h 162"/>
                  <a:gd name="T28" fmla="*/ 95 w 99"/>
                  <a:gd name="T29" fmla="*/ 24 h 162"/>
                  <a:gd name="T30" fmla="*/ 85 w 99"/>
                  <a:gd name="T31" fmla="*/ 8 h 162"/>
                  <a:gd name="T32" fmla="*/ 93 w 99"/>
                  <a:gd name="T33" fmla="*/ 0 h 162"/>
                  <a:gd name="T34" fmla="*/ 101 w 99"/>
                  <a:gd name="T35" fmla="*/ 30 h 162"/>
                  <a:gd name="T36" fmla="*/ 112 w 99"/>
                  <a:gd name="T37" fmla="*/ 52 h 162"/>
                  <a:gd name="T38" fmla="*/ 97 w 99"/>
                  <a:gd name="T39" fmla="*/ 51 h 162"/>
                  <a:gd name="T40" fmla="*/ 85 w 99"/>
                  <a:gd name="T41" fmla="*/ 57 h 162"/>
                  <a:gd name="T42" fmla="*/ 101 w 99"/>
                  <a:gd name="T43" fmla="*/ 75 h 162"/>
                  <a:gd name="T44" fmla="*/ 109 w 99"/>
                  <a:gd name="T45" fmla="*/ 90 h 162"/>
                  <a:gd name="T46" fmla="*/ 103 w 99"/>
                  <a:gd name="T47" fmla="*/ 102 h 162"/>
                  <a:gd name="T48" fmla="*/ 93 w 99"/>
                  <a:gd name="T49" fmla="*/ 119 h 162"/>
                  <a:gd name="T50" fmla="*/ 96 w 99"/>
                  <a:gd name="T51" fmla="*/ 144 h 162"/>
                  <a:gd name="T52" fmla="*/ 105 w 99"/>
                  <a:gd name="T53" fmla="*/ 153 h 162"/>
                  <a:gd name="T54" fmla="*/ 109 w 99"/>
                  <a:gd name="T55" fmla="*/ 170 h 162"/>
                  <a:gd name="T56" fmla="*/ 119 w 99"/>
                  <a:gd name="T57" fmla="*/ 182 h 162"/>
                  <a:gd name="T58" fmla="*/ 118 w 99"/>
                  <a:gd name="T59" fmla="*/ 195 h 162"/>
                  <a:gd name="T60" fmla="*/ 77 w 99"/>
                  <a:gd name="T61" fmla="*/ 187 h 162"/>
                  <a:gd name="T62" fmla="*/ 44 w 99"/>
                  <a:gd name="T63" fmla="*/ 184 h 162"/>
                  <a:gd name="T64" fmla="*/ 20 w 99"/>
                  <a:gd name="T65" fmla="*/ 187 h 16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99"/>
                  <a:gd name="T100" fmla="*/ 0 h 162"/>
                  <a:gd name="T101" fmla="*/ 99 w 99"/>
                  <a:gd name="T102" fmla="*/ 162 h 16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99" h="162">
                    <a:moveTo>
                      <a:pt x="17" y="155"/>
                    </a:moveTo>
                    <a:cubicBezTo>
                      <a:pt x="18" y="152"/>
                      <a:pt x="18" y="149"/>
                      <a:pt x="19" y="145"/>
                    </a:cubicBezTo>
                    <a:cubicBezTo>
                      <a:pt x="19" y="143"/>
                      <a:pt x="18" y="141"/>
                      <a:pt x="18" y="139"/>
                    </a:cubicBezTo>
                    <a:cubicBezTo>
                      <a:pt x="18" y="137"/>
                      <a:pt x="16" y="134"/>
                      <a:pt x="16" y="131"/>
                    </a:cubicBezTo>
                    <a:cubicBezTo>
                      <a:pt x="16" y="130"/>
                      <a:pt x="17" y="128"/>
                      <a:pt x="16" y="128"/>
                    </a:cubicBezTo>
                    <a:cubicBezTo>
                      <a:pt x="15" y="127"/>
                      <a:pt x="14" y="130"/>
                      <a:pt x="13" y="130"/>
                    </a:cubicBezTo>
                    <a:cubicBezTo>
                      <a:pt x="11" y="129"/>
                      <a:pt x="8" y="128"/>
                      <a:pt x="7" y="127"/>
                    </a:cubicBezTo>
                    <a:cubicBezTo>
                      <a:pt x="6" y="125"/>
                      <a:pt x="8" y="121"/>
                      <a:pt x="6" y="120"/>
                    </a:cubicBezTo>
                    <a:cubicBezTo>
                      <a:pt x="5" y="119"/>
                      <a:pt x="3" y="123"/>
                      <a:pt x="2" y="122"/>
                    </a:cubicBezTo>
                    <a:cubicBezTo>
                      <a:pt x="0" y="121"/>
                      <a:pt x="1" y="119"/>
                      <a:pt x="0" y="117"/>
                    </a:cubicBezTo>
                    <a:cubicBezTo>
                      <a:pt x="2" y="115"/>
                      <a:pt x="4" y="113"/>
                      <a:pt x="5" y="111"/>
                    </a:cubicBezTo>
                    <a:cubicBezTo>
                      <a:pt x="5" y="108"/>
                      <a:pt x="3" y="104"/>
                      <a:pt x="4" y="101"/>
                    </a:cubicBezTo>
                    <a:cubicBezTo>
                      <a:pt x="5" y="99"/>
                      <a:pt x="7" y="97"/>
                      <a:pt x="8" y="95"/>
                    </a:cubicBezTo>
                    <a:cubicBezTo>
                      <a:pt x="10" y="93"/>
                      <a:pt x="13" y="92"/>
                      <a:pt x="15" y="91"/>
                    </a:cubicBezTo>
                    <a:cubicBezTo>
                      <a:pt x="17" y="89"/>
                      <a:pt x="18" y="85"/>
                      <a:pt x="21" y="84"/>
                    </a:cubicBezTo>
                    <a:cubicBezTo>
                      <a:pt x="22" y="84"/>
                      <a:pt x="23" y="86"/>
                      <a:pt x="25" y="87"/>
                    </a:cubicBezTo>
                    <a:cubicBezTo>
                      <a:pt x="26" y="87"/>
                      <a:pt x="27" y="87"/>
                      <a:pt x="27" y="86"/>
                    </a:cubicBezTo>
                    <a:cubicBezTo>
                      <a:pt x="28" y="86"/>
                      <a:pt x="28" y="83"/>
                      <a:pt x="28" y="84"/>
                    </a:cubicBezTo>
                    <a:cubicBezTo>
                      <a:pt x="31" y="85"/>
                      <a:pt x="32" y="89"/>
                      <a:pt x="34" y="91"/>
                    </a:cubicBezTo>
                    <a:cubicBezTo>
                      <a:pt x="35" y="92"/>
                      <a:pt x="38" y="93"/>
                      <a:pt x="39" y="92"/>
                    </a:cubicBezTo>
                    <a:cubicBezTo>
                      <a:pt x="42" y="90"/>
                      <a:pt x="43" y="85"/>
                      <a:pt x="44" y="82"/>
                    </a:cubicBezTo>
                    <a:cubicBezTo>
                      <a:pt x="46" y="79"/>
                      <a:pt x="47" y="76"/>
                      <a:pt x="48" y="73"/>
                    </a:cubicBezTo>
                    <a:cubicBezTo>
                      <a:pt x="48" y="71"/>
                      <a:pt x="47" y="69"/>
                      <a:pt x="48" y="67"/>
                    </a:cubicBezTo>
                    <a:cubicBezTo>
                      <a:pt x="50" y="64"/>
                      <a:pt x="53" y="63"/>
                      <a:pt x="55" y="60"/>
                    </a:cubicBezTo>
                    <a:cubicBezTo>
                      <a:pt x="56" y="57"/>
                      <a:pt x="55" y="53"/>
                      <a:pt x="57" y="50"/>
                    </a:cubicBezTo>
                    <a:cubicBezTo>
                      <a:pt x="58" y="48"/>
                      <a:pt x="60" y="47"/>
                      <a:pt x="61" y="45"/>
                    </a:cubicBezTo>
                    <a:cubicBezTo>
                      <a:pt x="62" y="44"/>
                      <a:pt x="61" y="42"/>
                      <a:pt x="61" y="41"/>
                    </a:cubicBezTo>
                    <a:cubicBezTo>
                      <a:pt x="61" y="39"/>
                      <a:pt x="63" y="37"/>
                      <a:pt x="64" y="35"/>
                    </a:cubicBezTo>
                    <a:cubicBezTo>
                      <a:pt x="65" y="31"/>
                      <a:pt x="66" y="27"/>
                      <a:pt x="69" y="24"/>
                    </a:cubicBezTo>
                    <a:cubicBezTo>
                      <a:pt x="71" y="22"/>
                      <a:pt x="77" y="23"/>
                      <a:pt x="79" y="20"/>
                    </a:cubicBezTo>
                    <a:cubicBezTo>
                      <a:pt x="80" y="17"/>
                      <a:pt x="78" y="13"/>
                      <a:pt x="77" y="10"/>
                    </a:cubicBezTo>
                    <a:cubicBezTo>
                      <a:pt x="76" y="8"/>
                      <a:pt x="72" y="9"/>
                      <a:pt x="71" y="7"/>
                    </a:cubicBezTo>
                    <a:cubicBezTo>
                      <a:pt x="71" y="5"/>
                      <a:pt x="72" y="2"/>
                      <a:pt x="73" y="1"/>
                    </a:cubicBezTo>
                    <a:cubicBezTo>
                      <a:pt x="74" y="1"/>
                      <a:pt x="76" y="0"/>
                      <a:pt x="77" y="0"/>
                    </a:cubicBezTo>
                    <a:cubicBezTo>
                      <a:pt x="80" y="4"/>
                      <a:pt x="82" y="8"/>
                      <a:pt x="83" y="12"/>
                    </a:cubicBezTo>
                    <a:cubicBezTo>
                      <a:pt x="84" y="16"/>
                      <a:pt x="83" y="21"/>
                      <a:pt x="84" y="25"/>
                    </a:cubicBezTo>
                    <a:cubicBezTo>
                      <a:pt x="84" y="29"/>
                      <a:pt x="84" y="32"/>
                      <a:pt x="86" y="35"/>
                    </a:cubicBezTo>
                    <a:cubicBezTo>
                      <a:pt x="88" y="38"/>
                      <a:pt x="91" y="39"/>
                      <a:pt x="93" y="43"/>
                    </a:cubicBezTo>
                    <a:cubicBezTo>
                      <a:pt x="90" y="43"/>
                      <a:pt x="87" y="42"/>
                      <a:pt x="84" y="42"/>
                    </a:cubicBezTo>
                    <a:cubicBezTo>
                      <a:pt x="83" y="42"/>
                      <a:pt x="82" y="43"/>
                      <a:pt x="81" y="42"/>
                    </a:cubicBezTo>
                    <a:cubicBezTo>
                      <a:pt x="78" y="42"/>
                      <a:pt x="76" y="40"/>
                      <a:pt x="73" y="41"/>
                    </a:cubicBezTo>
                    <a:cubicBezTo>
                      <a:pt x="71" y="42"/>
                      <a:pt x="70" y="45"/>
                      <a:pt x="71" y="47"/>
                    </a:cubicBezTo>
                    <a:cubicBezTo>
                      <a:pt x="71" y="49"/>
                      <a:pt x="75" y="51"/>
                      <a:pt x="76" y="53"/>
                    </a:cubicBezTo>
                    <a:cubicBezTo>
                      <a:pt x="79" y="56"/>
                      <a:pt x="81" y="59"/>
                      <a:pt x="84" y="62"/>
                    </a:cubicBezTo>
                    <a:cubicBezTo>
                      <a:pt x="85" y="64"/>
                      <a:pt x="87" y="66"/>
                      <a:pt x="88" y="69"/>
                    </a:cubicBezTo>
                    <a:cubicBezTo>
                      <a:pt x="89" y="71"/>
                      <a:pt x="90" y="73"/>
                      <a:pt x="91" y="75"/>
                    </a:cubicBezTo>
                    <a:cubicBezTo>
                      <a:pt x="91" y="75"/>
                      <a:pt x="91" y="76"/>
                      <a:pt x="91" y="77"/>
                    </a:cubicBezTo>
                    <a:cubicBezTo>
                      <a:pt x="89" y="79"/>
                      <a:pt x="88" y="82"/>
                      <a:pt x="86" y="85"/>
                    </a:cubicBezTo>
                    <a:cubicBezTo>
                      <a:pt x="85" y="89"/>
                      <a:pt x="85" y="93"/>
                      <a:pt x="82" y="96"/>
                    </a:cubicBezTo>
                    <a:cubicBezTo>
                      <a:pt x="81" y="98"/>
                      <a:pt x="77" y="97"/>
                      <a:pt x="77" y="99"/>
                    </a:cubicBezTo>
                    <a:cubicBezTo>
                      <a:pt x="76" y="102"/>
                      <a:pt x="80" y="103"/>
                      <a:pt x="81" y="105"/>
                    </a:cubicBezTo>
                    <a:cubicBezTo>
                      <a:pt x="81" y="110"/>
                      <a:pt x="79" y="115"/>
                      <a:pt x="80" y="120"/>
                    </a:cubicBezTo>
                    <a:cubicBezTo>
                      <a:pt x="80" y="122"/>
                      <a:pt x="81" y="123"/>
                      <a:pt x="82" y="124"/>
                    </a:cubicBezTo>
                    <a:cubicBezTo>
                      <a:pt x="83" y="125"/>
                      <a:pt x="86" y="125"/>
                      <a:pt x="87" y="127"/>
                    </a:cubicBezTo>
                    <a:cubicBezTo>
                      <a:pt x="88" y="128"/>
                      <a:pt x="87" y="130"/>
                      <a:pt x="87" y="131"/>
                    </a:cubicBezTo>
                    <a:cubicBezTo>
                      <a:pt x="88" y="135"/>
                      <a:pt x="89" y="138"/>
                      <a:pt x="91" y="141"/>
                    </a:cubicBezTo>
                    <a:cubicBezTo>
                      <a:pt x="92" y="142"/>
                      <a:pt x="95" y="142"/>
                      <a:pt x="95" y="143"/>
                    </a:cubicBezTo>
                    <a:cubicBezTo>
                      <a:pt x="97" y="145"/>
                      <a:pt x="98" y="148"/>
                      <a:pt x="99" y="151"/>
                    </a:cubicBezTo>
                    <a:cubicBezTo>
                      <a:pt x="98" y="153"/>
                      <a:pt x="98" y="155"/>
                      <a:pt x="98" y="157"/>
                    </a:cubicBezTo>
                    <a:cubicBezTo>
                      <a:pt x="97" y="159"/>
                      <a:pt x="99" y="162"/>
                      <a:pt x="98" y="162"/>
                    </a:cubicBezTo>
                    <a:cubicBezTo>
                      <a:pt x="91" y="161"/>
                      <a:pt x="85" y="156"/>
                      <a:pt x="78" y="155"/>
                    </a:cubicBezTo>
                    <a:cubicBezTo>
                      <a:pt x="73" y="154"/>
                      <a:pt x="69" y="155"/>
                      <a:pt x="64" y="155"/>
                    </a:cubicBezTo>
                    <a:cubicBezTo>
                      <a:pt x="61" y="154"/>
                      <a:pt x="59" y="154"/>
                      <a:pt x="57" y="153"/>
                    </a:cubicBezTo>
                    <a:cubicBezTo>
                      <a:pt x="50" y="153"/>
                      <a:pt x="43" y="153"/>
                      <a:pt x="37" y="153"/>
                    </a:cubicBezTo>
                    <a:cubicBezTo>
                      <a:pt x="36" y="154"/>
                      <a:pt x="36" y="155"/>
                      <a:pt x="36" y="156"/>
                    </a:cubicBezTo>
                    <a:lnTo>
                      <a:pt x="17" y="155"/>
                    </a:ln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37" name="Freeform 2572"/>
              <p:cNvSpPr>
                <a:spLocks noChangeAspect="1"/>
              </p:cNvSpPr>
              <p:nvPr/>
            </p:nvSpPr>
            <p:spPr bwMode="auto">
              <a:xfrm>
                <a:off x="7233502" y="2301873"/>
                <a:ext cx="526266" cy="791103"/>
              </a:xfrm>
              <a:custGeom>
                <a:avLst/>
                <a:gdLst>
                  <a:gd name="T0" fmla="*/ 31 w 130"/>
                  <a:gd name="T1" fmla="*/ 279 h 232"/>
                  <a:gd name="T2" fmla="*/ 40 w 130"/>
                  <a:gd name="T3" fmla="*/ 278 h 232"/>
                  <a:gd name="T4" fmla="*/ 47 w 130"/>
                  <a:gd name="T5" fmla="*/ 274 h 232"/>
                  <a:gd name="T6" fmla="*/ 54 w 130"/>
                  <a:gd name="T7" fmla="*/ 278 h 232"/>
                  <a:gd name="T8" fmla="*/ 58 w 130"/>
                  <a:gd name="T9" fmla="*/ 273 h 232"/>
                  <a:gd name="T10" fmla="*/ 71 w 130"/>
                  <a:gd name="T11" fmla="*/ 271 h 232"/>
                  <a:gd name="T12" fmla="*/ 76 w 130"/>
                  <a:gd name="T13" fmla="*/ 271 h 232"/>
                  <a:gd name="T14" fmla="*/ 80 w 130"/>
                  <a:gd name="T15" fmla="*/ 266 h 232"/>
                  <a:gd name="T16" fmla="*/ 85 w 130"/>
                  <a:gd name="T17" fmla="*/ 260 h 232"/>
                  <a:gd name="T18" fmla="*/ 80 w 130"/>
                  <a:gd name="T19" fmla="*/ 257 h 232"/>
                  <a:gd name="T20" fmla="*/ 85 w 130"/>
                  <a:gd name="T21" fmla="*/ 254 h 232"/>
                  <a:gd name="T22" fmla="*/ 98 w 130"/>
                  <a:gd name="T23" fmla="*/ 254 h 232"/>
                  <a:gd name="T24" fmla="*/ 112 w 130"/>
                  <a:gd name="T25" fmla="*/ 248 h 232"/>
                  <a:gd name="T26" fmla="*/ 114 w 130"/>
                  <a:gd name="T27" fmla="*/ 238 h 232"/>
                  <a:gd name="T28" fmla="*/ 120 w 130"/>
                  <a:gd name="T29" fmla="*/ 238 h 232"/>
                  <a:gd name="T30" fmla="*/ 126 w 130"/>
                  <a:gd name="T31" fmla="*/ 231 h 232"/>
                  <a:gd name="T32" fmla="*/ 126 w 130"/>
                  <a:gd name="T33" fmla="*/ 222 h 232"/>
                  <a:gd name="T34" fmla="*/ 139 w 130"/>
                  <a:gd name="T35" fmla="*/ 220 h 232"/>
                  <a:gd name="T36" fmla="*/ 140 w 130"/>
                  <a:gd name="T37" fmla="*/ 215 h 232"/>
                  <a:gd name="T38" fmla="*/ 134 w 130"/>
                  <a:gd name="T39" fmla="*/ 208 h 232"/>
                  <a:gd name="T40" fmla="*/ 138 w 130"/>
                  <a:gd name="T41" fmla="*/ 203 h 232"/>
                  <a:gd name="T42" fmla="*/ 134 w 130"/>
                  <a:gd name="T43" fmla="*/ 202 h 232"/>
                  <a:gd name="T44" fmla="*/ 133 w 130"/>
                  <a:gd name="T45" fmla="*/ 190 h 232"/>
                  <a:gd name="T46" fmla="*/ 125 w 130"/>
                  <a:gd name="T47" fmla="*/ 192 h 232"/>
                  <a:gd name="T48" fmla="*/ 125 w 130"/>
                  <a:gd name="T49" fmla="*/ 186 h 232"/>
                  <a:gd name="T50" fmla="*/ 131 w 130"/>
                  <a:gd name="T51" fmla="*/ 179 h 232"/>
                  <a:gd name="T52" fmla="*/ 130 w 130"/>
                  <a:gd name="T53" fmla="*/ 168 h 232"/>
                  <a:gd name="T54" fmla="*/ 136 w 130"/>
                  <a:gd name="T55" fmla="*/ 165 h 232"/>
                  <a:gd name="T56" fmla="*/ 132 w 130"/>
                  <a:gd name="T57" fmla="*/ 158 h 232"/>
                  <a:gd name="T58" fmla="*/ 136 w 130"/>
                  <a:gd name="T59" fmla="*/ 154 h 232"/>
                  <a:gd name="T60" fmla="*/ 142 w 130"/>
                  <a:gd name="T61" fmla="*/ 146 h 232"/>
                  <a:gd name="T62" fmla="*/ 140 w 130"/>
                  <a:gd name="T63" fmla="*/ 140 h 232"/>
                  <a:gd name="T64" fmla="*/ 146 w 130"/>
                  <a:gd name="T65" fmla="*/ 136 h 232"/>
                  <a:gd name="T66" fmla="*/ 154 w 130"/>
                  <a:gd name="T67" fmla="*/ 136 h 232"/>
                  <a:gd name="T68" fmla="*/ 154 w 130"/>
                  <a:gd name="T69" fmla="*/ 72 h 232"/>
                  <a:gd name="T70" fmla="*/ 29 w 130"/>
                  <a:gd name="T71" fmla="*/ 0 h 232"/>
                  <a:gd name="T72" fmla="*/ 19 w 130"/>
                  <a:gd name="T73" fmla="*/ 8 h 232"/>
                  <a:gd name="T74" fmla="*/ 24 w 130"/>
                  <a:gd name="T75" fmla="*/ 23 h 232"/>
                  <a:gd name="T76" fmla="*/ 23 w 130"/>
                  <a:gd name="T77" fmla="*/ 34 h 232"/>
                  <a:gd name="T78" fmla="*/ 28 w 130"/>
                  <a:gd name="T79" fmla="*/ 40 h 232"/>
                  <a:gd name="T80" fmla="*/ 26 w 130"/>
                  <a:gd name="T81" fmla="*/ 47 h 232"/>
                  <a:gd name="T82" fmla="*/ 35 w 130"/>
                  <a:gd name="T83" fmla="*/ 53 h 232"/>
                  <a:gd name="T84" fmla="*/ 26 w 130"/>
                  <a:gd name="T85" fmla="*/ 70 h 232"/>
                  <a:gd name="T86" fmla="*/ 26 w 130"/>
                  <a:gd name="T87" fmla="*/ 96 h 232"/>
                  <a:gd name="T88" fmla="*/ 28 w 130"/>
                  <a:gd name="T89" fmla="*/ 120 h 232"/>
                  <a:gd name="T90" fmla="*/ 0 w 130"/>
                  <a:gd name="T91" fmla="*/ 155 h 232"/>
                  <a:gd name="T92" fmla="*/ 0 w 130"/>
                  <a:gd name="T93" fmla="*/ 173 h 232"/>
                  <a:gd name="T94" fmla="*/ 6 w 130"/>
                  <a:gd name="T95" fmla="*/ 183 h 232"/>
                  <a:gd name="T96" fmla="*/ 10 w 130"/>
                  <a:gd name="T97" fmla="*/ 188 h 232"/>
                  <a:gd name="T98" fmla="*/ 14 w 130"/>
                  <a:gd name="T99" fmla="*/ 186 h 232"/>
                  <a:gd name="T100" fmla="*/ 22 w 130"/>
                  <a:gd name="T101" fmla="*/ 201 h 232"/>
                  <a:gd name="T102" fmla="*/ 23 w 130"/>
                  <a:gd name="T103" fmla="*/ 216 h 232"/>
                  <a:gd name="T104" fmla="*/ 25 w 130"/>
                  <a:gd name="T105" fmla="*/ 228 h 232"/>
                  <a:gd name="T106" fmla="*/ 34 w 130"/>
                  <a:gd name="T107" fmla="*/ 238 h 232"/>
                  <a:gd name="T108" fmla="*/ 23 w 130"/>
                  <a:gd name="T109" fmla="*/ 237 h 232"/>
                  <a:gd name="T110" fmla="*/ 19 w 130"/>
                  <a:gd name="T111" fmla="*/ 237 h 232"/>
                  <a:gd name="T112" fmla="*/ 10 w 130"/>
                  <a:gd name="T113" fmla="*/ 236 h 232"/>
                  <a:gd name="T114" fmla="*/ 7 w 130"/>
                  <a:gd name="T115" fmla="*/ 243 h 232"/>
                  <a:gd name="T116" fmla="*/ 13 w 130"/>
                  <a:gd name="T117" fmla="*/ 250 h 232"/>
                  <a:gd name="T118" fmla="*/ 23 w 130"/>
                  <a:gd name="T119" fmla="*/ 261 h 232"/>
                  <a:gd name="T120" fmla="*/ 28 w 130"/>
                  <a:gd name="T121" fmla="*/ 269 h 232"/>
                  <a:gd name="T122" fmla="*/ 31 w 130"/>
                  <a:gd name="T123" fmla="*/ 277 h 232"/>
                  <a:gd name="T124" fmla="*/ 31 w 130"/>
                  <a:gd name="T125" fmla="*/ 279 h 232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0"/>
                  <a:gd name="T190" fmla="*/ 0 h 232"/>
                  <a:gd name="T191" fmla="*/ 130 w 130"/>
                  <a:gd name="T192" fmla="*/ 232 h 232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0" h="232">
                    <a:moveTo>
                      <a:pt x="26" y="232"/>
                    </a:moveTo>
                    <a:cubicBezTo>
                      <a:pt x="28" y="231"/>
                      <a:pt x="31" y="231"/>
                      <a:pt x="33" y="231"/>
                    </a:cubicBezTo>
                    <a:cubicBezTo>
                      <a:pt x="35" y="230"/>
                      <a:pt x="37" y="228"/>
                      <a:pt x="39" y="228"/>
                    </a:cubicBezTo>
                    <a:cubicBezTo>
                      <a:pt x="41" y="228"/>
                      <a:pt x="43" y="231"/>
                      <a:pt x="45" y="231"/>
                    </a:cubicBezTo>
                    <a:cubicBezTo>
                      <a:pt x="47" y="231"/>
                      <a:pt x="47" y="228"/>
                      <a:pt x="48" y="227"/>
                    </a:cubicBezTo>
                    <a:cubicBezTo>
                      <a:pt x="52" y="226"/>
                      <a:pt x="55" y="225"/>
                      <a:pt x="59" y="225"/>
                    </a:cubicBezTo>
                    <a:cubicBezTo>
                      <a:pt x="60" y="225"/>
                      <a:pt x="61" y="225"/>
                      <a:pt x="63" y="225"/>
                    </a:cubicBezTo>
                    <a:cubicBezTo>
                      <a:pt x="64" y="224"/>
                      <a:pt x="65" y="223"/>
                      <a:pt x="67" y="221"/>
                    </a:cubicBezTo>
                    <a:cubicBezTo>
                      <a:pt x="68" y="220"/>
                      <a:pt x="71" y="218"/>
                      <a:pt x="71" y="216"/>
                    </a:cubicBezTo>
                    <a:cubicBezTo>
                      <a:pt x="71" y="214"/>
                      <a:pt x="67" y="215"/>
                      <a:pt x="67" y="214"/>
                    </a:cubicBezTo>
                    <a:cubicBezTo>
                      <a:pt x="67" y="212"/>
                      <a:pt x="70" y="212"/>
                      <a:pt x="71" y="211"/>
                    </a:cubicBezTo>
                    <a:cubicBezTo>
                      <a:pt x="75" y="211"/>
                      <a:pt x="78" y="212"/>
                      <a:pt x="82" y="211"/>
                    </a:cubicBezTo>
                    <a:cubicBezTo>
                      <a:pt x="86" y="210"/>
                      <a:pt x="90" y="209"/>
                      <a:pt x="93" y="206"/>
                    </a:cubicBezTo>
                    <a:cubicBezTo>
                      <a:pt x="95" y="204"/>
                      <a:pt x="93" y="200"/>
                      <a:pt x="95" y="198"/>
                    </a:cubicBezTo>
                    <a:cubicBezTo>
                      <a:pt x="96" y="197"/>
                      <a:pt x="99" y="199"/>
                      <a:pt x="100" y="198"/>
                    </a:cubicBezTo>
                    <a:cubicBezTo>
                      <a:pt x="102" y="197"/>
                      <a:pt x="104" y="195"/>
                      <a:pt x="105" y="192"/>
                    </a:cubicBezTo>
                    <a:cubicBezTo>
                      <a:pt x="106" y="190"/>
                      <a:pt x="103" y="186"/>
                      <a:pt x="105" y="185"/>
                    </a:cubicBezTo>
                    <a:cubicBezTo>
                      <a:pt x="108" y="182"/>
                      <a:pt x="113" y="184"/>
                      <a:pt x="116" y="183"/>
                    </a:cubicBezTo>
                    <a:cubicBezTo>
                      <a:pt x="117" y="182"/>
                      <a:pt x="118" y="180"/>
                      <a:pt x="117" y="179"/>
                    </a:cubicBezTo>
                    <a:cubicBezTo>
                      <a:pt x="116" y="177"/>
                      <a:pt x="113" y="176"/>
                      <a:pt x="112" y="173"/>
                    </a:cubicBezTo>
                    <a:cubicBezTo>
                      <a:pt x="112" y="171"/>
                      <a:pt x="115" y="170"/>
                      <a:pt x="115" y="169"/>
                    </a:cubicBezTo>
                    <a:cubicBezTo>
                      <a:pt x="115" y="168"/>
                      <a:pt x="113" y="169"/>
                      <a:pt x="112" y="168"/>
                    </a:cubicBezTo>
                    <a:cubicBezTo>
                      <a:pt x="111" y="165"/>
                      <a:pt x="113" y="161"/>
                      <a:pt x="111" y="158"/>
                    </a:cubicBezTo>
                    <a:cubicBezTo>
                      <a:pt x="109" y="157"/>
                      <a:pt x="106" y="161"/>
                      <a:pt x="104" y="160"/>
                    </a:cubicBezTo>
                    <a:cubicBezTo>
                      <a:pt x="103" y="159"/>
                      <a:pt x="103" y="156"/>
                      <a:pt x="104" y="155"/>
                    </a:cubicBezTo>
                    <a:cubicBezTo>
                      <a:pt x="105" y="153"/>
                      <a:pt x="109" y="152"/>
                      <a:pt x="109" y="149"/>
                    </a:cubicBezTo>
                    <a:cubicBezTo>
                      <a:pt x="110" y="146"/>
                      <a:pt x="107" y="143"/>
                      <a:pt x="108" y="140"/>
                    </a:cubicBezTo>
                    <a:cubicBezTo>
                      <a:pt x="108" y="138"/>
                      <a:pt x="113" y="139"/>
                      <a:pt x="113" y="137"/>
                    </a:cubicBezTo>
                    <a:cubicBezTo>
                      <a:pt x="114" y="135"/>
                      <a:pt x="110" y="133"/>
                      <a:pt x="110" y="131"/>
                    </a:cubicBezTo>
                    <a:cubicBezTo>
                      <a:pt x="109" y="130"/>
                      <a:pt x="112" y="129"/>
                      <a:pt x="113" y="128"/>
                    </a:cubicBezTo>
                    <a:cubicBezTo>
                      <a:pt x="115" y="126"/>
                      <a:pt x="117" y="124"/>
                      <a:pt x="118" y="121"/>
                    </a:cubicBezTo>
                    <a:cubicBezTo>
                      <a:pt x="119" y="119"/>
                      <a:pt x="116" y="117"/>
                      <a:pt x="117" y="116"/>
                    </a:cubicBezTo>
                    <a:cubicBezTo>
                      <a:pt x="118" y="114"/>
                      <a:pt x="120" y="113"/>
                      <a:pt x="122" y="113"/>
                    </a:cubicBezTo>
                    <a:cubicBezTo>
                      <a:pt x="124" y="112"/>
                      <a:pt x="128" y="115"/>
                      <a:pt x="128" y="113"/>
                    </a:cubicBezTo>
                    <a:cubicBezTo>
                      <a:pt x="130" y="96"/>
                      <a:pt x="128" y="78"/>
                      <a:pt x="128" y="60"/>
                    </a:cubicBezTo>
                    <a:lnTo>
                      <a:pt x="24" y="0"/>
                    </a:lnTo>
                    <a:lnTo>
                      <a:pt x="16" y="7"/>
                    </a:lnTo>
                    <a:lnTo>
                      <a:pt x="20" y="19"/>
                    </a:lnTo>
                    <a:lnTo>
                      <a:pt x="19" y="28"/>
                    </a:lnTo>
                    <a:lnTo>
                      <a:pt x="23" y="33"/>
                    </a:lnTo>
                    <a:lnTo>
                      <a:pt x="22" y="39"/>
                    </a:lnTo>
                    <a:lnTo>
                      <a:pt x="29" y="44"/>
                    </a:lnTo>
                    <a:lnTo>
                      <a:pt x="22" y="58"/>
                    </a:lnTo>
                    <a:lnTo>
                      <a:pt x="22" y="80"/>
                    </a:lnTo>
                    <a:lnTo>
                      <a:pt x="23" y="100"/>
                    </a:lnTo>
                    <a:lnTo>
                      <a:pt x="0" y="129"/>
                    </a:lnTo>
                    <a:lnTo>
                      <a:pt x="0" y="144"/>
                    </a:lnTo>
                    <a:cubicBezTo>
                      <a:pt x="2" y="146"/>
                      <a:pt x="3" y="150"/>
                      <a:pt x="5" y="152"/>
                    </a:cubicBezTo>
                    <a:cubicBezTo>
                      <a:pt x="6" y="153"/>
                      <a:pt x="7" y="155"/>
                      <a:pt x="8" y="156"/>
                    </a:cubicBezTo>
                    <a:cubicBezTo>
                      <a:pt x="9" y="156"/>
                      <a:pt x="11" y="155"/>
                      <a:pt x="12" y="155"/>
                    </a:cubicBezTo>
                    <a:cubicBezTo>
                      <a:pt x="15" y="159"/>
                      <a:pt x="17" y="163"/>
                      <a:pt x="18" y="167"/>
                    </a:cubicBezTo>
                    <a:cubicBezTo>
                      <a:pt x="19" y="171"/>
                      <a:pt x="18" y="176"/>
                      <a:pt x="19" y="180"/>
                    </a:cubicBezTo>
                    <a:cubicBezTo>
                      <a:pt x="19" y="184"/>
                      <a:pt x="19" y="187"/>
                      <a:pt x="21" y="190"/>
                    </a:cubicBezTo>
                    <a:cubicBezTo>
                      <a:pt x="23" y="193"/>
                      <a:pt x="26" y="194"/>
                      <a:pt x="28" y="198"/>
                    </a:cubicBezTo>
                    <a:cubicBezTo>
                      <a:pt x="25" y="198"/>
                      <a:pt x="22" y="197"/>
                      <a:pt x="19" y="197"/>
                    </a:cubicBezTo>
                    <a:cubicBezTo>
                      <a:pt x="18" y="197"/>
                      <a:pt x="17" y="198"/>
                      <a:pt x="16" y="197"/>
                    </a:cubicBezTo>
                    <a:cubicBezTo>
                      <a:pt x="13" y="197"/>
                      <a:pt x="11" y="195"/>
                      <a:pt x="8" y="196"/>
                    </a:cubicBezTo>
                    <a:cubicBezTo>
                      <a:pt x="6" y="197"/>
                      <a:pt x="5" y="200"/>
                      <a:pt x="6" y="202"/>
                    </a:cubicBezTo>
                    <a:cubicBezTo>
                      <a:pt x="6" y="204"/>
                      <a:pt x="10" y="206"/>
                      <a:pt x="11" y="208"/>
                    </a:cubicBezTo>
                    <a:cubicBezTo>
                      <a:pt x="14" y="211"/>
                      <a:pt x="16" y="214"/>
                      <a:pt x="19" y="217"/>
                    </a:cubicBezTo>
                    <a:cubicBezTo>
                      <a:pt x="20" y="219"/>
                      <a:pt x="22" y="221"/>
                      <a:pt x="23" y="224"/>
                    </a:cubicBezTo>
                    <a:cubicBezTo>
                      <a:pt x="24" y="226"/>
                      <a:pt x="25" y="228"/>
                      <a:pt x="26" y="230"/>
                    </a:cubicBezTo>
                    <a:cubicBezTo>
                      <a:pt x="26" y="230"/>
                      <a:pt x="26" y="231"/>
                      <a:pt x="26" y="23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38" name="Freeform 2573"/>
              <p:cNvSpPr>
                <a:spLocks noChangeAspect="1"/>
              </p:cNvSpPr>
              <p:nvPr/>
            </p:nvSpPr>
            <p:spPr bwMode="auto">
              <a:xfrm>
                <a:off x="7277360" y="2922845"/>
                <a:ext cx="667951" cy="422490"/>
              </a:xfrm>
              <a:custGeom>
                <a:avLst/>
                <a:gdLst>
                  <a:gd name="T0" fmla="*/ 198 w 165"/>
                  <a:gd name="T1" fmla="*/ 97 h 124"/>
                  <a:gd name="T2" fmla="*/ 190 w 165"/>
                  <a:gd name="T3" fmla="*/ 87 h 124"/>
                  <a:gd name="T4" fmla="*/ 185 w 165"/>
                  <a:gd name="T5" fmla="*/ 78 h 124"/>
                  <a:gd name="T6" fmla="*/ 170 w 165"/>
                  <a:gd name="T7" fmla="*/ 68 h 124"/>
                  <a:gd name="T8" fmla="*/ 166 w 165"/>
                  <a:gd name="T9" fmla="*/ 55 h 124"/>
                  <a:gd name="T10" fmla="*/ 160 w 165"/>
                  <a:gd name="T11" fmla="*/ 49 h 124"/>
                  <a:gd name="T12" fmla="*/ 149 w 165"/>
                  <a:gd name="T13" fmla="*/ 41 h 124"/>
                  <a:gd name="T14" fmla="*/ 136 w 165"/>
                  <a:gd name="T15" fmla="*/ 35 h 124"/>
                  <a:gd name="T16" fmla="*/ 140 w 165"/>
                  <a:gd name="T17" fmla="*/ 22 h 124"/>
                  <a:gd name="T18" fmla="*/ 126 w 165"/>
                  <a:gd name="T19" fmla="*/ 1 h 124"/>
                  <a:gd name="T20" fmla="*/ 113 w 165"/>
                  <a:gd name="T21" fmla="*/ 12 h 124"/>
                  <a:gd name="T22" fmla="*/ 101 w 165"/>
                  <a:gd name="T23" fmla="*/ 19 h 124"/>
                  <a:gd name="T24" fmla="*/ 85 w 165"/>
                  <a:gd name="T25" fmla="*/ 35 h 124"/>
                  <a:gd name="T26" fmla="*/ 67 w 165"/>
                  <a:gd name="T27" fmla="*/ 38 h 124"/>
                  <a:gd name="T28" fmla="*/ 67 w 165"/>
                  <a:gd name="T29" fmla="*/ 47 h 124"/>
                  <a:gd name="T30" fmla="*/ 58 w 165"/>
                  <a:gd name="T31" fmla="*/ 52 h 124"/>
                  <a:gd name="T32" fmla="*/ 41 w 165"/>
                  <a:gd name="T33" fmla="*/ 59 h 124"/>
                  <a:gd name="T34" fmla="*/ 26 w 165"/>
                  <a:gd name="T35" fmla="*/ 59 h 124"/>
                  <a:gd name="T36" fmla="*/ 12 w 165"/>
                  <a:gd name="T37" fmla="*/ 70 h 124"/>
                  <a:gd name="T38" fmla="*/ 1 w 165"/>
                  <a:gd name="T39" fmla="*/ 87 h 124"/>
                  <a:gd name="T40" fmla="*/ 5 w 165"/>
                  <a:gd name="T41" fmla="*/ 112 h 124"/>
                  <a:gd name="T42" fmla="*/ 13 w 165"/>
                  <a:gd name="T43" fmla="*/ 120 h 124"/>
                  <a:gd name="T44" fmla="*/ 18 w 165"/>
                  <a:gd name="T45" fmla="*/ 137 h 124"/>
                  <a:gd name="T46" fmla="*/ 28 w 165"/>
                  <a:gd name="T47" fmla="*/ 149 h 124"/>
                  <a:gd name="T48" fmla="*/ 32 w 165"/>
                  <a:gd name="T49" fmla="*/ 136 h 124"/>
                  <a:gd name="T50" fmla="*/ 44 w 165"/>
                  <a:gd name="T51" fmla="*/ 130 h 124"/>
                  <a:gd name="T52" fmla="*/ 56 w 165"/>
                  <a:gd name="T53" fmla="*/ 130 h 124"/>
                  <a:gd name="T54" fmla="*/ 65 w 165"/>
                  <a:gd name="T55" fmla="*/ 117 h 124"/>
                  <a:gd name="T56" fmla="*/ 74 w 165"/>
                  <a:gd name="T57" fmla="*/ 103 h 124"/>
                  <a:gd name="T58" fmla="*/ 94 w 165"/>
                  <a:gd name="T59" fmla="*/ 113 h 124"/>
                  <a:gd name="T60" fmla="*/ 120 w 165"/>
                  <a:gd name="T61" fmla="*/ 119 h 124"/>
                  <a:gd name="T62" fmla="*/ 130 w 165"/>
                  <a:gd name="T63" fmla="*/ 107 h 124"/>
                  <a:gd name="T64" fmla="*/ 150 w 165"/>
                  <a:gd name="T65" fmla="*/ 107 h 124"/>
                  <a:gd name="T66" fmla="*/ 157 w 165"/>
                  <a:gd name="T67" fmla="*/ 106 h 124"/>
                  <a:gd name="T68" fmla="*/ 168 w 165"/>
                  <a:gd name="T69" fmla="*/ 100 h 124"/>
                  <a:gd name="T70" fmla="*/ 180 w 165"/>
                  <a:gd name="T71" fmla="*/ 102 h 124"/>
                  <a:gd name="T72" fmla="*/ 192 w 165"/>
                  <a:gd name="T73" fmla="*/ 102 h 124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65"/>
                  <a:gd name="T112" fmla="*/ 0 h 124"/>
                  <a:gd name="T113" fmla="*/ 165 w 165"/>
                  <a:gd name="T114" fmla="*/ 124 h 124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65" h="124">
                    <a:moveTo>
                      <a:pt x="164" y="88"/>
                    </a:moveTo>
                    <a:cubicBezTo>
                      <a:pt x="164" y="85"/>
                      <a:pt x="165" y="83"/>
                      <a:pt x="165" y="81"/>
                    </a:cubicBezTo>
                    <a:cubicBezTo>
                      <a:pt x="165" y="78"/>
                      <a:pt x="163" y="76"/>
                      <a:pt x="162" y="74"/>
                    </a:cubicBezTo>
                    <a:cubicBezTo>
                      <a:pt x="161" y="73"/>
                      <a:pt x="159" y="72"/>
                      <a:pt x="158" y="72"/>
                    </a:cubicBezTo>
                    <a:cubicBezTo>
                      <a:pt x="156" y="70"/>
                      <a:pt x="153" y="70"/>
                      <a:pt x="151" y="67"/>
                    </a:cubicBezTo>
                    <a:cubicBezTo>
                      <a:pt x="151" y="66"/>
                      <a:pt x="155" y="66"/>
                      <a:pt x="154" y="65"/>
                    </a:cubicBezTo>
                    <a:cubicBezTo>
                      <a:pt x="153" y="63"/>
                      <a:pt x="149" y="61"/>
                      <a:pt x="147" y="57"/>
                    </a:cubicBezTo>
                    <a:cubicBezTo>
                      <a:pt x="146" y="56"/>
                      <a:pt x="144" y="58"/>
                      <a:pt x="142" y="57"/>
                    </a:cubicBezTo>
                    <a:cubicBezTo>
                      <a:pt x="140" y="55"/>
                      <a:pt x="138" y="53"/>
                      <a:pt x="137" y="51"/>
                    </a:cubicBezTo>
                    <a:cubicBezTo>
                      <a:pt x="137" y="50"/>
                      <a:pt x="139" y="47"/>
                      <a:pt x="138" y="46"/>
                    </a:cubicBezTo>
                    <a:cubicBezTo>
                      <a:pt x="137" y="45"/>
                      <a:pt x="135" y="47"/>
                      <a:pt x="134" y="46"/>
                    </a:cubicBezTo>
                    <a:cubicBezTo>
                      <a:pt x="133" y="45"/>
                      <a:pt x="134" y="42"/>
                      <a:pt x="133" y="41"/>
                    </a:cubicBezTo>
                    <a:cubicBezTo>
                      <a:pt x="130" y="39"/>
                      <a:pt x="126" y="41"/>
                      <a:pt x="123" y="39"/>
                    </a:cubicBezTo>
                    <a:cubicBezTo>
                      <a:pt x="122" y="37"/>
                      <a:pt x="126" y="35"/>
                      <a:pt x="124" y="34"/>
                    </a:cubicBezTo>
                    <a:cubicBezTo>
                      <a:pt x="122" y="32"/>
                      <a:pt x="119" y="35"/>
                      <a:pt x="117" y="34"/>
                    </a:cubicBezTo>
                    <a:cubicBezTo>
                      <a:pt x="115" y="33"/>
                      <a:pt x="113" y="31"/>
                      <a:pt x="113" y="29"/>
                    </a:cubicBezTo>
                    <a:cubicBezTo>
                      <a:pt x="113" y="28"/>
                      <a:pt x="116" y="27"/>
                      <a:pt x="117" y="25"/>
                    </a:cubicBezTo>
                    <a:cubicBezTo>
                      <a:pt x="117" y="23"/>
                      <a:pt x="118" y="20"/>
                      <a:pt x="117" y="18"/>
                    </a:cubicBezTo>
                    <a:cubicBezTo>
                      <a:pt x="116" y="14"/>
                      <a:pt x="114" y="10"/>
                      <a:pt x="111" y="7"/>
                    </a:cubicBezTo>
                    <a:cubicBezTo>
                      <a:pt x="110" y="5"/>
                      <a:pt x="107" y="3"/>
                      <a:pt x="105" y="1"/>
                    </a:cubicBezTo>
                    <a:cubicBezTo>
                      <a:pt x="102" y="2"/>
                      <a:pt x="97" y="0"/>
                      <a:pt x="94" y="3"/>
                    </a:cubicBezTo>
                    <a:cubicBezTo>
                      <a:pt x="92" y="4"/>
                      <a:pt x="95" y="8"/>
                      <a:pt x="94" y="10"/>
                    </a:cubicBezTo>
                    <a:cubicBezTo>
                      <a:pt x="93" y="13"/>
                      <a:pt x="91" y="15"/>
                      <a:pt x="89" y="16"/>
                    </a:cubicBezTo>
                    <a:cubicBezTo>
                      <a:pt x="88" y="17"/>
                      <a:pt x="85" y="15"/>
                      <a:pt x="84" y="16"/>
                    </a:cubicBezTo>
                    <a:cubicBezTo>
                      <a:pt x="82" y="18"/>
                      <a:pt x="84" y="22"/>
                      <a:pt x="82" y="24"/>
                    </a:cubicBezTo>
                    <a:cubicBezTo>
                      <a:pt x="79" y="27"/>
                      <a:pt x="75" y="28"/>
                      <a:pt x="71" y="29"/>
                    </a:cubicBezTo>
                    <a:cubicBezTo>
                      <a:pt x="67" y="30"/>
                      <a:pt x="64" y="29"/>
                      <a:pt x="60" y="29"/>
                    </a:cubicBezTo>
                    <a:cubicBezTo>
                      <a:pt x="59" y="30"/>
                      <a:pt x="56" y="30"/>
                      <a:pt x="56" y="32"/>
                    </a:cubicBezTo>
                    <a:cubicBezTo>
                      <a:pt x="56" y="33"/>
                      <a:pt x="60" y="32"/>
                      <a:pt x="60" y="34"/>
                    </a:cubicBezTo>
                    <a:cubicBezTo>
                      <a:pt x="60" y="36"/>
                      <a:pt x="57" y="38"/>
                      <a:pt x="56" y="39"/>
                    </a:cubicBezTo>
                    <a:cubicBezTo>
                      <a:pt x="54" y="41"/>
                      <a:pt x="53" y="42"/>
                      <a:pt x="52" y="43"/>
                    </a:cubicBezTo>
                    <a:cubicBezTo>
                      <a:pt x="50" y="43"/>
                      <a:pt x="49" y="43"/>
                      <a:pt x="48" y="43"/>
                    </a:cubicBezTo>
                    <a:cubicBezTo>
                      <a:pt x="44" y="43"/>
                      <a:pt x="41" y="44"/>
                      <a:pt x="37" y="45"/>
                    </a:cubicBezTo>
                    <a:cubicBezTo>
                      <a:pt x="36" y="46"/>
                      <a:pt x="36" y="49"/>
                      <a:pt x="34" y="49"/>
                    </a:cubicBezTo>
                    <a:cubicBezTo>
                      <a:pt x="32" y="49"/>
                      <a:pt x="30" y="46"/>
                      <a:pt x="28" y="46"/>
                    </a:cubicBezTo>
                    <a:cubicBezTo>
                      <a:pt x="26" y="46"/>
                      <a:pt x="24" y="48"/>
                      <a:pt x="22" y="49"/>
                    </a:cubicBezTo>
                    <a:cubicBezTo>
                      <a:pt x="20" y="49"/>
                      <a:pt x="17" y="49"/>
                      <a:pt x="15" y="50"/>
                    </a:cubicBezTo>
                    <a:cubicBezTo>
                      <a:pt x="13" y="52"/>
                      <a:pt x="12" y="55"/>
                      <a:pt x="10" y="58"/>
                    </a:cubicBezTo>
                    <a:cubicBezTo>
                      <a:pt x="9" y="62"/>
                      <a:pt x="9" y="66"/>
                      <a:pt x="6" y="69"/>
                    </a:cubicBezTo>
                    <a:cubicBezTo>
                      <a:pt x="5" y="71"/>
                      <a:pt x="1" y="70"/>
                      <a:pt x="1" y="72"/>
                    </a:cubicBezTo>
                    <a:cubicBezTo>
                      <a:pt x="0" y="75"/>
                      <a:pt x="4" y="76"/>
                      <a:pt x="5" y="78"/>
                    </a:cubicBezTo>
                    <a:cubicBezTo>
                      <a:pt x="5" y="83"/>
                      <a:pt x="3" y="88"/>
                      <a:pt x="4" y="93"/>
                    </a:cubicBezTo>
                    <a:cubicBezTo>
                      <a:pt x="4" y="95"/>
                      <a:pt x="5" y="96"/>
                      <a:pt x="6" y="97"/>
                    </a:cubicBezTo>
                    <a:cubicBezTo>
                      <a:pt x="7" y="98"/>
                      <a:pt x="10" y="98"/>
                      <a:pt x="11" y="100"/>
                    </a:cubicBezTo>
                    <a:cubicBezTo>
                      <a:pt x="12" y="101"/>
                      <a:pt x="11" y="103"/>
                      <a:pt x="11" y="104"/>
                    </a:cubicBezTo>
                    <a:cubicBezTo>
                      <a:pt x="12" y="108"/>
                      <a:pt x="13" y="111"/>
                      <a:pt x="15" y="114"/>
                    </a:cubicBezTo>
                    <a:cubicBezTo>
                      <a:pt x="16" y="115"/>
                      <a:pt x="19" y="115"/>
                      <a:pt x="19" y="116"/>
                    </a:cubicBezTo>
                    <a:cubicBezTo>
                      <a:pt x="21" y="118"/>
                      <a:pt x="22" y="121"/>
                      <a:pt x="23" y="124"/>
                    </a:cubicBezTo>
                    <a:cubicBezTo>
                      <a:pt x="24" y="123"/>
                      <a:pt x="26" y="123"/>
                      <a:pt x="26" y="121"/>
                    </a:cubicBezTo>
                    <a:cubicBezTo>
                      <a:pt x="27" y="119"/>
                      <a:pt x="27" y="116"/>
                      <a:pt x="27" y="113"/>
                    </a:cubicBezTo>
                    <a:cubicBezTo>
                      <a:pt x="27" y="112"/>
                      <a:pt x="27" y="109"/>
                      <a:pt x="28" y="108"/>
                    </a:cubicBezTo>
                    <a:cubicBezTo>
                      <a:pt x="31" y="107"/>
                      <a:pt x="34" y="108"/>
                      <a:pt x="37" y="108"/>
                    </a:cubicBezTo>
                    <a:cubicBezTo>
                      <a:pt x="38" y="108"/>
                      <a:pt x="39" y="106"/>
                      <a:pt x="41" y="106"/>
                    </a:cubicBezTo>
                    <a:cubicBezTo>
                      <a:pt x="43" y="107"/>
                      <a:pt x="45" y="108"/>
                      <a:pt x="47" y="108"/>
                    </a:cubicBezTo>
                    <a:cubicBezTo>
                      <a:pt x="49" y="109"/>
                      <a:pt x="51" y="108"/>
                      <a:pt x="54" y="107"/>
                    </a:cubicBezTo>
                    <a:cubicBezTo>
                      <a:pt x="54" y="104"/>
                      <a:pt x="53" y="101"/>
                      <a:pt x="54" y="97"/>
                    </a:cubicBezTo>
                    <a:cubicBezTo>
                      <a:pt x="54" y="95"/>
                      <a:pt x="56" y="92"/>
                      <a:pt x="57" y="90"/>
                    </a:cubicBezTo>
                    <a:cubicBezTo>
                      <a:pt x="58" y="88"/>
                      <a:pt x="60" y="87"/>
                      <a:pt x="62" y="86"/>
                    </a:cubicBezTo>
                    <a:cubicBezTo>
                      <a:pt x="63" y="86"/>
                      <a:pt x="66" y="85"/>
                      <a:pt x="67" y="86"/>
                    </a:cubicBezTo>
                    <a:cubicBezTo>
                      <a:pt x="71" y="88"/>
                      <a:pt x="74" y="92"/>
                      <a:pt x="78" y="94"/>
                    </a:cubicBezTo>
                    <a:cubicBezTo>
                      <a:pt x="81" y="96"/>
                      <a:pt x="84" y="95"/>
                      <a:pt x="87" y="96"/>
                    </a:cubicBezTo>
                    <a:cubicBezTo>
                      <a:pt x="92" y="97"/>
                      <a:pt x="96" y="100"/>
                      <a:pt x="100" y="99"/>
                    </a:cubicBezTo>
                    <a:cubicBezTo>
                      <a:pt x="103" y="99"/>
                      <a:pt x="103" y="94"/>
                      <a:pt x="104" y="92"/>
                    </a:cubicBezTo>
                    <a:cubicBezTo>
                      <a:pt x="105" y="91"/>
                      <a:pt x="107" y="89"/>
                      <a:pt x="108" y="89"/>
                    </a:cubicBezTo>
                    <a:cubicBezTo>
                      <a:pt x="111" y="89"/>
                      <a:pt x="113" y="92"/>
                      <a:pt x="115" y="92"/>
                    </a:cubicBezTo>
                    <a:cubicBezTo>
                      <a:pt x="118" y="92"/>
                      <a:pt x="122" y="90"/>
                      <a:pt x="125" y="89"/>
                    </a:cubicBezTo>
                    <a:cubicBezTo>
                      <a:pt x="126" y="88"/>
                      <a:pt x="127" y="85"/>
                      <a:pt x="128" y="85"/>
                    </a:cubicBezTo>
                    <a:cubicBezTo>
                      <a:pt x="130" y="85"/>
                      <a:pt x="130" y="88"/>
                      <a:pt x="131" y="88"/>
                    </a:cubicBezTo>
                    <a:cubicBezTo>
                      <a:pt x="133" y="89"/>
                      <a:pt x="135" y="89"/>
                      <a:pt x="137" y="88"/>
                    </a:cubicBezTo>
                    <a:cubicBezTo>
                      <a:pt x="139" y="87"/>
                      <a:pt x="138" y="83"/>
                      <a:pt x="140" y="83"/>
                    </a:cubicBezTo>
                    <a:cubicBezTo>
                      <a:pt x="143" y="83"/>
                      <a:pt x="144" y="87"/>
                      <a:pt x="146" y="87"/>
                    </a:cubicBezTo>
                    <a:cubicBezTo>
                      <a:pt x="148" y="87"/>
                      <a:pt x="149" y="85"/>
                      <a:pt x="150" y="85"/>
                    </a:cubicBezTo>
                    <a:cubicBezTo>
                      <a:pt x="152" y="85"/>
                      <a:pt x="151" y="89"/>
                      <a:pt x="153" y="89"/>
                    </a:cubicBezTo>
                    <a:cubicBezTo>
                      <a:pt x="156" y="88"/>
                      <a:pt x="157" y="85"/>
                      <a:pt x="160" y="85"/>
                    </a:cubicBezTo>
                    <a:cubicBezTo>
                      <a:pt x="161" y="85"/>
                      <a:pt x="163" y="87"/>
                      <a:pt x="164" y="8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39" name="Freeform 2574"/>
              <p:cNvSpPr>
                <a:spLocks noChangeAspect="1"/>
              </p:cNvSpPr>
              <p:nvPr/>
            </p:nvSpPr>
            <p:spPr bwMode="auto">
              <a:xfrm>
                <a:off x="8262421" y="3197888"/>
                <a:ext cx="408194" cy="499045"/>
              </a:xfrm>
              <a:custGeom>
                <a:avLst/>
                <a:gdLst>
                  <a:gd name="T0" fmla="*/ 121 w 101"/>
                  <a:gd name="T1" fmla="*/ 26 h 147"/>
                  <a:gd name="T2" fmla="*/ 115 w 101"/>
                  <a:gd name="T3" fmla="*/ 26 h 147"/>
                  <a:gd name="T4" fmla="*/ 108 w 101"/>
                  <a:gd name="T5" fmla="*/ 19 h 147"/>
                  <a:gd name="T6" fmla="*/ 93 w 101"/>
                  <a:gd name="T7" fmla="*/ 26 h 147"/>
                  <a:gd name="T8" fmla="*/ 91 w 101"/>
                  <a:gd name="T9" fmla="*/ 34 h 147"/>
                  <a:gd name="T10" fmla="*/ 69 w 101"/>
                  <a:gd name="T11" fmla="*/ 32 h 147"/>
                  <a:gd name="T12" fmla="*/ 53 w 101"/>
                  <a:gd name="T13" fmla="*/ 18 h 147"/>
                  <a:gd name="T14" fmla="*/ 43 w 101"/>
                  <a:gd name="T15" fmla="*/ 17 h 147"/>
                  <a:gd name="T16" fmla="*/ 35 w 101"/>
                  <a:gd name="T17" fmla="*/ 14 h 147"/>
                  <a:gd name="T18" fmla="*/ 34 w 101"/>
                  <a:gd name="T19" fmla="*/ 2 h 147"/>
                  <a:gd name="T20" fmla="*/ 25 w 101"/>
                  <a:gd name="T21" fmla="*/ 0 h 147"/>
                  <a:gd name="T22" fmla="*/ 6 w 101"/>
                  <a:gd name="T23" fmla="*/ 20 h 147"/>
                  <a:gd name="T24" fmla="*/ 8 w 101"/>
                  <a:gd name="T25" fmla="*/ 26 h 147"/>
                  <a:gd name="T26" fmla="*/ 13 w 101"/>
                  <a:gd name="T27" fmla="*/ 29 h 147"/>
                  <a:gd name="T28" fmla="*/ 14 w 101"/>
                  <a:gd name="T29" fmla="*/ 40 h 147"/>
                  <a:gd name="T30" fmla="*/ 22 w 101"/>
                  <a:gd name="T31" fmla="*/ 50 h 147"/>
                  <a:gd name="T32" fmla="*/ 23 w 101"/>
                  <a:gd name="T33" fmla="*/ 63 h 147"/>
                  <a:gd name="T34" fmla="*/ 16 w 101"/>
                  <a:gd name="T35" fmla="*/ 74 h 147"/>
                  <a:gd name="T36" fmla="*/ 6 w 101"/>
                  <a:gd name="T37" fmla="*/ 86 h 147"/>
                  <a:gd name="T38" fmla="*/ 0 w 101"/>
                  <a:gd name="T39" fmla="*/ 107 h 147"/>
                  <a:gd name="T40" fmla="*/ 60 w 101"/>
                  <a:gd name="T41" fmla="*/ 146 h 147"/>
                  <a:gd name="T42" fmla="*/ 61 w 101"/>
                  <a:gd name="T43" fmla="*/ 153 h 147"/>
                  <a:gd name="T44" fmla="*/ 86 w 101"/>
                  <a:gd name="T45" fmla="*/ 176 h 147"/>
                  <a:gd name="T46" fmla="*/ 87 w 101"/>
                  <a:gd name="T47" fmla="*/ 170 h 147"/>
                  <a:gd name="T48" fmla="*/ 90 w 101"/>
                  <a:gd name="T49" fmla="*/ 163 h 147"/>
                  <a:gd name="T50" fmla="*/ 96 w 101"/>
                  <a:gd name="T51" fmla="*/ 152 h 147"/>
                  <a:gd name="T52" fmla="*/ 99 w 101"/>
                  <a:gd name="T53" fmla="*/ 144 h 147"/>
                  <a:gd name="T54" fmla="*/ 99 w 101"/>
                  <a:gd name="T55" fmla="*/ 138 h 147"/>
                  <a:gd name="T56" fmla="*/ 105 w 101"/>
                  <a:gd name="T57" fmla="*/ 136 h 147"/>
                  <a:gd name="T58" fmla="*/ 109 w 101"/>
                  <a:gd name="T59" fmla="*/ 131 h 147"/>
                  <a:gd name="T60" fmla="*/ 114 w 101"/>
                  <a:gd name="T61" fmla="*/ 126 h 147"/>
                  <a:gd name="T62" fmla="*/ 120 w 101"/>
                  <a:gd name="T63" fmla="*/ 122 h 147"/>
                  <a:gd name="T64" fmla="*/ 110 w 101"/>
                  <a:gd name="T65" fmla="*/ 110 h 147"/>
                  <a:gd name="T66" fmla="*/ 110 w 101"/>
                  <a:gd name="T67" fmla="*/ 45 h 147"/>
                  <a:gd name="T68" fmla="*/ 117 w 101"/>
                  <a:gd name="T69" fmla="*/ 37 h 147"/>
                  <a:gd name="T70" fmla="*/ 121 w 101"/>
                  <a:gd name="T71" fmla="*/ 26 h 147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1"/>
                  <a:gd name="T109" fmla="*/ 0 h 147"/>
                  <a:gd name="T110" fmla="*/ 101 w 101"/>
                  <a:gd name="T111" fmla="*/ 147 h 147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1" h="147">
                    <a:moveTo>
                      <a:pt x="101" y="22"/>
                    </a:moveTo>
                    <a:cubicBezTo>
                      <a:pt x="100" y="22"/>
                      <a:pt x="97" y="23"/>
                      <a:pt x="96" y="22"/>
                    </a:cubicBezTo>
                    <a:cubicBezTo>
                      <a:pt x="93" y="21"/>
                      <a:pt x="93" y="16"/>
                      <a:pt x="90" y="16"/>
                    </a:cubicBezTo>
                    <a:cubicBezTo>
                      <a:pt x="85" y="16"/>
                      <a:pt x="82" y="19"/>
                      <a:pt x="78" y="22"/>
                    </a:cubicBezTo>
                    <a:cubicBezTo>
                      <a:pt x="77" y="23"/>
                      <a:pt x="78" y="28"/>
                      <a:pt x="76" y="28"/>
                    </a:cubicBezTo>
                    <a:lnTo>
                      <a:pt x="58" y="27"/>
                    </a:lnTo>
                    <a:cubicBezTo>
                      <a:pt x="52" y="26"/>
                      <a:pt x="49" y="18"/>
                      <a:pt x="44" y="15"/>
                    </a:cubicBezTo>
                    <a:cubicBezTo>
                      <a:pt x="41" y="14"/>
                      <a:pt x="38" y="15"/>
                      <a:pt x="36" y="14"/>
                    </a:cubicBezTo>
                    <a:cubicBezTo>
                      <a:pt x="33" y="14"/>
                      <a:pt x="30" y="14"/>
                      <a:pt x="29" y="12"/>
                    </a:cubicBezTo>
                    <a:cubicBezTo>
                      <a:pt x="27" y="9"/>
                      <a:pt x="30" y="5"/>
                      <a:pt x="28" y="2"/>
                    </a:cubicBezTo>
                    <a:cubicBezTo>
                      <a:pt x="27" y="0"/>
                      <a:pt x="23" y="1"/>
                      <a:pt x="21" y="0"/>
                    </a:cubicBezTo>
                    <a:lnTo>
                      <a:pt x="5" y="17"/>
                    </a:lnTo>
                    <a:cubicBezTo>
                      <a:pt x="6" y="19"/>
                      <a:pt x="6" y="20"/>
                      <a:pt x="7" y="22"/>
                    </a:cubicBezTo>
                    <a:cubicBezTo>
                      <a:pt x="8" y="23"/>
                      <a:pt x="10" y="23"/>
                      <a:pt x="11" y="24"/>
                    </a:cubicBezTo>
                    <a:cubicBezTo>
                      <a:pt x="12" y="27"/>
                      <a:pt x="11" y="30"/>
                      <a:pt x="12" y="33"/>
                    </a:cubicBezTo>
                    <a:cubicBezTo>
                      <a:pt x="13" y="36"/>
                      <a:pt x="17" y="39"/>
                      <a:pt x="18" y="42"/>
                    </a:cubicBezTo>
                    <a:cubicBezTo>
                      <a:pt x="19" y="46"/>
                      <a:pt x="20" y="50"/>
                      <a:pt x="19" y="53"/>
                    </a:cubicBezTo>
                    <a:cubicBezTo>
                      <a:pt x="18" y="57"/>
                      <a:pt x="15" y="59"/>
                      <a:pt x="13" y="62"/>
                    </a:cubicBezTo>
                    <a:cubicBezTo>
                      <a:pt x="11" y="65"/>
                      <a:pt x="7" y="69"/>
                      <a:pt x="5" y="72"/>
                    </a:cubicBezTo>
                    <a:cubicBezTo>
                      <a:pt x="3" y="77"/>
                      <a:pt x="2" y="83"/>
                      <a:pt x="0" y="89"/>
                    </a:cubicBezTo>
                    <a:lnTo>
                      <a:pt x="50" y="122"/>
                    </a:lnTo>
                    <a:lnTo>
                      <a:pt x="51" y="128"/>
                    </a:lnTo>
                    <a:lnTo>
                      <a:pt x="72" y="147"/>
                    </a:lnTo>
                    <a:cubicBezTo>
                      <a:pt x="72" y="145"/>
                      <a:pt x="72" y="144"/>
                      <a:pt x="73" y="142"/>
                    </a:cubicBezTo>
                    <a:cubicBezTo>
                      <a:pt x="73" y="140"/>
                      <a:pt x="74" y="138"/>
                      <a:pt x="75" y="136"/>
                    </a:cubicBezTo>
                    <a:cubicBezTo>
                      <a:pt x="77" y="133"/>
                      <a:pt x="78" y="130"/>
                      <a:pt x="80" y="127"/>
                    </a:cubicBezTo>
                    <a:cubicBezTo>
                      <a:pt x="81" y="124"/>
                      <a:pt x="82" y="122"/>
                      <a:pt x="83" y="120"/>
                    </a:cubicBezTo>
                    <a:cubicBezTo>
                      <a:pt x="83" y="118"/>
                      <a:pt x="81" y="116"/>
                      <a:pt x="83" y="115"/>
                    </a:cubicBezTo>
                    <a:cubicBezTo>
                      <a:pt x="84" y="113"/>
                      <a:pt x="86" y="115"/>
                      <a:pt x="88" y="114"/>
                    </a:cubicBezTo>
                    <a:cubicBezTo>
                      <a:pt x="89" y="113"/>
                      <a:pt x="89" y="110"/>
                      <a:pt x="91" y="109"/>
                    </a:cubicBezTo>
                    <a:cubicBezTo>
                      <a:pt x="92" y="107"/>
                      <a:pt x="94" y="106"/>
                      <a:pt x="95" y="105"/>
                    </a:cubicBezTo>
                    <a:cubicBezTo>
                      <a:pt x="96" y="104"/>
                      <a:pt x="98" y="103"/>
                      <a:pt x="100" y="102"/>
                    </a:cubicBezTo>
                    <a:lnTo>
                      <a:pt x="92" y="92"/>
                    </a:lnTo>
                    <a:lnTo>
                      <a:pt x="92" y="38"/>
                    </a:lnTo>
                    <a:lnTo>
                      <a:pt x="98" y="31"/>
                    </a:lnTo>
                    <a:cubicBezTo>
                      <a:pt x="101" y="29"/>
                      <a:pt x="100" y="25"/>
                      <a:pt x="101" y="22"/>
                    </a:cubicBez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0" name="Freeform 2575"/>
              <p:cNvSpPr>
                <a:spLocks noChangeAspect="1"/>
              </p:cNvSpPr>
              <p:nvPr/>
            </p:nvSpPr>
            <p:spPr bwMode="auto">
              <a:xfrm>
                <a:off x="8053263" y="3254598"/>
                <a:ext cx="290123" cy="277879"/>
              </a:xfrm>
              <a:custGeom>
                <a:avLst/>
                <a:gdLst>
                  <a:gd name="T0" fmla="*/ 62 w 71"/>
                  <a:gd name="T1" fmla="*/ 87 h 81"/>
                  <a:gd name="T2" fmla="*/ 56 w 71"/>
                  <a:gd name="T3" fmla="*/ 91 h 81"/>
                  <a:gd name="T4" fmla="*/ 41 w 71"/>
                  <a:gd name="T5" fmla="*/ 91 h 81"/>
                  <a:gd name="T6" fmla="*/ 23 w 71"/>
                  <a:gd name="T7" fmla="*/ 90 h 81"/>
                  <a:gd name="T8" fmla="*/ 13 w 71"/>
                  <a:gd name="T9" fmla="*/ 92 h 81"/>
                  <a:gd name="T10" fmla="*/ 7 w 71"/>
                  <a:gd name="T11" fmla="*/ 97 h 81"/>
                  <a:gd name="T12" fmla="*/ 0 w 71"/>
                  <a:gd name="T13" fmla="*/ 96 h 81"/>
                  <a:gd name="T14" fmla="*/ 1 w 71"/>
                  <a:gd name="T15" fmla="*/ 82 h 81"/>
                  <a:gd name="T16" fmla="*/ 2 w 71"/>
                  <a:gd name="T17" fmla="*/ 75 h 81"/>
                  <a:gd name="T18" fmla="*/ 6 w 71"/>
                  <a:gd name="T19" fmla="*/ 64 h 81"/>
                  <a:gd name="T20" fmla="*/ 10 w 71"/>
                  <a:gd name="T21" fmla="*/ 56 h 81"/>
                  <a:gd name="T22" fmla="*/ 13 w 71"/>
                  <a:gd name="T23" fmla="*/ 52 h 81"/>
                  <a:gd name="T24" fmla="*/ 15 w 71"/>
                  <a:gd name="T25" fmla="*/ 46 h 81"/>
                  <a:gd name="T26" fmla="*/ 21 w 71"/>
                  <a:gd name="T27" fmla="*/ 41 h 81"/>
                  <a:gd name="T28" fmla="*/ 27 w 71"/>
                  <a:gd name="T29" fmla="*/ 36 h 81"/>
                  <a:gd name="T30" fmla="*/ 19 w 71"/>
                  <a:gd name="T31" fmla="*/ 34 h 81"/>
                  <a:gd name="T32" fmla="*/ 22 w 71"/>
                  <a:gd name="T33" fmla="*/ 25 h 81"/>
                  <a:gd name="T34" fmla="*/ 17 w 71"/>
                  <a:gd name="T35" fmla="*/ 22 h 81"/>
                  <a:gd name="T36" fmla="*/ 19 w 71"/>
                  <a:gd name="T37" fmla="*/ 18 h 81"/>
                  <a:gd name="T38" fmla="*/ 17 w 71"/>
                  <a:gd name="T39" fmla="*/ 13 h 81"/>
                  <a:gd name="T40" fmla="*/ 21 w 71"/>
                  <a:gd name="T41" fmla="*/ 10 h 81"/>
                  <a:gd name="T42" fmla="*/ 29 w 71"/>
                  <a:gd name="T43" fmla="*/ 10 h 81"/>
                  <a:gd name="T44" fmla="*/ 35 w 71"/>
                  <a:gd name="T45" fmla="*/ 6 h 81"/>
                  <a:gd name="T46" fmla="*/ 39 w 71"/>
                  <a:gd name="T47" fmla="*/ 11 h 81"/>
                  <a:gd name="T48" fmla="*/ 44 w 71"/>
                  <a:gd name="T49" fmla="*/ 8 h 81"/>
                  <a:gd name="T50" fmla="*/ 52 w 71"/>
                  <a:gd name="T51" fmla="*/ 5 h 81"/>
                  <a:gd name="T52" fmla="*/ 56 w 71"/>
                  <a:gd name="T53" fmla="*/ 7 h 81"/>
                  <a:gd name="T54" fmla="*/ 62 w 71"/>
                  <a:gd name="T55" fmla="*/ 7 h 81"/>
                  <a:gd name="T56" fmla="*/ 68 w 71"/>
                  <a:gd name="T57" fmla="*/ 0 h 81"/>
                  <a:gd name="T58" fmla="*/ 70 w 71"/>
                  <a:gd name="T59" fmla="*/ 6 h 81"/>
                  <a:gd name="T60" fmla="*/ 75 w 71"/>
                  <a:gd name="T61" fmla="*/ 8 h 81"/>
                  <a:gd name="T62" fmla="*/ 76 w 71"/>
                  <a:gd name="T63" fmla="*/ 19 h 81"/>
                  <a:gd name="T64" fmla="*/ 84 w 71"/>
                  <a:gd name="T65" fmla="*/ 30 h 81"/>
                  <a:gd name="T66" fmla="*/ 85 w 71"/>
                  <a:gd name="T67" fmla="*/ 44 h 81"/>
                  <a:gd name="T68" fmla="*/ 78 w 71"/>
                  <a:gd name="T69" fmla="*/ 54 h 81"/>
                  <a:gd name="T70" fmla="*/ 68 w 71"/>
                  <a:gd name="T71" fmla="*/ 67 h 81"/>
                  <a:gd name="T72" fmla="*/ 62 w 71"/>
                  <a:gd name="T73" fmla="*/ 87 h 8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71"/>
                  <a:gd name="T112" fmla="*/ 0 h 81"/>
                  <a:gd name="T113" fmla="*/ 71 w 71"/>
                  <a:gd name="T114" fmla="*/ 81 h 8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71" h="81">
                    <a:moveTo>
                      <a:pt x="51" y="72"/>
                    </a:moveTo>
                    <a:cubicBezTo>
                      <a:pt x="49" y="73"/>
                      <a:pt x="48" y="74"/>
                      <a:pt x="46" y="75"/>
                    </a:cubicBezTo>
                    <a:cubicBezTo>
                      <a:pt x="42" y="76"/>
                      <a:pt x="38" y="76"/>
                      <a:pt x="34" y="75"/>
                    </a:cubicBezTo>
                    <a:cubicBezTo>
                      <a:pt x="29" y="75"/>
                      <a:pt x="24" y="74"/>
                      <a:pt x="19" y="74"/>
                    </a:cubicBezTo>
                    <a:cubicBezTo>
                      <a:pt x="16" y="74"/>
                      <a:pt x="14" y="76"/>
                      <a:pt x="11" y="76"/>
                    </a:cubicBezTo>
                    <a:cubicBezTo>
                      <a:pt x="10" y="77"/>
                      <a:pt x="9" y="80"/>
                      <a:pt x="6" y="80"/>
                    </a:cubicBezTo>
                    <a:cubicBezTo>
                      <a:pt x="4" y="81"/>
                      <a:pt x="2" y="80"/>
                      <a:pt x="0" y="79"/>
                    </a:cubicBezTo>
                    <a:cubicBezTo>
                      <a:pt x="0" y="75"/>
                      <a:pt x="1" y="72"/>
                      <a:pt x="1" y="68"/>
                    </a:cubicBezTo>
                    <a:cubicBezTo>
                      <a:pt x="1" y="66"/>
                      <a:pt x="1" y="64"/>
                      <a:pt x="2" y="62"/>
                    </a:cubicBezTo>
                    <a:cubicBezTo>
                      <a:pt x="3" y="59"/>
                      <a:pt x="4" y="56"/>
                      <a:pt x="5" y="53"/>
                    </a:cubicBezTo>
                    <a:cubicBezTo>
                      <a:pt x="6" y="50"/>
                      <a:pt x="6" y="48"/>
                      <a:pt x="8" y="46"/>
                    </a:cubicBezTo>
                    <a:cubicBezTo>
                      <a:pt x="8" y="44"/>
                      <a:pt x="10" y="44"/>
                      <a:pt x="11" y="43"/>
                    </a:cubicBezTo>
                    <a:cubicBezTo>
                      <a:pt x="12" y="41"/>
                      <a:pt x="11" y="39"/>
                      <a:pt x="12" y="38"/>
                    </a:cubicBezTo>
                    <a:cubicBezTo>
                      <a:pt x="13" y="36"/>
                      <a:pt x="15" y="35"/>
                      <a:pt x="17" y="34"/>
                    </a:cubicBezTo>
                    <a:cubicBezTo>
                      <a:pt x="18" y="32"/>
                      <a:pt x="22" y="32"/>
                      <a:pt x="22" y="30"/>
                    </a:cubicBezTo>
                    <a:cubicBezTo>
                      <a:pt x="21" y="28"/>
                      <a:pt x="17" y="29"/>
                      <a:pt x="16" y="28"/>
                    </a:cubicBezTo>
                    <a:cubicBezTo>
                      <a:pt x="15" y="26"/>
                      <a:pt x="18" y="24"/>
                      <a:pt x="18" y="21"/>
                    </a:cubicBezTo>
                    <a:cubicBezTo>
                      <a:pt x="17" y="20"/>
                      <a:pt x="14" y="20"/>
                      <a:pt x="14" y="18"/>
                    </a:cubicBezTo>
                    <a:cubicBezTo>
                      <a:pt x="14" y="17"/>
                      <a:pt x="16" y="16"/>
                      <a:pt x="16" y="15"/>
                    </a:cubicBezTo>
                    <a:cubicBezTo>
                      <a:pt x="17" y="14"/>
                      <a:pt x="15" y="12"/>
                      <a:pt x="14" y="11"/>
                    </a:cubicBezTo>
                    <a:cubicBezTo>
                      <a:pt x="15" y="10"/>
                      <a:pt x="15" y="8"/>
                      <a:pt x="17" y="8"/>
                    </a:cubicBezTo>
                    <a:cubicBezTo>
                      <a:pt x="19" y="7"/>
                      <a:pt x="22" y="8"/>
                      <a:pt x="24" y="8"/>
                    </a:cubicBezTo>
                    <a:cubicBezTo>
                      <a:pt x="26" y="7"/>
                      <a:pt x="27" y="4"/>
                      <a:pt x="29" y="5"/>
                    </a:cubicBezTo>
                    <a:cubicBezTo>
                      <a:pt x="31" y="5"/>
                      <a:pt x="30" y="9"/>
                      <a:pt x="32" y="9"/>
                    </a:cubicBezTo>
                    <a:cubicBezTo>
                      <a:pt x="33" y="10"/>
                      <a:pt x="34" y="7"/>
                      <a:pt x="36" y="7"/>
                    </a:cubicBezTo>
                    <a:cubicBezTo>
                      <a:pt x="38" y="5"/>
                      <a:pt x="40" y="4"/>
                      <a:pt x="43" y="4"/>
                    </a:cubicBezTo>
                    <a:cubicBezTo>
                      <a:pt x="44" y="4"/>
                      <a:pt x="45" y="6"/>
                      <a:pt x="46" y="6"/>
                    </a:cubicBezTo>
                    <a:cubicBezTo>
                      <a:pt x="48" y="6"/>
                      <a:pt x="50" y="7"/>
                      <a:pt x="51" y="6"/>
                    </a:cubicBezTo>
                    <a:cubicBezTo>
                      <a:pt x="54" y="5"/>
                      <a:pt x="55" y="2"/>
                      <a:pt x="56" y="0"/>
                    </a:cubicBezTo>
                    <a:cubicBezTo>
                      <a:pt x="57" y="2"/>
                      <a:pt x="57" y="3"/>
                      <a:pt x="58" y="5"/>
                    </a:cubicBezTo>
                    <a:cubicBezTo>
                      <a:pt x="59" y="6"/>
                      <a:pt x="61" y="6"/>
                      <a:pt x="62" y="7"/>
                    </a:cubicBezTo>
                    <a:cubicBezTo>
                      <a:pt x="63" y="10"/>
                      <a:pt x="62" y="13"/>
                      <a:pt x="63" y="16"/>
                    </a:cubicBezTo>
                    <a:cubicBezTo>
                      <a:pt x="64" y="19"/>
                      <a:pt x="68" y="22"/>
                      <a:pt x="69" y="25"/>
                    </a:cubicBezTo>
                    <a:cubicBezTo>
                      <a:pt x="70" y="29"/>
                      <a:pt x="71" y="33"/>
                      <a:pt x="70" y="36"/>
                    </a:cubicBezTo>
                    <a:cubicBezTo>
                      <a:pt x="69" y="40"/>
                      <a:pt x="66" y="42"/>
                      <a:pt x="64" y="45"/>
                    </a:cubicBezTo>
                    <a:cubicBezTo>
                      <a:pt x="62" y="48"/>
                      <a:pt x="58" y="52"/>
                      <a:pt x="56" y="55"/>
                    </a:cubicBezTo>
                    <a:cubicBezTo>
                      <a:pt x="54" y="60"/>
                      <a:pt x="53" y="66"/>
                      <a:pt x="51" y="72"/>
                    </a:cubicBez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1" name="Freeform 2576"/>
              <p:cNvSpPr>
                <a:spLocks noChangeAspect="1"/>
              </p:cNvSpPr>
              <p:nvPr/>
            </p:nvSpPr>
            <p:spPr bwMode="auto">
              <a:xfrm>
                <a:off x="8215189" y="2721526"/>
                <a:ext cx="782650" cy="572770"/>
              </a:xfrm>
              <a:custGeom>
                <a:avLst/>
                <a:gdLst>
                  <a:gd name="T0" fmla="*/ 139 w 193"/>
                  <a:gd name="T1" fmla="*/ 55 h 168"/>
                  <a:gd name="T2" fmla="*/ 135 w 193"/>
                  <a:gd name="T3" fmla="*/ 72 h 168"/>
                  <a:gd name="T4" fmla="*/ 144 w 193"/>
                  <a:gd name="T5" fmla="*/ 72 h 168"/>
                  <a:gd name="T6" fmla="*/ 145 w 193"/>
                  <a:gd name="T7" fmla="*/ 83 h 168"/>
                  <a:gd name="T8" fmla="*/ 157 w 193"/>
                  <a:gd name="T9" fmla="*/ 99 h 168"/>
                  <a:gd name="T10" fmla="*/ 214 w 193"/>
                  <a:gd name="T11" fmla="*/ 125 h 168"/>
                  <a:gd name="T12" fmla="*/ 184 w 193"/>
                  <a:gd name="T13" fmla="*/ 177 h 168"/>
                  <a:gd name="T14" fmla="*/ 150 w 193"/>
                  <a:gd name="T15" fmla="*/ 185 h 168"/>
                  <a:gd name="T16" fmla="*/ 129 w 193"/>
                  <a:gd name="T17" fmla="*/ 195 h 168"/>
                  <a:gd name="T18" fmla="*/ 107 w 193"/>
                  <a:gd name="T19" fmla="*/ 195 h 168"/>
                  <a:gd name="T20" fmla="*/ 83 w 193"/>
                  <a:gd name="T21" fmla="*/ 201 h 168"/>
                  <a:gd name="T22" fmla="*/ 56 w 193"/>
                  <a:gd name="T23" fmla="*/ 185 h 168"/>
                  <a:gd name="T24" fmla="*/ 47 w 193"/>
                  <a:gd name="T25" fmla="*/ 171 h 168"/>
                  <a:gd name="T26" fmla="*/ 35 w 193"/>
                  <a:gd name="T27" fmla="*/ 162 h 168"/>
                  <a:gd name="T28" fmla="*/ 24 w 193"/>
                  <a:gd name="T29" fmla="*/ 141 h 168"/>
                  <a:gd name="T30" fmla="*/ 2 w 193"/>
                  <a:gd name="T31" fmla="*/ 127 h 168"/>
                  <a:gd name="T32" fmla="*/ 13 w 193"/>
                  <a:gd name="T33" fmla="*/ 117 h 168"/>
                  <a:gd name="T34" fmla="*/ 19 w 193"/>
                  <a:gd name="T35" fmla="*/ 100 h 168"/>
                  <a:gd name="T36" fmla="*/ 19 w 193"/>
                  <a:gd name="T37" fmla="*/ 81 h 168"/>
                  <a:gd name="T38" fmla="*/ 28 w 193"/>
                  <a:gd name="T39" fmla="*/ 77 h 168"/>
                  <a:gd name="T40" fmla="*/ 32 w 193"/>
                  <a:gd name="T41" fmla="*/ 55 h 168"/>
                  <a:gd name="T42" fmla="*/ 41 w 193"/>
                  <a:gd name="T43" fmla="*/ 41 h 168"/>
                  <a:gd name="T44" fmla="*/ 49 w 193"/>
                  <a:gd name="T45" fmla="*/ 35 h 168"/>
                  <a:gd name="T46" fmla="*/ 53 w 193"/>
                  <a:gd name="T47" fmla="*/ 19 h 168"/>
                  <a:gd name="T48" fmla="*/ 63 w 193"/>
                  <a:gd name="T49" fmla="*/ 14 h 168"/>
                  <a:gd name="T50" fmla="*/ 71 w 193"/>
                  <a:gd name="T51" fmla="*/ 16 h 168"/>
                  <a:gd name="T52" fmla="*/ 79 w 193"/>
                  <a:gd name="T53" fmla="*/ 7 h 168"/>
                  <a:gd name="T54" fmla="*/ 90 w 193"/>
                  <a:gd name="T55" fmla="*/ 10 h 168"/>
                  <a:gd name="T56" fmla="*/ 99 w 193"/>
                  <a:gd name="T57" fmla="*/ 11 h 168"/>
                  <a:gd name="T58" fmla="*/ 120 w 193"/>
                  <a:gd name="T59" fmla="*/ 18 h 168"/>
                  <a:gd name="T60" fmla="*/ 136 w 193"/>
                  <a:gd name="T61" fmla="*/ 36 h 168"/>
                  <a:gd name="T62" fmla="*/ 143 w 193"/>
                  <a:gd name="T63" fmla="*/ 47 h 168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93"/>
                  <a:gd name="T97" fmla="*/ 0 h 168"/>
                  <a:gd name="T98" fmla="*/ 193 w 193"/>
                  <a:gd name="T99" fmla="*/ 168 h 168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93" h="168">
                    <a:moveTo>
                      <a:pt x="119" y="39"/>
                    </a:moveTo>
                    <a:cubicBezTo>
                      <a:pt x="118" y="41"/>
                      <a:pt x="117" y="44"/>
                      <a:pt x="116" y="46"/>
                    </a:cubicBezTo>
                    <a:cubicBezTo>
                      <a:pt x="115" y="48"/>
                      <a:pt x="113" y="50"/>
                      <a:pt x="112" y="52"/>
                    </a:cubicBezTo>
                    <a:cubicBezTo>
                      <a:pt x="112" y="55"/>
                      <a:pt x="112" y="57"/>
                      <a:pt x="112" y="60"/>
                    </a:cubicBezTo>
                    <a:cubicBezTo>
                      <a:pt x="113" y="61"/>
                      <a:pt x="114" y="62"/>
                      <a:pt x="115" y="62"/>
                    </a:cubicBezTo>
                    <a:cubicBezTo>
                      <a:pt x="117" y="62"/>
                      <a:pt x="118" y="60"/>
                      <a:pt x="120" y="60"/>
                    </a:cubicBezTo>
                    <a:cubicBezTo>
                      <a:pt x="122" y="60"/>
                      <a:pt x="124" y="60"/>
                      <a:pt x="126" y="60"/>
                    </a:cubicBezTo>
                    <a:cubicBezTo>
                      <a:pt x="124" y="63"/>
                      <a:pt x="120" y="66"/>
                      <a:pt x="121" y="69"/>
                    </a:cubicBezTo>
                    <a:cubicBezTo>
                      <a:pt x="122" y="73"/>
                      <a:pt x="127" y="74"/>
                      <a:pt x="129" y="77"/>
                    </a:cubicBezTo>
                    <a:cubicBezTo>
                      <a:pt x="130" y="78"/>
                      <a:pt x="130" y="80"/>
                      <a:pt x="131" y="82"/>
                    </a:cubicBezTo>
                    <a:cubicBezTo>
                      <a:pt x="133" y="84"/>
                      <a:pt x="134" y="87"/>
                      <a:pt x="137" y="88"/>
                    </a:cubicBezTo>
                    <a:lnTo>
                      <a:pt x="178" y="104"/>
                    </a:lnTo>
                    <a:cubicBezTo>
                      <a:pt x="182" y="105"/>
                      <a:pt x="193" y="99"/>
                      <a:pt x="190" y="102"/>
                    </a:cubicBezTo>
                    <a:lnTo>
                      <a:pt x="153" y="147"/>
                    </a:lnTo>
                    <a:cubicBezTo>
                      <a:pt x="150" y="151"/>
                      <a:pt x="143" y="147"/>
                      <a:pt x="139" y="148"/>
                    </a:cubicBezTo>
                    <a:cubicBezTo>
                      <a:pt x="134" y="149"/>
                      <a:pt x="130" y="152"/>
                      <a:pt x="125" y="154"/>
                    </a:cubicBezTo>
                    <a:cubicBezTo>
                      <a:pt x="121" y="156"/>
                      <a:pt x="116" y="160"/>
                      <a:pt x="112" y="162"/>
                    </a:cubicBezTo>
                    <a:cubicBezTo>
                      <a:pt x="111" y="162"/>
                      <a:pt x="108" y="163"/>
                      <a:pt x="107" y="162"/>
                    </a:cubicBezTo>
                    <a:cubicBezTo>
                      <a:pt x="104" y="161"/>
                      <a:pt x="104" y="156"/>
                      <a:pt x="101" y="156"/>
                    </a:cubicBezTo>
                    <a:cubicBezTo>
                      <a:pt x="96" y="156"/>
                      <a:pt x="93" y="159"/>
                      <a:pt x="89" y="162"/>
                    </a:cubicBezTo>
                    <a:cubicBezTo>
                      <a:pt x="88" y="163"/>
                      <a:pt x="89" y="168"/>
                      <a:pt x="87" y="168"/>
                    </a:cubicBezTo>
                    <a:lnTo>
                      <a:pt x="69" y="167"/>
                    </a:lnTo>
                    <a:cubicBezTo>
                      <a:pt x="63" y="166"/>
                      <a:pt x="60" y="158"/>
                      <a:pt x="55" y="155"/>
                    </a:cubicBezTo>
                    <a:cubicBezTo>
                      <a:pt x="52" y="154"/>
                      <a:pt x="49" y="155"/>
                      <a:pt x="47" y="154"/>
                    </a:cubicBezTo>
                    <a:cubicBezTo>
                      <a:pt x="44" y="154"/>
                      <a:pt x="41" y="154"/>
                      <a:pt x="40" y="152"/>
                    </a:cubicBezTo>
                    <a:cubicBezTo>
                      <a:pt x="38" y="149"/>
                      <a:pt x="41" y="145"/>
                      <a:pt x="39" y="142"/>
                    </a:cubicBezTo>
                    <a:cubicBezTo>
                      <a:pt x="38" y="140"/>
                      <a:pt x="34" y="141"/>
                      <a:pt x="32" y="140"/>
                    </a:cubicBezTo>
                    <a:cubicBezTo>
                      <a:pt x="31" y="138"/>
                      <a:pt x="29" y="137"/>
                      <a:pt x="29" y="135"/>
                    </a:cubicBezTo>
                    <a:cubicBezTo>
                      <a:pt x="27" y="132"/>
                      <a:pt x="28" y="128"/>
                      <a:pt x="26" y="125"/>
                    </a:cubicBezTo>
                    <a:cubicBezTo>
                      <a:pt x="25" y="122"/>
                      <a:pt x="22" y="120"/>
                      <a:pt x="20" y="117"/>
                    </a:cubicBezTo>
                    <a:cubicBezTo>
                      <a:pt x="17" y="114"/>
                      <a:pt x="16" y="109"/>
                      <a:pt x="12" y="107"/>
                    </a:cubicBezTo>
                    <a:cubicBezTo>
                      <a:pt x="9" y="105"/>
                      <a:pt x="5" y="108"/>
                      <a:pt x="2" y="106"/>
                    </a:cubicBezTo>
                    <a:cubicBezTo>
                      <a:pt x="0" y="104"/>
                      <a:pt x="1" y="100"/>
                      <a:pt x="3" y="98"/>
                    </a:cubicBezTo>
                    <a:cubicBezTo>
                      <a:pt x="5" y="96"/>
                      <a:pt x="9" y="98"/>
                      <a:pt x="11" y="97"/>
                    </a:cubicBezTo>
                    <a:cubicBezTo>
                      <a:pt x="13" y="97"/>
                      <a:pt x="16" y="97"/>
                      <a:pt x="16" y="96"/>
                    </a:cubicBezTo>
                    <a:cubicBezTo>
                      <a:pt x="18" y="92"/>
                      <a:pt x="15" y="87"/>
                      <a:pt x="16" y="83"/>
                    </a:cubicBezTo>
                    <a:cubicBezTo>
                      <a:pt x="16" y="79"/>
                      <a:pt x="18" y="75"/>
                      <a:pt x="18" y="71"/>
                    </a:cubicBezTo>
                    <a:cubicBezTo>
                      <a:pt x="18" y="70"/>
                      <a:pt x="16" y="69"/>
                      <a:pt x="16" y="67"/>
                    </a:cubicBezTo>
                    <a:cubicBezTo>
                      <a:pt x="16" y="65"/>
                      <a:pt x="17" y="64"/>
                      <a:pt x="19" y="63"/>
                    </a:cubicBezTo>
                    <a:cubicBezTo>
                      <a:pt x="20" y="63"/>
                      <a:pt x="21" y="64"/>
                      <a:pt x="23" y="64"/>
                    </a:cubicBezTo>
                    <a:cubicBezTo>
                      <a:pt x="24" y="64"/>
                      <a:pt x="26" y="65"/>
                      <a:pt x="26" y="64"/>
                    </a:cubicBezTo>
                    <a:cubicBezTo>
                      <a:pt x="27" y="58"/>
                      <a:pt x="25" y="52"/>
                      <a:pt x="27" y="46"/>
                    </a:cubicBezTo>
                    <a:cubicBezTo>
                      <a:pt x="27" y="44"/>
                      <a:pt x="30" y="44"/>
                      <a:pt x="31" y="43"/>
                    </a:cubicBezTo>
                    <a:cubicBezTo>
                      <a:pt x="32" y="40"/>
                      <a:pt x="32" y="36"/>
                      <a:pt x="34" y="34"/>
                    </a:cubicBezTo>
                    <a:cubicBezTo>
                      <a:pt x="36" y="32"/>
                      <a:pt x="39" y="33"/>
                      <a:pt x="41" y="32"/>
                    </a:cubicBezTo>
                    <a:cubicBezTo>
                      <a:pt x="42" y="31"/>
                      <a:pt x="40" y="30"/>
                      <a:pt x="41" y="29"/>
                    </a:cubicBezTo>
                    <a:cubicBezTo>
                      <a:pt x="42" y="26"/>
                      <a:pt x="44" y="24"/>
                      <a:pt x="44" y="22"/>
                    </a:cubicBezTo>
                    <a:cubicBezTo>
                      <a:pt x="45" y="20"/>
                      <a:pt x="43" y="18"/>
                      <a:pt x="44" y="16"/>
                    </a:cubicBezTo>
                    <a:cubicBezTo>
                      <a:pt x="44" y="14"/>
                      <a:pt x="46" y="13"/>
                      <a:pt x="47" y="12"/>
                    </a:cubicBezTo>
                    <a:cubicBezTo>
                      <a:pt x="48" y="12"/>
                      <a:pt x="50" y="12"/>
                      <a:pt x="52" y="12"/>
                    </a:cubicBezTo>
                    <a:cubicBezTo>
                      <a:pt x="53" y="12"/>
                      <a:pt x="54" y="9"/>
                      <a:pt x="55" y="9"/>
                    </a:cubicBezTo>
                    <a:cubicBezTo>
                      <a:pt x="57" y="9"/>
                      <a:pt x="58" y="15"/>
                      <a:pt x="59" y="13"/>
                    </a:cubicBezTo>
                    <a:cubicBezTo>
                      <a:pt x="62" y="11"/>
                      <a:pt x="60" y="5"/>
                      <a:pt x="62" y="2"/>
                    </a:cubicBezTo>
                    <a:cubicBezTo>
                      <a:pt x="63" y="0"/>
                      <a:pt x="64" y="5"/>
                      <a:pt x="66" y="6"/>
                    </a:cubicBezTo>
                    <a:cubicBezTo>
                      <a:pt x="67" y="7"/>
                      <a:pt x="68" y="8"/>
                      <a:pt x="69" y="9"/>
                    </a:cubicBezTo>
                    <a:cubicBezTo>
                      <a:pt x="71" y="9"/>
                      <a:pt x="73" y="8"/>
                      <a:pt x="75" y="8"/>
                    </a:cubicBezTo>
                    <a:cubicBezTo>
                      <a:pt x="76" y="8"/>
                      <a:pt x="77" y="6"/>
                      <a:pt x="78" y="6"/>
                    </a:cubicBezTo>
                    <a:cubicBezTo>
                      <a:pt x="79" y="6"/>
                      <a:pt x="80" y="8"/>
                      <a:pt x="82" y="9"/>
                    </a:cubicBezTo>
                    <a:cubicBezTo>
                      <a:pt x="86" y="10"/>
                      <a:pt x="89" y="9"/>
                      <a:pt x="93" y="10"/>
                    </a:cubicBezTo>
                    <a:cubicBezTo>
                      <a:pt x="95" y="11"/>
                      <a:pt x="98" y="13"/>
                      <a:pt x="100" y="15"/>
                    </a:cubicBezTo>
                    <a:cubicBezTo>
                      <a:pt x="102" y="17"/>
                      <a:pt x="102" y="20"/>
                      <a:pt x="104" y="22"/>
                    </a:cubicBezTo>
                    <a:cubicBezTo>
                      <a:pt x="107" y="25"/>
                      <a:pt x="110" y="27"/>
                      <a:pt x="113" y="30"/>
                    </a:cubicBezTo>
                    <a:cubicBezTo>
                      <a:pt x="114" y="31"/>
                      <a:pt x="114" y="33"/>
                      <a:pt x="115" y="35"/>
                    </a:cubicBezTo>
                    <a:cubicBezTo>
                      <a:pt x="116" y="36"/>
                      <a:pt x="118" y="38"/>
                      <a:pt x="119" y="39"/>
                    </a:cubicBez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2" name="Freeform 2577"/>
              <p:cNvSpPr>
                <a:spLocks noChangeAspect="1"/>
              </p:cNvSpPr>
              <p:nvPr/>
            </p:nvSpPr>
            <p:spPr bwMode="auto">
              <a:xfrm>
                <a:off x="8670611" y="2843451"/>
                <a:ext cx="87711" cy="87901"/>
              </a:xfrm>
              <a:custGeom>
                <a:avLst/>
                <a:gdLst>
                  <a:gd name="T0" fmla="*/ 17 w 22"/>
                  <a:gd name="T1" fmla="*/ 29 h 26"/>
                  <a:gd name="T2" fmla="*/ 9 w 22"/>
                  <a:gd name="T3" fmla="*/ 29 h 26"/>
                  <a:gd name="T4" fmla="*/ 4 w 22"/>
                  <a:gd name="T5" fmla="*/ 31 h 26"/>
                  <a:gd name="T6" fmla="*/ 0 w 22"/>
                  <a:gd name="T7" fmla="*/ 29 h 26"/>
                  <a:gd name="T8" fmla="*/ 0 w 22"/>
                  <a:gd name="T9" fmla="*/ 19 h 26"/>
                  <a:gd name="T10" fmla="*/ 5 w 22"/>
                  <a:gd name="T11" fmla="*/ 12 h 26"/>
                  <a:gd name="T12" fmla="*/ 8 w 22"/>
                  <a:gd name="T13" fmla="*/ 4 h 26"/>
                  <a:gd name="T14" fmla="*/ 14 w 22"/>
                  <a:gd name="T15" fmla="*/ 5 h 26"/>
                  <a:gd name="T16" fmla="*/ 17 w 22"/>
                  <a:gd name="T17" fmla="*/ 1 h 26"/>
                  <a:gd name="T18" fmla="*/ 20 w 22"/>
                  <a:gd name="T19" fmla="*/ 1 h 26"/>
                  <a:gd name="T20" fmla="*/ 22 w 22"/>
                  <a:gd name="T21" fmla="*/ 6 h 26"/>
                  <a:gd name="T22" fmla="*/ 25 w 22"/>
                  <a:gd name="T23" fmla="*/ 12 h 26"/>
                  <a:gd name="T24" fmla="*/ 18 w 22"/>
                  <a:gd name="T25" fmla="*/ 16 h 26"/>
                  <a:gd name="T26" fmla="*/ 9 w 22"/>
                  <a:gd name="T27" fmla="*/ 23 h 26"/>
                  <a:gd name="T28" fmla="*/ 18 w 22"/>
                  <a:gd name="T29" fmla="*/ 21 h 26"/>
                  <a:gd name="T30" fmla="*/ 24 w 22"/>
                  <a:gd name="T31" fmla="*/ 24 h 26"/>
                  <a:gd name="T32" fmla="*/ 20 w 22"/>
                  <a:gd name="T33" fmla="*/ 26 h 26"/>
                  <a:gd name="T34" fmla="*/ 17 w 22"/>
                  <a:gd name="T35" fmla="*/ 29 h 2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22"/>
                  <a:gd name="T55" fmla="*/ 0 h 26"/>
                  <a:gd name="T56" fmla="*/ 22 w 22"/>
                  <a:gd name="T57" fmla="*/ 26 h 2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22" h="26">
                    <a:moveTo>
                      <a:pt x="14" y="24"/>
                    </a:moveTo>
                    <a:cubicBezTo>
                      <a:pt x="12" y="24"/>
                      <a:pt x="10" y="24"/>
                      <a:pt x="8" y="24"/>
                    </a:cubicBezTo>
                    <a:cubicBezTo>
                      <a:pt x="6" y="24"/>
                      <a:pt x="5" y="26"/>
                      <a:pt x="3" y="26"/>
                    </a:cubicBezTo>
                    <a:cubicBezTo>
                      <a:pt x="2" y="26"/>
                      <a:pt x="1" y="25"/>
                      <a:pt x="0" y="24"/>
                    </a:cubicBezTo>
                    <a:cubicBezTo>
                      <a:pt x="0" y="21"/>
                      <a:pt x="0" y="19"/>
                      <a:pt x="0" y="16"/>
                    </a:cubicBezTo>
                    <a:cubicBezTo>
                      <a:pt x="1" y="14"/>
                      <a:pt x="3" y="12"/>
                      <a:pt x="4" y="10"/>
                    </a:cubicBezTo>
                    <a:cubicBezTo>
                      <a:pt x="5" y="8"/>
                      <a:pt x="6" y="5"/>
                      <a:pt x="7" y="3"/>
                    </a:cubicBezTo>
                    <a:cubicBezTo>
                      <a:pt x="9" y="3"/>
                      <a:pt x="10" y="5"/>
                      <a:pt x="12" y="4"/>
                    </a:cubicBezTo>
                    <a:cubicBezTo>
                      <a:pt x="13" y="4"/>
                      <a:pt x="13" y="2"/>
                      <a:pt x="14" y="1"/>
                    </a:cubicBezTo>
                    <a:cubicBezTo>
                      <a:pt x="14" y="0"/>
                      <a:pt x="16" y="1"/>
                      <a:pt x="17" y="1"/>
                    </a:cubicBezTo>
                    <a:cubicBezTo>
                      <a:pt x="18" y="2"/>
                      <a:pt x="18" y="4"/>
                      <a:pt x="19" y="5"/>
                    </a:cubicBezTo>
                    <a:cubicBezTo>
                      <a:pt x="20" y="6"/>
                      <a:pt x="22" y="8"/>
                      <a:pt x="21" y="10"/>
                    </a:cubicBezTo>
                    <a:cubicBezTo>
                      <a:pt x="20" y="12"/>
                      <a:pt x="17" y="12"/>
                      <a:pt x="15" y="13"/>
                    </a:cubicBezTo>
                    <a:cubicBezTo>
                      <a:pt x="12" y="15"/>
                      <a:pt x="8" y="16"/>
                      <a:pt x="8" y="19"/>
                    </a:cubicBezTo>
                    <a:cubicBezTo>
                      <a:pt x="8" y="21"/>
                      <a:pt x="12" y="18"/>
                      <a:pt x="15" y="18"/>
                    </a:cubicBezTo>
                    <a:cubicBezTo>
                      <a:pt x="16" y="19"/>
                      <a:pt x="18" y="19"/>
                      <a:pt x="20" y="20"/>
                    </a:cubicBezTo>
                    <a:cubicBezTo>
                      <a:pt x="19" y="21"/>
                      <a:pt x="18" y="21"/>
                      <a:pt x="17" y="22"/>
                    </a:cubicBezTo>
                    <a:cubicBezTo>
                      <a:pt x="16" y="23"/>
                      <a:pt x="15" y="24"/>
                      <a:pt x="14" y="24"/>
                    </a:cubicBez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3" name="Freeform 2578"/>
              <p:cNvSpPr>
                <a:spLocks noChangeAspect="1"/>
              </p:cNvSpPr>
              <p:nvPr/>
            </p:nvSpPr>
            <p:spPr bwMode="auto">
              <a:xfrm>
                <a:off x="8390614" y="2582584"/>
                <a:ext cx="347471" cy="277879"/>
              </a:xfrm>
              <a:custGeom>
                <a:avLst/>
                <a:gdLst>
                  <a:gd name="T0" fmla="*/ 103 w 86"/>
                  <a:gd name="T1" fmla="*/ 93 h 82"/>
                  <a:gd name="T2" fmla="*/ 98 w 86"/>
                  <a:gd name="T3" fmla="*/ 88 h 82"/>
                  <a:gd name="T4" fmla="*/ 92 w 86"/>
                  <a:gd name="T5" fmla="*/ 81 h 82"/>
                  <a:gd name="T6" fmla="*/ 90 w 86"/>
                  <a:gd name="T7" fmla="*/ 78 h 82"/>
                  <a:gd name="T8" fmla="*/ 80 w 86"/>
                  <a:gd name="T9" fmla="*/ 69 h 82"/>
                  <a:gd name="T10" fmla="*/ 73 w 86"/>
                  <a:gd name="T11" fmla="*/ 60 h 82"/>
                  <a:gd name="T12" fmla="*/ 67 w 86"/>
                  <a:gd name="T13" fmla="*/ 56 h 82"/>
                  <a:gd name="T14" fmla="*/ 65 w 86"/>
                  <a:gd name="T15" fmla="*/ 53 h 82"/>
                  <a:gd name="T16" fmla="*/ 60 w 86"/>
                  <a:gd name="T17" fmla="*/ 53 h 82"/>
                  <a:gd name="T18" fmla="*/ 55 w 86"/>
                  <a:gd name="T19" fmla="*/ 50 h 82"/>
                  <a:gd name="T20" fmla="*/ 52 w 86"/>
                  <a:gd name="T21" fmla="*/ 44 h 82"/>
                  <a:gd name="T22" fmla="*/ 48 w 86"/>
                  <a:gd name="T23" fmla="*/ 48 h 82"/>
                  <a:gd name="T24" fmla="*/ 44 w 86"/>
                  <a:gd name="T25" fmla="*/ 39 h 82"/>
                  <a:gd name="T26" fmla="*/ 42 w 86"/>
                  <a:gd name="T27" fmla="*/ 30 h 82"/>
                  <a:gd name="T28" fmla="*/ 38 w 86"/>
                  <a:gd name="T29" fmla="*/ 17 h 82"/>
                  <a:gd name="T30" fmla="*/ 34 w 86"/>
                  <a:gd name="T31" fmla="*/ 0 h 82"/>
                  <a:gd name="T32" fmla="*/ 26 w 86"/>
                  <a:gd name="T33" fmla="*/ 4 h 82"/>
                  <a:gd name="T34" fmla="*/ 22 w 86"/>
                  <a:gd name="T35" fmla="*/ 7 h 82"/>
                  <a:gd name="T36" fmla="*/ 17 w 86"/>
                  <a:gd name="T37" fmla="*/ 5 h 82"/>
                  <a:gd name="T38" fmla="*/ 14 w 86"/>
                  <a:gd name="T39" fmla="*/ 12 h 82"/>
                  <a:gd name="T40" fmla="*/ 8 w 86"/>
                  <a:gd name="T41" fmla="*/ 12 h 82"/>
                  <a:gd name="T42" fmla="*/ 7 w 86"/>
                  <a:gd name="T43" fmla="*/ 18 h 82"/>
                  <a:gd name="T44" fmla="*/ 5 w 86"/>
                  <a:gd name="T45" fmla="*/ 23 h 82"/>
                  <a:gd name="T46" fmla="*/ 8 w 86"/>
                  <a:gd name="T47" fmla="*/ 27 h 82"/>
                  <a:gd name="T48" fmla="*/ 5 w 86"/>
                  <a:gd name="T49" fmla="*/ 38 h 82"/>
                  <a:gd name="T50" fmla="*/ 1 w 86"/>
                  <a:gd name="T51" fmla="*/ 45 h 82"/>
                  <a:gd name="T52" fmla="*/ 2 w 86"/>
                  <a:gd name="T53" fmla="*/ 57 h 82"/>
                  <a:gd name="T54" fmla="*/ 5 w 86"/>
                  <a:gd name="T55" fmla="*/ 63 h 82"/>
                  <a:gd name="T56" fmla="*/ 11 w 86"/>
                  <a:gd name="T57" fmla="*/ 63 h 82"/>
                  <a:gd name="T58" fmla="*/ 14 w 86"/>
                  <a:gd name="T59" fmla="*/ 60 h 82"/>
                  <a:gd name="T60" fmla="*/ 19 w 86"/>
                  <a:gd name="T61" fmla="*/ 65 h 82"/>
                  <a:gd name="T62" fmla="*/ 23 w 86"/>
                  <a:gd name="T63" fmla="*/ 51 h 82"/>
                  <a:gd name="T64" fmla="*/ 28 w 86"/>
                  <a:gd name="T65" fmla="*/ 56 h 82"/>
                  <a:gd name="T66" fmla="*/ 31 w 86"/>
                  <a:gd name="T67" fmla="*/ 60 h 82"/>
                  <a:gd name="T68" fmla="*/ 38 w 86"/>
                  <a:gd name="T69" fmla="*/ 59 h 82"/>
                  <a:gd name="T70" fmla="*/ 42 w 86"/>
                  <a:gd name="T71" fmla="*/ 56 h 82"/>
                  <a:gd name="T72" fmla="*/ 47 w 86"/>
                  <a:gd name="T73" fmla="*/ 60 h 82"/>
                  <a:gd name="T74" fmla="*/ 60 w 86"/>
                  <a:gd name="T75" fmla="*/ 61 h 82"/>
                  <a:gd name="T76" fmla="*/ 68 w 86"/>
                  <a:gd name="T77" fmla="*/ 67 h 82"/>
                  <a:gd name="T78" fmla="*/ 73 w 86"/>
                  <a:gd name="T79" fmla="*/ 75 h 82"/>
                  <a:gd name="T80" fmla="*/ 84 w 86"/>
                  <a:gd name="T81" fmla="*/ 85 h 82"/>
                  <a:gd name="T82" fmla="*/ 86 w 86"/>
                  <a:gd name="T83" fmla="*/ 91 h 82"/>
                  <a:gd name="T84" fmla="*/ 91 w 86"/>
                  <a:gd name="T85" fmla="*/ 96 h 82"/>
                  <a:gd name="T86" fmla="*/ 97 w 86"/>
                  <a:gd name="T87" fmla="*/ 97 h 82"/>
                  <a:gd name="T88" fmla="*/ 99 w 86"/>
                  <a:gd name="T89" fmla="*/ 93 h 82"/>
                  <a:gd name="T90" fmla="*/ 103 w 86"/>
                  <a:gd name="T91" fmla="*/ 93 h 8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86"/>
                  <a:gd name="T139" fmla="*/ 0 h 82"/>
                  <a:gd name="T140" fmla="*/ 86 w 86"/>
                  <a:gd name="T141" fmla="*/ 82 h 8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86" h="82">
                    <a:moveTo>
                      <a:pt x="86" y="78"/>
                    </a:moveTo>
                    <a:cubicBezTo>
                      <a:pt x="85" y="77"/>
                      <a:pt x="83" y="76"/>
                      <a:pt x="82" y="74"/>
                    </a:cubicBezTo>
                    <a:cubicBezTo>
                      <a:pt x="80" y="72"/>
                      <a:pt x="79" y="70"/>
                      <a:pt x="77" y="68"/>
                    </a:cubicBezTo>
                    <a:cubicBezTo>
                      <a:pt x="77" y="67"/>
                      <a:pt x="76" y="66"/>
                      <a:pt x="75" y="65"/>
                    </a:cubicBezTo>
                    <a:cubicBezTo>
                      <a:pt x="73" y="62"/>
                      <a:pt x="69" y="61"/>
                      <a:pt x="67" y="58"/>
                    </a:cubicBezTo>
                    <a:cubicBezTo>
                      <a:pt x="65" y="56"/>
                      <a:pt x="64" y="53"/>
                      <a:pt x="61" y="50"/>
                    </a:cubicBezTo>
                    <a:cubicBezTo>
                      <a:pt x="60" y="49"/>
                      <a:pt x="58" y="49"/>
                      <a:pt x="56" y="47"/>
                    </a:cubicBezTo>
                    <a:cubicBezTo>
                      <a:pt x="55" y="46"/>
                      <a:pt x="55" y="45"/>
                      <a:pt x="54" y="44"/>
                    </a:cubicBezTo>
                    <a:cubicBezTo>
                      <a:pt x="53" y="43"/>
                      <a:pt x="51" y="45"/>
                      <a:pt x="50" y="44"/>
                    </a:cubicBezTo>
                    <a:cubicBezTo>
                      <a:pt x="48" y="44"/>
                      <a:pt x="47" y="43"/>
                      <a:pt x="46" y="42"/>
                    </a:cubicBezTo>
                    <a:cubicBezTo>
                      <a:pt x="45" y="41"/>
                      <a:pt x="45" y="38"/>
                      <a:pt x="43" y="37"/>
                    </a:cubicBezTo>
                    <a:cubicBezTo>
                      <a:pt x="42" y="37"/>
                      <a:pt x="41" y="41"/>
                      <a:pt x="40" y="40"/>
                    </a:cubicBezTo>
                    <a:cubicBezTo>
                      <a:pt x="38" y="39"/>
                      <a:pt x="38" y="36"/>
                      <a:pt x="37" y="33"/>
                    </a:cubicBezTo>
                    <a:cubicBezTo>
                      <a:pt x="37" y="31"/>
                      <a:pt x="36" y="28"/>
                      <a:pt x="35" y="25"/>
                    </a:cubicBezTo>
                    <a:cubicBezTo>
                      <a:pt x="34" y="21"/>
                      <a:pt x="33" y="17"/>
                      <a:pt x="32" y="14"/>
                    </a:cubicBezTo>
                    <a:cubicBezTo>
                      <a:pt x="31" y="9"/>
                      <a:pt x="29" y="4"/>
                      <a:pt x="28" y="0"/>
                    </a:cubicBezTo>
                    <a:cubicBezTo>
                      <a:pt x="26" y="1"/>
                      <a:pt x="24" y="2"/>
                      <a:pt x="22" y="3"/>
                    </a:cubicBezTo>
                    <a:cubicBezTo>
                      <a:pt x="20" y="3"/>
                      <a:pt x="19" y="5"/>
                      <a:pt x="18" y="6"/>
                    </a:cubicBezTo>
                    <a:cubicBezTo>
                      <a:pt x="16" y="6"/>
                      <a:pt x="15" y="3"/>
                      <a:pt x="14" y="4"/>
                    </a:cubicBezTo>
                    <a:cubicBezTo>
                      <a:pt x="13" y="5"/>
                      <a:pt x="14" y="9"/>
                      <a:pt x="12" y="10"/>
                    </a:cubicBezTo>
                    <a:cubicBezTo>
                      <a:pt x="10" y="11"/>
                      <a:pt x="8" y="9"/>
                      <a:pt x="7" y="10"/>
                    </a:cubicBezTo>
                    <a:cubicBezTo>
                      <a:pt x="6" y="11"/>
                      <a:pt x="7" y="13"/>
                      <a:pt x="6" y="15"/>
                    </a:cubicBezTo>
                    <a:cubicBezTo>
                      <a:pt x="6" y="16"/>
                      <a:pt x="4" y="18"/>
                      <a:pt x="4" y="19"/>
                    </a:cubicBezTo>
                    <a:cubicBezTo>
                      <a:pt x="4" y="21"/>
                      <a:pt x="6" y="22"/>
                      <a:pt x="7" y="23"/>
                    </a:cubicBezTo>
                    <a:cubicBezTo>
                      <a:pt x="7" y="26"/>
                      <a:pt x="6" y="29"/>
                      <a:pt x="4" y="32"/>
                    </a:cubicBezTo>
                    <a:cubicBezTo>
                      <a:pt x="4" y="35"/>
                      <a:pt x="1" y="36"/>
                      <a:pt x="1" y="38"/>
                    </a:cubicBezTo>
                    <a:cubicBezTo>
                      <a:pt x="0" y="41"/>
                      <a:pt x="1" y="45"/>
                      <a:pt x="2" y="48"/>
                    </a:cubicBezTo>
                    <a:cubicBezTo>
                      <a:pt x="2" y="50"/>
                      <a:pt x="3" y="51"/>
                      <a:pt x="4" y="53"/>
                    </a:cubicBezTo>
                    <a:cubicBezTo>
                      <a:pt x="5" y="53"/>
                      <a:pt x="7" y="53"/>
                      <a:pt x="9" y="53"/>
                    </a:cubicBezTo>
                    <a:cubicBezTo>
                      <a:pt x="10" y="53"/>
                      <a:pt x="11" y="50"/>
                      <a:pt x="12" y="50"/>
                    </a:cubicBezTo>
                    <a:cubicBezTo>
                      <a:pt x="14" y="50"/>
                      <a:pt x="15" y="56"/>
                      <a:pt x="16" y="54"/>
                    </a:cubicBezTo>
                    <a:cubicBezTo>
                      <a:pt x="19" y="52"/>
                      <a:pt x="17" y="46"/>
                      <a:pt x="19" y="43"/>
                    </a:cubicBezTo>
                    <a:cubicBezTo>
                      <a:pt x="20" y="41"/>
                      <a:pt x="21" y="46"/>
                      <a:pt x="23" y="47"/>
                    </a:cubicBezTo>
                    <a:cubicBezTo>
                      <a:pt x="24" y="48"/>
                      <a:pt x="25" y="49"/>
                      <a:pt x="26" y="50"/>
                    </a:cubicBezTo>
                    <a:cubicBezTo>
                      <a:pt x="28" y="50"/>
                      <a:pt x="30" y="49"/>
                      <a:pt x="32" y="49"/>
                    </a:cubicBezTo>
                    <a:cubicBezTo>
                      <a:pt x="33" y="49"/>
                      <a:pt x="34" y="47"/>
                      <a:pt x="35" y="47"/>
                    </a:cubicBezTo>
                    <a:cubicBezTo>
                      <a:pt x="36" y="47"/>
                      <a:pt x="37" y="49"/>
                      <a:pt x="39" y="50"/>
                    </a:cubicBezTo>
                    <a:cubicBezTo>
                      <a:pt x="43" y="51"/>
                      <a:pt x="46" y="50"/>
                      <a:pt x="50" y="51"/>
                    </a:cubicBezTo>
                    <a:cubicBezTo>
                      <a:pt x="52" y="52"/>
                      <a:pt x="55" y="54"/>
                      <a:pt x="57" y="56"/>
                    </a:cubicBezTo>
                    <a:cubicBezTo>
                      <a:pt x="59" y="58"/>
                      <a:pt x="59" y="61"/>
                      <a:pt x="61" y="63"/>
                    </a:cubicBezTo>
                    <a:cubicBezTo>
                      <a:pt x="64" y="66"/>
                      <a:pt x="67" y="68"/>
                      <a:pt x="70" y="71"/>
                    </a:cubicBezTo>
                    <a:cubicBezTo>
                      <a:pt x="71" y="72"/>
                      <a:pt x="71" y="74"/>
                      <a:pt x="72" y="76"/>
                    </a:cubicBezTo>
                    <a:cubicBezTo>
                      <a:pt x="73" y="77"/>
                      <a:pt x="75" y="79"/>
                      <a:pt x="76" y="80"/>
                    </a:cubicBezTo>
                    <a:cubicBezTo>
                      <a:pt x="78" y="80"/>
                      <a:pt x="79" y="82"/>
                      <a:pt x="81" y="81"/>
                    </a:cubicBezTo>
                    <a:cubicBezTo>
                      <a:pt x="82" y="81"/>
                      <a:pt x="82" y="79"/>
                      <a:pt x="83" y="78"/>
                    </a:cubicBezTo>
                    <a:cubicBezTo>
                      <a:pt x="83" y="77"/>
                      <a:pt x="85" y="78"/>
                      <a:pt x="86" y="78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4" name="Freeform 2579"/>
              <p:cNvSpPr>
                <a:spLocks noChangeAspect="1"/>
              </p:cNvSpPr>
              <p:nvPr/>
            </p:nvSpPr>
            <p:spPr bwMode="auto">
              <a:xfrm>
                <a:off x="7648442" y="2318887"/>
                <a:ext cx="856868" cy="975408"/>
              </a:xfrm>
              <a:custGeom>
                <a:avLst/>
                <a:gdLst>
                  <a:gd name="T0" fmla="*/ 223 w 211"/>
                  <a:gd name="T1" fmla="*/ 150 h 286"/>
                  <a:gd name="T2" fmla="*/ 225 w 211"/>
                  <a:gd name="T3" fmla="*/ 131 h 286"/>
                  <a:gd name="T4" fmla="*/ 225 w 211"/>
                  <a:gd name="T5" fmla="*/ 115 h 286"/>
                  <a:gd name="T6" fmla="*/ 229 w 211"/>
                  <a:gd name="T7" fmla="*/ 105 h 286"/>
                  <a:gd name="T8" fmla="*/ 237 w 211"/>
                  <a:gd name="T9" fmla="*/ 97 h 286"/>
                  <a:gd name="T10" fmla="*/ 247 w 211"/>
                  <a:gd name="T11" fmla="*/ 96 h 286"/>
                  <a:gd name="T12" fmla="*/ 244 w 211"/>
                  <a:gd name="T13" fmla="*/ 87 h 286"/>
                  <a:gd name="T14" fmla="*/ 237 w 211"/>
                  <a:gd name="T15" fmla="*/ 77 h 286"/>
                  <a:gd name="T16" fmla="*/ 230 w 211"/>
                  <a:gd name="T17" fmla="*/ 52 h 286"/>
                  <a:gd name="T18" fmla="*/ 225 w 211"/>
                  <a:gd name="T19" fmla="*/ 26 h 286"/>
                  <a:gd name="T20" fmla="*/ 215 w 211"/>
                  <a:gd name="T21" fmla="*/ 6 h 286"/>
                  <a:gd name="T22" fmla="*/ 206 w 211"/>
                  <a:gd name="T23" fmla="*/ 0 h 286"/>
                  <a:gd name="T24" fmla="*/ 193 w 211"/>
                  <a:gd name="T25" fmla="*/ 7 h 286"/>
                  <a:gd name="T26" fmla="*/ 184 w 211"/>
                  <a:gd name="T27" fmla="*/ 16 h 286"/>
                  <a:gd name="T28" fmla="*/ 176 w 211"/>
                  <a:gd name="T29" fmla="*/ 26 h 286"/>
                  <a:gd name="T30" fmla="*/ 46 w 211"/>
                  <a:gd name="T31" fmla="*/ 19 h 286"/>
                  <a:gd name="T32" fmla="*/ 31 w 211"/>
                  <a:gd name="T33" fmla="*/ 58 h 286"/>
                  <a:gd name="T34" fmla="*/ 30 w 211"/>
                  <a:gd name="T35" fmla="*/ 130 h 286"/>
                  <a:gd name="T36" fmla="*/ 17 w 211"/>
                  <a:gd name="T37" fmla="*/ 134 h 286"/>
                  <a:gd name="T38" fmla="*/ 12 w 211"/>
                  <a:gd name="T39" fmla="*/ 148 h 286"/>
                  <a:gd name="T40" fmla="*/ 12 w 211"/>
                  <a:gd name="T41" fmla="*/ 159 h 286"/>
                  <a:gd name="T42" fmla="*/ 7 w 211"/>
                  <a:gd name="T43" fmla="*/ 173 h 286"/>
                  <a:gd name="T44" fmla="*/ 1 w 211"/>
                  <a:gd name="T45" fmla="*/ 186 h 286"/>
                  <a:gd name="T46" fmla="*/ 11 w 211"/>
                  <a:gd name="T47" fmla="*/ 196 h 286"/>
                  <a:gd name="T48" fmla="*/ 11 w 211"/>
                  <a:gd name="T49" fmla="*/ 202 h 286"/>
                  <a:gd name="T50" fmla="*/ 16 w 211"/>
                  <a:gd name="T51" fmla="*/ 214 h 286"/>
                  <a:gd name="T52" fmla="*/ 30 w 211"/>
                  <a:gd name="T53" fmla="*/ 235 h 286"/>
                  <a:gd name="T54" fmla="*/ 25 w 211"/>
                  <a:gd name="T55" fmla="*/ 248 h 286"/>
                  <a:gd name="T56" fmla="*/ 39 w 211"/>
                  <a:gd name="T57" fmla="*/ 254 h 286"/>
                  <a:gd name="T58" fmla="*/ 49 w 211"/>
                  <a:gd name="T59" fmla="*/ 262 h 286"/>
                  <a:gd name="T60" fmla="*/ 55 w 211"/>
                  <a:gd name="T61" fmla="*/ 268 h 286"/>
                  <a:gd name="T62" fmla="*/ 60 w 211"/>
                  <a:gd name="T63" fmla="*/ 281 h 286"/>
                  <a:gd name="T64" fmla="*/ 75 w 211"/>
                  <a:gd name="T65" fmla="*/ 291 h 286"/>
                  <a:gd name="T66" fmla="*/ 79 w 211"/>
                  <a:gd name="T67" fmla="*/ 299 h 286"/>
                  <a:gd name="T68" fmla="*/ 88 w 211"/>
                  <a:gd name="T69" fmla="*/ 310 h 286"/>
                  <a:gd name="T70" fmla="*/ 94 w 211"/>
                  <a:gd name="T71" fmla="*/ 324 h 286"/>
                  <a:gd name="T72" fmla="*/ 107 w 211"/>
                  <a:gd name="T73" fmla="*/ 325 h 286"/>
                  <a:gd name="T74" fmla="*/ 119 w 211"/>
                  <a:gd name="T75" fmla="*/ 321 h 286"/>
                  <a:gd name="T76" fmla="*/ 134 w 211"/>
                  <a:gd name="T77" fmla="*/ 340 h 286"/>
                  <a:gd name="T78" fmla="*/ 141 w 211"/>
                  <a:gd name="T79" fmla="*/ 340 h 286"/>
                  <a:gd name="T80" fmla="*/ 155 w 211"/>
                  <a:gd name="T81" fmla="*/ 337 h 286"/>
                  <a:gd name="T82" fmla="*/ 164 w 211"/>
                  <a:gd name="T83" fmla="*/ 339 h 286"/>
                  <a:gd name="T84" fmla="*/ 176 w 211"/>
                  <a:gd name="T85" fmla="*/ 338 h 286"/>
                  <a:gd name="T86" fmla="*/ 188 w 211"/>
                  <a:gd name="T87" fmla="*/ 331 h 286"/>
                  <a:gd name="T88" fmla="*/ 203 w 211"/>
                  <a:gd name="T89" fmla="*/ 304 h 286"/>
                  <a:gd name="T90" fmla="*/ 193 w 211"/>
                  <a:gd name="T91" fmla="*/ 283 h 286"/>
                  <a:gd name="T92" fmla="*/ 171 w 211"/>
                  <a:gd name="T93" fmla="*/ 269 h 286"/>
                  <a:gd name="T94" fmla="*/ 182 w 211"/>
                  <a:gd name="T95" fmla="*/ 259 h 286"/>
                  <a:gd name="T96" fmla="*/ 188 w 211"/>
                  <a:gd name="T97" fmla="*/ 242 h 286"/>
                  <a:gd name="T98" fmla="*/ 188 w 211"/>
                  <a:gd name="T99" fmla="*/ 223 h 286"/>
                  <a:gd name="T100" fmla="*/ 196 w 211"/>
                  <a:gd name="T101" fmla="*/ 219 h 286"/>
                  <a:gd name="T102" fmla="*/ 201 w 211"/>
                  <a:gd name="T103" fmla="*/ 197 h 286"/>
                  <a:gd name="T104" fmla="*/ 209 w 211"/>
                  <a:gd name="T105" fmla="*/ 183 h 286"/>
                  <a:gd name="T106" fmla="*/ 218 w 211"/>
                  <a:gd name="T107" fmla="*/ 177 h 286"/>
                  <a:gd name="T108" fmla="*/ 221 w 211"/>
                  <a:gd name="T109" fmla="*/ 161 h 28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211"/>
                  <a:gd name="T166" fmla="*/ 0 h 286"/>
                  <a:gd name="T167" fmla="*/ 211 w 211"/>
                  <a:gd name="T168" fmla="*/ 286 h 286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211" h="286">
                    <a:moveTo>
                      <a:pt x="187" y="130"/>
                    </a:moveTo>
                    <a:cubicBezTo>
                      <a:pt x="186" y="128"/>
                      <a:pt x="185" y="127"/>
                      <a:pt x="185" y="125"/>
                    </a:cubicBezTo>
                    <a:cubicBezTo>
                      <a:pt x="184" y="122"/>
                      <a:pt x="183" y="118"/>
                      <a:pt x="184" y="115"/>
                    </a:cubicBezTo>
                    <a:cubicBezTo>
                      <a:pt x="184" y="113"/>
                      <a:pt x="187" y="112"/>
                      <a:pt x="187" y="109"/>
                    </a:cubicBezTo>
                    <a:cubicBezTo>
                      <a:pt x="189" y="106"/>
                      <a:pt x="190" y="103"/>
                      <a:pt x="190" y="100"/>
                    </a:cubicBezTo>
                    <a:cubicBezTo>
                      <a:pt x="189" y="99"/>
                      <a:pt x="187" y="98"/>
                      <a:pt x="187" y="96"/>
                    </a:cubicBezTo>
                    <a:cubicBezTo>
                      <a:pt x="187" y="95"/>
                      <a:pt x="189" y="93"/>
                      <a:pt x="189" y="92"/>
                    </a:cubicBezTo>
                    <a:cubicBezTo>
                      <a:pt x="190" y="90"/>
                      <a:pt x="189" y="88"/>
                      <a:pt x="190" y="87"/>
                    </a:cubicBezTo>
                    <a:cubicBezTo>
                      <a:pt x="191" y="86"/>
                      <a:pt x="193" y="88"/>
                      <a:pt x="195" y="87"/>
                    </a:cubicBezTo>
                    <a:cubicBezTo>
                      <a:pt x="197" y="86"/>
                      <a:pt x="196" y="82"/>
                      <a:pt x="197" y="81"/>
                    </a:cubicBezTo>
                    <a:cubicBezTo>
                      <a:pt x="198" y="80"/>
                      <a:pt x="199" y="83"/>
                      <a:pt x="201" y="83"/>
                    </a:cubicBezTo>
                    <a:cubicBezTo>
                      <a:pt x="202" y="82"/>
                      <a:pt x="203" y="80"/>
                      <a:pt x="205" y="80"/>
                    </a:cubicBezTo>
                    <a:cubicBezTo>
                      <a:pt x="207" y="79"/>
                      <a:pt x="209" y="78"/>
                      <a:pt x="211" y="77"/>
                    </a:cubicBezTo>
                    <a:cubicBezTo>
                      <a:pt x="208" y="75"/>
                      <a:pt x="205" y="74"/>
                      <a:pt x="203" y="72"/>
                    </a:cubicBezTo>
                    <a:cubicBezTo>
                      <a:pt x="203" y="71"/>
                      <a:pt x="204" y="69"/>
                      <a:pt x="203" y="69"/>
                    </a:cubicBezTo>
                    <a:cubicBezTo>
                      <a:pt x="202" y="67"/>
                      <a:pt x="198" y="66"/>
                      <a:pt x="197" y="64"/>
                    </a:cubicBezTo>
                    <a:cubicBezTo>
                      <a:pt x="195" y="62"/>
                      <a:pt x="193" y="60"/>
                      <a:pt x="192" y="57"/>
                    </a:cubicBezTo>
                    <a:cubicBezTo>
                      <a:pt x="191" y="52"/>
                      <a:pt x="191" y="47"/>
                      <a:pt x="191" y="43"/>
                    </a:cubicBezTo>
                    <a:cubicBezTo>
                      <a:pt x="191" y="38"/>
                      <a:pt x="192" y="34"/>
                      <a:pt x="191" y="30"/>
                    </a:cubicBezTo>
                    <a:cubicBezTo>
                      <a:pt x="191" y="27"/>
                      <a:pt x="187" y="25"/>
                      <a:pt x="187" y="22"/>
                    </a:cubicBezTo>
                    <a:cubicBezTo>
                      <a:pt x="186" y="19"/>
                      <a:pt x="189" y="17"/>
                      <a:pt x="188" y="15"/>
                    </a:cubicBezTo>
                    <a:cubicBezTo>
                      <a:pt x="186" y="11"/>
                      <a:pt x="183" y="8"/>
                      <a:pt x="179" y="5"/>
                    </a:cubicBezTo>
                    <a:cubicBezTo>
                      <a:pt x="178" y="5"/>
                      <a:pt x="176" y="6"/>
                      <a:pt x="175" y="5"/>
                    </a:cubicBezTo>
                    <a:cubicBezTo>
                      <a:pt x="174" y="4"/>
                      <a:pt x="173" y="2"/>
                      <a:pt x="171" y="0"/>
                    </a:cubicBezTo>
                    <a:cubicBezTo>
                      <a:pt x="170" y="2"/>
                      <a:pt x="168" y="4"/>
                      <a:pt x="166" y="6"/>
                    </a:cubicBezTo>
                    <a:cubicBezTo>
                      <a:pt x="164" y="7"/>
                      <a:pt x="162" y="5"/>
                      <a:pt x="160" y="6"/>
                    </a:cubicBezTo>
                    <a:cubicBezTo>
                      <a:pt x="159" y="7"/>
                      <a:pt x="159" y="9"/>
                      <a:pt x="158" y="11"/>
                    </a:cubicBezTo>
                    <a:cubicBezTo>
                      <a:pt x="156" y="12"/>
                      <a:pt x="154" y="11"/>
                      <a:pt x="153" y="13"/>
                    </a:cubicBezTo>
                    <a:cubicBezTo>
                      <a:pt x="152" y="15"/>
                      <a:pt x="153" y="17"/>
                      <a:pt x="152" y="19"/>
                    </a:cubicBezTo>
                    <a:cubicBezTo>
                      <a:pt x="151" y="21"/>
                      <a:pt x="148" y="23"/>
                      <a:pt x="146" y="22"/>
                    </a:cubicBezTo>
                    <a:cubicBezTo>
                      <a:pt x="144" y="21"/>
                      <a:pt x="145" y="16"/>
                      <a:pt x="142" y="16"/>
                    </a:cubicBezTo>
                    <a:cubicBezTo>
                      <a:pt x="107" y="14"/>
                      <a:pt x="73" y="16"/>
                      <a:pt x="38" y="16"/>
                    </a:cubicBezTo>
                    <a:lnTo>
                      <a:pt x="37" y="48"/>
                    </a:lnTo>
                    <a:lnTo>
                      <a:pt x="26" y="48"/>
                    </a:lnTo>
                    <a:lnTo>
                      <a:pt x="25" y="55"/>
                    </a:lnTo>
                    <a:cubicBezTo>
                      <a:pt x="25" y="73"/>
                      <a:pt x="27" y="91"/>
                      <a:pt x="25" y="108"/>
                    </a:cubicBezTo>
                    <a:cubicBezTo>
                      <a:pt x="25" y="110"/>
                      <a:pt x="21" y="107"/>
                      <a:pt x="19" y="108"/>
                    </a:cubicBezTo>
                    <a:cubicBezTo>
                      <a:pt x="17" y="108"/>
                      <a:pt x="15" y="109"/>
                      <a:pt x="14" y="111"/>
                    </a:cubicBezTo>
                    <a:cubicBezTo>
                      <a:pt x="13" y="112"/>
                      <a:pt x="16" y="114"/>
                      <a:pt x="15" y="116"/>
                    </a:cubicBezTo>
                    <a:cubicBezTo>
                      <a:pt x="14" y="119"/>
                      <a:pt x="12" y="121"/>
                      <a:pt x="10" y="123"/>
                    </a:cubicBezTo>
                    <a:cubicBezTo>
                      <a:pt x="9" y="124"/>
                      <a:pt x="6" y="125"/>
                      <a:pt x="7" y="126"/>
                    </a:cubicBezTo>
                    <a:cubicBezTo>
                      <a:pt x="7" y="128"/>
                      <a:pt x="11" y="130"/>
                      <a:pt x="10" y="132"/>
                    </a:cubicBezTo>
                    <a:cubicBezTo>
                      <a:pt x="10" y="134"/>
                      <a:pt x="5" y="133"/>
                      <a:pt x="5" y="135"/>
                    </a:cubicBezTo>
                    <a:cubicBezTo>
                      <a:pt x="4" y="138"/>
                      <a:pt x="7" y="141"/>
                      <a:pt x="6" y="144"/>
                    </a:cubicBezTo>
                    <a:cubicBezTo>
                      <a:pt x="6" y="147"/>
                      <a:pt x="2" y="148"/>
                      <a:pt x="1" y="150"/>
                    </a:cubicBezTo>
                    <a:cubicBezTo>
                      <a:pt x="0" y="151"/>
                      <a:pt x="0" y="154"/>
                      <a:pt x="1" y="155"/>
                    </a:cubicBezTo>
                    <a:cubicBezTo>
                      <a:pt x="3" y="156"/>
                      <a:pt x="6" y="152"/>
                      <a:pt x="8" y="153"/>
                    </a:cubicBezTo>
                    <a:cubicBezTo>
                      <a:pt x="10" y="156"/>
                      <a:pt x="8" y="160"/>
                      <a:pt x="9" y="163"/>
                    </a:cubicBezTo>
                    <a:cubicBezTo>
                      <a:pt x="10" y="164"/>
                      <a:pt x="12" y="163"/>
                      <a:pt x="12" y="164"/>
                    </a:cubicBezTo>
                    <a:cubicBezTo>
                      <a:pt x="12" y="165"/>
                      <a:pt x="9" y="166"/>
                      <a:pt x="9" y="168"/>
                    </a:cubicBezTo>
                    <a:cubicBezTo>
                      <a:pt x="10" y="171"/>
                      <a:pt x="13" y="172"/>
                      <a:pt x="14" y="174"/>
                    </a:cubicBezTo>
                    <a:cubicBezTo>
                      <a:pt x="15" y="175"/>
                      <a:pt x="14" y="177"/>
                      <a:pt x="13" y="178"/>
                    </a:cubicBezTo>
                    <a:cubicBezTo>
                      <a:pt x="15" y="180"/>
                      <a:pt x="18" y="182"/>
                      <a:pt x="19" y="184"/>
                    </a:cubicBezTo>
                    <a:cubicBezTo>
                      <a:pt x="22" y="187"/>
                      <a:pt x="24" y="191"/>
                      <a:pt x="25" y="195"/>
                    </a:cubicBezTo>
                    <a:cubicBezTo>
                      <a:pt x="26" y="197"/>
                      <a:pt x="25" y="200"/>
                      <a:pt x="25" y="202"/>
                    </a:cubicBezTo>
                    <a:cubicBezTo>
                      <a:pt x="24" y="204"/>
                      <a:pt x="21" y="205"/>
                      <a:pt x="21" y="206"/>
                    </a:cubicBezTo>
                    <a:cubicBezTo>
                      <a:pt x="21" y="208"/>
                      <a:pt x="23" y="210"/>
                      <a:pt x="25" y="211"/>
                    </a:cubicBezTo>
                    <a:cubicBezTo>
                      <a:pt x="27" y="212"/>
                      <a:pt x="30" y="209"/>
                      <a:pt x="32" y="211"/>
                    </a:cubicBezTo>
                    <a:cubicBezTo>
                      <a:pt x="34" y="212"/>
                      <a:pt x="30" y="214"/>
                      <a:pt x="31" y="216"/>
                    </a:cubicBezTo>
                    <a:cubicBezTo>
                      <a:pt x="34" y="218"/>
                      <a:pt x="38" y="216"/>
                      <a:pt x="41" y="218"/>
                    </a:cubicBezTo>
                    <a:cubicBezTo>
                      <a:pt x="42" y="219"/>
                      <a:pt x="41" y="222"/>
                      <a:pt x="42" y="223"/>
                    </a:cubicBezTo>
                    <a:cubicBezTo>
                      <a:pt x="43" y="224"/>
                      <a:pt x="45" y="222"/>
                      <a:pt x="46" y="223"/>
                    </a:cubicBezTo>
                    <a:cubicBezTo>
                      <a:pt x="47" y="224"/>
                      <a:pt x="45" y="227"/>
                      <a:pt x="45" y="228"/>
                    </a:cubicBezTo>
                    <a:cubicBezTo>
                      <a:pt x="46" y="230"/>
                      <a:pt x="48" y="232"/>
                      <a:pt x="50" y="234"/>
                    </a:cubicBezTo>
                    <a:cubicBezTo>
                      <a:pt x="52" y="235"/>
                      <a:pt x="54" y="233"/>
                      <a:pt x="55" y="234"/>
                    </a:cubicBezTo>
                    <a:cubicBezTo>
                      <a:pt x="57" y="238"/>
                      <a:pt x="61" y="240"/>
                      <a:pt x="62" y="242"/>
                    </a:cubicBezTo>
                    <a:cubicBezTo>
                      <a:pt x="63" y="243"/>
                      <a:pt x="59" y="243"/>
                      <a:pt x="59" y="244"/>
                    </a:cubicBezTo>
                    <a:cubicBezTo>
                      <a:pt x="61" y="247"/>
                      <a:pt x="64" y="247"/>
                      <a:pt x="66" y="249"/>
                    </a:cubicBezTo>
                    <a:cubicBezTo>
                      <a:pt x="67" y="249"/>
                      <a:pt x="69" y="250"/>
                      <a:pt x="70" y="251"/>
                    </a:cubicBezTo>
                    <a:cubicBezTo>
                      <a:pt x="71" y="253"/>
                      <a:pt x="73" y="255"/>
                      <a:pt x="73" y="258"/>
                    </a:cubicBezTo>
                    <a:cubicBezTo>
                      <a:pt x="73" y="260"/>
                      <a:pt x="72" y="262"/>
                      <a:pt x="72" y="265"/>
                    </a:cubicBezTo>
                    <a:cubicBezTo>
                      <a:pt x="74" y="266"/>
                      <a:pt x="76" y="268"/>
                      <a:pt x="78" y="269"/>
                    </a:cubicBezTo>
                    <a:cubicBezTo>
                      <a:pt x="80" y="270"/>
                      <a:pt x="83" y="272"/>
                      <a:pt x="85" y="272"/>
                    </a:cubicBezTo>
                    <a:cubicBezTo>
                      <a:pt x="87" y="272"/>
                      <a:pt x="88" y="270"/>
                      <a:pt x="89" y="270"/>
                    </a:cubicBezTo>
                    <a:cubicBezTo>
                      <a:pt x="91" y="269"/>
                      <a:pt x="93" y="270"/>
                      <a:pt x="95" y="270"/>
                    </a:cubicBezTo>
                    <a:cubicBezTo>
                      <a:pt x="97" y="269"/>
                      <a:pt x="97" y="267"/>
                      <a:pt x="99" y="267"/>
                    </a:cubicBezTo>
                    <a:cubicBezTo>
                      <a:pt x="102" y="269"/>
                      <a:pt x="105" y="273"/>
                      <a:pt x="107" y="277"/>
                    </a:cubicBezTo>
                    <a:cubicBezTo>
                      <a:pt x="109" y="278"/>
                      <a:pt x="109" y="281"/>
                      <a:pt x="111" y="283"/>
                    </a:cubicBezTo>
                    <a:cubicBezTo>
                      <a:pt x="112" y="284"/>
                      <a:pt x="113" y="285"/>
                      <a:pt x="114" y="286"/>
                    </a:cubicBezTo>
                    <a:cubicBezTo>
                      <a:pt x="115" y="285"/>
                      <a:pt x="115" y="283"/>
                      <a:pt x="117" y="283"/>
                    </a:cubicBezTo>
                    <a:cubicBezTo>
                      <a:pt x="119" y="282"/>
                      <a:pt x="122" y="283"/>
                      <a:pt x="124" y="283"/>
                    </a:cubicBezTo>
                    <a:cubicBezTo>
                      <a:pt x="126" y="282"/>
                      <a:pt x="127" y="279"/>
                      <a:pt x="129" y="280"/>
                    </a:cubicBezTo>
                    <a:cubicBezTo>
                      <a:pt x="131" y="280"/>
                      <a:pt x="130" y="284"/>
                      <a:pt x="132" y="284"/>
                    </a:cubicBezTo>
                    <a:cubicBezTo>
                      <a:pt x="133" y="285"/>
                      <a:pt x="134" y="282"/>
                      <a:pt x="136" y="282"/>
                    </a:cubicBezTo>
                    <a:cubicBezTo>
                      <a:pt x="138" y="280"/>
                      <a:pt x="140" y="279"/>
                      <a:pt x="143" y="279"/>
                    </a:cubicBezTo>
                    <a:cubicBezTo>
                      <a:pt x="144" y="279"/>
                      <a:pt x="145" y="281"/>
                      <a:pt x="146" y="281"/>
                    </a:cubicBezTo>
                    <a:cubicBezTo>
                      <a:pt x="148" y="281"/>
                      <a:pt x="150" y="282"/>
                      <a:pt x="151" y="281"/>
                    </a:cubicBezTo>
                    <a:cubicBezTo>
                      <a:pt x="154" y="280"/>
                      <a:pt x="155" y="277"/>
                      <a:pt x="156" y="275"/>
                    </a:cubicBezTo>
                    <a:lnTo>
                      <a:pt x="172" y="258"/>
                    </a:lnTo>
                    <a:cubicBezTo>
                      <a:pt x="171" y="256"/>
                      <a:pt x="169" y="255"/>
                      <a:pt x="169" y="253"/>
                    </a:cubicBezTo>
                    <a:cubicBezTo>
                      <a:pt x="167" y="250"/>
                      <a:pt x="168" y="246"/>
                      <a:pt x="166" y="243"/>
                    </a:cubicBezTo>
                    <a:cubicBezTo>
                      <a:pt x="165" y="240"/>
                      <a:pt x="162" y="238"/>
                      <a:pt x="160" y="235"/>
                    </a:cubicBezTo>
                    <a:cubicBezTo>
                      <a:pt x="157" y="232"/>
                      <a:pt x="156" y="227"/>
                      <a:pt x="152" y="225"/>
                    </a:cubicBezTo>
                    <a:cubicBezTo>
                      <a:pt x="149" y="223"/>
                      <a:pt x="145" y="226"/>
                      <a:pt x="142" y="224"/>
                    </a:cubicBezTo>
                    <a:cubicBezTo>
                      <a:pt x="140" y="222"/>
                      <a:pt x="141" y="218"/>
                      <a:pt x="143" y="216"/>
                    </a:cubicBezTo>
                    <a:cubicBezTo>
                      <a:pt x="145" y="214"/>
                      <a:pt x="149" y="216"/>
                      <a:pt x="151" y="215"/>
                    </a:cubicBezTo>
                    <a:cubicBezTo>
                      <a:pt x="153" y="215"/>
                      <a:pt x="156" y="215"/>
                      <a:pt x="156" y="214"/>
                    </a:cubicBezTo>
                    <a:cubicBezTo>
                      <a:pt x="158" y="210"/>
                      <a:pt x="155" y="205"/>
                      <a:pt x="156" y="201"/>
                    </a:cubicBezTo>
                    <a:cubicBezTo>
                      <a:pt x="156" y="197"/>
                      <a:pt x="158" y="193"/>
                      <a:pt x="158" y="189"/>
                    </a:cubicBezTo>
                    <a:cubicBezTo>
                      <a:pt x="158" y="188"/>
                      <a:pt x="156" y="187"/>
                      <a:pt x="156" y="185"/>
                    </a:cubicBezTo>
                    <a:cubicBezTo>
                      <a:pt x="156" y="183"/>
                      <a:pt x="157" y="182"/>
                      <a:pt x="159" y="181"/>
                    </a:cubicBezTo>
                    <a:cubicBezTo>
                      <a:pt x="160" y="181"/>
                      <a:pt x="161" y="182"/>
                      <a:pt x="163" y="182"/>
                    </a:cubicBezTo>
                    <a:cubicBezTo>
                      <a:pt x="164" y="182"/>
                      <a:pt x="166" y="183"/>
                      <a:pt x="166" y="182"/>
                    </a:cubicBezTo>
                    <a:cubicBezTo>
                      <a:pt x="167" y="176"/>
                      <a:pt x="165" y="170"/>
                      <a:pt x="167" y="164"/>
                    </a:cubicBezTo>
                    <a:cubicBezTo>
                      <a:pt x="167" y="162"/>
                      <a:pt x="170" y="162"/>
                      <a:pt x="171" y="161"/>
                    </a:cubicBezTo>
                    <a:cubicBezTo>
                      <a:pt x="172" y="158"/>
                      <a:pt x="172" y="154"/>
                      <a:pt x="174" y="152"/>
                    </a:cubicBezTo>
                    <a:cubicBezTo>
                      <a:pt x="176" y="150"/>
                      <a:pt x="179" y="151"/>
                      <a:pt x="181" y="150"/>
                    </a:cubicBezTo>
                    <a:cubicBezTo>
                      <a:pt x="182" y="149"/>
                      <a:pt x="180" y="148"/>
                      <a:pt x="181" y="147"/>
                    </a:cubicBezTo>
                    <a:cubicBezTo>
                      <a:pt x="182" y="144"/>
                      <a:pt x="184" y="142"/>
                      <a:pt x="184" y="140"/>
                    </a:cubicBezTo>
                    <a:cubicBezTo>
                      <a:pt x="185" y="138"/>
                      <a:pt x="183" y="136"/>
                      <a:pt x="184" y="134"/>
                    </a:cubicBezTo>
                    <a:cubicBezTo>
                      <a:pt x="184" y="132"/>
                      <a:pt x="186" y="131"/>
                      <a:pt x="187" y="130"/>
                    </a:cubicBez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 dirty="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5" name="Freeform 2580"/>
              <p:cNvSpPr>
                <a:spLocks noChangeAspect="1"/>
              </p:cNvSpPr>
              <p:nvPr/>
            </p:nvSpPr>
            <p:spPr bwMode="auto">
              <a:xfrm>
                <a:off x="6997356" y="1788648"/>
                <a:ext cx="806266" cy="717381"/>
              </a:xfrm>
              <a:custGeom>
                <a:avLst/>
                <a:gdLst>
                  <a:gd name="T0" fmla="*/ 239 w 199"/>
                  <a:gd name="T1" fmla="*/ 206 h 211"/>
                  <a:gd name="T2" fmla="*/ 238 w 199"/>
                  <a:gd name="T3" fmla="*/ 245 h 211"/>
                  <a:gd name="T4" fmla="*/ 225 w 199"/>
                  <a:gd name="T5" fmla="*/ 245 h 211"/>
                  <a:gd name="T6" fmla="*/ 223 w 199"/>
                  <a:gd name="T7" fmla="*/ 253 h 211"/>
                  <a:gd name="T8" fmla="*/ 98 w 199"/>
                  <a:gd name="T9" fmla="*/ 181 h 211"/>
                  <a:gd name="T10" fmla="*/ 89 w 199"/>
                  <a:gd name="T11" fmla="*/ 189 h 211"/>
                  <a:gd name="T12" fmla="*/ 72 w 199"/>
                  <a:gd name="T13" fmla="*/ 197 h 211"/>
                  <a:gd name="T14" fmla="*/ 65 w 199"/>
                  <a:gd name="T15" fmla="*/ 186 h 211"/>
                  <a:gd name="T16" fmla="*/ 50 w 199"/>
                  <a:gd name="T17" fmla="*/ 185 h 211"/>
                  <a:gd name="T18" fmla="*/ 42 w 199"/>
                  <a:gd name="T19" fmla="*/ 179 h 211"/>
                  <a:gd name="T20" fmla="*/ 34 w 199"/>
                  <a:gd name="T21" fmla="*/ 173 h 211"/>
                  <a:gd name="T22" fmla="*/ 37 w 199"/>
                  <a:gd name="T23" fmla="*/ 169 h 211"/>
                  <a:gd name="T24" fmla="*/ 25 w 199"/>
                  <a:gd name="T25" fmla="*/ 163 h 211"/>
                  <a:gd name="T26" fmla="*/ 16 w 199"/>
                  <a:gd name="T27" fmla="*/ 164 h 211"/>
                  <a:gd name="T28" fmla="*/ 14 w 199"/>
                  <a:gd name="T29" fmla="*/ 151 h 211"/>
                  <a:gd name="T30" fmla="*/ 4 w 199"/>
                  <a:gd name="T31" fmla="*/ 129 h 211"/>
                  <a:gd name="T32" fmla="*/ 12 w 199"/>
                  <a:gd name="T33" fmla="*/ 124 h 211"/>
                  <a:gd name="T34" fmla="*/ 8 w 199"/>
                  <a:gd name="T35" fmla="*/ 106 h 211"/>
                  <a:gd name="T36" fmla="*/ 10 w 199"/>
                  <a:gd name="T37" fmla="*/ 83 h 211"/>
                  <a:gd name="T38" fmla="*/ 0 w 199"/>
                  <a:gd name="T39" fmla="*/ 58 h 211"/>
                  <a:gd name="T40" fmla="*/ 4 w 199"/>
                  <a:gd name="T41" fmla="*/ 55 h 211"/>
                  <a:gd name="T42" fmla="*/ 12 w 199"/>
                  <a:gd name="T43" fmla="*/ 50 h 211"/>
                  <a:gd name="T44" fmla="*/ 14 w 199"/>
                  <a:gd name="T45" fmla="*/ 43 h 211"/>
                  <a:gd name="T46" fmla="*/ 12 w 199"/>
                  <a:gd name="T47" fmla="*/ 30 h 211"/>
                  <a:gd name="T48" fmla="*/ 18 w 199"/>
                  <a:gd name="T49" fmla="*/ 26 h 211"/>
                  <a:gd name="T50" fmla="*/ 25 w 199"/>
                  <a:gd name="T51" fmla="*/ 19 h 211"/>
                  <a:gd name="T52" fmla="*/ 35 w 199"/>
                  <a:gd name="T53" fmla="*/ 13 h 211"/>
                  <a:gd name="T54" fmla="*/ 32 w 199"/>
                  <a:gd name="T55" fmla="*/ 10 h 211"/>
                  <a:gd name="T56" fmla="*/ 34 w 199"/>
                  <a:gd name="T57" fmla="*/ 0 h 211"/>
                  <a:gd name="T58" fmla="*/ 41 w 199"/>
                  <a:gd name="T59" fmla="*/ 4 h 211"/>
                  <a:gd name="T60" fmla="*/ 58 w 199"/>
                  <a:gd name="T61" fmla="*/ 6 h 211"/>
                  <a:gd name="T62" fmla="*/ 73 w 199"/>
                  <a:gd name="T63" fmla="*/ 10 h 211"/>
                  <a:gd name="T64" fmla="*/ 86 w 199"/>
                  <a:gd name="T65" fmla="*/ 14 h 211"/>
                  <a:gd name="T66" fmla="*/ 92 w 199"/>
                  <a:gd name="T67" fmla="*/ 28 h 211"/>
                  <a:gd name="T68" fmla="*/ 101 w 199"/>
                  <a:gd name="T69" fmla="*/ 36 h 211"/>
                  <a:gd name="T70" fmla="*/ 113 w 199"/>
                  <a:gd name="T71" fmla="*/ 38 h 211"/>
                  <a:gd name="T72" fmla="*/ 131 w 199"/>
                  <a:gd name="T73" fmla="*/ 43 h 211"/>
                  <a:gd name="T74" fmla="*/ 142 w 199"/>
                  <a:gd name="T75" fmla="*/ 53 h 211"/>
                  <a:gd name="T76" fmla="*/ 153 w 199"/>
                  <a:gd name="T77" fmla="*/ 54 h 211"/>
                  <a:gd name="T78" fmla="*/ 159 w 199"/>
                  <a:gd name="T79" fmla="*/ 47 h 211"/>
                  <a:gd name="T80" fmla="*/ 162 w 199"/>
                  <a:gd name="T81" fmla="*/ 38 h 211"/>
                  <a:gd name="T82" fmla="*/ 160 w 199"/>
                  <a:gd name="T83" fmla="*/ 31 h 211"/>
                  <a:gd name="T84" fmla="*/ 160 w 199"/>
                  <a:gd name="T85" fmla="*/ 20 h 211"/>
                  <a:gd name="T86" fmla="*/ 166 w 199"/>
                  <a:gd name="T87" fmla="*/ 12 h 211"/>
                  <a:gd name="T88" fmla="*/ 179 w 199"/>
                  <a:gd name="T89" fmla="*/ 7 h 211"/>
                  <a:gd name="T90" fmla="*/ 189 w 199"/>
                  <a:gd name="T91" fmla="*/ 5 h 211"/>
                  <a:gd name="T92" fmla="*/ 198 w 199"/>
                  <a:gd name="T93" fmla="*/ 8 h 211"/>
                  <a:gd name="T94" fmla="*/ 204 w 199"/>
                  <a:gd name="T95" fmla="*/ 11 h 211"/>
                  <a:gd name="T96" fmla="*/ 209 w 199"/>
                  <a:gd name="T97" fmla="*/ 18 h 211"/>
                  <a:gd name="T98" fmla="*/ 222 w 199"/>
                  <a:gd name="T99" fmla="*/ 23 h 211"/>
                  <a:gd name="T100" fmla="*/ 231 w 199"/>
                  <a:gd name="T101" fmla="*/ 23 h 211"/>
                  <a:gd name="T102" fmla="*/ 235 w 199"/>
                  <a:gd name="T103" fmla="*/ 23 h 211"/>
                  <a:gd name="T104" fmla="*/ 238 w 199"/>
                  <a:gd name="T105" fmla="*/ 26 h 211"/>
                  <a:gd name="T106" fmla="*/ 234 w 199"/>
                  <a:gd name="T107" fmla="*/ 32 h 211"/>
                  <a:gd name="T108" fmla="*/ 234 w 199"/>
                  <a:gd name="T109" fmla="*/ 46 h 211"/>
                  <a:gd name="T110" fmla="*/ 231 w 199"/>
                  <a:gd name="T111" fmla="*/ 55 h 211"/>
                  <a:gd name="T112" fmla="*/ 235 w 199"/>
                  <a:gd name="T113" fmla="*/ 74 h 211"/>
                  <a:gd name="T114" fmla="*/ 239 w 199"/>
                  <a:gd name="T115" fmla="*/ 206 h 21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99"/>
                  <a:gd name="T175" fmla="*/ 0 h 211"/>
                  <a:gd name="T176" fmla="*/ 199 w 199"/>
                  <a:gd name="T177" fmla="*/ 211 h 211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99" h="211">
                    <a:moveTo>
                      <a:pt x="199" y="172"/>
                    </a:moveTo>
                    <a:lnTo>
                      <a:pt x="198" y="204"/>
                    </a:lnTo>
                    <a:lnTo>
                      <a:pt x="187" y="204"/>
                    </a:lnTo>
                    <a:lnTo>
                      <a:pt x="186" y="211"/>
                    </a:lnTo>
                    <a:lnTo>
                      <a:pt x="82" y="151"/>
                    </a:lnTo>
                    <a:lnTo>
                      <a:pt x="74" y="158"/>
                    </a:lnTo>
                    <a:cubicBezTo>
                      <a:pt x="69" y="160"/>
                      <a:pt x="65" y="163"/>
                      <a:pt x="60" y="164"/>
                    </a:cubicBezTo>
                    <a:cubicBezTo>
                      <a:pt x="59" y="162"/>
                      <a:pt x="58" y="157"/>
                      <a:pt x="54" y="155"/>
                    </a:cubicBezTo>
                    <a:cubicBezTo>
                      <a:pt x="51" y="153"/>
                      <a:pt x="46" y="156"/>
                      <a:pt x="42" y="154"/>
                    </a:cubicBezTo>
                    <a:cubicBezTo>
                      <a:pt x="39" y="154"/>
                      <a:pt x="37" y="151"/>
                      <a:pt x="35" y="149"/>
                    </a:cubicBezTo>
                    <a:cubicBezTo>
                      <a:pt x="33" y="148"/>
                      <a:pt x="29" y="147"/>
                      <a:pt x="28" y="144"/>
                    </a:cubicBezTo>
                    <a:cubicBezTo>
                      <a:pt x="28" y="143"/>
                      <a:pt x="32" y="142"/>
                      <a:pt x="31" y="141"/>
                    </a:cubicBezTo>
                    <a:cubicBezTo>
                      <a:pt x="29" y="138"/>
                      <a:pt x="25" y="137"/>
                      <a:pt x="21" y="136"/>
                    </a:cubicBezTo>
                    <a:cubicBezTo>
                      <a:pt x="19" y="136"/>
                      <a:pt x="15" y="139"/>
                      <a:pt x="13" y="137"/>
                    </a:cubicBezTo>
                    <a:cubicBezTo>
                      <a:pt x="11" y="134"/>
                      <a:pt x="13" y="129"/>
                      <a:pt x="12" y="126"/>
                    </a:cubicBezTo>
                    <a:cubicBezTo>
                      <a:pt x="10" y="120"/>
                      <a:pt x="3" y="115"/>
                      <a:pt x="3" y="108"/>
                    </a:cubicBezTo>
                    <a:cubicBezTo>
                      <a:pt x="2" y="105"/>
                      <a:pt x="9" y="106"/>
                      <a:pt x="10" y="103"/>
                    </a:cubicBezTo>
                    <a:cubicBezTo>
                      <a:pt x="11" y="98"/>
                      <a:pt x="7" y="93"/>
                      <a:pt x="7" y="88"/>
                    </a:cubicBezTo>
                    <a:cubicBezTo>
                      <a:pt x="6" y="82"/>
                      <a:pt x="9" y="75"/>
                      <a:pt x="8" y="69"/>
                    </a:cubicBezTo>
                    <a:cubicBezTo>
                      <a:pt x="7" y="62"/>
                      <a:pt x="2" y="55"/>
                      <a:pt x="0" y="48"/>
                    </a:cubicBezTo>
                    <a:cubicBezTo>
                      <a:pt x="0" y="46"/>
                      <a:pt x="2" y="46"/>
                      <a:pt x="3" y="46"/>
                    </a:cubicBezTo>
                    <a:cubicBezTo>
                      <a:pt x="5" y="45"/>
                      <a:pt x="8" y="44"/>
                      <a:pt x="10" y="42"/>
                    </a:cubicBezTo>
                    <a:cubicBezTo>
                      <a:pt x="11" y="40"/>
                      <a:pt x="12" y="38"/>
                      <a:pt x="12" y="36"/>
                    </a:cubicBezTo>
                    <a:cubicBezTo>
                      <a:pt x="12" y="32"/>
                      <a:pt x="10" y="29"/>
                      <a:pt x="10" y="25"/>
                    </a:cubicBezTo>
                    <a:cubicBezTo>
                      <a:pt x="11" y="23"/>
                      <a:pt x="14" y="24"/>
                      <a:pt x="15" y="22"/>
                    </a:cubicBezTo>
                    <a:cubicBezTo>
                      <a:pt x="17" y="21"/>
                      <a:pt x="19" y="18"/>
                      <a:pt x="21" y="16"/>
                    </a:cubicBezTo>
                    <a:cubicBezTo>
                      <a:pt x="23" y="14"/>
                      <a:pt x="27" y="13"/>
                      <a:pt x="29" y="11"/>
                    </a:cubicBezTo>
                    <a:cubicBezTo>
                      <a:pt x="30" y="10"/>
                      <a:pt x="27" y="9"/>
                      <a:pt x="27" y="8"/>
                    </a:cubicBezTo>
                    <a:cubicBezTo>
                      <a:pt x="26" y="5"/>
                      <a:pt x="27" y="2"/>
                      <a:pt x="28" y="0"/>
                    </a:cubicBezTo>
                    <a:cubicBezTo>
                      <a:pt x="30" y="1"/>
                      <a:pt x="32" y="3"/>
                      <a:pt x="34" y="3"/>
                    </a:cubicBezTo>
                    <a:cubicBezTo>
                      <a:pt x="39" y="4"/>
                      <a:pt x="44" y="4"/>
                      <a:pt x="48" y="5"/>
                    </a:cubicBezTo>
                    <a:cubicBezTo>
                      <a:pt x="53" y="5"/>
                      <a:pt x="57" y="6"/>
                      <a:pt x="61" y="8"/>
                    </a:cubicBezTo>
                    <a:cubicBezTo>
                      <a:pt x="65" y="9"/>
                      <a:pt x="69" y="10"/>
                      <a:pt x="72" y="12"/>
                    </a:cubicBezTo>
                    <a:cubicBezTo>
                      <a:pt x="75" y="15"/>
                      <a:pt x="75" y="20"/>
                      <a:pt x="77" y="23"/>
                    </a:cubicBezTo>
                    <a:cubicBezTo>
                      <a:pt x="79" y="26"/>
                      <a:pt x="81" y="29"/>
                      <a:pt x="84" y="30"/>
                    </a:cubicBezTo>
                    <a:cubicBezTo>
                      <a:pt x="87" y="32"/>
                      <a:pt x="91" y="31"/>
                      <a:pt x="94" y="32"/>
                    </a:cubicBezTo>
                    <a:cubicBezTo>
                      <a:pt x="99" y="33"/>
                      <a:pt x="104" y="34"/>
                      <a:pt x="109" y="36"/>
                    </a:cubicBezTo>
                    <a:cubicBezTo>
                      <a:pt x="112" y="38"/>
                      <a:pt x="114" y="43"/>
                      <a:pt x="118" y="44"/>
                    </a:cubicBezTo>
                    <a:cubicBezTo>
                      <a:pt x="121" y="46"/>
                      <a:pt x="124" y="46"/>
                      <a:pt x="127" y="45"/>
                    </a:cubicBezTo>
                    <a:cubicBezTo>
                      <a:pt x="129" y="44"/>
                      <a:pt x="131" y="41"/>
                      <a:pt x="132" y="39"/>
                    </a:cubicBezTo>
                    <a:cubicBezTo>
                      <a:pt x="134" y="37"/>
                      <a:pt x="135" y="35"/>
                      <a:pt x="135" y="32"/>
                    </a:cubicBezTo>
                    <a:cubicBezTo>
                      <a:pt x="135" y="30"/>
                      <a:pt x="133" y="28"/>
                      <a:pt x="133" y="26"/>
                    </a:cubicBezTo>
                    <a:cubicBezTo>
                      <a:pt x="132" y="23"/>
                      <a:pt x="132" y="20"/>
                      <a:pt x="133" y="17"/>
                    </a:cubicBezTo>
                    <a:cubicBezTo>
                      <a:pt x="133" y="14"/>
                      <a:pt x="136" y="12"/>
                      <a:pt x="138" y="10"/>
                    </a:cubicBezTo>
                    <a:cubicBezTo>
                      <a:pt x="141" y="8"/>
                      <a:pt x="145" y="7"/>
                      <a:pt x="149" y="6"/>
                    </a:cubicBezTo>
                    <a:cubicBezTo>
                      <a:pt x="152" y="5"/>
                      <a:pt x="154" y="4"/>
                      <a:pt x="157" y="4"/>
                    </a:cubicBezTo>
                    <a:cubicBezTo>
                      <a:pt x="160" y="4"/>
                      <a:pt x="162" y="6"/>
                      <a:pt x="165" y="7"/>
                    </a:cubicBezTo>
                    <a:cubicBezTo>
                      <a:pt x="166" y="8"/>
                      <a:pt x="169" y="7"/>
                      <a:pt x="170" y="9"/>
                    </a:cubicBezTo>
                    <a:cubicBezTo>
                      <a:pt x="172" y="10"/>
                      <a:pt x="172" y="13"/>
                      <a:pt x="174" y="15"/>
                    </a:cubicBezTo>
                    <a:cubicBezTo>
                      <a:pt x="177" y="17"/>
                      <a:pt x="181" y="18"/>
                      <a:pt x="185" y="19"/>
                    </a:cubicBezTo>
                    <a:cubicBezTo>
                      <a:pt x="187" y="19"/>
                      <a:pt x="190" y="19"/>
                      <a:pt x="192" y="19"/>
                    </a:cubicBezTo>
                    <a:cubicBezTo>
                      <a:pt x="193" y="19"/>
                      <a:pt x="195" y="18"/>
                      <a:pt x="196" y="19"/>
                    </a:cubicBezTo>
                    <a:cubicBezTo>
                      <a:pt x="197" y="20"/>
                      <a:pt x="197" y="21"/>
                      <a:pt x="198" y="22"/>
                    </a:cubicBezTo>
                    <a:cubicBezTo>
                      <a:pt x="197" y="23"/>
                      <a:pt x="195" y="25"/>
                      <a:pt x="195" y="27"/>
                    </a:cubicBezTo>
                    <a:cubicBezTo>
                      <a:pt x="194" y="31"/>
                      <a:pt x="196" y="35"/>
                      <a:pt x="195" y="38"/>
                    </a:cubicBezTo>
                    <a:cubicBezTo>
                      <a:pt x="195" y="41"/>
                      <a:pt x="192" y="43"/>
                      <a:pt x="192" y="46"/>
                    </a:cubicBezTo>
                    <a:cubicBezTo>
                      <a:pt x="192" y="51"/>
                      <a:pt x="195" y="56"/>
                      <a:pt x="196" y="62"/>
                    </a:cubicBezTo>
                    <a:cubicBezTo>
                      <a:pt x="198" y="99"/>
                      <a:pt x="198" y="136"/>
                      <a:pt x="199" y="172"/>
                    </a:cubicBez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6" name="Freeform 2604"/>
              <p:cNvSpPr>
                <a:spLocks noChangeAspect="1"/>
              </p:cNvSpPr>
              <p:nvPr/>
            </p:nvSpPr>
            <p:spPr bwMode="auto">
              <a:xfrm>
                <a:off x="7776636" y="1865207"/>
                <a:ext cx="580243" cy="533073"/>
              </a:xfrm>
              <a:custGeom>
                <a:avLst/>
                <a:gdLst>
                  <a:gd name="T0" fmla="*/ 167 w 144"/>
                  <a:gd name="T1" fmla="*/ 160 h 157"/>
                  <a:gd name="T2" fmla="*/ 165 w 144"/>
                  <a:gd name="T3" fmla="*/ 147 h 157"/>
                  <a:gd name="T4" fmla="*/ 171 w 144"/>
                  <a:gd name="T5" fmla="*/ 147 h 157"/>
                  <a:gd name="T6" fmla="*/ 161 w 144"/>
                  <a:gd name="T7" fmla="*/ 135 h 157"/>
                  <a:gd name="T8" fmla="*/ 150 w 144"/>
                  <a:gd name="T9" fmla="*/ 119 h 157"/>
                  <a:gd name="T10" fmla="*/ 141 w 144"/>
                  <a:gd name="T11" fmla="*/ 99 h 157"/>
                  <a:gd name="T12" fmla="*/ 136 w 144"/>
                  <a:gd name="T13" fmla="*/ 84 h 157"/>
                  <a:gd name="T14" fmla="*/ 131 w 144"/>
                  <a:gd name="T15" fmla="*/ 72 h 157"/>
                  <a:gd name="T16" fmla="*/ 119 w 144"/>
                  <a:gd name="T17" fmla="*/ 59 h 157"/>
                  <a:gd name="T18" fmla="*/ 113 w 144"/>
                  <a:gd name="T19" fmla="*/ 43 h 157"/>
                  <a:gd name="T20" fmla="*/ 115 w 144"/>
                  <a:gd name="T21" fmla="*/ 31 h 157"/>
                  <a:gd name="T22" fmla="*/ 110 w 144"/>
                  <a:gd name="T23" fmla="*/ 23 h 157"/>
                  <a:gd name="T24" fmla="*/ 111 w 144"/>
                  <a:gd name="T25" fmla="*/ 12 h 157"/>
                  <a:gd name="T26" fmla="*/ 104 w 144"/>
                  <a:gd name="T27" fmla="*/ 10 h 157"/>
                  <a:gd name="T28" fmla="*/ 96 w 144"/>
                  <a:gd name="T29" fmla="*/ 6 h 157"/>
                  <a:gd name="T30" fmla="*/ 91 w 144"/>
                  <a:gd name="T31" fmla="*/ 7 h 157"/>
                  <a:gd name="T32" fmla="*/ 84 w 144"/>
                  <a:gd name="T33" fmla="*/ 7 h 157"/>
                  <a:gd name="T34" fmla="*/ 78 w 144"/>
                  <a:gd name="T35" fmla="*/ 12 h 157"/>
                  <a:gd name="T36" fmla="*/ 67 w 144"/>
                  <a:gd name="T37" fmla="*/ 18 h 157"/>
                  <a:gd name="T38" fmla="*/ 56 w 144"/>
                  <a:gd name="T39" fmla="*/ 12 h 157"/>
                  <a:gd name="T40" fmla="*/ 47 w 144"/>
                  <a:gd name="T41" fmla="*/ 10 h 157"/>
                  <a:gd name="T42" fmla="*/ 37 w 144"/>
                  <a:gd name="T43" fmla="*/ 6 h 157"/>
                  <a:gd name="T44" fmla="*/ 24 w 144"/>
                  <a:gd name="T45" fmla="*/ 2 h 157"/>
                  <a:gd name="T46" fmla="*/ 13 w 144"/>
                  <a:gd name="T47" fmla="*/ 2 h 157"/>
                  <a:gd name="T48" fmla="*/ 7 w 144"/>
                  <a:gd name="T49" fmla="*/ 0 h 157"/>
                  <a:gd name="T50" fmla="*/ 4 w 144"/>
                  <a:gd name="T51" fmla="*/ 6 h 157"/>
                  <a:gd name="T52" fmla="*/ 4 w 144"/>
                  <a:gd name="T53" fmla="*/ 19 h 157"/>
                  <a:gd name="T54" fmla="*/ 0 w 144"/>
                  <a:gd name="T55" fmla="*/ 29 h 157"/>
                  <a:gd name="T56" fmla="*/ 5 w 144"/>
                  <a:gd name="T57" fmla="*/ 48 h 157"/>
                  <a:gd name="T58" fmla="*/ 8 w 144"/>
                  <a:gd name="T59" fmla="*/ 180 h 157"/>
                  <a:gd name="T60" fmla="*/ 133 w 144"/>
                  <a:gd name="T61" fmla="*/ 180 h 157"/>
                  <a:gd name="T62" fmla="*/ 137 w 144"/>
                  <a:gd name="T63" fmla="*/ 187 h 157"/>
                  <a:gd name="T64" fmla="*/ 145 w 144"/>
                  <a:gd name="T65" fmla="*/ 183 h 157"/>
                  <a:gd name="T66" fmla="*/ 146 w 144"/>
                  <a:gd name="T67" fmla="*/ 176 h 157"/>
                  <a:gd name="T68" fmla="*/ 152 w 144"/>
                  <a:gd name="T69" fmla="*/ 174 h 157"/>
                  <a:gd name="T70" fmla="*/ 154 w 144"/>
                  <a:gd name="T71" fmla="*/ 168 h 157"/>
                  <a:gd name="T72" fmla="*/ 161 w 144"/>
                  <a:gd name="T73" fmla="*/ 168 h 157"/>
                  <a:gd name="T74" fmla="*/ 167 w 144"/>
                  <a:gd name="T75" fmla="*/ 160 h 157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44"/>
                  <a:gd name="T115" fmla="*/ 0 h 157"/>
                  <a:gd name="T116" fmla="*/ 144 w 144"/>
                  <a:gd name="T117" fmla="*/ 157 h 157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44" h="157">
                    <a:moveTo>
                      <a:pt x="140" y="134"/>
                    </a:moveTo>
                    <a:cubicBezTo>
                      <a:pt x="140" y="131"/>
                      <a:pt x="137" y="126"/>
                      <a:pt x="138" y="123"/>
                    </a:cubicBezTo>
                    <a:cubicBezTo>
                      <a:pt x="138" y="121"/>
                      <a:pt x="144" y="124"/>
                      <a:pt x="143" y="123"/>
                    </a:cubicBezTo>
                    <a:cubicBezTo>
                      <a:pt x="142" y="118"/>
                      <a:pt x="137" y="117"/>
                      <a:pt x="135" y="113"/>
                    </a:cubicBezTo>
                    <a:cubicBezTo>
                      <a:pt x="132" y="109"/>
                      <a:pt x="129" y="104"/>
                      <a:pt x="126" y="99"/>
                    </a:cubicBezTo>
                    <a:cubicBezTo>
                      <a:pt x="123" y="94"/>
                      <a:pt x="121" y="89"/>
                      <a:pt x="118" y="83"/>
                    </a:cubicBezTo>
                    <a:cubicBezTo>
                      <a:pt x="116" y="79"/>
                      <a:pt x="115" y="74"/>
                      <a:pt x="114" y="70"/>
                    </a:cubicBezTo>
                    <a:cubicBezTo>
                      <a:pt x="113" y="66"/>
                      <a:pt x="112" y="63"/>
                      <a:pt x="110" y="60"/>
                    </a:cubicBezTo>
                    <a:cubicBezTo>
                      <a:pt x="108" y="56"/>
                      <a:pt x="103" y="53"/>
                      <a:pt x="100" y="49"/>
                    </a:cubicBezTo>
                    <a:cubicBezTo>
                      <a:pt x="98" y="45"/>
                      <a:pt x="96" y="41"/>
                      <a:pt x="95" y="36"/>
                    </a:cubicBezTo>
                    <a:cubicBezTo>
                      <a:pt x="94" y="33"/>
                      <a:pt x="96" y="30"/>
                      <a:pt x="96" y="26"/>
                    </a:cubicBezTo>
                    <a:cubicBezTo>
                      <a:pt x="95" y="24"/>
                      <a:pt x="93" y="22"/>
                      <a:pt x="92" y="19"/>
                    </a:cubicBezTo>
                    <a:cubicBezTo>
                      <a:pt x="92" y="16"/>
                      <a:pt x="95" y="13"/>
                      <a:pt x="93" y="10"/>
                    </a:cubicBezTo>
                    <a:cubicBezTo>
                      <a:pt x="92" y="8"/>
                      <a:pt x="89" y="9"/>
                      <a:pt x="87" y="8"/>
                    </a:cubicBezTo>
                    <a:cubicBezTo>
                      <a:pt x="84" y="7"/>
                      <a:pt x="82" y="5"/>
                      <a:pt x="80" y="5"/>
                    </a:cubicBezTo>
                    <a:cubicBezTo>
                      <a:pt x="78" y="5"/>
                      <a:pt x="77" y="6"/>
                      <a:pt x="76" y="6"/>
                    </a:cubicBezTo>
                    <a:cubicBezTo>
                      <a:pt x="74" y="7"/>
                      <a:pt x="72" y="5"/>
                      <a:pt x="70" y="6"/>
                    </a:cubicBezTo>
                    <a:cubicBezTo>
                      <a:pt x="68" y="6"/>
                      <a:pt x="67" y="9"/>
                      <a:pt x="65" y="10"/>
                    </a:cubicBezTo>
                    <a:cubicBezTo>
                      <a:pt x="62" y="12"/>
                      <a:pt x="59" y="15"/>
                      <a:pt x="56" y="15"/>
                    </a:cubicBezTo>
                    <a:cubicBezTo>
                      <a:pt x="53" y="15"/>
                      <a:pt x="50" y="11"/>
                      <a:pt x="47" y="10"/>
                    </a:cubicBezTo>
                    <a:cubicBezTo>
                      <a:pt x="45" y="9"/>
                      <a:pt x="42" y="9"/>
                      <a:pt x="39" y="8"/>
                    </a:cubicBezTo>
                    <a:cubicBezTo>
                      <a:pt x="36" y="7"/>
                      <a:pt x="34" y="6"/>
                      <a:pt x="31" y="5"/>
                    </a:cubicBezTo>
                    <a:cubicBezTo>
                      <a:pt x="28" y="4"/>
                      <a:pt x="24" y="2"/>
                      <a:pt x="20" y="2"/>
                    </a:cubicBezTo>
                    <a:cubicBezTo>
                      <a:pt x="17" y="1"/>
                      <a:pt x="14" y="3"/>
                      <a:pt x="11" y="2"/>
                    </a:cubicBezTo>
                    <a:cubicBezTo>
                      <a:pt x="9" y="2"/>
                      <a:pt x="7" y="1"/>
                      <a:pt x="6" y="0"/>
                    </a:cubicBezTo>
                    <a:cubicBezTo>
                      <a:pt x="5" y="1"/>
                      <a:pt x="3" y="3"/>
                      <a:pt x="3" y="5"/>
                    </a:cubicBezTo>
                    <a:cubicBezTo>
                      <a:pt x="2" y="9"/>
                      <a:pt x="4" y="13"/>
                      <a:pt x="3" y="16"/>
                    </a:cubicBezTo>
                    <a:cubicBezTo>
                      <a:pt x="3" y="19"/>
                      <a:pt x="0" y="21"/>
                      <a:pt x="0" y="24"/>
                    </a:cubicBezTo>
                    <a:cubicBezTo>
                      <a:pt x="0" y="29"/>
                      <a:pt x="3" y="34"/>
                      <a:pt x="4" y="40"/>
                    </a:cubicBezTo>
                    <a:cubicBezTo>
                      <a:pt x="6" y="77"/>
                      <a:pt x="6" y="113"/>
                      <a:pt x="7" y="150"/>
                    </a:cubicBezTo>
                    <a:cubicBezTo>
                      <a:pt x="42" y="150"/>
                      <a:pt x="76" y="148"/>
                      <a:pt x="111" y="150"/>
                    </a:cubicBezTo>
                    <a:cubicBezTo>
                      <a:pt x="114" y="150"/>
                      <a:pt x="113" y="155"/>
                      <a:pt x="115" y="156"/>
                    </a:cubicBezTo>
                    <a:cubicBezTo>
                      <a:pt x="117" y="157"/>
                      <a:pt x="120" y="155"/>
                      <a:pt x="121" y="153"/>
                    </a:cubicBezTo>
                    <a:cubicBezTo>
                      <a:pt x="122" y="151"/>
                      <a:pt x="121" y="149"/>
                      <a:pt x="122" y="147"/>
                    </a:cubicBezTo>
                    <a:cubicBezTo>
                      <a:pt x="123" y="145"/>
                      <a:pt x="125" y="146"/>
                      <a:pt x="127" y="145"/>
                    </a:cubicBezTo>
                    <a:cubicBezTo>
                      <a:pt x="128" y="143"/>
                      <a:pt x="128" y="141"/>
                      <a:pt x="129" y="140"/>
                    </a:cubicBezTo>
                    <a:cubicBezTo>
                      <a:pt x="131" y="139"/>
                      <a:pt x="133" y="141"/>
                      <a:pt x="135" y="140"/>
                    </a:cubicBezTo>
                    <a:cubicBezTo>
                      <a:pt x="137" y="138"/>
                      <a:pt x="139" y="136"/>
                      <a:pt x="140" y="134"/>
                    </a:cubicBez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7" name="Freeform 2611"/>
              <p:cNvSpPr>
                <a:spLocks noChangeAspect="1"/>
              </p:cNvSpPr>
              <p:nvPr/>
            </p:nvSpPr>
            <p:spPr bwMode="auto">
              <a:xfrm>
                <a:off x="8151094" y="1893562"/>
                <a:ext cx="141686" cy="181471"/>
              </a:xfrm>
              <a:custGeom>
                <a:avLst/>
                <a:gdLst>
                  <a:gd name="T0" fmla="*/ 42 w 35"/>
                  <a:gd name="T1" fmla="*/ 31 h 53"/>
                  <a:gd name="T2" fmla="*/ 37 w 35"/>
                  <a:gd name="T3" fmla="*/ 37 h 53"/>
                  <a:gd name="T4" fmla="*/ 37 w 35"/>
                  <a:gd name="T5" fmla="*/ 47 h 53"/>
                  <a:gd name="T6" fmla="*/ 34 w 35"/>
                  <a:gd name="T7" fmla="*/ 52 h 53"/>
                  <a:gd name="T8" fmla="*/ 35 w 35"/>
                  <a:gd name="T9" fmla="*/ 62 h 53"/>
                  <a:gd name="T10" fmla="*/ 34 w 35"/>
                  <a:gd name="T11" fmla="*/ 64 h 53"/>
                  <a:gd name="T12" fmla="*/ 23 w 35"/>
                  <a:gd name="T13" fmla="*/ 57 h 53"/>
                  <a:gd name="T14" fmla="*/ 20 w 35"/>
                  <a:gd name="T15" fmla="*/ 50 h 53"/>
                  <a:gd name="T16" fmla="*/ 8 w 35"/>
                  <a:gd name="T17" fmla="*/ 35 h 53"/>
                  <a:gd name="T18" fmla="*/ 8 w 35"/>
                  <a:gd name="T19" fmla="*/ 30 h 53"/>
                  <a:gd name="T20" fmla="*/ 5 w 35"/>
                  <a:gd name="T21" fmla="*/ 22 h 53"/>
                  <a:gd name="T22" fmla="*/ 1 w 35"/>
                  <a:gd name="T23" fmla="*/ 12 h 53"/>
                  <a:gd name="T24" fmla="*/ 2 w 35"/>
                  <a:gd name="T25" fmla="*/ 2 h 53"/>
                  <a:gd name="T26" fmla="*/ 11 w 35"/>
                  <a:gd name="T27" fmla="*/ 0 h 53"/>
                  <a:gd name="T28" fmla="*/ 20 w 35"/>
                  <a:gd name="T29" fmla="*/ 2 h 53"/>
                  <a:gd name="T30" fmla="*/ 29 w 35"/>
                  <a:gd name="T31" fmla="*/ 1 h 53"/>
                  <a:gd name="T32" fmla="*/ 42 w 35"/>
                  <a:gd name="T33" fmla="*/ 31 h 5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35"/>
                  <a:gd name="T52" fmla="*/ 0 h 53"/>
                  <a:gd name="T53" fmla="*/ 35 w 35"/>
                  <a:gd name="T54" fmla="*/ 53 h 5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35" h="53">
                    <a:moveTo>
                      <a:pt x="35" y="26"/>
                    </a:moveTo>
                    <a:cubicBezTo>
                      <a:pt x="33" y="27"/>
                      <a:pt x="31" y="29"/>
                      <a:pt x="31" y="31"/>
                    </a:cubicBezTo>
                    <a:cubicBezTo>
                      <a:pt x="30" y="34"/>
                      <a:pt x="32" y="36"/>
                      <a:pt x="31" y="39"/>
                    </a:cubicBezTo>
                    <a:cubicBezTo>
                      <a:pt x="31" y="40"/>
                      <a:pt x="28" y="41"/>
                      <a:pt x="28" y="43"/>
                    </a:cubicBezTo>
                    <a:cubicBezTo>
                      <a:pt x="28" y="46"/>
                      <a:pt x="29" y="48"/>
                      <a:pt x="29" y="51"/>
                    </a:cubicBezTo>
                    <a:cubicBezTo>
                      <a:pt x="29" y="52"/>
                      <a:pt x="29" y="53"/>
                      <a:pt x="28" y="53"/>
                    </a:cubicBezTo>
                    <a:cubicBezTo>
                      <a:pt x="25" y="52"/>
                      <a:pt x="21" y="50"/>
                      <a:pt x="19" y="47"/>
                    </a:cubicBezTo>
                    <a:cubicBezTo>
                      <a:pt x="17" y="46"/>
                      <a:pt x="18" y="43"/>
                      <a:pt x="17" y="41"/>
                    </a:cubicBezTo>
                    <a:cubicBezTo>
                      <a:pt x="14" y="37"/>
                      <a:pt x="10" y="33"/>
                      <a:pt x="7" y="29"/>
                    </a:cubicBezTo>
                    <a:cubicBezTo>
                      <a:pt x="6" y="28"/>
                      <a:pt x="7" y="26"/>
                      <a:pt x="7" y="25"/>
                    </a:cubicBezTo>
                    <a:cubicBezTo>
                      <a:pt x="6" y="23"/>
                      <a:pt x="5" y="20"/>
                      <a:pt x="4" y="18"/>
                    </a:cubicBezTo>
                    <a:cubicBezTo>
                      <a:pt x="3" y="15"/>
                      <a:pt x="1" y="13"/>
                      <a:pt x="1" y="10"/>
                    </a:cubicBezTo>
                    <a:cubicBezTo>
                      <a:pt x="1" y="7"/>
                      <a:pt x="0" y="4"/>
                      <a:pt x="2" y="2"/>
                    </a:cubicBezTo>
                    <a:cubicBezTo>
                      <a:pt x="4" y="0"/>
                      <a:pt x="7" y="0"/>
                      <a:pt x="9" y="0"/>
                    </a:cubicBezTo>
                    <a:cubicBezTo>
                      <a:pt x="12" y="0"/>
                      <a:pt x="15" y="2"/>
                      <a:pt x="17" y="2"/>
                    </a:cubicBezTo>
                    <a:cubicBezTo>
                      <a:pt x="20" y="2"/>
                      <a:pt x="22" y="1"/>
                      <a:pt x="24" y="1"/>
                    </a:cubicBezTo>
                    <a:lnTo>
                      <a:pt x="35" y="26"/>
                    </a:lnTo>
                    <a:close/>
                  </a:path>
                </a:pathLst>
              </a:custGeom>
              <a:solidFill>
                <a:srgbClr val="66CCFF"/>
              </a:solidFill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8" name="Freeform 2659"/>
              <p:cNvSpPr>
                <a:spLocks noChangeAspect="1"/>
              </p:cNvSpPr>
              <p:nvPr/>
            </p:nvSpPr>
            <p:spPr bwMode="auto">
              <a:xfrm>
                <a:off x="8614286" y="2883431"/>
                <a:ext cx="526266" cy="666342"/>
              </a:xfrm>
              <a:custGeom>
                <a:avLst/>
                <a:gdLst>
                  <a:gd name="T0" fmla="*/ 11 w 130"/>
                  <a:gd name="T1" fmla="*/ 139 h 196"/>
                  <a:gd name="T2" fmla="*/ 7 w 130"/>
                  <a:gd name="T3" fmla="*/ 150 h 196"/>
                  <a:gd name="T4" fmla="*/ 0 w 130"/>
                  <a:gd name="T5" fmla="*/ 158 h 196"/>
                  <a:gd name="T6" fmla="*/ 0 w 130"/>
                  <a:gd name="T7" fmla="*/ 223 h 196"/>
                  <a:gd name="T8" fmla="*/ 10 w 130"/>
                  <a:gd name="T9" fmla="*/ 235 h 196"/>
                  <a:gd name="T10" fmla="*/ 16 w 130"/>
                  <a:gd name="T11" fmla="*/ 221 h 196"/>
                  <a:gd name="T12" fmla="*/ 31 w 130"/>
                  <a:gd name="T13" fmla="*/ 205 h 196"/>
                  <a:gd name="T14" fmla="*/ 46 w 130"/>
                  <a:gd name="T15" fmla="*/ 189 h 196"/>
                  <a:gd name="T16" fmla="*/ 52 w 130"/>
                  <a:gd name="T17" fmla="*/ 186 h 196"/>
                  <a:gd name="T18" fmla="*/ 56 w 130"/>
                  <a:gd name="T19" fmla="*/ 179 h 196"/>
                  <a:gd name="T20" fmla="*/ 70 w 130"/>
                  <a:gd name="T21" fmla="*/ 171 h 196"/>
                  <a:gd name="T22" fmla="*/ 79 w 130"/>
                  <a:gd name="T23" fmla="*/ 167 h 196"/>
                  <a:gd name="T24" fmla="*/ 90 w 130"/>
                  <a:gd name="T25" fmla="*/ 153 h 196"/>
                  <a:gd name="T26" fmla="*/ 101 w 130"/>
                  <a:gd name="T27" fmla="*/ 139 h 196"/>
                  <a:gd name="T28" fmla="*/ 110 w 130"/>
                  <a:gd name="T29" fmla="*/ 122 h 196"/>
                  <a:gd name="T30" fmla="*/ 125 w 130"/>
                  <a:gd name="T31" fmla="*/ 101 h 196"/>
                  <a:gd name="T32" fmla="*/ 124 w 130"/>
                  <a:gd name="T33" fmla="*/ 96 h 196"/>
                  <a:gd name="T34" fmla="*/ 136 w 130"/>
                  <a:gd name="T35" fmla="*/ 76 h 196"/>
                  <a:gd name="T36" fmla="*/ 134 w 130"/>
                  <a:gd name="T37" fmla="*/ 71 h 196"/>
                  <a:gd name="T38" fmla="*/ 140 w 130"/>
                  <a:gd name="T39" fmla="*/ 66 h 196"/>
                  <a:gd name="T40" fmla="*/ 145 w 130"/>
                  <a:gd name="T41" fmla="*/ 54 h 196"/>
                  <a:gd name="T42" fmla="*/ 150 w 130"/>
                  <a:gd name="T43" fmla="*/ 43 h 196"/>
                  <a:gd name="T44" fmla="*/ 150 w 130"/>
                  <a:gd name="T45" fmla="*/ 30 h 196"/>
                  <a:gd name="T46" fmla="*/ 154 w 130"/>
                  <a:gd name="T47" fmla="*/ 23 h 196"/>
                  <a:gd name="T48" fmla="*/ 152 w 130"/>
                  <a:gd name="T49" fmla="*/ 12 h 196"/>
                  <a:gd name="T50" fmla="*/ 155 w 130"/>
                  <a:gd name="T51" fmla="*/ 2 h 196"/>
                  <a:gd name="T52" fmla="*/ 148 w 130"/>
                  <a:gd name="T53" fmla="*/ 0 h 196"/>
                  <a:gd name="T54" fmla="*/ 144 w 130"/>
                  <a:gd name="T55" fmla="*/ 1 h 196"/>
                  <a:gd name="T56" fmla="*/ 139 w 130"/>
                  <a:gd name="T57" fmla="*/ 6 h 196"/>
                  <a:gd name="T58" fmla="*/ 127 w 130"/>
                  <a:gd name="T59" fmla="*/ 10 h 196"/>
                  <a:gd name="T60" fmla="*/ 120 w 130"/>
                  <a:gd name="T61" fmla="*/ 13 h 196"/>
                  <a:gd name="T62" fmla="*/ 113 w 130"/>
                  <a:gd name="T63" fmla="*/ 11 h 196"/>
                  <a:gd name="T64" fmla="*/ 107 w 130"/>
                  <a:gd name="T65" fmla="*/ 14 h 196"/>
                  <a:gd name="T66" fmla="*/ 96 w 130"/>
                  <a:gd name="T67" fmla="*/ 14 h 196"/>
                  <a:gd name="T68" fmla="*/ 88 w 130"/>
                  <a:gd name="T69" fmla="*/ 19 h 196"/>
                  <a:gd name="T70" fmla="*/ 77 w 130"/>
                  <a:gd name="T71" fmla="*/ 23 h 196"/>
                  <a:gd name="T72" fmla="*/ 71 w 130"/>
                  <a:gd name="T73" fmla="*/ 22 h 196"/>
                  <a:gd name="T74" fmla="*/ 59 w 130"/>
                  <a:gd name="T75" fmla="*/ 26 h 196"/>
                  <a:gd name="T76" fmla="*/ 47 w 130"/>
                  <a:gd name="T77" fmla="*/ 25 h 196"/>
                  <a:gd name="T78" fmla="*/ 41 w 130"/>
                  <a:gd name="T79" fmla="*/ 19 h 196"/>
                  <a:gd name="T80" fmla="*/ 41 w 130"/>
                  <a:gd name="T81" fmla="*/ 14 h 196"/>
                  <a:gd name="T82" fmla="*/ 35 w 130"/>
                  <a:gd name="T83" fmla="*/ 12 h 196"/>
                  <a:gd name="T84" fmla="*/ 31 w 130"/>
                  <a:gd name="T85" fmla="*/ 14 h 196"/>
                  <a:gd name="T86" fmla="*/ 28 w 130"/>
                  <a:gd name="T87" fmla="*/ 17 h 196"/>
                  <a:gd name="T88" fmla="*/ 22 w 130"/>
                  <a:gd name="T89" fmla="*/ 28 h 196"/>
                  <a:gd name="T90" fmla="*/ 31 w 130"/>
                  <a:gd name="T91" fmla="*/ 37 h 196"/>
                  <a:gd name="T92" fmla="*/ 34 w 130"/>
                  <a:gd name="T93" fmla="*/ 43 h 196"/>
                  <a:gd name="T94" fmla="*/ 41 w 130"/>
                  <a:gd name="T95" fmla="*/ 50 h 196"/>
                  <a:gd name="T96" fmla="*/ 90 w 130"/>
                  <a:gd name="T97" fmla="*/ 70 h 196"/>
                  <a:gd name="T98" fmla="*/ 104 w 130"/>
                  <a:gd name="T99" fmla="*/ 67 h 196"/>
                  <a:gd name="T100" fmla="*/ 60 w 130"/>
                  <a:gd name="T101" fmla="*/ 121 h 196"/>
                  <a:gd name="T102" fmla="*/ 43 w 130"/>
                  <a:gd name="T103" fmla="*/ 122 h 196"/>
                  <a:gd name="T104" fmla="*/ 26 w 130"/>
                  <a:gd name="T105" fmla="*/ 129 h 196"/>
                  <a:gd name="T106" fmla="*/ 11 w 130"/>
                  <a:gd name="T107" fmla="*/ 139 h 19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30"/>
                  <a:gd name="T163" fmla="*/ 0 h 196"/>
                  <a:gd name="T164" fmla="*/ 130 w 130"/>
                  <a:gd name="T165" fmla="*/ 196 h 196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30" h="196">
                    <a:moveTo>
                      <a:pt x="9" y="116"/>
                    </a:moveTo>
                    <a:cubicBezTo>
                      <a:pt x="8" y="119"/>
                      <a:pt x="9" y="123"/>
                      <a:pt x="6" y="125"/>
                    </a:cubicBezTo>
                    <a:lnTo>
                      <a:pt x="0" y="132"/>
                    </a:lnTo>
                    <a:lnTo>
                      <a:pt x="0" y="186"/>
                    </a:lnTo>
                    <a:lnTo>
                      <a:pt x="8" y="196"/>
                    </a:lnTo>
                    <a:cubicBezTo>
                      <a:pt x="9" y="192"/>
                      <a:pt x="11" y="188"/>
                      <a:pt x="13" y="184"/>
                    </a:cubicBezTo>
                    <a:cubicBezTo>
                      <a:pt x="17" y="179"/>
                      <a:pt x="21" y="175"/>
                      <a:pt x="26" y="171"/>
                    </a:cubicBezTo>
                    <a:cubicBezTo>
                      <a:pt x="30" y="166"/>
                      <a:pt x="34" y="162"/>
                      <a:pt x="38" y="158"/>
                    </a:cubicBezTo>
                    <a:cubicBezTo>
                      <a:pt x="39" y="157"/>
                      <a:pt x="41" y="156"/>
                      <a:pt x="43" y="155"/>
                    </a:cubicBezTo>
                    <a:cubicBezTo>
                      <a:pt x="45" y="153"/>
                      <a:pt x="46" y="150"/>
                      <a:pt x="47" y="149"/>
                    </a:cubicBezTo>
                    <a:cubicBezTo>
                      <a:pt x="51" y="146"/>
                      <a:pt x="54" y="145"/>
                      <a:pt x="58" y="143"/>
                    </a:cubicBezTo>
                    <a:cubicBezTo>
                      <a:pt x="61" y="141"/>
                      <a:pt x="64" y="141"/>
                      <a:pt x="66" y="139"/>
                    </a:cubicBezTo>
                    <a:cubicBezTo>
                      <a:pt x="70" y="136"/>
                      <a:pt x="72" y="132"/>
                      <a:pt x="75" y="128"/>
                    </a:cubicBezTo>
                    <a:cubicBezTo>
                      <a:pt x="78" y="124"/>
                      <a:pt x="81" y="120"/>
                      <a:pt x="84" y="116"/>
                    </a:cubicBezTo>
                    <a:cubicBezTo>
                      <a:pt x="87" y="111"/>
                      <a:pt x="90" y="106"/>
                      <a:pt x="92" y="102"/>
                    </a:cubicBezTo>
                    <a:cubicBezTo>
                      <a:pt x="96" y="96"/>
                      <a:pt x="100" y="90"/>
                      <a:pt x="104" y="84"/>
                    </a:cubicBezTo>
                    <a:cubicBezTo>
                      <a:pt x="104" y="83"/>
                      <a:pt x="103" y="81"/>
                      <a:pt x="103" y="80"/>
                    </a:cubicBezTo>
                    <a:cubicBezTo>
                      <a:pt x="106" y="74"/>
                      <a:pt x="110" y="69"/>
                      <a:pt x="113" y="63"/>
                    </a:cubicBezTo>
                    <a:cubicBezTo>
                      <a:pt x="113" y="62"/>
                      <a:pt x="112" y="60"/>
                      <a:pt x="112" y="59"/>
                    </a:cubicBezTo>
                    <a:cubicBezTo>
                      <a:pt x="113" y="58"/>
                      <a:pt x="116" y="57"/>
                      <a:pt x="117" y="55"/>
                    </a:cubicBezTo>
                    <a:cubicBezTo>
                      <a:pt x="119" y="52"/>
                      <a:pt x="120" y="48"/>
                      <a:pt x="121" y="45"/>
                    </a:cubicBezTo>
                    <a:cubicBezTo>
                      <a:pt x="122" y="42"/>
                      <a:pt x="124" y="39"/>
                      <a:pt x="125" y="36"/>
                    </a:cubicBezTo>
                    <a:cubicBezTo>
                      <a:pt x="125" y="32"/>
                      <a:pt x="124" y="28"/>
                      <a:pt x="125" y="25"/>
                    </a:cubicBezTo>
                    <a:cubicBezTo>
                      <a:pt x="125" y="23"/>
                      <a:pt x="128" y="21"/>
                      <a:pt x="128" y="19"/>
                    </a:cubicBezTo>
                    <a:cubicBezTo>
                      <a:pt x="128" y="16"/>
                      <a:pt x="127" y="13"/>
                      <a:pt x="127" y="10"/>
                    </a:cubicBezTo>
                    <a:cubicBezTo>
                      <a:pt x="127" y="7"/>
                      <a:pt x="130" y="5"/>
                      <a:pt x="129" y="2"/>
                    </a:cubicBezTo>
                    <a:cubicBezTo>
                      <a:pt x="128" y="0"/>
                      <a:pt x="125" y="0"/>
                      <a:pt x="123" y="0"/>
                    </a:cubicBezTo>
                    <a:cubicBezTo>
                      <a:pt x="121" y="0"/>
                      <a:pt x="120" y="1"/>
                      <a:pt x="120" y="1"/>
                    </a:cubicBezTo>
                    <a:cubicBezTo>
                      <a:pt x="118" y="2"/>
                      <a:pt x="117" y="4"/>
                      <a:pt x="116" y="5"/>
                    </a:cubicBezTo>
                    <a:cubicBezTo>
                      <a:pt x="113" y="7"/>
                      <a:pt x="109" y="7"/>
                      <a:pt x="106" y="8"/>
                    </a:cubicBezTo>
                    <a:cubicBezTo>
                      <a:pt x="104" y="9"/>
                      <a:pt x="103" y="10"/>
                      <a:pt x="100" y="11"/>
                    </a:cubicBezTo>
                    <a:cubicBezTo>
                      <a:pt x="98" y="11"/>
                      <a:pt x="96" y="9"/>
                      <a:pt x="94" y="9"/>
                    </a:cubicBezTo>
                    <a:cubicBezTo>
                      <a:pt x="92" y="9"/>
                      <a:pt x="91" y="12"/>
                      <a:pt x="89" y="12"/>
                    </a:cubicBezTo>
                    <a:cubicBezTo>
                      <a:pt x="86" y="13"/>
                      <a:pt x="83" y="11"/>
                      <a:pt x="80" y="12"/>
                    </a:cubicBezTo>
                    <a:cubicBezTo>
                      <a:pt x="77" y="13"/>
                      <a:pt x="75" y="15"/>
                      <a:pt x="73" y="16"/>
                    </a:cubicBezTo>
                    <a:cubicBezTo>
                      <a:pt x="70" y="18"/>
                      <a:pt x="67" y="19"/>
                      <a:pt x="64" y="19"/>
                    </a:cubicBezTo>
                    <a:cubicBezTo>
                      <a:pt x="63" y="19"/>
                      <a:pt x="61" y="18"/>
                      <a:pt x="59" y="18"/>
                    </a:cubicBezTo>
                    <a:cubicBezTo>
                      <a:pt x="56" y="19"/>
                      <a:pt x="53" y="22"/>
                      <a:pt x="49" y="22"/>
                    </a:cubicBezTo>
                    <a:cubicBezTo>
                      <a:pt x="46" y="23"/>
                      <a:pt x="42" y="22"/>
                      <a:pt x="39" y="21"/>
                    </a:cubicBezTo>
                    <a:cubicBezTo>
                      <a:pt x="37" y="20"/>
                      <a:pt x="35" y="18"/>
                      <a:pt x="34" y="16"/>
                    </a:cubicBezTo>
                    <a:cubicBezTo>
                      <a:pt x="33" y="15"/>
                      <a:pt x="35" y="13"/>
                      <a:pt x="34" y="12"/>
                    </a:cubicBezTo>
                    <a:cubicBezTo>
                      <a:pt x="32" y="11"/>
                      <a:pt x="31" y="11"/>
                      <a:pt x="29" y="10"/>
                    </a:cubicBezTo>
                    <a:cubicBezTo>
                      <a:pt x="28" y="11"/>
                      <a:pt x="27" y="11"/>
                      <a:pt x="26" y="12"/>
                    </a:cubicBezTo>
                    <a:cubicBezTo>
                      <a:pt x="25" y="13"/>
                      <a:pt x="24" y="14"/>
                      <a:pt x="23" y="14"/>
                    </a:cubicBezTo>
                    <a:cubicBezTo>
                      <a:pt x="21" y="17"/>
                      <a:pt x="17" y="20"/>
                      <a:pt x="18" y="23"/>
                    </a:cubicBezTo>
                    <a:cubicBezTo>
                      <a:pt x="19" y="27"/>
                      <a:pt x="24" y="28"/>
                      <a:pt x="26" y="31"/>
                    </a:cubicBezTo>
                    <a:cubicBezTo>
                      <a:pt x="27" y="32"/>
                      <a:pt x="27" y="34"/>
                      <a:pt x="28" y="36"/>
                    </a:cubicBezTo>
                    <a:cubicBezTo>
                      <a:pt x="30" y="38"/>
                      <a:pt x="31" y="41"/>
                      <a:pt x="34" y="42"/>
                    </a:cubicBezTo>
                    <a:lnTo>
                      <a:pt x="75" y="58"/>
                    </a:lnTo>
                    <a:cubicBezTo>
                      <a:pt x="79" y="59"/>
                      <a:pt x="90" y="53"/>
                      <a:pt x="87" y="56"/>
                    </a:cubicBezTo>
                    <a:lnTo>
                      <a:pt x="50" y="101"/>
                    </a:lnTo>
                    <a:cubicBezTo>
                      <a:pt x="47" y="105"/>
                      <a:pt x="40" y="101"/>
                      <a:pt x="36" y="102"/>
                    </a:cubicBezTo>
                    <a:cubicBezTo>
                      <a:pt x="31" y="103"/>
                      <a:pt x="27" y="106"/>
                      <a:pt x="22" y="108"/>
                    </a:cubicBezTo>
                    <a:cubicBezTo>
                      <a:pt x="18" y="110"/>
                      <a:pt x="13" y="114"/>
                      <a:pt x="9" y="116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49" name="Freeform 2660"/>
              <p:cNvSpPr>
                <a:spLocks noChangeAspect="1"/>
              </p:cNvSpPr>
              <p:nvPr/>
            </p:nvSpPr>
            <p:spPr bwMode="auto">
              <a:xfrm>
                <a:off x="7904829" y="4902018"/>
                <a:ext cx="121445" cy="110586"/>
              </a:xfrm>
              <a:custGeom>
                <a:avLst/>
                <a:gdLst>
                  <a:gd name="T0" fmla="*/ 23 w 30"/>
                  <a:gd name="T1" fmla="*/ 0 h 32"/>
                  <a:gd name="T2" fmla="*/ 35 w 30"/>
                  <a:gd name="T3" fmla="*/ 11 h 32"/>
                  <a:gd name="T4" fmla="*/ 35 w 30"/>
                  <a:gd name="T5" fmla="*/ 18 h 32"/>
                  <a:gd name="T6" fmla="*/ 29 w 30"/>
                  <a:gd name="T7" fmla="*/ 28 h 32"/>
                  <a:gd name="T8" fmla="*/ 25 w 30"/>
                  <a:gd name="T9" fmla="*/ 29 h 32"/>
                  <a:gd name="T10" fmla="*/ 19 w 30"/>
                  <a:gd name="T11" fmla="*/ 29 h 32"/>
                  <a:gd name="T12" fmla="*/ 14 w 30"/>
                  <a:gd name="T13" fmla="*/ 38 h 32"/>
                  <a:gd name="T14" fmla="*/ 10 w 30"/>
                  <a:gd name="T15" fmla="*/ 38 h 32"/>
                  <a:gd name="T16" fmla="*/ 5 w 30"/>
                  <a:gd name="T17" fmla="*/ 32 h 32"/>
                  <a:gd name="T18" fmla="*/ 1 w 30"/>
                  <a:gd name="T19" fmla="*/ 26 h 32"/>
                  <a:gd name="T20" fmla="*/ 1 w 30"/>
                  <a:gd name="T21" fmla="*/ 18 h 32"/>
                  <a:gd name="T22" fmla="*/ 7 w 30"/>
                  <a:gd name="T23" fmla="*/ 15 h 32"/>
                  <a:gd name="T24" fmla="*/ 13 w 30"/>
                  <a:gd name="T25" fmla="*/ 6 h 32"/>
                  <a:gd name="T26" fmla="*/ 19 w 30"/>
                  <a:gd name="T27" fmla="*/ 4 h 32"/>
                  <a:gd name="T28" fmla="*/ 23 w 30"/>
                  <a:gd name="T29" fmla="*/ 0 h 3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0"/>
                  <a:gd name="T46" fmla="*/ 0 h 32"/>
                  <a:gd name="T47" fmla="*/ 30 w 30"/>
                  <a:gd name="T48" fmla="*/ 32 h 32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0" h="32">
                    <a:moveTo>
                      <a:pt x="19" y="0"/>
                    </a:moveTo>
                    <a:cubicBezTo>
                      <a:pt x="23" y="2"/>
                      <a:pt x="26" y="6"/>
                      <a:pt x="29" y="9"/>
                    </a:cubicBezTo>
                    <a:cubicBezTo>
                      <a:pt x="30" y="11"/>
                      <a:pt x="30" y="13"/>
                      <a:pt x="29" y="15"/>
                    </a:cubicBezTo>
                    <a:cubicBezTo>
                      <a:pt x="28" y="18"/>
                      <a:pt x="26" y="20"/>
                      <a:pt x="24" y="23"/>
                    </a:cubicBezTo>
                    <a:cubicBezTo>
                      <a:pt x="23" y="24"/>
                      <a:pt x="22" y="24"/>
                      <a:pt x="21" y="24"/>
                    </a:cubicBezTo>
                    <a:cubicBezTo>
                      <a:pt x="19" y="24"/>
                      <a:pt x="17" y="23"/>
                      <a:pt x="16" y="24"/>
                    </a:cubicBezTo>
                    <a:cubicBezTo>
                      <a:pt x="14" y="26"/>
                      <a:pt x="14" y="30"/>
                      <a:pt x="12" y="31"/>
                    </a:cubicBezTo>
                    <a:cubicBezTo>
                      <a:pt x="11" y="32"/>
                      <a:pt x="9" y="32"/>
                      <a:pt x="8" y="31"/>
                    </a:cubicBezTo>
                    <a:cubicBezTo>
                      <a:pt x="6" y="30"/>
                      <a:pt x="5" y="28"/>
                      <a:pt x="4" y="26"/>
                    </a:cubicBezTo>
                    <a:cubicBezTo>
                      <a:pt x="3" y="24"/>
                      <a:pt x="2" y="23"/>
                      <a:pt x="1" y="21"/>
                    </a:cubicBezTo>
                    <a:cubicBezTo>
                      <a:pt x="1" y="19"/>
                      <a:pt x="0" y="17"/>
                      <a:pt x="1" y="15"/>
                    </a:cubicBezTo>
                    <a:cubicBezTo>
                      <a:pt x="2" y="14"/>
                      <a:pt x="5" y="14"/>
                      <a:pt x="6" y="12"/>
                    </a:cubicBezTo>
                    <a:cubicBezTo>
                      <a:pt x="8" y="10"/>
                      <a:pt x="8" y="7"/>
                      <a:pt x="11" y="5"/>
                    </a:cubicBezTo>
                    <a:cubicBezTo>
                      <a:pt x="12" y="4"/>
                      <a:pt x="14" y="4"/>
                      <a:pt x="16" y="3"/>
                    </a:cubicBezTo>
                    <a:cubicBezTo>
                      <a:pt x="17" y="3"/>
                      <a:pt x="18" y="0"/>
                      <a:pt x="19" y="0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50" name="Freeform 2722"/>
              <p:cNvSpPr>
                <a:spLocks noChangeAspect="1"/>
              </p:cNvSpPr>
              <p:nvPr/>
            </p:nvSpPr>
            <p:spPr bwMode="auto">
              <a:xfrm>
                <a:off x="6261935" y="1627024"/>
                <a:ext cx="13494" cy="8507"/>
              </a:xfrm>
              <a:custGeom>
                <a:avLst/>
                <a:gdLst>
                  <a:gd name="T0" fmla="*/ 0 w 4"/>
                  <a:gd name="T1" fmla="*/ 2 h 3"/>
                  <a:gd name="T2" fmla="*/ 2 w 4"/>
                  <a:gd name="T3" fmla="*/ 1 h 3"/>
                  <a:gd name="T4" fmla="*/ 3 w 4"/>
                  <a:gd name="T5" fmla="*/ 0 h 3"/>
                  <a:gd name="T6" fmla="*/ 4 w 4"/>
                  <a:gd name="T7" fmla="*/ 2 h 3"/>
                  <a:gd name="T8" fmla="*/ 2 w 4"/>
                  <a:gd name="T9" fmla="*/ 3 h 3"/>
                  <a:gd name="T10" fmla="*/ 0 w 4"/>
                  <a:gd name="T11" fmla="*/ 2 h 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"/>
                  <a:gd name="T19" fmla="*/ 0 h 3"/>
                  <a:gd name="T20" fmla="*/ 4 w 4"/>
                  <a:gd name="T21" fmla="*/ 3 h 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" h="3">
                    <a:moveTo>
                      <a:pt x="0" y="2"/>
                    </a:moveTo>
                    <a:cubicBezTo>
                      <a:pt x="0" y="1"/>
                      <a:pt x="1" y="1"/>
                      <a:pt x="2" y="1"/>
                    </a:cubicBezTo>
                    <a:cubicBezTo>
                      <a:pt x="2" y="1"/>
                      <a:pt x="2" y="0"/>
                      <a:pt x="3" y="0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4" y="3"/>
                      <a:pt x="2" y="3"/>
                      <a:pt x="2" y="3"/>
                    </a:cubicBezTo>
                    <a:cubicBezTo>
                      <a:pt x="1" y="3"/>
                      <a:pt x="0" y="2"/>
                      <a:pt x="0" y="2"/>
                    </a:cubicBezTo>
                    <a:close/>
                  </a:path>
                </a:pathLst>
              </a:custGeom>
              <a:noFill/>
              <a:ln w="3175" cap="rnd">
                <a:solidFill>
                  <a:schemeClr val="accent3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1pPr>
                <a:lvl2pPr marL="742950" indent="-28575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2pPr>
                <a:lvl3pPr marL="11430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3pPr>
                <a:lvl4pPr marL="16002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4pPr>
                <a:lvl5pPr marL="2057400" indent="-228600"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Times New Roman" panose="02020603050405020304" pitchFamily="18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35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  <p:sp>
            <p:nvSpPr>
              <p:cNvPr id="51" name="Freeform 1146"/>
              <p:cNvSpPr/>
              <p:nvPr/>
            </p:nvSpPr>
            <p:spPr bwMode="auto">
              <a:xfrm>
                <a:off x="7744609" y="2817426"/>
                <a:ext cx="569731" cy="124720"/>
              </a:xfrm>
              <a:custGeom>
                <a:avLst/>
                <a:gdLst>
                  <a:gd name="connsiteX0" fmla="*/ 0 w 266700"/>
                  <a:gd name="connsiteY0" fmla="*/ 66675 h 66675"/>
                  <a:gd name="connsiteX1" fmla="*/ 14288 w 266700"/>
                  <a:gd name="connsiteY1" fmla="*/ 54769 h 66675"/>
                  <a:gd name="connsiteX2" fmla="*/ 21432 w 266700"/>
                  <a:gd name="connsiteY2" fmla="*/ 50007 h 66675"/>
                  <a:gd name="connsiteX3" fmla="*/ 26194 w 266700"/>
                  <a:gd name="connsiteY3" fmla="*/ 42863 h 66675"/>
                  <a:gd name="connsiteX4" fmla="*/ 50007 w 266700"/>
                  <a:gd name="connsiteY4" fmla="*/ 35719 h 66675"/>
                  <a:gd name="connsiteX5" fmla="*/ 173832 w 266700"/>
                  <a:gd name="connsiteY5" fmla="*/ 38100 h 66675"/>
                  <a:gd name="connsiteX6" fmla="*/ 180975 w 266700"/>
                  <a:gd name="connsiteY6" fmla="*/ 33338 h 66675"/>
                  <a:gd name="connsiteX7" fmla="*/ 183357 w 266700"/>
                  <a:gd name="connsiteY7" fmla="*/ 26194 h 66675"/>
                  <a:gd name="connsiteX8" fmla="*/ 185738 w 266700"/>
                  <a:gd name="connsiteY8" fmla="*/ 2382 h 66675"/>
                  <a:gd name="connsiteX9" fmla="*/ 192882 w 266700"/>
                  <a:gd name="connsiteY9" fmla="*/ 0 h 66675"/>
                  <a:gd name="connsiteX10" fmla="*/ 204788 w 266700"/>
                  <a:gd name="connsiteY10" fmla="*/ 2382 h 66675"/>
                  <a:gd name="connsiteX11" fmla="*/ 209550 w 266700"/>
                  <a:gd name="connsiteY11" fmla="*/ 9525 h 66675"/>
                  <a:gd name="connsiteX12" fmla="*/ 214313 w 266700"/>
                  <a:gd name="connsiteY12" fmla="*/ 30957 h 66675"/>
                  <a:gd name="connsiteX13" fmla="*/ 219075 w 266700"/>
                  <a:gd name="connsiteY13" fmla="*/ 38100 h 66675"/>
                  <a:gd name="connsiteX14" fmla="*/ 226219 w 266700"/>
                  <a:gd name="connsiteY14" fmla="*/ 40482 h 66675"/>
                  <a:gd name="connsiteX15" fmla="*/ 242888 w 266700"/>
                  <a:gd name="connsiteY15" fmla="*/ 42863 h 66675"/>
                  <a:gd name="connsiteX16" fmla="*/ 259557 w 266700"/>
                  <a:gd name="connsiteY16" fmla="*/ 59532 h 66675"/>
                  <a:gd name="connsiteX17" fmla="*/ 266700 w 266700"/>
                  <a:gd name="connsiteY17" fmla="*/ 59532 h 66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66700" h="66675">
                    <a:moveTo>
                      <a:pt x="0" y="66675"/>
                    </a:moveTo>
                    <a:cubicBezTo>
                      <a:pt x="4763" y="62706"/>
                      <a:pt x="9394" y="58575"/>
                      <a:pt x="14288" y="54769"/>
                    </a:cubicBezTo>
                    <a:cubicBezTo>
                      <a:pt x="16547" y="53012"/>
                      <a:pt x="19408" y="52031"/>
                      <a:pt x="21432" y="50007"/>
                    </a:cubicBezTo>
                    <a:cubicBezTo>
                      <a:pt x="23456" y="47983"/>
                      <a:pt x="23767" y="44380"/>
                      <a:pt x="26194" y="42863"/>
                    </a:cubicBezTo>
                    <a:cubicBezTo>
                      <a:pt x="30061" y="40446"/>
                      <a:pt x="44429" y="37113"/>
                      <a:pt x="50007" y="35719"/>
                    </a:cubicBezTo>
                    <a:cubicBezTo>
                      <a:pt x="146845" y="41253"/>
                      <a:pt x="105572" y="42117"/>
                      <a:pt x="173832" y="38100"/>
                    </a:cubicBezTo>
                    <a:cubicBezTo>
                      <a:pt x="176213" y="36513"/>
                      <a:pt x="179187" y="35573"/>
                      <a:pt x="180975" y="33338"/>
                    </a:cubicBezTo>
                    <a:cubicBezTo>
                      <a:pt x="182543" y="31378"/>
                      <a:pt x="182975" y="28675"/>
                      <a:pt x="183357" y="26194"/>
                    </a:cubicBezTo>
                    <a:cubicBezTo>
                      <a:pt x="184570" y="18310"/>
                      <a:pt x="183012" y="9879"/>
                      <a:pt x="185738" y="2382"/>
                    </a:cubicBezTo>
                    <a:cubicBezTo>
                      <a:pt x="186596" y="23"/>
                      <a:pt x="190501" y="794"/>
                      <a:pt x="192882" y="0"/>
                    </a:cubicBezTo>
                    <a:cubicBezTo>
                      <a:pt x="196851" y="794"/>
                      <a:pt x="201274" y="374"/>
                      <a:pt x="204788" y="2382"/>
                    </a:cubicBezTo>
                    <a:cubicBezTo>
                      <a:pt x="207273" y="3802"/>
                      <a:pt x="208545" y="6846"/>
                      <a:pt x="209550" y="9525"/>
                    </a:cubicBezTo>
                    <a:cubicBezTo>
                      <a:pt x="212934" y="18548"/>
                      <a:pt x="210659" y="22431"/>
                      <a:pt x="214313" y="30957"/>
                    </a:cubicBezTo>
                    <a:cubicBezTo>
                      <a:pt x="215440" y="33587"/>
                      <a:pt x="216840" y="36312"/>
                      <a:pt x="219075" y="38100"/>
                    </a:cubicBezTo>
                    <a:cubicBezTo>
                      <a:pt x="221035" y="39668"/>
                      <a:pt x="223758" y="39990"/>
                      <a:pt x="226219" y="40482"/>
                    </a:cubicBezTo>
                    <a:cubicBezTo>
                      <a:pt x="231723" y="41583"/>
                      <a:pt x="237332" y="42069"/>
                      <a:pt x="242888" y="42863"/>
                    </a:cubicBezTo>
                    <a:cubicBezTo>
                      <a:pt x="250221" y="53862"/>
                      <a:pt x="248555" y="57698"/>
                      <a:pt x="259557" y="59532"/>
                    </a:cubicBezTo>
                    <a:cubicBezTo>
                      <a:pt x="261906" y="59924"/>
                      <a:pt x="264319" y="59532"/>
                      <a:pt x="266700" y="59532"/>
                    </a:cubicBezTo>
                  </a:path>
                </a:pathLst>
              </a:custGeom>
              <a:noFill/>
              <a:ln w="3175" cap="flat" cmpd="sng" algn="ctr">
                <a:solidFill>
                  <a:schemeClr val="accent3">
                    <a:lumMod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68580" tIns="34290" rIns="68580" bIns="34290" numCol="1" rtlCol="0" anchor="t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US" sz="1600" dirty="0">
                  <a:solidFill>
                    <a:srgbClr val="000000"/>
                  </a:solidFill>
                  <a:latin typeface="Garamond" panose="02020404030301010803" pitchFamily="18" charset="0"/>
                </a:endParaRPr>
              </a:p>
            </p:txBody>
          </p:sp>
        </p:grpSp>
        <p:sp>
          <p:nvSpPr>
            <p:cNvPr id="10" name="TextBox 9"/>
            <p:cNvSpPr txBox="1"/>
            <p:nvPr/>
          </p:nvSpPr>
          <p:spPr>
            <a:xfrm>
              <a:off x="6716476" y="5746567"/>
              <a:ext cx="2320021" cy="241402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rtlCol="0">
              <a:spAutoFit/>
            </a:bodyPr>
            <a:lstStyle/>
            <a:p>
              <a:r>
                <a:rPr lang="en-US" sz="1050" dirty="0">
                  <a:latin typeface="Garamond" panose="02020404030301010803" pitchFamily="18" charset="0"/>
                </a:rPr>
                <a:t>West African Power Pool (WAPP)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675018" y="4932457"/>
              <a:ext cx="3354768" cy="584775"/>
            </a:xfrm>
            <a:prstGeom prst="rect">
              <a:avLst/>
            </a:prstGeom>
            <a:noFill/>
            <a:ln w="5715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 anchor="ctr">
              <a:noAutofit/>
            </a:bodyPr>
            <a:lstStyle/>
            <a:p>
              <a:r>
                <a:rPr lang="en-US" sz="2400" dirty="0">
                  <a:latin typeface="Garamond" panose="02020404030301010803" pitchFamily="18" charset="0"/>
                </a:rPr>
                <a:t>ACEC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675018" y="5691159"/>
              <a:ext cx="3354768" cy="380391"/>
            </a:xfrm>
            <a:prstGeom prst="rect">
              <a:avLst/>
            </a:prstGeom>
            <a:noFill/>
            <a:ln w="5715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r>
                <a:rPr lang="en-US" sz="2000" dirty="0">
                  <a:latin typeface="Garamond" panose="02020404030301010803" pitchFamily="18" charset="0"/>
                </a:rPr>
                <a:t>WACEC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62575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201702"/>
            <a:ext cx="8773703" cy="598497"/>
          </a:xfrm>
          <a:prstGeom prst="rect">
            <a:avLst/>
          </a:prstGeom>
          <a:solidFill>
            <a:srgbClr val="065278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3000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Arial" panose="020B0604020202020204" pitchFamily="34" charset="0"/>
              </a:rPr>
              <a:t>Political Support</a:t>
            </a:r>
            <a:endParaRPr lang="en-US" sz="3000" dirty="0">
              <a:solidFill>
                <a:srgbClr val="0872A6"/>
              </a:solidFill>
              <a:latin typeface="Garamond" panose="02020404030301010803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  <p:sp>
        <p:nvSpPr>
          <p:cNvPr id="13" name="Content Placeholder 2"/>
          <p:cNvSpPr txBox="1">
            <a:spLocks/>
          </p:cNvSpPr>
          <p:nvPr/>
        </p:nvSpPr>
        <p:spPr>
          <a:xfrm>
            <a:off x="263352" y="1340768"/>
            <a:ext cx="11515762" cy="5184576"/>
          </a:xfrm>
          <a:prstGeom prst="rect">
            <a:avLst/>
          </a:prstGeom>
        </p:spPr>
        <p:txBody>
          <a:bodyPr/>
          <a:lstStyle>
            <a:lvl1pPr marL="383821" indent="-383821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31612" indent="-319851" algn="l" rtl="0" eaLnBrk="0" fontAlgn="base" hangingPunct="0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+mn-lt"/>
                <a:cs typeface="+mn-cs"/>
              </a:defRPr>
            </a:lvl2pPr>
            <a:lvl3pPr marL="1279403" indent="-255881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•"/>
              <a:defRPr sz="2700">
                <a:solidFill>
                  <a:schemeClr val="tx1"/>
                </a:solidFill>
                <a:latin typeface="+mn-lt"/>
                <a:cs typeface="+mn-cs"/>
              </a:defRPr>
            </a:lvl3pPr>
            <a:lvl4pPr marL="1791165" indent="-255881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–"/>
              <a:defRPr sz="2200">
                <a:solidFill>
                  <a:schemeClr val="tx1"/>
                </a:solidFill>
                <a:latin typeface="+mn-lt"/>
                <a:cs typeface="+mn-cs"/>
              </a:defRPr>
            </a:lvl4pPr>
            <a:lvl5pPr marL="2302926" indent="-255881" algn="l" rtl="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 sz="2200">
                <a:solidFill>
                  <a:schemeClr val="tx1"/>
                </a:solidFill>
                <a:latin typeface="+mn-lt"/>
                <a:cs typeface="+mn-cs"/>
              </a:defRPr>
            </a:lvl5pPr>
            <a:lvl6pPr marL="2814688" indent="-255881"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3326450" indent="-255881"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838210" indent="-255881"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4349972" indent="-255881" algn="l" rtl="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buNone/>
            </a:pPr>
            <a:r>
              <a:rPr lang="en-US" sz="2400" b="1" dirty="0">
                <a:solidFill>
                  <a:srgbClr val="0872A6"/>
                </a:solidFill>
                <a:latin typeface="Garamond" panose="02020404030301010803" pitchFamily="18" charset="0"/>
              </a:rPr>
              <a:t>Africa Clean Energy Corridor (ACEC)</a:t>
            </a:r>
          </a:p>
          <a:p>
            <a:pPr algn="just"/>
            <a:r>
              <a:rPr lang="en-US" sz="2000" dirty="0">
                <a:latin typeface="Garamond" panose="02020404030301010803" pitchFamily="18" charset="0"/>
              </a:rPr>
              <a:t>Approved by the Ministers of Energy for Eastern &amp; Southern Africa in 2014</a:t>
            </a:r>
          </a:p>
          <a:p>
            <a:pPr marL="0" indent="0" algn="just">
              <a:buNone/>
            </a:pPr>
            <a:endParaRPr lang="en-US" sz="2400" b="1" dirty="0">
              <a:solidFill>
                <a:srgbClr val="0872A6"/>
              </a:solidFill>
              <a:latin typeface="Garamond" panose="02020404030301010803" pitchFamily="18" charset="0"/>
            </a:endParaRPr>
          </a:p>
          <a:p>
            <a:pPr marL="0" indent="0" algn="just">
              <a:buNone/>
            </a:pPr>
            <a:r>
              <a:rPr lang="en-US" sz="2400" b="1" dirty="0">
                <a:solidFill>
                  <a:srgbClr val="0872A6"/>
                </a:solidFill>
                <a:latin typeface="Garamond" panose="02020404030301010803" pitchFamily="18" charset="0"/>
              </a:rPr>
              <a:t>West Africa Clean Energy Corridor (WACEC)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Garamond" panose="02020404030301010803" pitchFamily="18" charset="0"/>
              </a:rPr>
              <a:t>Approved by the Directors of Energy of ECOWAS in April 2016 in Dakar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Garamond" panose="02020404030301010803" pitchFamily="18" charset="0"/>
              </a:rPr>
              <a:t>Adopted by the Ministers of Energy in December 2016 in Conakry</a:t>
            </a: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Garamond" panose="02020404030301010803" pitchFamily="18" charset="0"/>
              </a:rPr>
              <a:t>Endorsed by the Heads of State and Government in June 2017 in Monrovia and was annexed to the ECOWAS Treaty</a:t>
            </a:r>
          </a:p>
          <a:p>
            <a:pPr marL="0" indent="0" algn="just">
              <a:lnSpc>
                <a:spcPct val="150000"/>
              </a:lnSpc>
              <a:buNone/>
            </a:pPr>
            <a:endParaRPr lang="en-US" sz="2000" dirty="0">
              <a:latin typeface="Garamond" panose="02020404030301010803" pitchFamily="18" charset="0"/>
            </a:endParaRPr>
          </a:p>
          <a:p>
            <a:pPr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Garamond" panose="02020404030301010803" pitchFamily="18" charset="0"/>
              </a:rPr>
              <a:t>Endorsed by the </a:t>
            </a:r>
            <a:r>
              <a:rPr lang="en-US" sz="2000" dirty="0" err="1">
                <a:latin typeface="Garamond" panose="02020404030301010803" pitchFamily="18" charset="0"/>
              </a:rPr>
              <a:t>Specialised</a:t>
            </a:r>
            <a:r>
              <a:rPr lang="en-US" sz="2000" dirty="0">
                <a:latin typeface="Garamond" panose="02020404030301010803" pitchFamily="18" charset="0"/>
              </a:rPr>
              <a:t> Technical Committee of the Africa Union through the Lomé (2017) and Cairo (2019) declarations</a:t>
            </a:r>
          </a:p>
        </p:txBody>
      </p:sp>
    </p:spTree>
    <p:extLst>
      <p:ext uri="{BB962C8B-B14F-4D97-AF65-F5344CB8AC3E}">
        <p14:creationId xmlns:p14="http://schemas.microsoft.com/office/powerpoint/2010/main" val="259781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201702"/>
            <a:ext cx="9120336" cy="598497"/>
          </a:xfrm>
          <a:prstGeom prst="rect">
            <a:avLst/>
          </a:prstGeom>
          <a:solidFill>
            <a:srgbClr val="065278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3000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Arial" panose="020B0604020202020204" pitchFamily="34" charset="0"/>
              </a:rPr>
              <a:t>Support Planning Processes across countries &amp; regions</a:t>
            </a:r>
            <a:endParaRPr lang="en-US" sz="3000" dirty="0">
              <a:solidFill>
                <a:srgbClr val="0872A6"/>
              </a:solidFill>
              <a:latin typeface="Garamond" panose="02020404030301010803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04851" y="1052736"/>
            <a:ext cx="11443754" cy="52426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Least-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cost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energy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planning model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configured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and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regional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analyses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done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for all 5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sub-regions</a:t>
            </a:r>
            <a:endParaRPr lang="fr-FR" sz="2100" b="1" dirty="0">
              <a:solidFill>
                <a:schemeClr val="accent5">
                  <a:lumMod val="50000"/>
                </a:schemeClr>
              </a:solidFill>
              <a:latin typeface="Garamond" panose="02020404030301010803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Regional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trainings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delivered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to &gt;200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energy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planners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Inputs to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regional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power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sector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plans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provided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, incl.</a:t>
            </a:r>
          </a:p>
          <a:p>
            <a:pPr marL="797511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latin typeface="Garamond" panose="02020404030301010803" pitchFamily="18" charset="0"/>
              </a:rPr>
              <a:t>SAPP Power Plan to 2040.</a:t>
            </a:r>
          </a:p>
          <a:p>
            <a:pPr marL="797511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latin typeface="Garamond" panose="02020404030301010803" pitchFamily="18" charset="0"/>
              </a:rPr>
              <a:t>ECOWAS Power </a:t>
            </a:r>
            <a:r>
              <a:rPr lang="fr-FR" sz="2000" dirty="0" err="1">
                <a:latin typeface="Garamond" panose="02020404030301010803" pitchFamily="18" charset="0"/>
              </a:rPr>
              <a:t>Generation</a:t>
            </a:r>
            <a:r>
              <a:rPr lang="fr-FR" sz="2000" dirty="0">
                <a:latin typeface="Garamond" panose="02020404030301010803" pitchFamily="18" charset="0"/>
              </a:rPr>
              <a:t> and Transmission </a:t>
            </a:r>
            <a:r>
              <a:rPr lang="fr-FR" sz="2000" dirty="0" err="1">
                <a:latin typeface="Garamond" panose="02020404030301010803" pitchFamily="18" charset="0"/>
              </a:rPr>
              <a:t>Masterplan</a:t>
            </a:r>
            <a:r>
              <a:rPr lang="fr-FR" sz="2000" dirty="0">
                <a:latin typeface="Garamond" panose="02020404030301010803" pitchFamily="18" charset="0"/>
              </a:rPr>
              <a:t> to 2033.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National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energy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planning support/inputs to national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energy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sector</a:t>
            </a: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 plans</a:t>
            </a:r>
          </a:p>
          <a:p>
            <a:pPr marL="797511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latin typeface="Garamond" panose="02020404030301010803" pitchFamily="18" charset="0"/>
              </a:rPr>
              <a:t>Eswatini (Energy </a:t>
            </a:r>
            <a:r>
              <a:rPr lang="fr-FR" sz="2000" dirty="0" err="1">
                <a:latin typeface="Garamond" panose="02020404030301010803" pitchFamily="18" charset="0"/>
              </a:rPr>
              <a:t>Masterplan</a:t>
            </a:r>
            <a:r>
              <a:rPr lang="fr-FR" sz="2000" dirty="0">
                <a:latin typeface="Garamond" panose="02020404030301010803" pitchFamily="18" charset="0"/>
              </a:rPr>
              <a:t> 2034)</a:t>
            </a:r>
          </a:p>
          <a:p>
            <a:pPr marL="797511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latin typeface="Garamond" panose="02020404030301010803" pitchFamily="18" charset="0"/>
              </a:rPr>
              <a:t>Sierra Leone (</a:t>
            </a:r>
            <a:r>
              <a:rPr lang="fr-FR" sz="2000" dirty="0" err="1">
                <a:latin typeface="Garamond" panose="02020404030301010803" pitchFamily="18" charset="0"/>
              </a:rPr>
              <a:t>draft</a:t>
            </a:r>
            <a:r>
              <a:rPr lang="fr-FR" sz="2000" dirty="0">
                <a:latin typeface="Garamond" panose="02020404030301010803" pitchFamily="18" charset="0"/>
              </a:rPr>
              <a:t> Energy </a:t>
            </a:r>
            <a:r>
              <a:rPr lang="fr-FR" sz="2000" dirty="0" err="1">
                <a:latin typeface="Garamond" panose="02020404030301010803" pitchFamily="18" charset="0"/>
              </a:rPr>
              <a:t>Masterplan</a:t>
            </a:r>
            <a:r>
              <a:rPr lang="fr-FR" sz="2000" dirty="0">
                <a:latin typeface="Garamond" panose="02020404030301010803" pitchFamily="18" charset="0"/>
              </a:rPr>
              <a:t> 2040)</a:t>
            </a:r>
          </a:p>
          <a:p>
            <a:pPr marL="797511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 err="1">
                <a:latin typeface="Garamond" panose="02020404030301010803" pitchFamily="18" charset="0"/>
              </a:rPr>
              <a:t>Cameroon</a:t>
            </a:r>
            <a:endParaRPr lang="fr-FR" sz="2000" dirty="0">
              <a:latin typeface="Garamond" panose="02020404030301010803" pitchFamily="18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100" b="1" dirty="0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Inputs to continental planning </a:t>
            </a:r>
            <a:r>
              <a:rPr lang="fr-FR" sz="2100" b="1" dirty="0" err="1">
                <a:solidFill>
                  <a:schemeClr val="accent5">
                    <a:lumMod val="50000"/>
                  </a:schemeClr>
                </a:solidFill>
                <a:latin typeface="Garamond" panose="02020404030301010803" pitchFamily="18" charset="0"/>
              </a:rPr>
              <a:t>process</a:t>
            </a:r>
            <a:endParaRPr lang="fr-FR" sz="2100" b="1" dirty="0">
              <a:solidFill>
                <a:schemeClr val="accent5">
                  <a:lumMod val="50000"/>
                </a:schemeClr>
              </a:solidFill>
              <a:latin typeface="Garamond" panose="02020404030301010803" pitchFamily="18" charset="0"/>
            </a:endParaRPr>
          </a:p>
          <a:p>
            <a:pPr marL="797511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latin typeface="Garamond" panose="02020404030301010803" pitchFamily="18" charset="0"/>
              </a:rPr>
              <a:t>Inputs to </a:t>
            </a:r>
            <a:r>
              <a:rPr lang="fr-FR" sz="2000" dirty="0" err="1">
                <a:latin typeface="Garamond" panose="02020404030301010803" pitchFamily="18" charset="0"/>
              </a:rPr>
              <a:t>integration</a:t>
            </a:r>
            <a:r>
              <a:rPr lang="fr-FR" sz="2000" dirty="0">
                <a:latin typeface="Garamond" panose="02020404030301010803" pitchFamily="18" charset="0"/>
              </a:rPr>
              <a:t> of </a:t>
            </a:r>
            <a:r>
              <a:rPr lang="fr-FR" sz="2000" dirty="0" err="1">
                <a:latin typeface="Garamond" panose="02020404030301010803" pitchFamily="18" charset="0"/>
              </a:rPr>
              <a:t>solar</a:t>
            </a:r>
            <a:r>
              <a:rPr lang="fr-FR" sz="2000" dirty="0">
                <a:latin typeface="Garamond" panose="02020404030301010803" pitchFamily="18" charset="0"/>
              </a:rPr>
              <a:t> PV and </a:t>
            </a:r>
            <a:r>
              <a:rPr lang="fr-FR" sz="2000" dirty="0" err="1">
                <a:latin typeface="Garamond" panose="02020404030301010803" pitchFamily="18" charset="0"/>
              </a:rPr>
              <a:t>wind</a:t>
            </a:r>
            <a:r>
              <a:rPr lang="fr-FR" sz="2000" dirty="0">
                <a:latin typeface="Garamond" panose="02020404030301010803" pitchFamily="18" charset="0"/>
              </a:rPr>
              <a:t> as part of </a:t>
            </a:r>
            <a:r>
              <a:rPr lang="fr-FR" sz="2000" dirty="0" err="1">
                <a:latin typeface="Garamond" panose="02020404030301010803" pitchFamily="18" charset="0"/>
              </a:rPr>
              <a:t>process</a:t>
            </a:r>
            <a:r>
              <a:rPr lang="fr-FR" sz="2000" dirty="0">
                <a:latin typeface="Garamond" panose="02020404030301010803" pitchFamily="18" charset="0"/>
              </a:rPr>
              <a:t> of PIDA </a:t>
            </a:r>
            <a:r>
              <a:rPr lang="fr-FR" sz="2000" dirty="0" err="1">
                <a:latin typeface="Garamond" panose="02020404030301010803" pitchFamily="18" charset="0"/>
              </a:rPr>
              <a:t>Priority</a:t>
            </a:r>
            <a:r>
              <a:rPr lang="fr-FR" sz="2000" dirty="0">
                <a:latin typeface="Garamond" panose="02020404030301010803" pitchFamily="18" charset="0"/>
              </a:rPr>
              <a:t> Action Plan </a:t>
            </a:r>
            <a:r>
              <a:rPr lang="fr-FR" sz="2000" dirty="0" err="1">
                <a:latin typeface="Garamond" panose="02020404030301010803" pitchFamily="18" charset="0"/>
              </a:rPr>
              <a:t>revision</a:t>
            </a:r>
            <a:r>
              <a:rPr lang="fr-FR" sz="2000" dirty="0">
                <a:latin typeface="Garamond" panose="02020404030301010803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666226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201702"/>
            <a:ext cx="8773703" cy="598497"/>
          </a:xfrm>
          <a:prstGeom prst="rect">
            <a:avLst/>
          </a:prstGeom>
          <a:solidFill>
            <a:srgbClr val="065278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3000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Arial" panose="020B0604020202020204" pitchFamily="34" charset="0"/>
              </a:rPr>
              <a:t>Energy Access</a:t>
            </a:r>
            <a:endParaRPr lang="en-US" sz="3000" dirty="0">
              <a:solidFill>
                <a:srgbClr val="0872A6"/>
              </a:solidFill>
              <a:latin typeface="Garamond" panose="02020404030301010803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80D0C32-7181-49CC-B6B9-CF6BF8D787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9416" y="1340768"/>
            <a:ext cx="9885865" cy="4419463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36FF93B3-C9AF-4494-B832-4A7A504146EC}"/>
              </a:ext>
            </a:extLst>
          </p:cNvPr>
          <p:cNvSpPr txBox="1"/>
          <p:nvPr/>
        </p:nvSpPr>
        <p:spPr>
          <a:xfrm>
            <a:off x="2567608" y="6033886"/>
            <a:ext cx="68686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u="sng" dirty="0">
                <a:solidFill>
                  <a:srgbClr val="C00000"/>
                </a:solidFill>
                <a:latin typeface="Garamond" panose="02020404030301010803" pitchFamily="18" charset="0"/>
              </a:rPr>
              <a:t>530 million</a:t>
            </a:r>
            <a:r>
              <a:rPr lang="en-US" sz="1800" b="1" dirty="0">
                <a:solidFill>
                  <a:srgbClr val="C00000"/>
                </a:solidFill>
                <a:latin typeface="Garamond" panose="02020404030301010803" pitchFamily="18" charset="0"/>
              </a:rPr>
              <a:t> </a:t>
            </a:r>
            <a:r>
              <a:rPr lang="en-US" sz="1800" dirty="0">
                <a:latin typeface="Garamond" panose="02020404030301010803" pitchFamily="18" charset="0"/>
              </a:rPr>
              <a:t>Africans will lack electricity in 2030 ≈ 80 million households</a:t>
            </a:r>
          </a:p>
        </p:txBody>
      </p:sp>
    </p:spTree>
    <p:extLst>
      <p:ext uri="{BB962C8B-B14F-4D97-AF65-F5344CB8AC3E}">
        <p14:creationId xmlns:p14="http://schemas.microsoft.com/office/powerpoint/2010/main" val="14559020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:a16="http://schemas.microsoft.com/office/drawing/2014/main" id="{A3167D0E-4BD0-4B47-9778-7D264A315CD9}"/>
              </a:ext>
            </a:extLst>
          </p:cNvPr>
          <p:cNvSpPr/>
          <p:nvPr/>
        </p:nvSpPr>
        <p:spPr>
          <a:xfrm>
            <a:off x="176389" y="2578020"/>
            <a:ext cx="8794439" cy="973079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900"/>
              </a:spcBef>
              <a:spcAft>
                <a:spcPts val="450"/>
              </a:spcAft>
            </a:pPr>
            <a:r>
              <a:rPr lang="en-US" sz="1800" b="1" u="sng" dirty="0">
                <a:solidFill>
                  <a:schemeClr val="bg1"/>
                </a:solidFill>
                <a:latin typeface="Garamond" panose="02020404030301010803" pitchFamily="18" charset="0"/>
              </a:rPr>
              <a:t>Promoting a Solar PV Market in West Africa</a:t>
            </a:r>
          </a:p>
          <a:p>
            <a:pPr algn="ctr">
              <a:spcBef>
                <a:spcPts val="900"/>
              </a:spcBef>
              <a:spcAft>
                <a:spcPts val="450"/>
              </a:spcAft>
            </a:pPr>
            <a:r>
              <a:rPr lang="en-GB" sz="1500" dirty="0">
                <a:solidFill>
                  <a:schemeClr val="bg1"/>
                </a:solidFill>
                <a:latin typeface="Garamond" panose="02020404030301010803" pitchFamily="18" charset="0"/>
              </a:rPr>
              <a:t>Strengthening and developing local capacities of policymakers, regulators and utilities, financial institutions and renewable energy entrepreneurs.</a:t>
            </a:r>
            <a:endParaRPr lang="en-US" sz="1500" dirty="0">
              <a:solidFill>
                <a:schemeClr val="bg1"/>
              </a:solidFill>
              <a:latin typeface="Garamond" panose="02020404030301010803" pitchFamily="18" charset="0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F95B53A6-86E0-48BF-991C-4C48ECA6B30C}"/>
              </a:ext>
            </a:extLst>
          </p:cNvPr>
          <p:cNvSpPr/>
          <p:nvPr/>
        </p:nvSpPr>
        <p:spPr>
          <a:xfrm>
            <a:off x="191702" y="3664735"/>
            <a:ext cx="5904298" cy="812128"/>
          </a:xfrm>
          <a:prstGeom prst="rect">
            <a:avLst/>
          </a:prstGeom>
          <a:solidFill>
            <a:srgbClr val="0872A6"/>
          </a:solidFill>
          <a:ln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900"/>
              </a:spcBef>
              <a:spcAft>
                <a:spcPts val="450"/>
              </a:spcAft>
            </a:pPr>
            <a:r>
              <a:rPr lang="en-US" sz="1800" b="1" u="sng" dirty="0">
                <a:solidFill>
                  <a:schemeClr val="bg1"/>
                </a:solidFill>
                <a:latin typeface="Garamond" panose="02020404030301010803" pitchFamily="18" charset="0"/>
              </a:rPr>
              <a:t>ECOWAS RE Entrepreneurship Support Facility</a:t>
            </a:r>
            <a:r>
              <a:rPr lang="en-US" b="1" u="sng" dirty="0">
                <a:solidFill>
                  <a:schemeClr val="bg1"/>
                </a:solidFill>
                <a:latin typeface="Garamond" panose="02020404030301010803" pitchFamily="18" charset="0"/>
              </a:rPr>
              <a:t>​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5CD84170-C35B-40F5-B786-F921151352EC}"/>
              </a:ext>
            </a:extLst>
          </p:cNvPr>
          <p:cNvSpPr/>
          <p:nvPr/>
        </p:nvSpPr>
        <p:spPr>
          <a:xfrm>
            <a:off x="6278526" y="3645686"/>
            <a:ext cx="2692302" cy="1839286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900"/>
              </a:spcBef>
              <a:spcAft>
                <a:spcPts val="450"/>
              </a:spcAft>
            </a:pPr>
            <a:r>
              <a:rPr lang="en-US" sz="1800" b="1" u="sng" dirty="0">
                <a:solidFill>
                  <a:schemeClr val="bg1"/>
                </a:solidFill>
                <a:latin typeface="Garamond" panose="02020404030301010803" pitchFamily="18" charset="0"/>
              </a:rPr>
              <a:t>ECOWAS </a:t>
            </a:r>
            <a:br>
              <a:rPr lang="en-US" sz="1800" b="1" u="sng" dirty="0">
                <a:solidFill>
                  <a:schemeClr val="bg1"/>
                </a:solidFill>
                <a:latin typeface="Garamond" panose="02020404030301010803" pitchFamily="18" charset="0"/>
              </a:rPr>
            </a:br>
            <a:r>
              <a:rPr lang="en-US" sz="1800" b="1" u="sng" dirty="0">
                <a:solidFill>
                  <a:schemeClr val="bg1"/>
                </a:solidFill>
                <a:latin typeface="Garamond" panose="02020404030301010803" pitchFamily="18" charset="0"/>
              </a:rPr>
              <a:t>Certification for Sustainable Energy Skills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500" dirty="0">
                <a:solidFill>
                  <a:schemeClr val="bg1"/>
                </a:solidFill>
                <a:latin typeface="Garamond" panose="02020404030301010803" pitchFamily="18" charset="0"/>
              </a:rPr>
              <a:t>Regionally harmonised certification system recognised in all ECOWAS countries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75578" y="1700808"/>
            <a:ext cx="11829862" cy="759827"/>
            <a:chOff x="911423" y="1136740"/>
            <a:chExt cx="9866896" cy="505024"/>
          </a:xfrm>
        </p:grpSpPr>
        <p:sp>
          <p:nvSpPr>
            <p:cNvPr id="31" name="Content Placeholder 2">
              <a:extLst>
                <a:ext uri="{FF2B5EF4-FFF2-40B4-BE49-F238E27FC236}">
                  <a16:creationId xmlns:a16="http://schemas.microsoft.com/office/drawing/2014/main" id="{80CAF92B-2D97-414D-B087-B5871C2F5D8F}"/>
                </a:ext>
              </a:extLst>
            </p:cNvPr>
            <p:cNvSpPr txBox="1">
              <a:spLocks/>
            </p:cNvSpPr>
            <p:nvPr/>
          </p:nvSpPr>
          <p:spPr>
            <a:xfrm>
              <a:off x="911424" y="1136740"/>
              <a:ext cx="9866895" cy="27381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lIns="91440" tIns="45720" rIns="91440" bIns="45720" rtlCol="0" anchor="t" anchorCtr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0"/>
                </a:spcBef>
                <a:spcAft>
                  <a:spcPts val="1800"/>
                </a:spcAft>
                <a:buNone/>
              </a:pPr>
              <a:r>
                <a:rPr lang="en-US" sz="2200" b="1" kern="0" dirty="0">
                  <a:solidFill>
                    <a:schemeClr val="bg1"/>
                  </a:solidFill>
                  <a:latin typeface="Garamond" panose="02020404030301010803" pitchFamily="18" charset="0"/>
                </a:rPr>
                <a:t>International Off-Grid Renewable Energy Conference and Exhibition (IOREC)</a:t>
              </a:r>
            </a:p>
          </p:txBody>
        </p:sp>
        <p:sp>
          <p:nvSpPr>
            <p:cNvPr id="59" name="Content Placeholder 2">
              <a:extLst>
                <a:ext uri="{FF2B5EF4-FFF2-40B4-BE49-F238E27FC236}">
                  <a16:creationId xmlns:a16="http://schemas.microsoft.com/office/drawing/2014/main" id="{E155076E-6CB9-4D04-931A-7EDF023F7281}"/>
                </a:ext>
              </a:extLst>
            </p:cNvPr>
            <p:cNvSpPr txBox="1">
              <a:spLocks/>
            </p:cNvSpPr>
            <p:nvPr/>
          </p:nvSpPr>
          <p:spPr>
            <a:xfrm>
              <a:off x="911423" y="1410552"/>
              <a:ext cx="9866894" cy="2312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lIns="91440" tIns="45720" rIns="91440" bIns="45720" rtlCol="0" anchor="t" anchorCtr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0"/>
                </a:spcBef>
                <a:spcAft>
                  <a:spcPts val="600"/>
                </a:spcAft>
                <a:buNone/>
              </a:pPr>
              <a:r>
                <a:rPr lang="en-US" sz="1500" b="1" kern="0" dirty="0">
                  <a:latin typeface="Garamond" panose="02020404030301010803" pitchFamily="18" charset="0"/>
                </a:rPr>
                <a:t>Collaborative platform for sharing knowledge and best practices on approaches to scale-up off-grid renewable energy</a:t>
              </a:r>
            </a:p>
          </p:txBody>
        </p:sp>
      </p:grpSp>
      <p:sp>
        <p:nvSpPr>
          <p:cNvPr id="16" name="Rectangle 15"/>
          <p:cNvSpPr/>
          <p:nvPr/>
        </p:nvSpPr>
        <p:spPr>
          <a:xfrm>
            <a:off x="0" y="201702"/>
            <a:ext cx="8773703" cy="598497"/>
          </a:xfrm>
          <a:prstGeom prst="rect">
            <a:avLst/>
          </a:prstGeom>
          <a:solidFill>
            <a:srgbClr val="065278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3000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Arial" panose="020B0604020202020204" pitchFamily="34" charset="0"/>
              </a:rPr>
              <a:t>Energy Access</a:t>
            </a:r>
            <a:endParaRPr lang="en-US" sz="3000" dirty="0">
              <a:solidFill>
                <a:srgbClr val="0872A6"/>
              </a:solidFill>
              <a:latin typeface="Garamond" panose="02020404030301010803" pitchFamily="18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1735931"/>
            <a:ext cx="861735" cy="341713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9264352" y="2578021"/>
            <a:ext cx="2730102" cy="2906951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900"/>
              </a:spcBef>
              <a:spcAft>
                <a:spcPts val="450"/>
              </a:spcAft>
            </a:pPr>
            <a:r>
              <a:rPr lang="en-US" sz="1800" b="1" u="sng" dirty="0">
                <a:solidFill>
                  <a:schemeClr val="bg1"/>
                </a:solidFill>
                <a:latin typeface="Garamond" panose="02020404030301010803" pitchFamily="18" charset="0"/>
              </a:rPr>
              <a:t>Renewable Energy Solutions For Healthcare Facilities</a:t>
            </a:r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500" dirty="0">
                <a:solidFill>
                  <a:schemeClr val="bg1"/>
                </a:solidFill>
                <a:latin typeface="Garamond" panose="02020404030301010803" pitchFamily="18" charset="0"/>
              </a:rPr>
              <a:t>Country-level technical support for improving electricity access of rural healthcare facilities through renewable solution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91702" y="4672844"/>
            <a:ext cx="5904298" cy="812128"/>
          </a:xfrm>
          <a:prstGeom prst="rect">
            <a:avLst/>
          </a:prstGeom>
          <a:solidFill>
            <a:srgbClr val="0872A6"/>
          </a:solidFill>
          <a:ln>
            <a:solidFill>
              <a:srgbClr val="0872A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900"/>
              </a:spcBef>
              <a:spcAft>
                <a:spcPts val="450"/>
              </a:spcAft>
            </a:pPr>
            <a:r>
              <a:rPr lang="en-US" sz="1800" b="1" u="sng" dirty="0">
                <a:solidFill>
                  <a:schemeClr val="bg1"/>
                </a:solidFill>
                <a:latin typeface="Garamond" panose="02020404030301010803" pitchFamily="18" charset="0"/>
              </a:rPr>
              <a:t>SADC RE Entrepreneurship Support Facility</a:t>
            </a:r>
            <a:r>
              <a:rPr lang="en-US" b="1" u="sng" dirty="0">
                <a:solidFill>
                  <a:schemeClr val="bg1"/>
                </a:solidFill>
                <a:latin typeface="Garamond" panose="02020404030301010803" pitchFamily="18" charset="0"/>
              </a:rPr>
              <a:t>​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85809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/>
          <p:cNvSpPr/>
          <p:nvPr/>
        </p:nvSpPr>
        <p:spPr>
          <a:xfrm>
            <a:off x="0" y="201702"/>
            <a:ext cx="9048328" cy="598497"/>
          </a:xfrm>
          <a:prstGeom prst="rect">
            <a:avLst/>
          </a:prstGeom>
          <a:solidFill>
            <a:srgbClr val="065278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3000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Arial" panose="020B0604020202020204" pitchFamily="34" charset="0"/>
              </a:rPr>
              <a:t>Solutions for access and the deployment of renewables</a:t>
            </a: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AB16DBE2-863B-430B-A12C-88CDCAA4E603}"/>
              </a:ext>
            </a:extLst>
          </p:cNvPr>
          <p:cNvGrpSpPr/>
          <p:nvPr/>
        </p:nvGrpSpPr>
        <p:grpSpPr>
          <a:xfrm>
            <a:off x="407368" y="1782103"/>
            <a:ext cx="2736304" cy="3232984"/>
            <a:chOff x="623392" y="1955678"/>
            <a:chExt cx="2736304" cy="3232984"/>
          </a:xfrm>
        </p:grpSpPr>
        <p:pic>
          <p:nvPicPr>
            <p:cNvPr id="15" name="Picture 6">
              <a:extLst>
                <a:ext uri="{FF2B5EF4-FFF2-40B4-BE49-F238E27FC236}">
                  <a16:creationId xmlns:a16="http://schemas.microsoft.com/office/drawing/2014/main" id="{AA0C2AED-A479-493D-88C9-D027FE5675C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 rot="1262555">
              <a:off x="1374159" y="1955678"/>
              <a:ext cx="1522539" cy="2058054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FA6BDD5D-0F6E-427A-99C2-5EB77AFB2136}"/>
                </a:ext>
              </a:extLst>
            </p:cNvPr>
            <p:cNvSpPr txBox="1"/>
            <p:nvPr/>
          </p:nvSpPr>
          <p:spPr>
            <a:xfrm>
              <a:off x="623392" y="4603887"/>
              <a:ext cx="2736304" cy="58477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>
                      <a:lumMod val="75000"/>
                    </a:schemeClr>
                  </a:solidFill>
                  <a:latin typeface="Garamond" panose="02020404030301010803" pitchFamily="18" charset="0"/>
                </a:rPr>
                <a:t>Tracking SDG 7: The Energy Progress Report (2020)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D7E5AB16-5DF2-4182-A587-F4BDD3393322}"/>
              </a:ext>
            </a:extLst>
          </p:cNvPr>
          <p:cNvGrpSpPr/>
          <p:nvPr/>
        </p:nvGrpSpPr>
        <p:grpSpPr>
          <a:xfrm>
            <a:off x="3935760" y="1268760"/>
            <a:ext cx="7524382" cy="4659699"/>
            <a:chOff x="3981646" y="1135772"/>
            <a:chExt cx="7524382" cy="4043782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1468786-D426-4DFC-B84A-52107123F224}"/>
                </a:ext>
              </a:extLst>
            </p:cNvPr>
            <p:cNvSpPr txBox="1"/>
            <p:nvPr/>
          </p:nvSpPr>
          <p:spPr>
            <a:xfrm>
              <a:off x="4007768" y="1135772"/>
              <a:ext cx="748883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i="0" u="none" strike="noStrike" baseline="0" dirty="0">
                  <a:solidFill>
                    <a:srgbClr val="00305B"/>
                  </a:solidFill>
                  <a:latin typeface="Garamond" panose="02020404030301010803" pitchFamily="18" charset="0"/>
                </a:rPr>
                <a:t>INTEGRATED ELECTRIFICATION STRATEGIES AND PLANNING TO DRIVE POLICY MAKING AND INVESTMENT DECISIONS </a:t>
              </a:r>
              <a:endParaRPr lang="en-US" sz="1800" dirty="0">
                <a:latin typeface="Garamond" panose="02020404030301010803" pitchFamily="18" charset="0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8001041-BE38-4000-908A-4D828A0EF5CF}"/>
                </a:ext>
              </a:extLst>
            </p:cNvPr>
            <p:cNvSpPr txBox="1"/>
            <p:nvPr/>
          </p:nvSpPr>
          <p:spPr>
            <a:xfrm>
              <a:off x="4006543" y="1793823"/>
              <a:ext cx="7488832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i="0" u="none" strike="noStrike" baseline="0" dirty="0">
                  <a:solidFill>
                    <a:srgbClr val="F0A830"/>
                  </a:solidFill>
                  <a:latin typeface="Garamond" panose="02020404030301010803" pitchFamily="18" charset="0"/>
                </a:rPr>
                <a:t>POLICY FRAMEWORKS, WORKABLE REGULATIONS, AND STRONG INSTITUTIONAL ARRANGEMENTS TO CREATE ENABLING ENVIRONMENTS </a:t>
              </a:r>
              <a:endParaRPr lang="en-US" sz="1800" dirty="0">
                <a:solidFill>
                  <a:srgbClr val="F0A830"/>
                </a:solidFill>
                <a:latin typeface="Garamond" panose="02020404030301010803" pitchFamily="18" charset="0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A43027E-9279-4B08-ABEE-7F9124FEF276}"/>
                </a:ext>
              </a:extLst>
            </p:cNvPr>
            <p:cNvSpPr txBox="1"/>
            <p:nvPr/>
          </p:nvSpPr>
          <p:spPr>
            <a:xfrm>
              <a:off x="3981646" y="2623504"/>
              <a:ext cx="748883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i="0" u="none" strike="noStrike" baseline="0" dirty="0">
                  <a:solidFill>
                    <a:srgbClr val="00305B"/>
                  </a:solidFill>
                  <a:latin typeface="Garamond" panose="02020404030301010803" pitchFamily="18" charset="0"/>
                </a:rPr>
                <a:t>INNOVATIONS IN TECHNOLOGY AND BUSINESS MODELS TO REACH THE REMAINING UNSERVED POPULATION </a:t>
              </a:r>
              <a:endParaRPr lang="en-US" sz="1800" dirty="0">
                <a:latin typeface="Garamond" panose="02020404030301010803" pitchFamily="18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D28E588-503D-412C-9448-840D8238D029}"/>
                </a:ext>
              </a:extLst>
            </p:cNvPr>
            <p:cNvSpPr txBox="1"/>
            <p:nvPr/>
          </p:nvSpPr>
          <p:spPr>
            <a:xfrm>
              <a:off x="3981646" y="3221609"/>
              <a:ext cx="7488832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i="0" u="none" strike="noStrike" baseline="0" dirty="0">
                  <a:solidFill>
                    <a:srgbClr val="F0A830"/>
                  </a:solidFill>
                  <a:latin typeface="Garamond" panose="02020404030301010803" pitchFamily="18" charset="0"/>
                </a:rPr>
                <a:t>LEVERAGED PUBLIC AND PRIVATE FINANCING TO FUND ELECTRIFICATION AT SCALE </a:t>
              </a:r>
              <a:endParaRPr lang="en-US" sz="1800" dirty="0">
                <a:solidFill>
                  <a:srgbClr val="F0A830"/>
                </a:solidFill>
                <a:latin typeface="Garamond" panose="02020404030301010803" pitchFamily="18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44124ECC-8FE6-4EAB-936D-3FA0EEB7779B}"/>
                </a:ext>
              </a:extLst>
            </p:cNvPr>
            <p:cNvSpPr txBox="1"/>
            <p:nvPr/>
          </p:nvSpPr>
          <p:spPr>
            <a:xfrm>
              <a:off x="3992369" y="3813558"/>
              <a:ext cx="751365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i="0" u="none" strike="noStrike" baseline="0" dirty="0">
                  <a:solidFill>
                    <a:srgbClr val="00305B"/>
                  </a:solidFill>
                  <a:latin typeface="Garamond" panose="02020404030301010803" pitchFamily="18" charset="0"/>
                </a:rPr>
                <a:t>LEAVING NO ONE BEHIND </a:t>
              </a:r>
              <a:endParaRPr lang="en-US" sz="1800" dirty="0">
                <a:latin typeface="Garamond" panose="02020404030301010803" pitchFamily="18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B12F5492-86B5-4046-81F1-85EE99E696FB}"/>
                </a:ext>
              </a:extLst>
            </p:cNvPr>
            <p:cNvSpPr txBox="1"/>
            <p:nvPr/>
          </p:nvSpPr>
          <p:spPr>
            <a:xfrm>
              <a:off x="3981646" y="4175987"/>
              <a:ext cx="748883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i="0" u="none" strike="noStrike" baseline="0" dirty="0">
                  <a:solidFill>
                    <a:srgbClr val="F0A830"/>
                  </a:solidFill>
                  <a:latin typeface="Garamond" panose="02020404030301010803" pitchFamily="18" charset="0"/>
                </a:rPr>
                <a:t>ENERGIZING WOMEN </a:t>
              </a:r>
              <a:endParaRPr lang="en-US" sz="1800" dirty="0">
                <a:solidFill>
                  <a:srgbClr val="F0A830"/>
                </a:solidFill>
                <a:latin typeface="Garamond" panose="02020404030301010803" pitchFamily="18" charset="0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95FB17B5-565B-4A8A-A8BB-9E37FB98853C}"/>
                </a:ext>
              </a:extLst>
            </p:cNvPr>
            <p:cNvSpPr txBox="1"/>
            <p:nvPr/>
          </p:nvSpPr>
          <p:spPr>
            <a:xfrm>
              <a:off x="3989271" y="4533223"/>
              <a:ext cx="7488830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800" b="1" i="0" u="none" strike="noStrike" baseline="0" dirty="0">
                  <a:solidFill>
                    <a:srgbClr val="00305B"/>
                  </a:solidFill>
                  <a:latin typeface="Garamond" panose="02020404030301010803" pitchFamily="18" charset="0"/>
                </a:rPr>
                <a:t>GOING BEYOND CONNECTIONS: IMPROVING LIVELIHOODS AND HUMAN CAPITAL </a:t>
              </a:r>
              <a:endParaRPr lang="en-US" sz="1800" dirty="0">
                <a:latin typeface="Garamond" panose="02020404030301010803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234922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Rectangle 110"/>
          <p:cNvSpPr/>
          <p:nvPr/>
        </p:nvSpPr>
        <p:spPr>
          <a:xfrm>
            <a:off x="0" y="201702"/>
            <a:ext cx="8773703" cy="598497"/>
          </a:xfrm>
          <a:prstGeom prst="rect">
            <a:avLst/>
          </a:prstGeom>
          <a:solidFill>
            <a:srgbClr val="065278"/>
          </a:solidFill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en-US" sz="3000" b="1" dirty="0">
                <a:solidFill>
                  <a:schemeClr val="bg1"/>
                </a:solidFill>
                <a:latin typeface="Garamond" panose="02020404030301010803" pitchFamily="18" charset="0"/>
                <a:ea typeface="Calibri" panose="020F0502020204030204" pitchFamily="34" charset="0"/>
                <a:cs typeface="Arial" panose="020B0604020202020204" pitchFamily="34" charset="0"/>
              </a:rPr>
              <a:t>Renewable Energy Outlook to 2050</a:t>
            </a:r>
          </a:p>
        </p:txBody>
      </p:sp>
      <p:pic>
        <p:nvPicPr>
          <p:cNvPr id="109" name="Picture 10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6360" y="262908"/>
            <a:ext cx="2442754" cy="61953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EEEA6644-B551-4848-BB86-5CC8D18910E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2537"/>
          <a:stretch/>
        </p:blipFill>
        <p:spPr>
          <a:xfrm>
            <a:off x="1199456" y="1204037"/>
            <a:ext cx="9448800" cy="5463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4222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bIDbaHS2mfxHbgVSa3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1AuqJWTV64965LPGQu4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ZNMuFOSkCXUXdwcKHIr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GKnXPZ1R4Si8IFqgZzNR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EIWnh1S4unJFgf5yiPc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0F830863362724DB520D7A1D831CECD" ma:contentTypeVersion="6" ma:contentTypeDescription="Create a new document." ma:contentTypeScope="" ma:versionID="5dfba0d6e46e308420bce3565380318c">
  <xsd:schema xmlns:xsd="http://www.w3.org/2001/XMLSchema" xmlns:xs="http://www.w3.org/2001/XMLSchema" xmlns:p="http://schemas.microsoft.com/office/2006/metadata/properties" xmlns:ns2="1e025b32-6b9a-47b8-82d6-0a5c7fcbeb53" xmlns:ns3="53eda448-fbe5-416e-94e8-3496fe9a681a" targetNamespace="http://schemas.microsoft.com/office/2006/metadata/properties" ma:root="true" ma:fieldsID="5861c990a1be02c0e7a73e6a0827b379" ns2:_="" ns3:_="">
    <xsd:import namespace="1e025b32-6b9a-47b8-82d6-0a5c7fcbeb53"/>
    <xsd:import namespace="53eda448-fbe5-416e-94e8-3496fe9a68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e025b32-6b9a-47b8-82d6-0a5c7fcbeb5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eda448-fbe5-416e-94e8-3496fe9a681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36805F6-CB52-4FF6-A634-180897EA4C1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0159830-6078-4F6A-8B26-B605678537AC}"/>
</file>

<file path=customXml/itemProps3.xml><?xml version="1.0" encoding="utf-8"?>
<ds:datastoreItem xmlns:ds="http://schemas.openxmlformats.org/officeDocument/2006/customXml" ds:itemID="{56345E26-BAC9-47CC-AC35-2632352A3B5B}">
  <ds:schemaRefs>
    <ds:schemaRef ds:uri="http://schemas.microsoft.com/office/2006/metadata/properties"/>
    <ds:schemaRef ds:uri="http://www.w3.org/XML/1998/namespace"/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f15bbf96-1a0c-4f4f-b5c9-ef8fd1fd2261"/>
    <ds:schemaRef ds:uri="27c9449f-a4b1-4819-ad95-b3b5a9496ca8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1935</TotalTime>
  <Words>755</Words>
  <Application>Microsoft Office PowerPoint</Application>
  <PresentationFormat>Widescreen</PresentationFormat>
  <Paragraphs>173</Paragraphs>
  <Slides>11</Slides>
  <Notes>1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Calibri Light</vt:lpstr>
      <vt:lpstr>Century Gothic</vt:lpstr>
      <vt:lpstr>Garamond</vt:lpstr>
      <vt:lpstr>Wingdings</vt:lpstr>
      <vt:lpstr>Custom Design</vt:lpstr>
      <vt:lpstr>1_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Office</dc:creator>
  <cp:lastModifiedBy>ND</cp:lastModifiedBy>
  <cp:revision>3326</cp:revision>
  <cp:lastPrinted>2019-01-09T13:02:36Z</cp:lastPrinted>
  <dcterms:created xsi:type="dcterms:W3CDTF">2010-01-06T11:15:24Z</dcterms:created>
  <dcterms:modified xsi:type="dcterms:W3CDTF">2021-03-26T11:2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F830863362724DB520D7A1D831CECD</vt:lpwstr>
  </property>
  <property fmtid="{D5CDD505-2E9C-101B-9397-08002B2CF9AE}" pid="3" name="Order">
    <vt:r8>510900</vt:r8>
  </property>
  <property fmtid="{D5CDD505-2E9C-101B-9397-08002B2CF9AE}" pid="4" name="TemplateUrl">
    <vt:lpwstr/>
  </property>
  <property fmtid="{D5CDD505-2E9C-101B-9397-08002B2CF9AE}" pid="5" name="xd_Signature">
    <vt:bool>false</vt:bool>
  </property>
  <property fmtid="{D5CDD505-2E9C-101B-9397-08002B2CF9AE}" pid="6" name="xd_ProgID">
    <vt:lpwstr/>
  </property>
</Properties>
</file>